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4.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5.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6.xml" ContentType="application/vnd.openxmlformats-officedocument.them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7.xml" ContentType="application/vnd.openxmlformats-officedocument.them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slideLayouts/slideLayout207.xml" ContentType="application/vnd.openxmlformats-officedocument.presentationml.slideLayout+xml"/>
  <Override PartName="/ppt/theme/theme8.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9.xml" ContentType="application/vnd.openxmlformats-officedocument.them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0.xml" ContentType="application/vnd.openxmlformats-officedocument.them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11.xml" ContentType="application/vnd.openxmlformats-officedocument.theme+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12.xml" ContentType="application/vnd.openxmlformats-officedocument.them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notesSlides/notesSlide2.xml" ContentType="application/vnd.openxmlformats-officedocument.presentationml.notesSlide+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notesSlides/notesSlide3.xml" ContentType="application/vnd.openxmlformats-officedocument.presentationml.notesSlide+xml"/>
  <Override PartName="/ppt/tags/tag287.xml" ContentType="application/vnd.openxmlformats-officedocument.presentationml.tags+xml"/>
  <Override PartName="/ppt/tags/tag288.xml" ContentType="application/vnd.openxmlformats-officedocument.presentationml.tags+xml"/>
  <Override PartName="/ppt/notesSlides/notesSlide4.xml" ContentType="application/vnd.openxmlformats-officedocument.presentationml.notesSlide+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notesSlides/notesSlide5.xml" ContentType="application/vnd.openxmlformats-officedocument.presentationml.notesSlide+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notesSlides/notesSlide6.xml" ContentType="application/vnd.openxmlformats-officedocument.presentationml.notesSlide+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notesSlides/notesSlide7.xml" ContentType="application/vnd.openxmlformats-officedocument.presentationml.notesSlide+xml"/>
  <Override PartName="/ppt/tags/tag366.xml" ContentType="application/vnd.openxmlformats-officedocument.presentationml.tags+xml"/>
  <Override PartName="/ppt/notesSlides/notesSlide8.xml" ContentType="application/vnd.openxmlformats-officedocument.presentationml.notesSlide+xml"/>
  <Override PartName="/ppt/tags/tag367.xml" ContentType="application/vnd.openxmlformats-officedocument.presentationml.tags+xml"/>
  <Override PartName="/ppt/tags/tag368.xml" ContentType="application/vnd.openxmlformats-officedocument.presentationml.tags+xml"/>
  <Override PartName="/ppt/notesSlides/notesSlide9.xml" ContentType="application/vnd.openxmlformats-officedocument.presentationml.notesSlide+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48.xml" ContentType="application/vnd.openxmlformats-officedocument.presentationml.tags+xml"/>
  <Override PartName="/ppt/tags/tag449.xml" ContentType="application/vnd.openxmlformats-officedocument.presentationml.tags+xml"/>
  <Override PartName="/ppt/notesSlides/notesSlide12.xml" ContentType="application/vnd.openxmlformats-officedocument.presentationml.notesSlide+xml"/>
  <Override PartName="/ppt/tags/tag450.xml" ContentType="application/vnd.openxmlformats-officedocument.presentationml.tags+xml"/>
  <Override PartName="/ppt/tags/tag451.xml" ContentType="application/vnd.openxmlformats-officedocument.presentationml.tags+xml"/>
  <Override PartName="/ppt/notesSlides/notesSlide13.xml" ContentType="application/vnd.openxmlformats-officedocument.presentationml.notesSlide+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notesSlides/notesSlide14.xml" ContentType="application/vnd.openxmlformats-officedocument.presentationml.notesSlide+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notesSlides/notesSlide15.xml" ContentType="application/vnd.openxmlformats-officedocument.presentationml.notesSlide+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 id="2147483694" r:id="rId2"/>
    <p:sldMasterId id="2147483697" r:id="rId3"/>
    <p:sldMasterId id="2147483734" r:id="rId4"/>
    <p:sldMasterId id="2147483771" r:id="rId5"/>
    <p:sldMasterId id="2147483806" r:id="rId6"/>
    <p:sldMasterId id="2147483844" r:id="rId7"/>
    <p:sldMasterId id="2147483878" r:id="rId8"/>
    <p:sldMasterId id="2147483880" r:id="rId9"/>
    <p:sldMasterId id="2147483893" r:id="rId10"/>
    <p:sldMasterId id="2147483930" r:id="rId11"/>
    <p:sldMasterId id="2147483933" r:id="rId12"/>
  </p:sldMasterIdLst>
  <p:notesMasterIdLst>
    <p:notesMasterId r:id="rId33"/>
  </p:notesMasterIdLst>
  <p:handoutMasterIdLst>
    <p:handoutMasterId r:id="rId34"/>
  </p:handoutMasterIdLst>
  <p:sldIdLst>
    <p:sldId id="375" r:id="rId13"/>
    <p:sldId id="377" r:id="rId14"/>
    <p:sldId id="376" r:id="rId15"/>
    <p:sldId id="379" r:id="rId16"/>
    <p:sldId id="378" r:id="rId17"/>
    <p:sldId id="380" r:id="rId18"/>
    <p:sldId id="381" r:id="rId19"/>
    <p:sldId id="352" r:id="rId20"/>
    <p:sldId id="353" r:id="rId21"/>
    <p:sldId id="354" r:id="rId22"/>
    <p:sldId id="355" r:id="rId23"/>
    <p:sldId id="356" r:id="rId24"/>
    <p:sldId id="357" r:id="rId25"/>
    <p:sldId id="359" r:id="rId26"/>
    <p:sldId id="360" r:id="rId27"/>
    <p:sldId id="361" r:id="rId28"/>
    <p:sldId id="362" r:id="rId29"/>
    <p:sldId id="364" r:id="rId30"/>
    <p:sldId id="365" r:id="rId31"/>
    <p:sldId id="366" r:id="rId32"/>
  </p:sldIdLst>
  <p:sldSz cx="9144000" cy="5143500" type="screen16x9"/>
  <p:notesSz cx="6858000" cy="9144000"/>
  <p:custDataLst>
    <p:tags r:id="rId3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117">
          <p15:clr>
            <a:srgbClr val="A4A3A4"/>
          </p15:clr>
        </p15:guide>
        <p15:guide id="2" orient="horz">
          <p15:clr>
            <a:srgbClr val="A4A3A4"/>
          </p15:clr>
        </p15:guide>
        <p15:guide id="3" orient="horz" pos="2028">
          <p15:clr>
            <a:srgbClr val="A4A3A4"/>
          </p15:clr>
        </p15:guide>
        <p15:guide id="4" pos="158">
          <p15:clr>
            <a:srgbClr val="A4A3A4"/>
          </p15:clr>
        </p15:guide>
        <p15:guide id="5" pos="5602">
          <p15:clr>
            <a:srgbClr val="A4A3A4"/>
          </p15:clr>
        </p15:guide>
      </p15:sldGuideLst>
    </p:ext>
    <p:ext uri="{2D200454-40CA-4A62-9FC3-DE9A4176ACB9}">
      <p15:notesGuideLst xmlns:p15="http://schemas.microsoft.com/office/powerpoint/2012/main" xmlns="">
        <p15:guide id="1" orient="horz" pos="2880">
          <p15:clr>
            <a:srgbClr val="A4A3A4"/>
          </p15:clr>
        </p15:guide>
        <p15:guide id="2" pos="3974">
          <p15:clr>
            <a:srgbClr val="A4A3A4"/>
          </p15:clr>
        </p15:guide>
        <p15:guide id="3" pos="34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BA12B"/>
    <a:srgbClr val="E73440"/>
    <a:srgbClr val="C07000"/>
    <a:srgbClr val="8B8807"/>
    <a:srgbClr val="7E7D76"/>
    <a:srgbClr val="1782DB"/>
    <a:srgbClr val="706A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466" autoAdjust="0"/>
    <p:restoredTop sz="96080" autoAdjust="0"/>
  </p:normalViewPr>
  <p:slideViewPr>
    <p:cSldViewPr showGuides="1">
      <p:cViewPr varScale="1">
        <p:scale>
          <a:sx n="113" d="100"/>
          <a:sy n="113" d="100"/>
        </p:scale>
        <p:origin x="-810" y="-96"/>
      </p:cViewPr>
      <p:guideLst>
        <p:guide orient="horz" pos="3117"/>
        <p:guide orient="horz"/>
        <p:guide orient="horz" pos="2028"/>
        <p:guide pos="158"/>
        <p:guide pos="5602"/>
      </p:guideLst>
    </p:cSldViewPr>
  </p:slideViewPr>
  <p:notesTextViewPr>
    <p:cViewPr>
      <p:scale>
        <a:sx n="100" d="100"/>
        <a:sy n="100" d="100"/>
      </p:scale>
      <p:origin x="0" y="0"/>
    </p:cViewPr>
  </p:notesTextViewPr>
  <p:sorterViewPr>
    <p:cViewPr>
      <p:scale>
        <a:sx n="66" d="100"/>
        <a:sy n="66" d="100"/>
      </p:scale>
      <p:origin x="0" y="0"/>
    </p:cViewPr>
  </p:sorterViewPr>
  <p:notesViewPr>
    <p:cSldViewPr showGuides="1">
      <p:cViewPr>
        <p:scale>
          <a:sx n="75" d="100"/>
          <a:sy n="75" d="100"/>
        </p:scale>
        <p:origin x="-6456" y="-1968"/>
      </p:cViewPr>
      <p:guideLst>
        <p:guide orient="horz" pos="2880"/>
        <p:guide pos="3974"/>
        <p:guide pos="346"/>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9.xml"/><Relationship Id="rId34"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886200" y="0"/>
            <a:ext cx="2952000" cy="500400"/>
          </a:xfrm>
          <a:prstGeom prst="rect">
            <a:avLst/>
          </a:prstGeom>
        </p:spPr>
        <p:txBody>
          <a:bodyPr vert="horz" lIns="91440" tIns="45720" rIns="91440" bIns="45720" rtlCol="0"/>
          <a:lstStyle>
            <a:lvl1pPr algn="l">
              <a:defRPr sz="1200"/>
            </a:lvl1pPr>
          </a:lstStyle>
          <a:p>
            <a:pPr algn="r"/>
            <a:endParaRPr lang="en-US" sz="800"/>
          </a:p>
        </p:txBody>
      </p:sp>
      <p:sp>
        <p:nvSpPr>
          <p:cNvPr id="3" name="Date Placeholder 2"/>
          <p:cNvSpPr>
            <a:spLocks noGrp="1"/>
          </p:cNvSpPr>
          <p:nvPr>
            <p:ph type="dt" sz="quarter" idx="1"/>
          </p:nvPr>
        </p:nvSpPr>
        <p:spPr>
          <a:xfrm>
            <a:off x="0" y="0"/>
            <a:ext cx="2952000" cy="500400"/>
          </a:xfrm>
          <a:prstGeom prst="rect">
            <a:avLst/>
          </a:prstGeom>
        </p:spPr>
        <p:txBody>
          <a:bodyPr vert="horz" lIns="91440" tIns="45720" rIns="91440" bIns="45720" rtlCol="0"/>
          <a:lstStyle>
            <a:lvl1pPr algn="r">
              <a:defRPr sz="1200"/>
            </a:lvl1pPr>
          </a:lstStyle>
          <a:p>
            <a:pPr algn="l"/>
            <a:fld id="{999580FB-A1A7-4BFA-8980-0CB90ED5CC13}" type="datetimeFigureOut">
              <a:rPr lang="en-US" sz="800" smtClean="0"/>
              <a:pPr algn="l"/>
              <a:t>4/6/2018</a:t>
            </a:fld>
            <a:endParaRPr lang="en-US" sz="800"/>
          </a:p>
        </p:txBody>
      </p:sp>
      <p:sp>
        <p:nvSpPr>
          <p:cNvPr id="12" name="Slide Number Placeholder 11"/>
          <p:cNvSpPr>
            <a:spLocks noGrp="1"/>
          </p:cNvSpPr>
          <p:nvPr>
            <p:ph type="sldNum" sz="quarter" idx="3"/>
          </p:nvPr>
        </p:nvSpPr>
        <p:spPr>
          <a:xfrm>
            <a:off x="3884613" y="8643600"/>
            <a:ext cx="2952000" cy="500400"/>
          </a:xfrm>
          <a:prstGeom prst="rect">
            <a:avLst/>
          </a:prstGeom>
        </p:spPr>
        <p:txBody>
          <a:bodyPr vert="horz" lIns="91440" tIns="45720" rIns="91440" bIns="45720" rtlCol="0" anchor="b"/>
          <a:lstStyle>
            <a:lvl1pPr algn="r">
              <a:defRPr sz="1200"/>
            </a:lvl1pPr>
          </a:lstStyle>
          <a:p>
            <a:fld id="{3A0D310C-11CC-44CF-B61D-C36BD5A4E9FA}" type="slidenum">
              <a:rPr lang="en-US" sz="800" smtClean="0"/>
              <a:pPr/>
              <a:t>‹#›</a:t>
            </a:fld>
            <a:endParaRPr lang="en-US" sz="800"/>
          </a:p>
        </p:txBody>
      </p:sp>
      <p:sp>
        <p:nvSpPr>
          <p:cNvPr id="13" name="Footer Placeholder 12"/>
          <p:cNvSpPr>
            <a:spLocks noGrp="1"/>
          </p:cNvSpPr>
          <p:nvPr>
            <p:ph type="ftr" sz="quarter" idx="2"/>
          </p:nvPr>
        </p:nvSpPr>
        <p:spPr>
          <a:xfrm>
            <a:off x="0" y="8643600"/>
            <a:ext cx="2952000" cy="500400"/>
          </a:xfrm>
          <a:prstGeom prst="rect">
            <a:avLst/>
          </a:prstGeom>
        </p:spPr>
        <p:txBody>
          <a:bodyPr vert="horz" lIns="91440" tIns="45720" rIns="91440" bIns="45720" rtlCol="0" anchor="b"/>
          <a:lstStyle>
            <a:lvl1pPr algn="l">
              <a:defRPr sz="1200"/>
            </a:lvl1pPr>
          </a:lstStyle>
          <a:p>
            <a:r>
              <a:rPr lang="en-US" sz="800" smtClean="0"/>
              <a:t>Copyright 2011 FUJITSU</a:t>
            </a:r>
            <a:endParaRPr lang="en-US" sz="800"/>
          </a:p>
        </p:txBody>
      </p:sp>
    </p:spTree>
    <p:extLst>
      <p:ext uri="{BB962C8B-B14F-4D97-AF65-F5344CB8AC3E}">
        <p14:creationId xmlns:p14="http://schemas.microsoft.com/office/powerpoint/2010/main" val="365583312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Date Placeholder 13"/>
          <p:cNvSpPr>
            <a:spLocks noGrp="1"/>
          </p:cNvSpPr>
          <p:nvPr>
            <p:ph type="dt" idx="1"/>
          </p:nvPr>
        </p:nvSpPr>
        <p:spPr>
          <a:xfrm>
            <a:off x="0" y="0"/>
            <a:ext cx="2952000" cy="500400"/>
          </a:xfrm>
          <a:prstGeom prst="rect">
            <a:avLst/>
          </a:prstGeom>
        </p:spPr>
        <p:txBody>
          <a:bodyPr vert="horz" lIns="91440" tIns="45720" rIns="91440" bIns="45720" rtlCol="0"/>
          <a:lstStyle>
            <a:lvl1pPr algn="l">
              <a:defRPr sz="800"/>
            </a:lvl1pPr>
          </a:lstStyle>
          <a:p>
            <a:fld id="{9AF53C10-58A7-45D0-B2D2-D1576F087AB5}" type="datetimeFigureOut">
              <a:rPr lang="en-US" noProof="0" smtClean="0"/>
              <a:pPr/>
              <a:t>4/6/2018</a:t>
            </a:fld>
            <a:endParaRPr lang="en-US" noProof="0"/>
          </a:p>
        </p:txBody>
      </p:sp>
      <p:sp>
        <p:nvSpPr>
          <p:cNvPr id="15" name="Header Placeholder 14"/>
          <p:cNvSpPr>
            <a:spLocks noGrp="1"/>
          </p:cNvSpPr>
          <p:nvPr>
            <p:ph type="hdr" sz="quarter"/>
          </p:nvPr>
        </p:nvSpPr>
        <p:spPr>
          <a:xfrm>
            <a:off x="3886200" y="0"/>
            <a:ext cx="2952000" cy="500400"/>
          </a:xfrm>
          <a:prstGeom prst="rect">
            <a:avLst/>
          </a:prstGeom>
        </p:spPr>
        <p:txBody>
          <a:bodyPr vert="horz" lIns="91440" tIns="45720" rIns="91440" bIns="45720" rtlCol="0"/>
          <a:lstStyle>
            <a:lvl1pPr algn="r">
              <a:defRPr sz="800"/>
            </a:lvl1pPr>
          </a:lstStyle>
          <a:p>
            <a:endParaRPr lang="en-US" noProof="0"/>
          </a:p>
        </p:txBody>
      </p:sp>
      <p:sp>
        <p:nvSpPr>
          <p:cNvPr id="16" name="Slide Image Placeholder 15"/>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noProof="0"/>
          </a:p>
        </p:txBody>
      </p:sp>
      <p:sp>
        <p:nvSpPr>
          <p:cNvPr id="23" name="Slide Number Placeholder 22"/>
          <p:cNvSpPr>
            <a:spLocks noGrp="1"/>
          </p:cNvSpPr>
          <p:nvPr>
            <p:ph type="sldNum" sz="quarter" idx="5"/>
          </p:nvPr>
        </p:nvSpPr>
        <p:spPr>
          <a:xfrm>
            <a:off x="3884613" y="8643600"/>
            <a:ext cx="2952000" cy="500400"/>
          </a:xfrm>
          <a:prstGeom prst="rect">
            <a:avLst/>
          </a:prstGeom>
        </p:spPr>
        <p:txBody>
          <a:bodyPr vert="horz" lIns="91440" tIns="45720" rIns="91440" bIns="45720" rtlCol="0" anchor="b"/>
          <a:lstStyle>
            <a:lvl1pPr algn="r">
              <a:defRPr sz="800"/>
            </a:lvl1pPr>
          </a:lstStyle>
          <a:p>
            <a:fld id="{12BC81D3-C59B-4C63-B840-07ACB8BAB3C6}" type="slidenum">
              <a:rPr lang="en-US" noProof="0" smtClean="0"/>
              <a:pPr/>
              <a:t>‹#›</a:t>
            </a:fld>
            <a:endParaRPr lang="en-US" noProof="0"/>
          </a:p>
        </p:txBody>
      </p:sp>
      <p:sp>
        <p:nvSpPr>
          <p:cNvPr id="24" name="Footer Placeholder 23"/>
          <p:cNvSpPr>
            <a:spLocks noGrp="1"/>
          </p:cNvSpPr>
          <p:nvPr>
            <p:ph type="ftr" sz="quarter" idx="4"/>
          </p:nvPr>
        </p:nvSpPr>
        <p:spPr>
          <a:xfrm>
            <a:off x="0" y="8643600"/>
            <a:ext cx="2952000" cy="500400"/>
          </a:xfrm>
          <a:prstGeom prst="rect">
            <a:avLst/>
          </a:prstGeom>
        </p:spPr>
        <p:txBody>
          <a:bodyPr vert="horz" lIns="91440" tIns="45720" rIns="91440" bIns="45720" rtlCol="0" anchor="b"/>
          <a:lstStyle>
            <a:lvl1pPr algn="l">
              <a:defRPr sz="800"/>
            </a:lvl1pPr>
          </a:lstStyle>
          <a:p>
            <a:r>
              <a:rPr lang="en-US" noProof="0" smtClean="0"/>
              <a:t>Copyright 2011 FUJITSU</a:t>
            </a:r>
            <a:endParaRPr lang="en-US" noProof="0"/>
          </a:p>
        </p:txBody>
      </p:sp>
      <p:sp>
        <p:nvSpPr>
          <p:cNvPr id="30" name="Notes Placeholder 29"/>
          <p:cNvSpPr>
            <a:spLocks noGrp="1"/>
          </p:cNvSpPr>
          <p:nvPr>
            <p:ph type="body" sz="quarter" idx="3"/>
          </p:nvPr>
        </p:nvSpPr>
        <p:spPr>
          <a:xfrm>
            <a:off x="549275" y="4572000"/>
            <a:ext cx="5759450" cy="3886200"/>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extLst>
      <p:ext uri="{BB962C8B-B14F-4D97-AF65-F5344CB8AC3E}">
        <p14:creationId xmlns:p14="http://schemas.microsoft.com/office/powerpoint/2010/main" val="34242797"/>
      </p:ext>
    </p:extLst>
  </p:cSld>
  <p:clrMap bg1="lt1" tx1="dk1" bg2="lt2" tx2="dk2" accent1="accent1" accent2="accent2" accent3="accent3" accent4="accent4" accent5="accent5" accent6="accent6" hlink="hlink" folHlink="folHlink"/>
  <p:hf hdr="0" dt="0"/>
  <p:notesStyle>
    <a:lvl1pPr marL="182563" indent="-182563" algn="l" defTabSz="914400" rtl="0" eaLnBrk="1" latinLnBrk="0" hangingPunct="1">
      <a:spcBef>
        <a:spcPts val="516"/>
      </a:spcBef>
      <a:spcAft>
        <a:spcPts val="288"/>
      </a:spcAft>
      <a:buClr>
        <a:schemeClr val="accent2"/>
      </a:buClr>
      <a:buFont typeface="Wingdings" pitchFamily="2" charset="2"/>
      <a:buChar char="n"/>
      <a:defRPr sz="1600" kern="1200">
        <a:solidFill>
          <a:schemeClr val="tx1"/>
        </a:solidFill>
        <a:latin typeface="Arial" pitchFamily="34" charset="0"/>
        <a:ea typeface="+mn-ea"/>
        <a:cs typeface="Arial" pitchFamily="34" charset="0"/>
      </a:defRPr>
    </a:lvl1pPr>
    <a:lvl2pPr marL="358775" indent="-176213" algn="l" defTabSz="914400" rtl="0" eaLnBrk="1" latinLnBrk="0" hangingPunct="1">
      <a:spcAft>
        <a:spcPts val="288"/>
      </a:spcAft>
      <a:buClr>
        <a:schemeClr val="tx2"/>
      </a:buClr>
      <a:buFont typeface="Wingdings" pitchFamily="2" charset="2"/>
      <a:buChar char="n"/>
      <a:defRPr sz="1400" kern="1200">
        <a:solidFill>
          <a:schemeClr val="tx1"/>
        </a:solidFill>
        <a:latin typeface="Arial" pitchFamily="34" charset="0"/>
        <a:ea typeface="+mn-ea"/>
        <a:cs typeface="Arial" pitchFamily="34" charset="0"/>
      </a:defRPr>
    </a:lvl2pPr>
    <a:lvl3pPr marL="449263" indent="-90488" algn="l" defTabSz="914400" rtl="0" eaLnBrk="1" latinLnBrk="0" hangingPunct="1">
      <a:spcBef>
        <a:spcPts val="432"/>
      </a:spcBef>
      <a:spcAft>
        <a:spcPts val="240"/>
      </a:spcAft>
      <a:buClr>
        <a:schemeClr val="tx2"/>
      </a:buClr>
      <a:buFont typeface="Arial" pitchFamily="34" charset="0"/>
      <a:buChar char="•"/>
      <a:defRPr sz="1200" kern="1200">
        <a:solidFill>
          <a:schemeClr val="tx1"/>
        </a:solidFill>
        <a:latin typeface="Arial" pitchFamily="34" charset="0"/>
        <a:ea typeface="+mn-ea"/>
        <a:cs typeface="Arial" pitchFamily="34" charset="0"/>
      </a:defRPr>
    </a:lvl3pPr>
    <a:lvl4pPr marL="541338" indent="-92075" algn="l" defTabSz="914400" rtl="0" eaLnBrk="1" latinLnBrk="0" hangingPunct="1">
      <a:spcBef>
        <a:spcPts val="384"/>
      </a:spcBef>
      <a:spcAft>
        <a:spcPts val="216"/>
      </a:spcAft>
      <a:buClr>
        <a:schemeClr val="tx2"/>
      </a:buClr>
      <a:buFont typeface="Arial" pitchFamily="34" charset="0"/>
      <a:buChar char="•"/>
      <a:defRPr sz="1200" kern="1200">
        <a:solidFill>
          <a:schemeClr val="tx1"/>
        </a:solidFill>
        <a:latin typeface="Arial" pitchFamily="34" charset="0"/>
        <a:ea typeface="+mn-ea"/>
        <a:cs typeface="Arial" pitchFamily="34" charset="0"/>
      </a:defRPr>
    </a:lvl4pPr>
    <a:lvl5pPr marL="625475" indent="-84138" algn="l" defTabSz="914400" rtl="0" eaLnBrk="1" latinLnBrk="0" hangingPunct="1">
      <a:spcBef>
        <a:spcPts val="336"/>
      </a:spcBef>
      <a:spcAft>
        <a:spcPts val="192"/>
      </a:spcAft>
      <a:buClr>
        <a:schemeClr val="tx2"/>
      </a:buClr>
      <a:buFont typeface="Arial" pitchFamily="34" charset="0"/>
      <a:buChar char="•"/>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a:bodyPr>
          <a:lstStyle/>
          <a:p>
            <a:pPr>
              <a:spcBef>
                <a:spcPts val="0"/>
              </a:spcBef>
              <a:defRPr/>
            </a:pPr>
            <a:r>
              <a:rPr lang="ru-RU" dirty="0" smtClean="0"/>
              <a:t>На этом слайде нужно:</a:t>
            </a:r>
          </a:p>
          <a:p>
            <a:pPr marL="171450" indent="-171450">
              <a:spcBef>
                <a:spcPts val="0"/>
              </a:spcBef>
              <a:buFontTx/>
              <a:buChar char="-"/>
              <a:defRPr/>
            </a:pPr>
            <a:r>
              <a:rPr lang="ru-RU" dirty="0" smtClean="0"/>
              <a:t>Сделать отдельную картинку с картой (на которую можно накладывать другие элементы)</a:t>
            </a:r>
          </a:p>
          <a:p>
            <a:pPr marL="171450" indent="-171450">
              <a:spcBef>
                <a:spcPts val="0"/>
              </a:spcBef>
              <a:buFontTx/>
              <a:buChar char="-"/>
              <a:defRPr/>
            </a:pPr>
            <a:r>
              <a:rPr lang="ru-RU" dirty="0" smtClean="0"/>
              <a:t>Отрисовать отдельные иконки, которые используются на англоязычных вставках (их 4 штуки)</a:t>
            </a:r>
          </a:p>
          <a:p>
            <a:pPr marL="171450" indent="-171450">
              <a:spcBef>
                <a:spcPts val="0"/>
              </a:spcBef>
              <a:buFontTx/>
              <a:buChar char="-"/>
              <a:defRPr/>
            </a:pPr>
            <a:r>
              <a:rPr lang="ru-RU" dirty="0" smtClean="0"/>
              <a:t>Отрисовать блоки со вставками – чтобы они были редактируемые (сейчас есть 2 нарисованных блока на русском, но это просто черновой пример)</a:t>
            </a:r>
          </a:p>
          <a:p>
            <a:pPr marL="171450" indent="-171450">
              <a:spcBef>
                <a:spcPts val="0"/>
              </a:spcBef>
              <a:buFontTx/>
              <a:buChar char="-"/>
              <a:defRPr/>
            </a:pPr>
            <a:endParaRPr lang="en-GB" dirty="0"/>
          </a:p>
        </p:txBody>
      </p:sp>
      <p:sp>
        <p:nvSpPr>
          <p:cNvPr id="12292" name="Date Placeholder 7"/>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spcAft>
                <a:spcPts val="600"/>
              </a:spcAft>
              <a:defRPr kumimoji="1" sz="1200">
                <a:solidFill>
                  <a:schemeClr val="tx1"/>
                </a:solidFill>
                <a:latin typeface="Arial" panose="020B0604020202020204" pitchFamily="34" charset="0"/>
                <a:ea typeface="Arial Unicode MS" pitchFamily="34" charset="-128"/>
              </a:defRPr>
            </a:lvl1pPr>
            <a:lvl2pPr marL="742950" indent="-285750">
              <a:spcBef>
                <a:spcPct val="30000"/>
              </a:spcBef>
              <a:defRPr kumimoji="1" sz="1200">
                <a:solidFill>
                  <a:schemeClr val="tx1"/>
                </a:solidFill>
                <a:latin typeface="Arial" panose="020B0604020202020204" pitchFamily="34" charset="0"/>
                <a:ea typeface="Arial Unicode MS" pitchFamily="34" charset="-128"/>
              </a:defRPr>
            </a:lvl2pPr>
            <a:lvl3pPr marL="1143000" indent="-228600">
              <a:spcBef>
                <a:spcPct val="30000"/>
              </a:spcBef>
              <a:defRPr kumimoji="1" sz="1200">
                <a:solidFill>
                  <a:schemeClr val="tx1"/>
                </a:solidFill>
                <a:latin typeface="Arial" panose="020B0604020202020204" pitchFamily="34" charset="0"/>
                <a:ea typeface="Arial Unicode MS" pitchFamily="34" charset="-128"/>
              </a:defRPr>
            </a:lvl3pPr>
            <a:lvl4pPr marL="1600200" indent="-228600">
              <a:spcBef>
                <a:spcPct val="30000"/>
              </a:spcBef>
              <a:defRPr kumimoji="1" sz="1200">
                <a:solidFill>
                  <a:schemeClr val="tx1"/>
                </a:solidFill>
                <a:latin typeface="Arial" panose="020B0604020202020204" pitchFamily="34" charset="0"/>
                <a:ea typeface="Arial Unicode MS" pitchFamily="34" charset="-128"/>
              </a:defRPr>
            </a:lvl4pPr>
            <a:lvl5pPr marL="2057400" indent="-228600">
              <a:spcBef>
                <a:spcPct val="30000"/>
              </a:spcBef>
              <a:defRPr kumimoji="1" sz="1200">
                <a:solidFill>
                  <a:schemeClr val="tx1"/>
                </a:solidFill>
                <a:latin typeface="Arial" panose="020B0604020202020204" pitchFamily="34" charset="0"/>
                <a:ea typeface="Arial Unicode MS" pitchFamily="34"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Arial Unicode MS" pitchFamily="34"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Arial Unicode MS" pitchFamily="34"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Arial Unicode MS" pitchFamily="34"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Arial Unicode MS" pitchFamily="34" charset="-128"/>
              </a:defRPr>
            </a:lvl9pPr>
          </a:lstStyle>
          <a:p>
            <a:pPr fontAlgn="ctr">
              <a:spcBef>
                <a:spcPct val="0"/>
              </a:spcBef>
              <a:spcAft>
                <a:spcPct val="0"/>
              </a:spcAft>
              <a:defRPr/>
            </a:pPr>
            <a:fld id="{84E91F35-3B31-418D-BF39-02B1050E9819}" type="datetime3">
              <a:rPr lang="en-US" altLang="en-US" sz="1400" smtClean="0">
                <a:solidFill>
                  <a:srgbClr val="000000"/>
                </a:solidFill>
              </a:rPr>
              <a:pPr fontAlgn="ctr">
                <a:spcBef>
                  <a:spcPct val="0"/>
                </a:spcBef>
                <a:spcAft>
                  <a:spcPct val="0"/>
                </a:spcAft>
                <a:defRPr/>
              </a:pPr>
              <a:t>6 April 2018</a:t>
            </a:fld>
            <a:endParaRPr lang="en-US" altLang="en-US" sz="1400" smtClean="0">
              <a:solidFill>
                <a:srgbClr val="000000"/>
              </a:solidFill>
            </a:endParaRPr>
          </a:p>
        </p:txBody>
      </p:sp>
      <p:sp>
        <p:nvSpPr>
          <p:cNvPr id="12293" name="Footer Placeholder 8"/>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Aft>
                <a:spcPts val="600"/>
              </a:spcAft>
              <a:defRPr kumimoji="1" sz="1200">
                <a:solidFill>
                  <a:schemeClr val="tx1"/>
                </a:solidFill>
                <a:latin typeface="Arial" panose="020B0604020202020204" pitchFamily="34" charset="0"/>
                <a:ea typeface="Arial Unicode MS" pitchFamily="34" charset="-128"/>
              </a:defRPr>
            </a:lvl1pPr>
            <a:lvl2pPr marL="742950" indent="-285750">
              <a:spcBef>
                <a:spcPct val="30000"/>
              </a:spcBef>
              <a:defRPr kumimoji="1" sz="1200">
                <a:solidFill>
                  <a:schemeClr val="tx1"/>
                </a:solidFill>
                <a:latin typeface="Arial" panose="020B0604020202020204" pitchFamily="34" charset="0"/>
                <a:ea typeface="Arial Unicode MS" pitchFamily="34" charset="-128"/>
              </a:defRPr>
            </a:lvl2pPr>
            <a:lvl3pPr marL="1143000" indent="-228600">
              <a:spcBef>
                <a:spcPct val="30000"/>
              </a:spcBef>
              <a:defRPr kumimoji="1" sz="1200">
                <a:solidFill>
                  <a:schemeClr val="tx1"/>
                </a:solidFill>
                <a:latin typeface="Arial" panose="020B0604020202020204" pitchFamily="34" charset="0"/>
                <a:ea typeface="Arial Unicode MS" pitchFamily="34" charset="-128"/>
              </a:defRPr>
            </a:lvl3pPr>
            <a:lvl4pPr marL="1600200" indent="-228600">
              <a:spcBef>
                <a:spcPct val="30000"/>
              </a:spcBef>
              <a:defRPr kumimoji="1" sz="1200">
                <a:solidFill>
                  <a:schemeClr val="tx1"/>
                </a:solidFill>
                <a:latin typeface="Arial" panose="020B0604020202020204" pitchFamily="34" charset="0"/>
                <a:ea typeface="Arial Unicode MS" pitchFamily="34" charset="-128"/>
              </a:defRPr>
            </a:lvl4pPr>
            <a:lvl5pPr marL="2057400" indent="-228600">
              <a:spcBef>
                <a:spcPct val="30000"/>
              </a:spcBef>
              <a:defRPr kumimoji="1" sz="1200">
                <a:solidFill>
                  <a:schemeClr val="tx1"/>
                </a:solidFill>
                <a:latin typeface="Arial" panose="020B0604020202020204" pitchFamily="34" charset="0"/>
                <a:ea typeface="Arial Unicode MS" pitchFamily="34"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Arial Unicode MS" pitchFamily="34"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Arial Unicode MS" pitchFamily="34"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Arial Unicode MS" pitchFamily="34"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Arial Unicode MS" pitchFamily="34" charset="-128"/>
              </a:defRPr>
            </a:lvl9pPr>
          </a:lstStyle>
          <a:p>
            <a:pPr fontAlgn="ctr">
              <a:spcBef>
                <a:spcPct val="0"/>
              </a:spcBef>
              <a:spcAft>
                <a:spcPct val="0"/>
              </a:spcAft>
              <a:defRPr/>
            </a:pPr>
            <a:r>
              <a:rPr lang="en-GB" altLang="en-US" smtClean="0">
                <a:solidFill>
                  <a:srgbClr val="000000"/>
                </a:solidFill>
              </a:rPr>
              <a:t>FUJITSU RESTRICTED - UK &amp; IRELAND EYES ONLY</a:t>
            </a:r>
          </a:p>
        </p:txBody>
      </p:sp>
      <p:sp>
        <p:nvSpPr>
          <p:cNvPr id="12294" name="Slide Number Placeholder 9"/>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Aft>
                <a:spcPts val="600"/>
              </a:spcAft>
              <a:defRPr kumimoji="1" sz="1200">
                <a:solidFill>
                  <a:schemeClr val="tx1"/>
                </a:solidFill>
                <a:latin typeface="Arial" panose="020B0604020202020204" pitchFamily="34" charset="0"/>
                <a:ea typeface="Arial Unicode MS" pitchFamily="34" charset="-128"/>
              </a:defRPr>
            </a:lvl1pPr>
            <a:lvl2pPr marL="742950" indent="-285750">
              <a:spcBef>
                <a:spcPct val="30000"/>
              </a:spcBef>
              <a:defRPr kumimoji="1" sz="1200">
                <a:solidFill>
                  <a:schemeClr val="tx1"/>
                </a:solidFill>
                <a:latin typeface="Arial" panose="020B0604020202020204" pitchFamily="34" charset="0"/>
                <a:ea typeface="Arial Unicode MS" pitchFamily="34" charset="-128"/>
              </a:defRPr>
            </a:lvl2pPr>
            <a:lvl3pPr marL="1143000" indent="-228600">
              <a:spcBef>
                <a:spcPct val="30000"/>
              </a:spcBef>
              <a:defRPr kumimoji="1" sz="1200">
                <a:solidFill>
                  <a:schemeClr val="tx1"/>
                </a:solidFill>
                <a:latin typeface="Arial" panose="020B0604020202020204" pitchFamily="34" charset="0"/>
                <a:ea typeface="Arial Unicode MS" pitchFamily="34" charset="-128"/>
              </a:defRPr>
            </a:lvl3pPr>
            <a:lvl4pPr marL="1600200" indent="-228600">
              <a:spcBef>
                <a:spcPct val="30000"/>
              </a:spcBef>
              <a:defRPr kumimoji="1" sz="1200">
                <a:solidFill>
                  <a:schemeClr val="tx1"/>
                </a:solidFill>
                <a:latin typeface="Arial" panose="020B0604020202020204" pitchFamily="34" charset="0"/>
                <a:ea typeface="Arial Unicode MS" pitchFamily="34" charset="-128"/>
              </a:defRPr>
            </a:lvl4pPr>
            <a:lvl5pPr marL="2057400" indent="-228600">
              <a:spcBef>
                <a:spcPct val="30000"/>
              </a:spcBef>
              <a:defRPr kumimoji="1" sz="1200">
                <a:solidFill>
                  <a:schemeClr val="tx1"/>
                </a:solidFill>
                <a:latin typeface="Arial" panose="020B0604020202020204" pitchFamily="34" charset="0"/>
                <a:ea typeface="Arial Unicode MS" pitchFamily="34"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Arial Unicode MS" pitchFamily="34"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Arial Unicode MS" pitchFamily="34"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Arial Unicode MS" pitchFamily="34"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Arial Unicode MS" pitchFamily="34" charset="-128"/>
              </a:defRPr>
            </a:lvl9pPr>
          </a:lstStyle>
          <a:p>
            <a:pPr fontAlgn="ctr">
              <a:spcBef>
                <a:spcPct val="0"/>
              </a:spcBef>
              <a:spcAft>
                <a:spcPct val="0"/>
              </a:spcAft>
              <a:defRPr/>
            </a:pPr>
            <a:fld id="{71F8C510-3CAA-42CD-BC66-AC15F007EE0B}" type="slidenum">
              <a:rPr lang="en-US" altLang="en-US" sz="1400" smtClean="0">
                <a:solidFill>
                  <a:srgbClr val="000000"/>
                </a:solidFill>
                <a:cs typeface="Arial" panose="020B0604020202020204" pitchFamily="34" charset="0"/>
              </a:rPr>
              <a:pPr fontAlgn="ctr">
                <a:spcBef>
                  <a:spcPct val="0"/>
                </a:spcBef>
                <a:spcAft>
                  <a:spcPct val="0"/>
                </a:spcAft>
                <a:defRPr/>
              </a:pPr>
              <a:t>1</a:t>
            </a:fld>
            <a:endParaRPr lang="en-US" altLang="en-US" sz="1400" smtClean="0">
              <a:solidFill>
                <a:srgbClr val="000000"/>
              </a:solidFill>
              <a:cs typeface="Arial" panose="020B0604020202020204" pitchFamily="34" charset="0"/>
            </a:endParaRPr>
          </a:p>
        </p:txBody>
      </p:sp>
      <p:sp>
        <p:nvSpPr>
          <p:cNvPr id="12295" name="Header Placeholder 10"/>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spcAft>
                <a:spcPts val="600"/>
              </a:spcAft>
              <a:defRPr kumimoji="1" sz="1200">
                <a:solidFill>
                  <a:schemeClr val="tx1"/>
                </a:solidFill>
                <a:latin typeface="Arial" panose="020B0604020202020204" pitchFamily="34" charset="0"/>
                <a:ea typeface="Arial Unicode MS" pitchFamily="34" charset="-128"/>
              </a:defRPr>
            </a:lvl1pPr>
            <a:lvl2pPr marL="742950" indent="-285750">
              <a:spcBef>
                <a:spcPct val="30000"/>
              </a:spcBef>
              <a:defRPr kumimoji="1" sz="1200">
                <a:solidFill>
                  <a:schemeClr val="tx1"/>
                </a:solidFill>
                <a:latin typeface="Arial" panose="020B0604020202020204" pitchFamily="34" charset="0"/>
                <a:ea typeface="Arial Unicode MS" pitchFamily="34" charset="-128"/>
              </a:defRPr>
            </a:lvl2pPr>
            <a:lvl3pPr marL="1143000" indent="-228600">
              <a:spcBef>
                <a:spcPct val="30000"/>
              </a:spcBef>
              <a:defRPr kumimoji="1" sz="1200">
                <a:solidFill>
                  <a:schemeClr val="tx1"/>
                </a:solidFill>
                <a:latin typeface="Arial" panose="020B0604020202020204" pitchFamily="34" charset="0"/>
                <a:ea typeface="Arial Unicode MS" pitchFamily="34" charset="-128"/>
              </a:defRPr>
            </a:lvl3pPr>
            <a:lvl4pPr marL="1600200" indent="-228600">
              <a:spcBef>
                <a:spcPct val="30000"/>
              </a:spcBef>
              <a:defRPr kumimoji="1" sz="1200">
                <a:solidFill>
                  <a:schemeClr val="tx1"/>
                </a:solidFill>
                <a:latin typeface="Arial" panose="020B0604020202020204" pitchFamily="34" charset="0"/>
                <a:ea typeface="Arial Unicode MS" pitchFamily="34" charset="-128"/>
              </a:defRPr>
            </a:lvl4pPr>
            <a:lvl5pPr marL="2057400" indent="-228600">
              <a:spcBef>
                <a:spcPct val="30000"/>
              </a:spcBef>
              <a:defRPr kumimoji="1" sz="1200">
                <a:solidFill>
                  <a:schemeClr val="tx1"/>
                </a:solidFill>
                <a:latin typeface="Arial" panose="020B0604020202020204" pitchFamily="34" charset="0"/>
                <a:ea typeface="Arial Unicode MS" pitchFamily="34"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Arial Unicode MS" pitchFamily="34"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Arial Unicode MS" pitchFamily="34"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Arial Unicode MS" pitchFamily="34"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Arial Unicode MS" pitchFamily="34" charset="-128"/>
              </a:defRPr>
            </a:lvl9pPr>
          </a:lstStyle>
          <a:p>
            <a:pPr fontAlgn="ctr">
              <a:spcBef>
                <a:spcPct val="0"/>
              </a:spcBef>
              <a:spcAft>
                <a:spcPct val="0"/>
              </a:spcAft>
              <a:defRPr/>
            </a:pPr>
            <a:endParaRPr lang="en-US" altLang="en-US" sz="1700" b="1" smtClean="0">
              <a:solidFill>
                <a:srgbClr val="000000"/>
              </a:solidFill>
            </a:endParaRPr>
          </a:p>
        </p:txBody>
      </p:sp>
    </p:spTree>
    <p:extLst>
      <p:ext uri="{BB962C8B-B14F-4D97-AF65-F5344CB8AC3E}">
        <p14:creationId xmlns:p14="http://schemas.microsoft.com/office/powerpoint/2010/main" val="13248888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30588"/>
          </a:xfrm>
          <a:prstGeom prst="rect">
            <a:avLst/>
          </a:prstGeom>
        </p:spPr>
      </p:sp>
      <p:sp>
        <p:nvSpPr>
          <p:cNvPr id="3" name="Notizenplatzhalter 2"/>
          <p:cNvSpPr>
            <a:spLocks noGrp="1"/>
          </p:cNvSpPr>
          <p:nvPr>
            <p:ph type="body" idx="1"/>
          </p:nvPr>
        </p:nvSpPr>
        <p:spPr>
          <a:xfrm>
            <a:off x="404666" y="4644008"/>
            <a:ext cx="6120679" cy="3814192"/>
          </a:xfrm>
          <a:prstGeom prst="rect">
            <a:avLst/>
          </a:prstGeom>
        </p:spPr>
        <p:txBody>
          <a:bodyPr/>
          <a:lstStyle/>
          <a:p>
            <a:pPr marL="0" indent="0">
              <a:lnSpc>
                <a:spcPct val="100000"/>
              </a:lnSpc>
              <a:buNone/>
            </a:pPr>
            <a:r>
              <a:rPr lang="en-US" sz="1050" dirty="0" smtClean="0"/>
              <a:t>ETERNUS CS800</a:t>
            </a:r>
          </a:p>
          <a:p>
            <a:pPr>
              <a:lnSpc>
                <a:spcPct val="100000"/>
              </a:lnSpc>
            </a:pPr>
            <a:r>
              <a:rPr lang="en-US" sz="1050" dirty="0" smtClean="0"/>
              <a:t>Easy to use backup to disk appliances</a:t>
            </a:r>
          </a:p>
          <a:p>
            <a:pPr>
              <a:lnSpc>
                <a:spcPct val="100000"/>
              </a:lnSpc>
            </a:pPr>
            <a:r>
              <a:rPr lang="en-US" sz="1050" dirty="0" smtClean="0"/>
              <a:t>Deduplication (</a:t>
            </a:r>
            <a:r>
              <a:rPr lang="en-US" sz="1050" dirty="0" smtClean="0">
                <a:solidFill>
                  <a:schemeClr val="tx1"/>
                </a:solidFill>
              </a:rPr>
              <a:t>Reduces required disk capacities by factor 20+) </a:t>
            </a:r>
            <a:r>
              <a:rPr lang="en-US" sz="1050" dirty="0" smtClean="0"/>
              <a:t>, replication functionality (for </a:t>
            </a:r>
            <a:r>
              <a:rPr lang="en-US" sz="1050" dirty="0" smtClean="0">
                <a:solidFill>
                  <a:schemeClr val="tx1"/>
                </a:solidFill>
              </a:rPr>
              <a:t>Easy disaster protection) </a:t>
            </a:r>
            <a:endParaRPr lang="en-US" sz="1050" dirty="0" smtClean="0"/>
          </a:p>
          <a:p>
            <a:pPr>
              <a:lnSpc>
                <a:spcPct val="100000"/>
              </a:lnSpc>
            </a:pPr>
            <a:r>
              <a:rPr lang="en-US" sz="1050" dirty="0" smtClean="0"/>
              <a:t>Modular scalability up to 320 TB</a:t>
            </a:r>
          </a:p>
          <a:p>
            <a:pPr>
              <a:lnSpc>
                <a:spcPct val="100000"/>
              </a:lnSpc>
            </a:pPr>
            <a:r>
              <a:rPr lang="en-US" sz="1050" dirty="0" smtClean="0">
                <a:solidFill>
                  <a:schemeClr val="tx1"/>
                </a:solidFill>
              </a:rPr>
              <a:t>Tape connectivity for economical long term data retention</a:t>
            </a:r>
          </a:p>
          <a:p>
            <a:pPr marL="0" indent="0">
              <a:lnSpc>
                <a:spcPct val="100000"/>
              </a:lnSpc>
              <a:buNone/>
            </a:pPr>
            <a:endParaRPr lang="en-US" sz="1050" dirty="0" smtClean="0"/>
          </a:p>
          <a:p>
            <a:pPr marL="0" indent="0">
              <a:lnSpc>
                <a:spcPct val="100000"/>
              </a:lnSpc>
              <a:buNone/>
            </a:pPr>
            <a:r>
              <a:rPr lang="en-US" sz="1050" dirty="0" smtClean="0"/>
              <a:t>ETERNUS CS8000</a:t>
            </a:r>
          </a:p>
          <a:p>
            <a:pPr>
              <a:lnSpc>
                <a:spcPct val="100000"/>
              </a:lnSpc>
            </a:pPr>
            <a:r>
              <a:rPr lang="en-US" sz="1050" dirty="0" smtClean="0"/>
              <a:t>Unified data protection platform for disk, tape and cloud</a:t>
            </a:r>
          </a:p>
          <a:p>
            <a:pPr>
              <a:lnSpc>
                <a:spcPct val="100000"/>
              </a:lnSpc>
            </a:pPr>
            <a:r>
              <a:rPr lang="en-US" sz="1050" dirty="0" smtClean="0"/>
              <a:t>Complete consolidation and virtualization of backup IT</a:t>
            </a:r>
          </a:p>
          <a:p>
            <a:pPr>
              <a:lnSpc>
                <a:spcPct val="100000"/>
              </a:lnSpc>
            </a:pPr>
            <a:r>
              <a:rPr lang="en-US" sz="1050" dirty="0" smtClean="0"/>
              <a:t>Unmatched scale-out scalability up to 22 PB</a:t>
            </a:r>
          </a:p>
          <a:p>
            <a:pPr>
              <a:lnSpc>
                <a:spcPct val="100000"/>
              </a:lnSpc>
            </a:pPr>
            <a:r>
              <a:rPr lang="en-US" sz="1050" dirty="0" smtClean="0"/>
              <a:t>Leading DR and HA technology</a:t>
            </a:r>
          </a:p>
          <a:p>
            <a:pPr marL="220663" indent="-220663">
              <a:lnSpc>
                <a:spcPct val="110000"/>
              </a:lnSpc>
              <a:spcBef>
                <a:spcPts val="400"/>
              </a:spcBef>
              <a:spcAft>
                <a:spcPts val="200"/>
              </a:spcAft>
              <a:buClr>
                <a:schemeClr val="accent2"/>
              </a:buClr>
              <a:buFont typeface="Wingdings" pitchFamily="2" charset="2"/>
              <a:buChar char="n"/>
            </a:pPr>
            <a:r>
              <a:rPr lang="en-US" sz="1050" dirty="0" smtClean="0">
                <a:solidFill>
                  <a:schemeClr val="tx1"/>
                </a:solidFill>
              </a:rPr>
              <a:t>Virtualizes all target systems creating one logical platform (black box)</a:t>
            </a:r>
          </a:p>
          <a:p>
            <a:pPr marL="220663" indent="-220663">
              <a:lnSpc>
                <a:spcPct val="110000"/>
              </a:lnSpc>
              <a:spcBef>
                <a:spcPts val="400"/>
              </a:spcBef>
              <a:spcAft>
                <a:spcPts val="200"/>
              </a:spcAft>
              <a:buClr>
                <a:schemeClr val="accent2"/>
              </a:buClr>
              <a:buFont typeface="Wingdings" pitchFamily="2" charset="2"/>
              <a:buChar char="n"/>
            </a:pPr>
            <a:r>
              <a:rPr lang="en-US" sz="1050" dirty="0" smtClean="0">
                <a:solidFill>
                  <a:schemeClr val="tx1"/>
                </a:solidFill>
              </a:rPr>
              <a:t>Radically consolidates target systems</a:t>
            </a:r>
          </a:p>
          <a:p>
            <a:pPr marL="220663" indent="-220663">
              <a:lnSpc>
                <a:spcPct val="110000"/>
              </a:lnSpc>
              <a:spcBef>
                <a:spcPts val="400"/>
              </a:spcBef>
              <a:spcAft>
                <a:spcPts val="200"/>
              </a:spcAft>
              <a:buClr>
                <a:schemeClr val="accent2"/>
              </a:buClr>
              <a:buFont typeface="Wingdings" pitchFamily="2" charset="2"/>
              <a:buChar char="n"/>
            </a:pPr>
            <a:r>
              <a:rPr lang="en-US" sz="1050" dirty="0" smtClean="0">
                <a:solidFill>
                  <a:schemeClr val="tx1"/>
                </a:solidFill>
              </a:rPr>
              <a:t>Delivers an uniform management of tape and disk systems</a:t>
            </a:r>
          </a:p>
          <a:p>
            <a:endParaRPr lang="en-US" baseline="0" noProof="0" dirty="0" smtClean="0"/>
          </a:p>
          <a:p>
            <a:pPr marL="0" indent="0">
              <a:buNone/>
            </a:pPr>
            <a:r>
              <a:rPr lang="en-US" baseline="0" noProof="0" dirty="0" smtClean="0"/>
              <a:t>There are two types of backup appliances – target based and integrated.</a:t>
            </a:r>
          </a:p>
          <a:p>
            <a:r>
              <a:rPr lang="en-US" baseline="0" noProof="0" dirty="0" smtClean="0"/>
              <a:t>Here you see the target-based backup appliance: </a:t>
            </a:r>
          </a:p>
          <a:p>
            <a:pPr lvl="1"/>
            <a:r>
              <a:rPr lang="en-US" baseline="0" noProof="0" dirty="0" smtClean="0"/>
              <a:t>Fujitsu offers two target-based backup appliances: </a:t>
            </a:r>
          </a:p>
          <a:p>
            <a:pPr lvl="2"/>
            <a:r>
              <a:rPr lang="en-US" baseline="0" noProof="0" dirty="0" smtClean="0"/>
              <a:t>The ETERNUS CS800 deduplication appliance </a:t>
            </a:r>
          </a:p>
          <a:p>
            <a:pPr lvl="2"/>
            <a:r>
              <a:rPr lang="en-US" baseline="0" noProof="0" dirty="0" smtClean="0"/>
              <a:t>and the  ETERNUS CS8000 the unified data protection appliance.</a:t>
            </a:r>
          </a:p>
          <a:p>
            <a:pPr marL="0" indent="0">
              <a:spcBef>
                <a:spcPts val="0"/>
              </a:spcBef>
              <a:spcAft>
                <a:spcPts val="0"/>
              </a:spcAft>
              <a:buNone/>
            </a:pPr>
            <a:r>
              <a:rPr lang="en-US" noProof="0" dirty="0" smtClean="0"/>
              <a:t>The backup software is separate and is installed on a so called backup server. The software takes care for the generation management of the different data copies and controls the backup and recovery process between the production systems and the </a:t>
            </a:r>
            <a:r>
              <a:rPr lang="en-US" baseline="0" noProof="0" dirty="0" smtClean="0"/>
              <a:t>target-based backup appliances.</a:t>
            </a:r>
          </a:p>
          <a:p>
            <a:pPr marL="0" indent="0">
              <a:buNone/>
            </a:pPr>
            <a:endParaRPr lang="en-US" noProof="0" dirty="0" smtClean="0"/>
          </a:p>
          <a:p>
            <a:pPr marL="0" indent="0">
              <a:buNone/>
            </a:pPr>
            <a:endParaRPr lang="en-US" noProof="0" dirty="0" smtClean="0"/>
          </a:p>
          <a:p>
            <a:pPr marL="0" indent="0">
              <a:buNone/>
            </a:pPr>
            <a:r>
              <a:rPr lang="en-US" noProof="0" dirty="0" smtClean="0"/>
              <a:t>Now</a:t>
            </a:r>
            <a:r>
              <a:rPr lang="en-US" dirty="0" smtClean="0"/>
              <a:t>: What is an</a:t>
            </a:r>
            <a:r>
              <a:rPr lang="en-US" baseline="0" dirty="0" smtClean="0"/>
              <a:t> </a:t>
            </a:r>
            <a:r>
              <a:rPr lang="en-US" dirty="0" smtClean="0"/>
              <a:t>integrated backup appliance.</a:t>
            </a:r>
            <a:endParaRPr lang="en-US" baseline="0" noProof="0" dirty="0" smtClean="0"/>
          </a:p>
          <a:p>
            <a:pPr marL="0" indent="0">
              <a:buNone/>
            </a:pPr>
            <a:endParaRPr lang="en-US" noProof="0" dirty="0" smtClean="0"/>
          </a:p>
          <a:p>
            <a:pPr marL="0" indent="0">
              <a:lnSpc>
                <a:spcPct val="100000"/>
              </a:lnSpc>
              <a:buNone/>
            </a:pPr>
            <a:r>
              <a:rPr lang="en-US" sz="1050" dirty="0" smtClean="0"/>
              <a:t>ETERNUS CS200c                                                                </a:t>
            </a:r>
          </a:p>
          <a:p>
            <a:pPr marL="0" marR="0" lvl="1" indent="0" algn="l" defTabSz="914400" rtl="0" eaLnBrk="1" fontAlgn="auto" latinLnBrk="0" hangingPunct="1">
              <a:lnSpc>
                <a:spcPct val="100000"/>
              </a:lnSpc>
              <a:spcBef>
                <a:spcPts val="516"/>
              </a:spcBef>
              <a:spcAft>
                <a:spcPts val="288"/>
              </a:spcAft>
              <a:buClr>
                <a:schemeClr val="accent2"/>
              </a:buClr>
              <a:buSzTx/>
              <a:buFont typeface="Wingdings" pitchFamily="2" charset="2"/>
              <a:buNone/>
              <a:tabLst/>
              <a:defRPr/>
            </a:pPr>
            <a:r>
              <a:rPr lang="en-US" sz="1050" dirty="0" smtClean="0"/>
              <a:t>(start in EMEIA)</a:t>
            </a:r>
            <a:r>
              <a:rPr lang="en-US" baseline="0" noProof="0" dirty="0" smtClean="0"/>
              <a:t> </a:t>
            </a:r>
          </a:p>
          <a:p>
            <a:pPr marL="0" marR="0" lvl="1" indent="0" algn="l" defTabSz="914400" rtl="0" eaLnBrk="1" fontAlgn="auto" latinLnBrk="0" hangingPunct="1">
              <a:lnSpc>
                <a:spcPct val="100000"/>
              </a:lnSpc>
              <a:spcBef>
                <a:spcPts val="516"/>
              </a:spcBef>
              <a:spcAft>
                <a:spcPts val="288"/>
              </a:spcAft>
              <a:buClr>
                <a:schemeClr val="accent2"/>
              </a:buClr>
              <a:buSzTx/>
              <a:buFont typeface="Wingdings" pitchFamily="2" charset="2"/>
              <a:buNone/>
              <a:tabLst/>
              <a:defRPr/>
            </a:pPr>
            <a:r>
              <a:rPr lang="en-US" baseline="0" noProof="0" dirty="0" smtClean="0"/>
              <a:t>The integrated backup appliance is </a:t>
            </a:r>
            <a:r>
              <a:rPr lang="en-US" dirty="0" smtClean="0"/>
              <a:t>a standalone disk-based solution with the tightly integrated backup software. The red box shows our new integrated</a:t>
            </a:r>
            <a:r>
              <a:rPr lang="en-US" baseline="0" dirty="0" smtClean="0"/>
              <a:t> backup appliance - </a:t>
            </a:r>
            <a:r>
              <a:rPr lang="en-US" dirty="0" smtClean="0"/>
              <a:t>the ETERNUS CS200c Powered by Commvault.</a:t>
            </a:r>
          </a:p>
          <a:p>
            <a:pPr marL="0" marR="0" lvl="1" indent="0" algn="l" defTabSz="914400" rtl="0" eaLnBrk="1" fontAlgn="auto" latinLnBrk="0" hangingPunct="1">
              <a:lnSpc>
                <a:spcPct val="100000"/>
              </a:lnSpc>
              <a:spcBef>
                <a:spcPts val="516"/>
              </a:spcBef>
              <a:spcAft>
                <a:spcPts val="288"/>
              </a:spcAft>
              <a:buClr>
                <a:schemeClr val="accent2"/>
              </a:buClr>
              <a:buSzTx/>
              <a:buFont typeface="Wingdings" pitchFamily="2" charset="2"/>
              <a:buNone/>
              <a:tabLst/>
              <a:defRPr/>
            </a:pPr>
            <a:r>
              <a:rPr lang="en-US" dirty="0" smtClean="0"/>
              <a:t>The appliance combines the management and backup server, the backup software and online storage. </a:t>
            </a:r>
          </a:p>
          <a:p>
            <a:pPr marL="0" indent="0">
              <a:lnSpc>
                <a:spcPct val="100000"/>
              </a:lnSpc>
              <a:buNone/>
            </a:pPr>
            <a:endParaRPr lang="en-US" sz="1050" dirty="0" smtClean="0"/>
          </a:p>
          <a:p>
            <a:pPr>
              <a:lnSpc>
                <a:spcPct val="100000"/>
              </a:lnSpc>
            </a:pPr>
            <a:r>
              <a:rPr lang="en-US" sz="1050" dirty="0" smtClean="0"/>
              <a:t>Includes Commvault software and licenses depending on the model</a:t>
            </a:r>
          </a:p>
          <a:p>
            <a:pPr>
              <a:lnSpc>
                <a:spcPct val="100000"/>
              </a:lnSpc>
            </a:pPr>
            <a:r>
              <a:rPr lang="en-US" sz="1050" dirty="0" smtClean="0"/>
              <a:t>For disk backup and file archiving up to 96 TB</a:t>
            </a:r>
          </a:p>
          <a:p>
            <a:pPr>
              <a:lnSpc>
                <a:spcPct val="100000"/>
              </a:lnSpc>
            </a:pPr>
            <a:r>
              <a:rPr lang="en-US" sz="1050" dirty="0" smtClean="0"/>
              <a:t>Deduplication, replication functionality</a:t>
            </a:r>
          </a:p>
          <a:p>
            <a:pPr marL="0" indent="0">
              <a:buNone/>
            </a:pPr>
            <a:endParaRPr lang="en-US" noProof="0" dirty="0" smtClean="0"/>
          </a:p>
          <a:p>
            <a:pPr marL="182563" indent="-182563">
              <a:spcBef>
                <a:spcPts val="200"/>
              </a:spcBef>
              <a:buClr>
                <a:schemeClr val="accent2"/>
              </a:buClr>
              <a:buFont typeface="Wingdings" pitchFamily="2" charset="2"/>
              <a:buChar char="n"/>
            </a:pPr>
            <a:r>
              <a:rPr lang="en-US" sz="1050" dirty="0" smtClean="0">
                <a:solidFill>
                  <a:schemeClr val="tx1"/>
                </a:solidFill>
                <a:latin typeface="Arial" pitchFamily="34" charset="0"/>
                <a:cs typeface="Arial" pitchFamily="34" charset="0"/>
              </a:rPr>
              <a:t>Backup solution integrating hardware and backup software dramatically reduces evaluation and deployment efforts (time, skills, customer involvement)</a:t>
            </a:r>
          </a:p>
          <a:p>
            <a:pPr marL="182563" marR="0" indent="-182563" algn="l" defTabSz="914400" rtl="0" eaLnBrk="1" fontAlgn="auto" latinLnBrk="0" hangingPunct="1">
              <a:lnSpc>
                <a:spcPct val="100000"/>
              </a:lnSpc>
              <a:spcBef>
                <a:spcPts val="200"/>
              </a:spcBef>
              <a:spcAft>
                <a:spcPts val="288"/>
              </a:spcAft>
              <a:buClr>
                <a:schemeClr val="accent2"/>
              </a:buClr>
              <a:buSzTx/>
              <a:buFont typeface="Wingdings" pitchFamily="2" charset="2"/>
              <a:buChar char="n"/>
              <a:tabLst/>
              <a:defRPr/>
            </a:pPr>
            <a:r>
              <a:rPr lang="en-US" sz="1050" dirty="0" smtClean="0">
                <a:solidFill>
                  <a:schemeClr val="tx1"/>
                </a:solidFill>
              </a:rPr>
              <a:t>Pre-loaded, pre-configured and customizable solution enables quick start-up and integration and </a:t>
            </a:r>
            <a:r>
              <a:rPr lang="en-US" sz="1050" dirty="0" smtClean="0">
                <a:solidFill>
                  <a:schemeClr val="tx1"/>
                </a:solidFill>
                <a:latin typeface="Arial" pitchFamily="34" charset="0"/>
                <a:cs typeface="Arial" pitchFamily="34" charset="0"/>
              </a:rPr>
              <a:t>saves customer time and money</a:t>
            </a:r>
            <a:endParaRPr lang="en-US" sz="1050" dirty="0" smtClean="0">
              <a:solidFill>
                <a:schemeClr val="tx1"/>
              </a:solidFill>
            </a:endParaRPr>
          </a:p>
          <a:p>
            <a:pPr marL="182563" indent="-182563">
              <a:spcBef>
                <a:spcPts val="200"/>
              </a:spcBef>
              <a:buClr>
                <a:schemeClr val="accent2"/>
              </a:buClr>
              <a:buFont typeface="Wingdings" pitchFamily="2" charset="2"/>
              <a:buChar char="n"/>
            </a:pPr>
            <a:r>
              <a:rPr lang="en-US" sz="1050" dirty="0" smtClean="0">
                <a:solidFill>
                  <a:schemeClr val="tx1"/>
                </a:solidFill>
                <a:latin typeface="Arial" pitchFamily="34" charset="0"/>
                <a:cs typeface="Arial" pitchFamily="34" charset="0"/>
              </a:rPr>
              <a:t>Backup and archive capabilities within one appliance for professional data protection</a:t>
            </a:r>
          </a:p>
          <a:p>
            <a:pPr marL="182563" indent="-182563">
              <a:spcBef>
                <a:spcPts val="200"/>
              </a:spcBef>
              <a:buClr>
                <a:schemeClr val="accent2"/>
              </a:buClr>
              <a:buFont typeface="Wingdings" pitchFamily="2" charset="2"/>
              <a:buChar char="n"/>
            </a:pPr>
            <a:r>
              <a:rPr lang="en-US" sz="1050" dirty="0" smtClean="0">
                <a:solidFill>
                  <a:schemeClr val="tx1"/>
                </a:solidFill>
                <a:latin typeface="Arial" pitchFamily="34" charset="0"/>
                <a:cs typeface="Arial" pitchFamily="34" charset="0"/>
              </a:rPr>
              <a:t>Multiple licensing options in configurations that are scale- and performance-optimized to simplify deployment and maximize resources</a:t>
            </a:r>
          </a:p>
          <a:p>
            <a:pPr marL="0" indent="0">
              <a:buNone/>
            </a:pPr>
            <a:endParaRPr lang="en-US" noProof="0" dirty="0" smtClean="0"/>
          </a:p>
          <a:p>
            <a:endParaRPr lang="en-US" noProof="0" dirty="0" smtClean="0"/>
          </a:p>
          <a:p>
            <a:pPr marL="0" indent="0">
              <a:spcBef>
                <a:spcPts val="0"/>
              </a:spcBef>
              <a:spcAft>
                <a:spcPts val="0"/>
              </a:spcAft>
              <a:buNone/>
            </a:pPr>
            <a:endParaRPr lang="en-US" baseline="0" noProof="0" dirty="0" smtClean="0"/>
          </a:p>
        </p:txBody>
      </p:sp>
      <p:sp>
        <p:nvSpPr>
          <p:cNvPr id="4" name="Foliennummernplatzhalter 3"/>
          <p:cNvSpPr>
            <a:spLocks noGrp="1"/>
          </p:cNvSpPr>
          <p:nvPr>
            <p:ph type="sldNum" sz="quarter" idx="10"/>
          </p:nvPr>
        </p:nvSpPr>
        <p:spPr>
          <a:xfrm>
            <a:off x="3884616" y="8643602"/>
            <a:ext cx="2952000" cy="500400"/>
          </a:xfrm>
          <a:prstGeom prst="rect">
            <a:avLst/>
          </a:prstGeom>
        </p:spPr>
        <p:txBody>
          <a:bodyPr/>
          <a:lstStyle/>
          <a:p>
            <a:fld id="{12BC81D3-C59B-4C63-B840-07ACB8BAB3C6}" type="slidenum">
              <a:rPr lang="en-GB" smtClean="0">
                <a:solidFill>
                  <a:prstClr val="black"/>
                </a:solidFill>
                <a:latin typeface="Calibri"/>
              </a:rPr>
              <a:pPr/>
              <a:t>12</a:t>
            </a:fld>
            <a:endParaRPr lang="en-GB" dirty="0">
              <a:solidFill>
                <a:prstClr val="black"/>
              </a:solidFill>
              <a:latin typeface="Calibri"/>
            </a:endParaRPr>
          </a:p>
        </p:txBody>
      </p:sp>
      <p:sp>
        <p:nvSpPr>
          <p:cNvPr id="5" name="Fußzeilenplatzhalter 4"/>
          <p:cNvSpPr>
            <a:spLocks noGrp="1"/>
          </p:cNvSpPr>
          <p:nvPr>
            <p:ph type="ftr" sz="quarter" idx="11"/>
          </p:nvPr>
        </p:nvSpPr>
        <p:spPr>
          <a:xfrm>
            <a:off x="2" y="8643605"/>
            <a:ext cx="2951999" cy="500400"/>
          </a:xfrm>
          <a:prstGeom prst="rect">
            <a:avLst/>
          </a:prstGeom>
        </p:spPr>
        <p:txBody>
          <a:bodyPr/>
          <a:lstStyle/>
          <a:p>
            <a:r>
              <a:rPr lang="en-GB" dirty="0" smtClean="0">
                <a:solidFill>
                  <a:prstClr val="black"/>
                </a:solidFill>
                <a:latin typeface="Calibri"/>
              </a:rPr>
              <a:t>Copyright 2015 FUJITSU</a:t>
            </a:r>
            <a:endParaRPr lang="en-GB" dirty="0">
              <a:solidFill>
                <a:prstClr val="black"/>
              </a:solidFill>
              <a:latin typeface="Calibri"/>
            </a:endParaRPr>
          </a:p>
        </p:txBody>
      </p:sp>
      <p:sp>
        <p:nvSpPr>
          <p:cNvPr id="6" name="Datumsplatzhalter 5"/>
          <p:cNvSpPr>
            <a:spLocks noGrp="1"/>
          </p:cNvSpPr>
          <p:nvPr>
            <p:ph type="dt" idx="12"/>
          </p:nvPr>
        </p:nvSpPr>
        <p:spPr/>
        <p:txBody>
          <a:bodyPr/>
          <a:lstStyle/>
          <a:p>
            <a:r>
              <a:rPr lang="en-US" dirty="0" smtClean="0">
                <a:solidFill>
                  <a:prstClr val="black"/>
                </a:solidFill>
                <a:latin typeface="Calibri"/>
              </a:rPr>
              <a:t>7/22/2015</a:t>
            </a:r>
            <a:endParaRPr lang="en-US" dirty="0">
              <a:solidFill>
                <a:prstClr val="black"/>
              </a:solidFill>
              <a:latin typeface="Calibri"/>
            </a:endParaRPr>
          </a:p>
        </p:txBody>
      </p:sp>
      <p:sp>
        <p:nvSpPr>
          <p:cNvPr id="7" name="Kopfzeilenplatzhalter 6"/>
          <p:cNvSpPr>
            <a:spLocks noGrp="1"/>
          </p:cNvSpPr>
          <p:nvPr>
            <p:ph type="hdr" sz="quarter" idx="13"/>
          </p:nvPr>
        </p:nvSpPr>
        <p:spPr/>
        <p:txBody>
          <a:bodyPr/>
          <a:lstStyle/>
          <a:p>
            <a:r>
              <a:rPr lang="de-DE" smtClean="0">
                <a:solidFill>
                  <a:prstClr val="black"/>
                </a:solidFill>
                <a:latin typeface="Calibri"/>
              </a:rPr>
              <a:t>Webcast: ETERNUS CS200c</a:t>
            </a:r>
            <a:endParaRPr lang="en-US" dirty="0">
              <a:solidFill>
                <a:prstClr val="black"/>
              </a:solidFill>
              <a:latin typeface="Calibri"/>
            </a:endParaRPr>
          </a:p>
        </p:txBody>
      </p:sp>
    </p:spTree>
    <p:extLst>
      <p:ext uri="{BB962C8B-B14F-4D97-AF65-F5344CB8AC3E}">
        <p14:creationId xmlns:p14="http://schemas.microsoft.com/office/powerpoint/2010/main" val="16420803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pPr marL="182563" indent="-182563">
              <a:buFont typeface="Arial" panose="020B0604020202020204" pitchFamily="34" charset="0"/>
              <a:buChar char="•"/>
            </a:pPr>
            <a:r>
              <a:rPr lang="en-US" sz="1200" b="0" i="0" u="none" strike="noStrike" kern="1200" baseline="0" dirty="0" smtClean="0">
                <a:solidFill>
                  <a:schemeClr val="tx1"/>
                </a:solidFill>
                <a:latin typeface="Arial" pitchFamily="34" charset="0"/>
                <a:ea typeface="+mn-ea"/>
                <a:cs typeface="Arial" pitchFamily="34" charset="0"/>
              </a:rPr>
              <a:t>FUJITSU Storage ETERNUS CS200c is the backup appliance in a box for simple and reliable data backup to hard disks. Integrated deduplication, ease of use and scalable capacity and functionality guarantee that the appliance delivers the highest levels of efficiency and investment protection, even as requirements continue to grow.</a:t>
            </a:r>
          </a:p>
          <a:p>
            <a:pPr marL="182563" marR="0"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endParaRPr lang="de-DE" dirty="0" smtClean="0">
              <a:effectLst/>
            </a:endParaRPr>
          </a:p>
          <a:p>
            <a:r>
              <a:rPr lang="en-US" sz="1200" kern="1200" dirty="0" smtClean="0">
                <a:solidFill>
                  <a:schemeClr val="tx1"/>
                </a:solidFill>
                <a:effectLst/>
                <a:latin typeface="Arial" pitchFamily="34" charset="0"/>
                <a:ea typeface="+mn-ea"/>
                <a:cs typeface="Arial" pitchFamily="34" charset="0"/>
              </a:rPr>
              <a:t>A powerful combination of Fujitsu PRIMERGY Server and ETERNUS Storage hardware integrated with Commvault software</a:t>
            </a:r>
          </a:p>
          <a:p>
            <a:r>
              <a:rPr lang="en-US" sz="1200" kern="1200" dirty="0" smtClean="0">
                <a:solidFill>
                  <a:schemeClr val="tx1"/>
                </a:solidFill>
                <a:effectLst/>
                <a:latin typeface="Arial" pitchFamily="34" charset="0"/>
                <a:ea typeface="+mn-ea"/>
                <a:cs typeface="Arial" pitchFamily="34" charset="0"/>
              </a:rPr>
              <a:t>Two leaders in data protection hardware and software have partnered to bring you an integrated backup appliance that closes the scalability, flexibility and manageability gaps in current competitive offerings.</a:t>
            </a:r>
          </a:p>
          <a:p>
            <a:pPr marL="0" marR="0" indent="0" algn="l" defTabSz="914400" rtl="0" eaLnBrk="1" fontAlgn="auto" latinLnBrk="0" hangingPunct="1">
              <a:lnSpc>
                <a:spcPct val="100000"/>
              </a:lnSpc>
              <a:spcBef>
                <a:spcPts val="516"/>
              </a:spcBef>
              <a:spcAft>
                <a:spcPts val="288"/>
              </a:spcAft>
              <a:buClr>
                <a:schemeClr val="accent2"/>
              </a:buClr>
              <a:buSzTx/>
              <a:buFont typeface="Wingdings" pitchFamily="2" charset="2"/>
              <a:buNone/>
              <a:tabLst/>
              <a:defRPr/>
            </a:pPr>
            <a:r>
              <a:rPr lang="en-US" dirty="0" smtClean="0">
                <a:effectLst/>
              </a:rPr>
              <a:t>The ETERNUS CS200c combines Commvault software with a PRIMERGY server and ETERNUS storage in a pre-tested and validated integrated backup appliance. It’s available with multiple licensing options in configurations that are scale- and performance-optimized to simplify deployment and maximize resources.</a:t>
            </a:r>
          </a:p>
          <a:p>
            <a:pPr marL="0" indent="0">
              <a:buNone/>
            </a:pPr>
            <a:endParaRPr lang="en-US" sz="1200" kern="1200" dirty="0" smtClean="0">
              <a:solidFill>
                <a:schemeClr val="tx1"/>
              </a:solidFill>
              <a:effectLst/>
              <a:latin typeface="Arial" pitchFamily="34" charset="0"/>
              <a:ea typeface="+mn-ea"/>
              <a:cs typeface="Arial" pitchFamily="34" charset="0"/>
            </a:endParaRPr>
          </a:p>
          <a:p>
            <a:r>
              <a:rPr lang="en-US" sz="1200" kern="1200" dirty="0" smtClean="0">
                <a:solidFill>
                  <a:schemeClr val="tx1"/>
                </a:solidFill>
                <a:effectLst/>
                <a:latin typeface="Arial" pitchFamily="34" charset="0"/>
                <a:ea typeface="+mn-ea"/>
                <a:cs typeface="Arial" pitchFamily="34" charset="0"/>
              </a:rPr>
              <a:t>Powerful scalability</a:t>
            </a:r>
          </a:p>
          <a:p>
            <a:pPr marL="171450" lvl="0" indent="-171450">
              <a:buFont typeface="Arial" panose="020B0604020202020204" pitchFamily="34" charset="0"/>
              <a:buChar char="•"/>
            </a:pPr>
            <a:r>
              <a:rPr lang="en-US" sz="1200" kern="1200" dirty="0" smtClean="0">
                <a:solidFill>
                  <a:schemeClr val="tx1"/>
                </a:solidFill>
                <a:effectLst/>
                <a:latin typeface="Arial" pitchFamily="34" charset="0"/>
                <a:ea typeface="+mn-ea"/>
                <a:cs typeface="Arial" pitchFamily="34" charset="0"/>
              </a:rPr>
              <a:t>Plug-and-play scaling as your environment grows</a:t>
            </a:r>
          </a:p>
          <a:p>
            <a:pPr marL="171450" lvl="0" indent="-171450">
              <a:buFont typeface="Arial" panose="020B0604020202020204" pitchFamily="34" charset="0"/>
              <a:buChar char="•"/>
            </a:pPr>
            <a:r>
              <a:rPr lang="en-US" sz="1200" kern="1200" dirty="0" smtClean="0">
                <a:solidFill>
                  <a:schemeClr val="tx1"/>
                </a:solidFill>
                <a:effectLst/>
                <a:latin typeface="Arial" pitchFamily="34" charset="0"/>
                <a:ea typeface="+mn-ea"/>
                <a:cs typeface="Arial" pitchFamily="34" charset="0"/>
              </a:rPr>
              <a:t>Software resiliency and load balancing to complement hardware availability</a:t>
            </a:r>
          </a:p>
          <a:p>
            <a:r>
              <a:rPr lang="en-US" sz="1200" kern="1200" dirty="0" smtClean="0">
                <a:solidFill>
                  <a:schemeClr val="tx1"/>
                </a:solidFill>
                <a:effectLst/>
                <a:latin typeface="Arial" pitchFamily="34" charset="0"/>
                <a:ea typeface="+mn-ea"/>
                <a:cs typeface="Arial" pitchFamily="34" charset="0"/>
              </a:rPr>
              <a:t>Broad flexibility</a:t>
            </a:r>
          </a:p>
          <a:p>
            <a:pPr marL="171450" lvl="0" indent="-171450">
              <a:buFont typeface="Arial" panose="020B0604020202020204" pitchFamily="34" charset="0"/>
              <a:buChar char="•"/>
            </a:pPr>
            <a:r>
              <a:rPr lang="en-US" sz="1200" kern="1200" dirty="0" smtClean="0">
                <a:solidFill>
                  <a:schemeClr val="tx1"/>
                </a:solidFill>
                <a:effectLst/>
                <a:latin typeface="Arial" pitchFamily="34" charset="0"/>
                <a:ea typeface="+mn-ea"/>
                <a:cs typeface="Arial" pitchFamily="34" charset="0"/>
              </a:rPr>
              <a:t>Use a single node for smaller environments; easily combine appliances to extend your environment as you grow</a:t>
            </a:r>
          </a:p>
          <a:p>
            <a:pPr marL="171450" lvl="0" indent="-171450">
              <a:buFont typeface="Arial" panose="020B0604020202020204" pitchFamily="34" charset="0"/>
              <a:buChar char="•"/>
            </a:pPr>
            <a:r>
              <a:rPr lang="en-US" sz="1200" kern="1200" dirty="0" smtClean="0">
                <a:solidFill>
                  <a:schemeClr val="tx1"/>
                </a:solidFill>
                <a:effectLst/>
                <a:latin typeface="Arial" pitchFamily="34" charset="0"/>
                <a:ea typeface="+mn-ea"/>
                <a:cs typeface="Arial" pitchFamily="34" charset="0"/>
              </a:rPr>
              <a:t>Optional support for snapshot management, email archiving, tape out, search and eDiscovery</a:t>
            </a:r>
          </a:p>
          <a:p>
            <a:r>
              <a:rPr lang="en-US" sz="1200" kern="1200" dirty="0" smtClean="0">
                <a:solidFill>
                  <a:schemeClr val="tx1"/>
                </a:solidFill>
                <a:effectLst/>
                <a:latin typeface="Arial" pitchFamily="34" charset="0"/>
                <a:ea typeface="+mn-ea"/>
                <a:cs typeface="Arial" pitchFamily="34" charset="0"/>
              </a:rPr>
              <a:t>Simple, comprehensive management</a:t>
            </a:r>
          </a:p>
          <a:p>
            <a:pPr marL="171450" lvl="0" indent="-171450">
              <a:buFont typeface="Arial" panose="020B0604020202020204" pitchFamily="34" charset="0"/>
              <a:buChar char="•"/>
            </a:pPr>
            <a:r>
              <a:rPr lang="en-US" sz="1200" kern="1200" dirty="0" smtClean="0">
                <a:solidFill>
                  <a:schemeClr val="tx1"/>
                </a:solidFill>
                <a:effectLst/>
                <a:latin typeface="Arial" pitchFamily="34" charset="0"/>
                <a:ea typeface="+mn-ea"/>
                <a:cs typeface="Arial" pitchFamily="34" charset="0"/>
              </a:rPr>
              <a:t>Centralized management, reporting and client software deployment</a:t>
            </a:r>
          </a:p>
          <a:p>
            <a:pPr marL="171450" lvl="0" indent="-171450">
              <a:buFont typeface="Arial" panose="020B0604020202020204" pitchFamily="34" charset="0"/>
              <a:buChar char="•"/>
            </a:pPr>
            <a:r>
              <a:rPr lang="en-US" sz="1200" kern="1200" dirty="0" smtClean="0">
                <a:solidFill>
                  <a:schemeClr val="tx1"/>
                </a:solidFill>
                <a:effectLst/>
                <a:latin typeface="Arial" pitchFamily="34" charset="0"/>
                <a:ea typeface="+mn-ea"/>
                <a:cs typeface="Arial" pitchFamily="34" charset="0"/>
              </a:rPr>
              <a:t>Single package and point of contact for software, server and storage hardware, and support</a:t>
            </a:r>
          </a:p>
          <a:p>
            <a:pPr marL="182563" indent="-182563"/>
            <a:endParaRPr lang="en-US" sz="1200" b="0" i="0" u="none" strike="noStrike" kern="1200" baseline="0" dirty="0" smtClean="0">
              <a:solidFill>
                <a:schemeClr val="tx1"/>
              </a:solidFill>
              <a:latin typeface="Arial" pitchFamily="34" charset="0"/>
              <a:ea typeface="+mn-ea"/>
              <a:cs typeface="Arial" pitchFamily="34" charset="0"/>
            </a:endParaRPr>
          </a:p>
        </p:txBody>
      </p:sp>
      <p:sp>
        <p:nvSpPr>
          <p:cNvPr id="4" name="Foliennummernplatzhalter 3"/>
          <p:cNvSpPr>
            <a:spLocks noGrp="1"/>
          </p:cNvSpPr>
          <p:nvPr>
            <p:ph type="sldNum" sz="quarter" idx="10"/>
          </p:nvPr>
        </p:nvSpPr>
        <p:spPr/>
        <p:txBody>
          <a:bodyPr/>
          <a:lstStyle/>
          <a:p>
            <a:fld id="{55432562-BCB0-9B48-AA01-C9FD609DB495}" type="slidenum">
              <a:rPr lang="en-US" smtClean="0">
                <a:solidFill>
                  <a:prstClr val="black"/>
                </a:solidFill>
                <a:latin typeface="Calibri"/>
              </a:rPr>
              <a:pPr/>
              <a:t>13</a:t>
            </a:fld>
            <a:endParaRPr lang="en-US">
              <a:solidFill>
                <a:prstClr val="black"/>
              </a:solidFill>
              <a:latin typeface="Calibri"/>
            </a:endParaRPr>
          </a:p>
        </p:txBody>
      </p:sp>
    </p:spTree>
    <p:extLst>
      <p:ext uri="{BB962C8B-B14F-4D97-AF65-F5344CB8AC3E}">
        <p14:creationId xmlns:p14="http://schemas.microsoft.com/office/powerpoint/2010/main" val="33721996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smtClean="0">
                <a:effectLst/>
              </a:rPr>
              <a:t>Today a significant number of customers ask for simplified handling of standard tasks within IT operation. They want to consolidate the grown data protection landscape to a single data protection platform, lower number of locations and minimize the risks deriving from transition processes of their IT. The flexible and scalable combination of pre-tested and optimally concerted components offers simple implementation and operation and enhanced productivity. Using an integrated backup appliance allows the customer to spend less time on IT and more time focusing on their core business. </a:t>
            </a:r>
          </a:p>
          <a:p>
            <a:pPr marL="171450" lvl="0" indent="-171450">
              <a:buFont typeface="Arial" panose="020B0604020202020204" pitchFamily="34" charset="0"/>
              <a:buChar char="•"/>
            </a:pPr>
            <a:r>
              <a:rPr lang="en-US" dirty="0" smtClean="0">
                <a:effectLst/>
              </a:rPr>
              <a:t>The Appliance provides a single functional block for mainstream data protection tasks which can be expanded both in terms of capacity and functionality. The integrated product meets the requirements of channel and offers building blocks for enterprises.</a:t>
            </a:r>
          </a:p>
          <a:p>
            <a:pPr marL="171450" lvl="0" indent="-171450">
              <a:buFont typeface="Arial" panose="020B0604020202020204" pitchFamily="34" charset="0"/>
              <a:buChar char="•"/>
            </a:pPr>
            <a:r>
              <a:rPr lang="en-US" dirty="0" smtClean="0">
                <a:effectLst/>
              </a:rPr>
              <a:t>The traditional do it yourself approach gets more and more complex. There are a myriad of Software and hardware products available. And it‘s very difficult and time-consuming to choose the right ones which meets customers requirements. The appliance reduces the deployment efforts. The components are pre-tested and synchronized providing better quality. A unified management makes it easy to administrate and schedule the whole backup process. This eliminates multiple management points, reduces risk and frees up administration resources and cost.  </a:t>
            </a:r>
          </a:p>
          <a:p>
            <a:endParaRPr lang="en-GB" baseline="0" dirty="0" smtClean="0"/>
          </a:p>
          <a:p>
            <a:endParaRPr lang="en-GB" dirty="0" smtClean="0"/>
          </a:p>
          <a:p>
            <a:endParaRPr lang="en-US" dirty="0"/>
          </a:p>
        </p:txBody>
      </p:sp>
      <p:sp>
        <p:nvSpPr>
          <p:cNvPr id="4" name="Slide Number Placeholder 3"/>
          <p:cNvSpPr>
            <a:spLocks noGrp="1"/>
          </p:cNvSpPr>
          <p:nvPr>
            <p:ph type="sldNum" sz="quarter" idx="10"/>
          </p:nvPr>
        </p:nvSpPr>
        <p:spPr/>
        <p:txBody>
          <a:bodyPr/>
          <a:lstStyle/>
          <a:p>
            <a:fld id="{55432562-BCB0-9B48-AA01-C9FD609DB495}" type="slidenum">
              <a:rPr lang="en-US" smtClean="0">
                <a:solidFill>
                  <a:prstClr val="black"/>
                </a:solidFill>
                <a:latin typeface="Calibri"/>
              </a:rPr>
              <a:pPr/>
              <a:t>14</a:t>
            </a:fld>
            <a:endParaRPr lang="en-US">
              <a:solidFill>
                <a:prstClr val="black"/>
              </a:solidFill>
              <a:latin typeface="Calibri"/>
            </a:endParaRPr>
          </a:p>
        </p:txBody>
      </p:sp>
    </p:spTree>
    <p:extLst>
      <p:ext uri="{BB962C8B-B14F-4D97-AF65-F5344CB8AC3E}">
        <p14:creationId xmlns:p14="http://schemas.microsoft.com/office/powerpoint/2010/main" val="32106512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2BC81D3-C59B-4C63-B840-07ACB8BAB3C6}" type="slidenum">
              <a:rPr lang="en-US" smtClean="0">
                <a:solidFill>
                  <a:prstClr val="black"/>
                </a:solidFill>
                <a:latin typeface="Calibri"/>
              </a:rPr>
              <a:pPr/>
              <a:t>15</a:t>
            </a:fld>
            <a:endParaRPr lang="ru-RU" dirty="0">
              <a:solidFill>
                <a:prstClr val="black"/>
              </a:solidFill>
              <a:latin typeface="Calibri"/>
            </a:endParaRPr>
          </a:p>
        </p:txBody>
      </p:sp>
      <p:sp>
        <p:nvSpPr>
          <p:cNvPr id="5" name="Footer Placeholder 4"/>
          <p:cNvSpPr>
            <a:spLocks noGrp="1"/>
          </p:cNvSpPr>
          <p:nvPr>
            <p:ph type="ftr" sz="quarter" idx="11"/>
          </p:nvPr>
        </p:nvSpPr>
        <p:spPr>
          <a:xfrm>
            <a:off x="0" y="8685213"/>
            <a:ext cx="2971800" cy="457200"/>
          </a:xfrm>
          <a:prstGeom prst="rect">
            <a:avLst/>
          </a:prstGeom>
        </p:spPr>
        <p:txBody>
          <a:bodyPr/>
          <a:lstStyle/>
          <a:p>
            <a:r>
              <a:rPr dirty="0" smtClean="0">
                <a:solidFill>
                  <a:prstClr val="black"/>
                </a:solidFill>
                <a:latin typeface="Calibri"/>
              </a:rPr>
              <a:t>Copyright 2011 FUJITSU</a:t>
            </a:r>
            <a:endParaRPr lang="ru-RU" dirty="0">
              <a:solidFill>
                <a:prstClr val="black"/>
              </a:solidFill>
              <a:latin typeface="Calibri"/>
            </a:endParaRPr>
          </a:p>
        </p:txBody>
      </p:sp>
      <p:sp>
        <p:nvSpPr>
          <p:cNvPr id="9" name="Slide Image Placeholder 8"/>
          <p:cNvSpPr>
            <a:spLocks noGrp="1" noRot="1" noChangeAspect="1"/>
          </p:cNvSpPr>
          <p:nvPr>
            <p:ph type="sldImg"/>
          </p:nvPr>
        </p:nvSpPr>
        <p:spPr>
          <a:xfrm>
            <a:off x="381000" y="685800"/>
            <a:ext cx="6096000" cy="3429000"/>
          </a:xfrm>
        </p:spPr>
      </p:sp>
      <p:sp>
        <p:nvSpPr>
          <p:cNvPr id="10" name="Notes Placeholder 9"/>
          <p:cNvSpPr>
            <a:spLocks noGrp="1"/>
          </p:cNvSpPr>
          <p:nvPr>
            <p:ph type="body" idx="1"/>
          </p:nvPr>
        </p:nvSpPr>
        <p:spPr/>
        <p:txBody>
          <a:bodyPr>
            <a:normAutofit/>
          </a:bodyPr>
          <a:lstStyle/>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Folienbildplatzhalt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883"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buFont typeface="Wingdings" panose="05000000000000000000" pitchFamily="2" charset="2"/>
              <a:buNone/>
            </a:pPr>
            <a:endParaRPr lang="ru-RU" sz="1100" smtClean="0"/>
          </a:p>
        </p:txBody>
      </p:sp>
      <p:sp>
        <p:nvSpPr>
          <p:cNvPr id="122884"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fld id="{D91336A5-82FA-4D9F-808A-1B3CE6B5C2F2}" type="slidenum">
              <a:rPr lang="en-GB">
                <a:solidFill>
                  <a:prstClr val="black"/>
                </a:solidFill>
              </a:rPr>
              <a:pPr/>
              <a:t>16</a:t>
            </a:fld>
            <a:endParaRPr lang="en-GB">
              <a:solidFill>
                <a:prstClr val="black"/>
              </a:solidFill>
            </a:endParaRPr>
          </a:p>
        </p:txBody>
      </p:sp>
      <p:sp>
        <p:nvSpPr>
          <p:cNvPr id="122885" name="Fußzeilenplatzhalter 4"/>
          <p:cNvSpPr>
            <a:spLocks noGrp="1"/>
          </p:cNvSpPr>
          <p:nvPr>
            <p:ph type="ftr" sz="quarter" idx="4"/>
          </p:nvPr>
        </p:nvSpPr>
        <p:spPr bwMode="auto">
          <a:xfrm>
            <a:off x="0" y="8685213"/>
            <a:ext cx="29718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GB" smtClean="0">
                <a:solidFill>
                  <a:prstClr val="black"/>
                </a:solidFill>
              </a:rPr>
              <a:t>Copyright 2014 FUJITSU</a:t>
            </a:r>
            <a:endParaRPr lang="en-GB">
              <a:solidFill>
                <a:prstClr val="black"/>
              </a:solidFill>
            </a:endParaRPr>
          </a:p>
        </p:txBody>
      </p:sp>
    </p:spTree>
    <p:extLst>
      <p:ext uri="{BB962C8B-B14F-4D97-AF65-F5344CB8AC3E}">
        <p14:creationId xmlns:p14="http://schemas.microsoft.com/office/powerpoint/2010/main" val="39631170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vert="horz" lIns="0" tIns="0" rIns="0" bIns="0" rtlCol="0">
            <a:noAutofit/>
          </a:bodyPr>
          <a:lstStyle/>
          <a:p>
            <a:pPr marL="0" indent="0">
              <a:spcBef>
                <a:spcPts val="0"/>
              </a:spcBef>
              <a:spcAft>
                <a:spcPts val="0"/>
              </a:spcAft>
              <a:buClr>
                <a:srgbClr val="A30B1A"/>
              </a:buClr>
              <a:buNone/>
            </a:pPr>
            <a:r>
              <a:rPr lang="en-US" sz="1200" dirty="0" smtClean="0">
                <a:solidFill>
                  <a:srgbClr val="000000"/>
                </a:solidFill>
              </a:rPr>
              <a:t>ETERNUS </a:t>
            </a:r>
            <a:r>
              <a:rPr lang="en-US" sz="1200" dirty="0">
                <a:solidFill>
                  <a:srgbClr val="000000"/>
                </a:solidFill>
              </a:rPr>
              <a:t>CS8000 </a:t>
            </a:r>
            <a:r>
              <a:rPr lang="en-US" sz="1200" dirty="0" smtClean="0">
                <a:solidFill>
                  <a:srgbClr val="000000"/>
                </a:solidFill>
              </a:rPr>
              <a:t>provides different protection functionalities for disaster protection. For example to </a:t>
            </a:r>
            <a:r>
              <a:rPr lang="en-US" sz="1200" dirty="0" smtClean="0"/>
              <a:t>write </a:t>
            </a:r>
            <a:r>
              <a:rPr lang="en-US" sz="1200" dirty="0"/>
              <a:t>data to a local </a:t>
            </a:r>
            <a:r>
              <a:rPr lang="en-US" sz="1200" dirty="0" smtClean="0"/>
              <a:t>tape library and </a:t>
            </a:r>
            <a:r>
              <a:rPr lang="en-US" sz="1200" dirty="0"/>
              <a:t>also to a remote </a:t>
            </a:r>
            <a:r>
              <a:rPr lang="en-US" sz="1200" dirty="0" smtClean="0"/>
              <a:t>tape library </a:t>
            </a:r>
            <a:r>
              <a:rPr lang="en-US" sz="1200" dirty="0"/>
              <a:t>over a long distance. This provides an easy way to introduce disaster resiliency with a remote copy on tape which will be available even if the complete data center is affected by a catastrophic event like fire or flooding.</a:t>
            </a:r>
          </a:p>
          <a:p>
            <a:pPr marL="0" marR="0" indent="0" algn="l" defTabSz="914400" rtl="0" eaLnBrk="1" fontAlgn="auto" latinLnBrk="0" hangingPunct="1">
              <a:lnSpc>
                <a:spcPct val="100000"/>
              </a:lnSpc>
              <a:spcBef>
                <a:spcPts val="0"/>
              </a:spcBef>
              <a:spcAft>
                <a:spcPts val="0"/>
              </a:spcAft>
              <a:buClr>
                <a:schemeClr val="accent2"/>
              </a:buClr>
              <a:buSzTx/>
              <a:buFont typeface="Wingdings" pitchFamily="2" charset="2"/>
              <a:buNone/>
              <a:tabLst/>
              <a:defRPr/>
            </a:pPr>
            <a:endParaRPr lang="en-US" sz="1200" dirty="0" smtClean="0"/>
          </a:p>
          <a:p>
            <a:pPr marL="0" marR="0" indent="0" algn="l" defTabSz="914400" rtl="0" eaLnBrk="1" fontAlgn="auto" latinLnBrk="0" hangingPunct="1">
              <a:lnSpc>
                <a:spcPct val="100000"/>
              </a:lnSpc>
              <a:spcBef>
                <a:spcPts val="0"/>
              </a:spcBef>
              <a:spcAft>
                <a:spcPts val="0"/>
              </a:spcAft>
              <a:buClr>
                <a:schemeClr val="accent2"/>
              </a:buClr>
              <a:buSzTx/>
              <a:buFont typeface="Wingdings" pitchFamily="2" charset="2"/>
              <a:buNone/>
              <a:tabLst/>
              <a:defRPr/>
            </a:pPr>
            <a:r>
              <a:rPr lang="en-US" sz="1200" dirty="0" smtClean="0"/>
              <a:t>ETERNUS CS8000 supports asynchronous replication to a remote ETERNUS CS8000 system. There is no extra replication software necessary. Data protection can be implemented especially for long distance replication in the range of thousands of kilometers. </a:t>
            </a:r>
          </a:p>
          <a:p>
            <a:pPr marL="0" indent="0">
              <a:spcBef>
                <a:spcPts val="0"/>
              </a:spcBef>
              <a:spcAft>
                <a:spcPts val="0"/>
              </a:spcAft>
              <a:buNone/>
            </a:pPr>
            <a:endParaRPr lang="en-US" sz="1200" dirty="0" smtClean="0"/>
          </a:p>
          <a:p>
            <a:pPr marL="0" indent="0">
              <a:spcBef>
                <a:spcPts val="0"/>
              </a:spcBef>
              <a:spcAft>
                <a:spcPts val="0"/>
              </a:spcAft>
              <a:buNone/>
            </a:pPr>
            <a:r>
              <a:rPr lang="en-US" sz="1200" dirty="0" smtClean="0"/>
              <a:t>The </a:t>
            </a:r>
            <a:r>
              <a:rPr lang="en-US" sz="1200" dirty="0"/>
              <a:t>core element of the most disaster resilient </a:t>
            </a:r>
            <a:r>
              <a:rPr lang="en-US" sz="1200" dirty="0" smtClean="0"/>
              <a:t>architecture,</a:t>
            </a:r>
            <a:r>
              <a:rPr lang="en-US" sz="1200" baseline="0" dirty="0" smtClean="0"/>
              <a:t> </a:t>
            </a:r>
            <a:r>
              <a:rPr lang="en-US" sz="1200" dirty="0" smtClean="0"/>
              <a:t>is </a:t>
            </a:r>
            <a:r>
              <a:rPr lang="en-US" sz="1200" dirty="0"/>
              <a:t>one logical ETERNUS CS8000 </a:t>
            </a:r>
            <a:r>
              <a:rPr lang="en-US" sz="1200" dirty="0" smtClean="0"/>
              <a:t>which </a:t>
            </a:r>
            <a:r>
              <a:rPr lang="en-US" sz="1200" dirty="0"/>
              <a:t>is spread over two geographically separated sites, the so called “split-site configuration” with cache mirror. The internal infrastructure is thereby extended to a second site which can be 100 km apart. Still the connected applications from the production environment see one logical setup without even being aware of the geographical location. The advantage is obvious: Although distributed across two sites, there is still only one single system. Data can be written to or read from both sites</a:t>
            </a:r>
            <a:r>
              <a:rPr lang="en-US" sz="1200" dirty="0" smtClean="0"/>
              <a:t>. </a:t>
            </a:r>
          </a:p>
          <a:p>
            <a:pPr marL="0" marR="0" indent="0" algn="l" defTabSz="914400" rtl="0" eaLnBrk="1" fontAlgn="auto" latinLnBrk="0" hangingPunct="1">
              <a:lnSpc>
                <a:spcPct val="100000"/>
              </a:lnSpc>
              <a:spcBef>
                <a:spcPts val="0"/>
              </a:spcBef>
              <a:spcAft>
                <a:spcPts val="0"/>
              </a:spcAft>
              <a:buClr>
                <a:schemeClr val="accent2"/>
              </a:buClr>
              <a:buSzTx/>
              <a:buFont typeface="Wingdings" pitchFamily="2" charset="2"/>
              <a:buNone/>
              <a:tabLst/>
              <a:defRPr/>
            </a:pPr>
            <a:r>
              <a:rPr lang="en-US" sz="1200" dirty="0" smtClean="0"/>
              <a:t>Furthermore,</a:t>
            </a:r>
            <a:r>
              <a:rPr lang="en-US" sz="1200" baseline="0" dirty="0" smtClean="0"/>
              <a:t> ETERNUS CS8000 can write data to attached tape libraries. </a:t>
            </a:r>
          </a:p>
          <a:p>
            <a:pPr marL="0" marR="0" indent="0" algn="l" defTabSz="914400" rtl="0" eaLnBrk="1" fontAlgn="auto" latinLnBrk="0" hangingPunct="1">
              <a:lnSpc>
                <a:spcPct val="100000"/>
              </a:lnSpc>
              <a:spcBef>
                <a:spcPts val="0"/>
              </a:spcBef>
              <a:spcAft>
                <a:spcPts val="0"/>
              </a:spcAft>
              <a:buClr>
                <a:schemeClr val="accent2"/>
              </a:buClr>
              <a:buSzTx/>
              <a:buFont typeface="Wingdings" pitchFamily="2" charset="2"/>
              <a:buNone/>
              <a:tabLst/>
              <a:defRPr/>
            </a:pPr>
            <a:endParaRPr lang="en-US" sz="1200" dirty="0" smtClean="0"/>
          </a:p>
          <a:p>
            <a:pPr marL="0" marR="0" indent="0" algn="l" defTabSz="914400" rtl="0" eaLnBrk="1" fontAlgn="auto" latinLnBrk="0" hangingPunct="1">
              <a:lnSpc>
                <a:spcPct val="100000"/>
              </a:lnSpc>
              <a:spcBef>
                <a:spcPts val="0"/>
              </a:spcBef>
              <a:spcAft>
                <a:spcPts val="0"/>
              </a:spcAft>
              <a:buClr>
                <a:schemeClr val="accent2"/>
              </a:buClr>
              <a:buSzTx/>
              <a:buFont typeface="Wingdings" pitchFamily="2" charset="2"/>
              <a:buNone/>
              <a:tabLst/>
              <a:defRPr/>
            </a:pPr>
            <a:endParaRPr lang="en-US" sz="1200" dirty="0" smtClean="0"/>
          </a:p>
        </p:txBody>
      </p:sp>
      <p:sp>
        <p:nvSpPr>
          <p:cNvPr id="4" name="Foliennummernplatzhalter 3"/>
          <p:cNvSpPr>
            <a:spLocks noGrp="1"/>
          </p:cNvSpPr>
          <p:nvPr>
            <p:ph type="sldNum" sz="quarter" idx="10"/>
          </p:nvPr>
        </p:nvSpPr>
        <p:spPr/>
        <p:txBody>
          <a:bodyPr/>
          <a:lstStyle/>
          <a:p>
            <a:fld id="{12BC81D3-C59B-4C63-B840-07ACB8BAB3C6}" type="slidenum">
              <a:rPr lang="en-GB" smtClean="0">
                <a:solidFill>
                  <a:prstClr val="black"/>
                </a:solidFill>
                <a:latin typeface="Calibri"/>
              </a:rPr>
              <a:pPr/>
              <a:t>17</a:t>
            </a:fld>
            <a:endParaRPr lang="en-GB" dirty="0">
              <a:solidFill>
                <a:prstClr val="black"/>
              </a:solidFill>
              <a:latin typeface="Calibri"/>
            </a:endParaRPr>
          </a:p>
        </p:txBody>
      </p:sp>
      <p:sp>
        <p:nvSpPr>
          <p:cNvPr id="5" name="Fußzeilenplatzhalter 4"/>
          <p:cNvSpPr>
            <a:spLocks noGrp="1"/>
          </p:cNvSpPr>
          <p:nvPr>
            <p:ph type="ftr" sz="quarter" idx="11"/>
          </p:nvPr>
        </p:nvSpPr>
        <p:spPr>
          <a:xfrm>
            <a:off x="0" y="8685213"/>
            <a:ext cx="2971800" cy="457200"/>
          </a:xfrm>
          <a:prstGeom prst="rect">
            <a:avLst/>
          </a:prstGeom>
        </p:spPr>
        <p:txBody>
          <a:bodyPr/>
          <a:lstStyle/>
          <a:p>
            <a:r>
              <a:rPr lang="en-GB" dirty="0" smtClean="0">
                <a:solidFill>
                  <a:prstClr val="black"/>
                </a:solidFill>
                <a:latin typeface="Calibri"/>
              </a:rPr>
              <a:t>Copyright 2017 FUJITSU</a:t>
            </a:r>
            <a:endParaRPr lang="en-GB" dirty="0">
              <a:solidFill>
                <a:prstClr val="black"/>
              </a:solidFill>
              <a:latin typeface="Calibri"/>
            </a:endParaRPr>
          </a:p>
        </p:txBody>
      </p:sp>
    </p:spTree>
    <p:extLst>
      <p:ext uri="{BB962C8B-B14F-4D97-AF65-F5344CB8AC3E}">
        <p14:creationId xmlns:p14="http://schemas.microsoft.com/office/powerpoint/2010/main" val="14892315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12BC81D3-C59B-4C63-B840-07ACB8BAB3C6}" type="slidenum">
              <a:rPr lang="en-GB" smtClean="0">
                <a:solidFill>
                  <a:prstClr val="black"/>
                </a:solidFill>
                <a:latin typeface="Calibri"/>
              </a:rPr>
              <a:pPr/>
              <a:t>18</a:t>
            </a:fld>
            <a:endParaRPr lang="en-GB" dirty="0">
              <a:solidFill>
                <a:prstClr val="black"/>
              </a:solidFill>
              <a:latin typeface="Calibri"/>
            </a:endParaRPr>
          </a:p>
        </p:txBody>
      </p:sp>
      <p:sp>
        <p:nvSpPr>
          <p:cNvPr id="5" name="Fußzeilenplatzhalter 4"/>
          <p:cNvSpPr>
            <a:spLocks noGrp="1"/>
          </p:cNvSpPr>
          <p:nvPr>
            <p:ph type="ftr" sz="quarter" idx="11"/>
          </p:nvPr>
        </p:nvSpPr>
        <p:spPr>
          <a:xfrm>
            <a:off x="0" y="8685213"/>
            <a:ext cx="2971800" cy="457200"/>
          </a:xfrm>
          <a:prstGeom prst="rect">
            <a:avLst/>
          </a:prstGeom>
        </p:spPr>
        <p:txBody>
          <a:bodyPr/>
          <a:lstStyle/>
          <a:p>
            <a:r>
              <a:rPr lang="en-GB" dirty="0" smtClean="0">
                <a:solidFill>
                  <a:prstClr val="black"/>
                </a:solidFill>
                <a:latin typeface="Calibri"/>
              </a:rPr>
              <a:t>Copyright 2017 FUJITSU</a:t>
            </a:r>
            <a:endParaRPr lang="en-GB" dirty="0">
              <a:solidFill>
                <a:prstClr val="black"/>
              </a:solidFill>
              <a:latin typeface="Calibri"/>
            </a:endParaRPr>
          </a:p>
        </p:txBody>
      </p:sp>
    </p:spTree>
    <p:extLst>
      <p:ext uri="{BB962C8B-B14F-4D97-AF65-F5344CB8AC3E}">
        <p14:creationId xmlns:p14="http://schemas.microsoft.com/office/powerpoint/2010/main" val="22292036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normAutofit/>
          </a:bodyPr>
          <a:lstStyle/>
          <a:p>
            <a:endParaRPr lang="en-GB" dirty="0"/>
          </a:p>
        </p:txBody>
      </p:sp>
      <p:sp>
        <p:nvSpPr>
          <p:cNvPr id="6" name="Footer Placeholder 5"/>
          <p:cNvSpPr>
            <a:spLocks noGrp="1"/>
          </p:cNvSpPr>
          <p:nvPr>
            <p:ph type="ftr" sz="quarter" idx="10"/>
          </p:nvPr>
        </p:nvSpPr>
        <p:spPr/>
        <p:txBody>
          <a:bodyPr/>
          <a:lstStyle/>
          <a:p>
            <a:r>
              <a:rPr lang="en-GB" dirty="0" smtClean="0">
                <a:solidFill>
                  <a:prstClr val="black"/>
                </a:solidFill>
                <a:latin typeface="Calibri"/>
              </a:rPr>
              <a:t>Copyright 2011 FUJITSU</a:t>
            </a:r>
            <a:endParaRPr lang="en-GB" dirty="0">
              <a:solidFill>
                <a:prstClr val="black"/>
              </a:solidFill>
              <a:latin typeface="Calibri"/>
            </a:endParaRPr>
          </a:p>
        </p:txBody>
      </p:sp>
      <p:sp>
        <p:nvSpPr>
          <p:cNvPr id="7" name="Slide Number Placeholder 6"/>
          <p:cNvSpPr>
            <a:spLocks noGrp="1"/>
          </p:cNvSpPr>
          <p:nvPr>
            <p:ph type="sldNum" sz="quarter" idx="11"/>
          </p:nvPr>
        </p:nvSpPr>
        <p:spPr/>
        <p:txBody>
          <a:bodyPr/>
          <a:lstStyle/>
          <a:p>
            <a:fld id="{12BC81D3-C59B-4C63-B840-07ACB8BAB3C6}" type="slidenum">
              <a:rPr lang="en-GB" smtClean="0">
                <a:solidFill>
                  <a:prstClr val="black"/>
                </a:solidFill>
                <a:latin typeface="Calibri"/>
              </a:rPr>
              <a:pPr/>
              <a:t>19</a:t>
            </a:fld>
            <a:endParaRPr lang="en-GB" dirty="0">
              <a:solidFill>
                <a:prstClr val="black"/>
              </a:solidFill>
              <a:latin typeface="Calibri"/>
            </a:endParaRPr>
          </a:p>
        </p:txBody>
      </p:sp>
    </p:spTree>
    <p:extLst>
      <p:ext uri="{BB962C8B-B14F-4D97-AF65-F5344CB8AC3E}">
        <p14:creationId xmlns:p14="http://schemas.microsoft.com/office/powerpoint/2010/main" val="41369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dirty="0" smtClean="0">
                <a:solidFill>
                  <a:schemeClr val="tx1"/>
                </a:solidFill>
                <a:effectLst/>
                <a:latin typeface="Fujitsu Sans" panose="020B0404060202020204" pitchFamily="34" charset="0"/>
                <a:ea typeface="+mn-ea"/>
                <a:cs typeface="Arial" pitchFamily="34" charset="0"/>
              </a:rPr>
              <a:t>These requirements have been fully embraced in the development of the next generation ETERNUS AF250 S2 and AF650 S2 all-flash and ETERNUS DX500 S4 and DX600 S4 hybrid storage systems. They are part of a fully compatible storage system family which can be seamlessly operated by a single and uniform management system called ETERNUS SF</a:t>
            </a:r>
            <a:endParaRPr lang="en-US" dirty="0"/>
          </a:p>
        </p:txBody>
      </p:sp>
      <p:sp>
        <p:nvSpPr>
          <p:cNvPr id="4" name="Slide Number Placeholder 3"/>
          <p:cNvSpPr>
            <a:spLocks noGrp="1"/>
          </p:cNvSpPr>
          <p:nvPr>
            <p:ph type="sldNum" sz="quarter" idx="10"/>
          </p:nvPr>
        </p:nvSpPr>
        <p:spPr/>
        <p:txBody>
          <a:bodyPr/>
          <a:lstStyle/>
          <a:p>
            <a:fld id="{12BC81D3-C59B-4C63-B840-07ACB8BAB3C6}" type="slidenum">
              <a:rPr lang="en-US" smtClean="0">
                <a:solidFill>
                  <a:prstClr val="black"/>
                </a:solidFill>
                <a:latin typeface="Calibri"/>
              </a:rPr>
              <a:pPr/>
              <a:t>3</a:t>
            </a:fld>
            <a:endParaRPr lang="en-US" dirty="0">
              <a:solidFill>
                <a:prstClr val="black"/>
              </a:solidFill>
              <a:latin typeface="Calibri"/>
            </a:endParaRPr>
          </a:p>
        </p:txBody>
      </p:sp>
      <p:sp>
        <p:nvSpPr>
          <p:cNvPr id="5" name="Footer Placeholder 4"/>
          <p:cNvSpPr>
            <a:spLocks noGrp="1"/>
          </p:cNvSpPr>
          <p:nvPr>
            <p:ph type="ftr" sz="quarter" idx="11"/>
          </p:nvPr>
        </p:nvSpPr>
        <p:spPr/>
        <p:txBody>
          <a:bodyPr/>
          <a:lstStyle/>
          <a:p>
            <a:r>
              <a:rPr lang="en-US" dirty="0" smtClean="0">
                <a:solidFill>
                  <a:prstClr val="black"/>
                </a:solidFill>
                <a:latin typeface="Calibri"/>
              </a:rPr>
              <a:t>Copyright 2017 FUJITSU</a:t>
            </a:r>
            <a:endParaRPr lang="en-US" dirty="0">
              <a:solidFill>
                <a:prstClr val="black"/>
              </a:solidFill>
              <a:latin typeface="Calibri"/>
            </a:endParaRPr>
          </a:p>
        </p:txBody>
      </p:sp>
    </p:spTree>
    <p:extLst>
      <p:ext uri="{BB962C8B-B14F-4D97-AF65-F5344CB8AC3E}">
        <p14:creationId xmlns:p14="http://schemas.microsoft.com/office/powerpoint/2010/main" val="2384486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238179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2BC81D3-C59B-4C63-B840-07ACB8BAB3C6}" type="slidenum">
              <a:rPr lang="en-US" smtClean="0">
                <a:solidFill>
                  <a:prstClr val="black"/>
                </a:solidFill>
                <a:latin typeface="Calibri"/>
              </a:rPr>
              <a:pPr/>
              <a:t>6</a:t>
            </a:fld>
            <a:endParaRPr lang="ru-RU" dirty="0">
              <a:solidFill>
                <a:prstClr val="black"/>
              </a:solidFill>
              <a:latin typeface="Calibri"/>
            </a:endParaRPr>
          </a:p>
        </p:txBody>
      </p:sp>
      <p:sp>
        <p:nvSpPr>
          <p:cNvPr id="5" name="Footer Placeholder 4"/>
          <p:cNvSpPr>
            <a:spLocks noGrp="1"/>
          </p:cNvSpPr>
          <p:nvPr>
            <p:ph type="ftr" sz="quarter" idx="11"/>
          </p:nvPr>
        </p:nvSpPr>
        <p:spPr>
          <a:xfrm>
            <a:off x="0" y="8685213"/>
            <a:ext cx="2971800" cy="457200"/>
          </a:xfrm>
          <a:prstGeom prst="rect">
            <a:avLst/>
          </a:prstGeom>
        </p:spPr>
        <p:txBody>
          <a:bodyPr/>
          <a:lstStyle/>
          <a:p>
            <a:r>
              <a:rPr dirty="0" smtClean="0">
                <a:solidFill>
                  <a:prstClr val="black"/>
                </a:solidFill>
                <a:latin typeface="Calibri"/>
              </a:rPr>
              <a:t>Copyright 2011 FUJITSU</a:t>
            </a:r>
            <a:endParaRPr lang="ru-RU" dirty="0">
              <a:solidFill>
                <a:prstClr val="black"/>
              </a:solidFill>
              <a:latin typeface="Calibri"/>
            </a:endParaRPr>
          </a:p>
        </p:txBody>
      </p:sp>
      <p:sp>
        <p:nvSpPr>
          <p:cNvPr id="9" name="Slide Image Placeholder 8"/>
          <p:cNvSpPr>
            <a:spLocks noGrp="1" noRot="1" noChangeAspect="1"/>
          </p:cNvSpPr>
          <p:nvPr>
            <p:ph type="sldImg"/>
          </p:nvPr>
        </p:nvSpPr>
        <p:spPr>
          <a:xfrm>
            <a:off x="381000" y="685800"/>
            <a:ext cx="6096000" cy="3429000"/>
          </a:xfrm>
        </p:spPr>
      </p:sp>
      <p:sp>
        <p:nvSpPr>
          <p:cNvPr id="10" name="Notes Placeholder 9"/>
          <p:cNvSpPr>
            <a:spLocks noGrp="1"/>
          </p:cNvSpPr>
          <p:nvPr>
            <p:ph type="body" idx="1"/>
          </p:nvPr>
        </p:nvSpPr>
        <p:spPr/>
        <p:txBody>
          <a:bodyPr>
            <a:normAutofit/>
          </a:bodyPr>
          <a:lstStyle/>
          <a:p>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lvl="0" indent="0">
              <a:spcBef>
                <a:spcPts val="0"/>
              </a:spcBef>
              <a:spcAft>
                <a:spcPts val="0"/>
              </a:spcAft>
              <a:buClr>
                <a:srgbClr val="A30B1A"/>
              </a:buClr>
              <a:buNone/>
            </a:pPr>
            <a:r>
              <a:rPr lang="en-US" sz="1200" dirty="0" smtClean="0">
                <a:solidFill>
                  <a:srgbClr val="000000"/>
                </a:solidFill>
              </a:rPr>
              <a:t>Here</a:t>
            </a:r>
            <a:r>
              <a:rPr lang="en-US" sz="1200" baseline="0" dirty="0" smtClean="0">
                <a:solidFill>
                  <a:srgbClr val="000000"/>
                </a:solidFill>
              </a:rPr>
              <a:t> you see a</a:t>
            </a:r>
            <a:r>
              <a:rPr lang="en-US" sz="1200" dirty="0" smtClean="0">
                <a:solidFill>
                  <a:srgbClr val="000000"/>
                </a:solidFill>
              </a:rPr>
              <a:t>s an example 3 different levels of data protection classification. These are typical examples from real customers – but nonetheless such a classification may also look different at different customers. </a:t>
            </a:r>
          </a:p>
          <a:p>
            <a:pPr marL="0" lvl="0" indent="0">
              <a:spcBef>
                <a:spcPts val="0"/>
              </a:spcBef>
              <a:spcAft>
                <a:spcPts val="0"/>
              </a:spcAft>
              <a:buClr>
                <a:srgbClr val="A30B1A"/>
              </a:buClr>
              <a:buNone/>
            </a:pPr>
            <a:endParaRPr lang="en-US" sz="1200" dirty="0" smtClean="0">
              <a:solidFill>
                <a:srgbClr val="000000"/>
              </a:solidFill>
            </a:endParaRPr>
          </a:p>
          <a:p>
            <a:pPr marL="0" lvl="0" indent="0">
              <a:spcBef>
                <a:spcPts val="0"/>
              </a:spcBef>
              <a:spcAft>
                <a:spcPts val="0"/>
              </a:spcAft>
              <a:buClr>
                <a:srgbClr val="A30B1A"/>
              </a:buClr>
              <a:buNone/>
            </a:pPr>
            <a:r>
              <a:rPr lang="en-US" sz="1200" dirty="0" smtClean="0">
                <a:solidFill>
                  <a:srgbClr val="000000"/>
                </a:solidFill>
              </a:rPr>
              <a:t>Our example categories are Bronze, Silver and Gold. The specifics refer to the number of locations and the number of backup copies as well as to the kind of media which is used to store the backup copies. </a:t>
            </a:r>
          </a:p>
          <a:p>
            <a:pPr marL="0" lvl="0" indent="0">
              <a:spcBef>
                <a:spcPts val="0"/>
              </a:spcBef>
              <a:spcAft>
                <a:spcPts val="0"/>
              </a:spcAft>
              <a:buClr>
                <a:srgbClr val="A30B1A"/>
              </a:buClr>
              <a:buNone/>
            </a:pPr>
            <a:r>
              <a:rPr lang="en-US" sz="1200" dirty="0" smtClean="0">
                <a:solidFill>
                  <a:srgbClr val="000000"/>
                </a:solidFill>
              </a:rPr>
              <a:t>For example the Bronze level requires just one copy – the Gold level on the other hand requires at least two copies at two locations.</a:t>
            </a:r>
          </a:p>
          <a:p>
            <a:pPr marL="0" lvl="0" indent="0">
              <a:spcBef>
                <a:spcPts val="0"/>
              </a:spcBef>
              <a:spcAft>
                <a:spcPts val="0"/>
              </a:spcAft>
              <a:buClr>
                <a:srgbClr val="A30B1A"/>
              </a:buClr>
              <a:buNone/>
            </a:pPr>
            <a:endParaRPr lang="en-US" sz="1200" dirty="0" smtClean="0">
              <a:solidFill>
                <a:srgbClr val="000000"/>
              </a:solidFill>
            </a:endParaRPr>
          </a:p>
          <a:p>
            <a:pPr marL="0" lvl="0" indent="0">
              <a:spcBef>
                <a:spcPts val="0"/>
              </a:spcBef>
              <a:spcAft>
                <a:spcPts val="0"/>
              </a:spcAft>
              <a:buClr>
                <a:srgbClr val="A30B1A"/>
              </a:buClr>
              <a:buNone/>
            </a:pPr>
            <a:r>
              <a:rPr lang="en-US" sz="1200" dirty="0" smtClean="0">
                <a:solidFill>
                  <a:srgbClr val="000000"/>
                </a:solidFill>
              </a:rPr>
              <a:t>The focus of some service levels may be to perform a fast backup – to keep the backup window as short as possible. </a:t>
            </a:r>
          </a:p>
          <a:p>
            <a:pPr marL="0" lvl="0" indent="0">
              <a:spcBef>
                <a:spcPts val="0"/>
              </a:spcBef>
              <a:spcAft>
                <a:spcPts val="0"/>
              </a:spcAft>
              <a:buClr>
                <a:srgbClr val="A30B1A"/>
              </a:buClr>
              <a:buNone/>
            </a:pPr>
            <a:endParaRPr lang="en-US" sz="1200" dirty="0" smtClean="0">
              <a:solidFill>
                <a:srgbClr val="000000"/>
              </a:solidFill>
            </a:endParaRPr>
          </a:p>
          <a:p>
            <a:pPr marL="0" lvl="0" indent="0">
              <a:spcBef>
                <a:spcPts val="0"/>
              </a:spcBef>
              <a:spcAft>
                <a:spcPts val="0"/>
              </a:spcAft>
              <a:buClr>
                <a:srgbClr val="A30B1A"/>
              </a:buClr>
              <a:buNone/>
            </a:pPr>
            <a:r>
              <a:rPr lang="en-US" sz="1200" dirty="0" smtClean="0">
                <a:solidFill>
                  <a:srgbClr val="000000"/>
                </a:solidFill>
              </a:rPr>
              <a:t>Other service levels may be defined with a focus on maximum data availability and fast recovery – here the backup infrastructure has to be designed with focus on the recovery process.</a:t>
            </a:r>
            <a:endParaRPr lang="de-DE" sz="1200" dirty="0" smtClean="0">
              <a:solidFill>
                <a:srgbClr val="000000"/>
              </a:solidFill>
            </a:endParaRPr>
          </a:p>
          <a:p>
            <a:pPr marL="0" indent="0">
              <a:buNone/>
            </a:pPr>
            <a:endParaRPr lang="en-US" sz="1200" dirty="0"/>
          </a:p>
        </p:txBody>
      </p:sp>
      <p:sp>
        <p:nvSpPr>
          <p:cNvPr id="4" name="Foliennummernplatzhalter 3"/>
          <p:cNvSpPr>
            <a:spLocks noGrp="1"/>
          </p:cNvSpPr>
          <p:nvPr>
            <p:ph type="sldNum" sz="quarter" idx="10"/>
          </p:nvPr>
        </p:nvSpPr>
        <p:spPr/>
        <p:txBody>
          <a:bodyPr/>
          <a:lstStyle/>
          <a:p>
            <a:fld id="{12BC81D3-C59B-4C63-B840-07ACB8BAB3C6}" type="slidenum">
              <a:rPr lang="en-GB" smtClean="0">
                <a:solidFill>
                  <a:prstClr val="black"/>
                </a:solidFill>
                <a:latin typeface="Calibri"/>
              </a:rPr>
              <a:pPr/>
              <a:t>7</a:t>
            </a:fld>
            <a:endParaRPr lang="en-GB" dirty="0">
              <a:solidFill>
                <a:prstClr val="black"/>
              </a:solidFill>
              <a:latin typeface="Calibri"/>
            </a:endParaRPr>
          </a:p>
        </p:txBody>
      </p:sp>
      <p:sp>
        <p:nvSpPr>
          <p:cNvPr id="5" name="Fußzeilenplatzhalter 4"/>
          <p:cNvSpPr>
            <a:spLocks noGrp="1"/>
          </p:cNvSpPr>
          <p:nvPr>
            <p:ph type="ftr" sz="quarter" idx="11"/>
          </p:nvPr>
        </p:nvSpPr>
        <p:spPr>
          <a:xfrm>
            <a:off x="0" y="8685213"/>
            <a:ext cx="2971800" cy="457200"/>
          </a:xfrm>
          <a:prstGeom prst="rect">
            <a:avLst/>
          </a:prstGeom>
        </p:spPr>
        <p:txBody>
          <a:bodyPr/>
          <a:lstStyle/>
          <a:p>
            <a:r>
              <a:rPr lang="en-GB" dirty="0" smtClean="0">
                <a:solidFill>
                  <a:prstClr val="black"/>
                </a:solidFill>
                <a:latin typeface="Calibri"/>
              </a:rPr>
              <a:t>Copyright 2017 FUJITSU</a:t>
            </a:r>
            <a:endParaRPr lang="en-GB" dirty="0">
              <a:solidFill>
                <a:prstClr val="black"/>
              </a:solidFill>
              <a:latin typeface="Calibri"/>
            </a:endParaRPr>
          </a:p>
        </p:txBody>
      </p:sp>
    </p:spTree>
    <p:extLst>
      <p:ext uri="{BB962C8B-B14F-4D97-AF65-F5344CB8AC3E}">
        <p14:creationId xmlns:p14="http://schemas.microsoft.com/office/powerpoint/2010/main" val="1396414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a:xfrm>
            <a:off x="549276" y="4572000"/>
            <a:ext cx="5759450" cy="3886200"/>
          </a:xfrm>
          <a:prstGeom prst="rect">
            <a:avLst/>
          </a:prstGeom>
        </p:spPr>
        <p:txBody>
          <a:bodyPr>
            <a:normAutofit/>
          </a:bodyPr>
          <a:lstStyle/>
          <a:p>
            <a:pPr marL="0" indent="0">
              <a:buNone/>
            </a:pPr>
            <a:endParaRPr lang="en-US" dirty="0"/>
          </a:p>
        </p:txBody>
      </p:sp>
      <p:sp>
        <p:nvSpPr>
          <p:cNvPr id="4" name="Foliennummernplatzhalter 3"/>
          <p:cNvSpPr>
            <a:spLocks noGrp="1"/>
          </p:cNvSpPr>
          <p:nvPr>
            <p:ph type="sldNum" sz="quarter" idx="10"/>
          </p:nvPr>
        </p:nvSpPr>
        <p:spPr/>
        <p:txBody>
          <a:bodyPr/>
          <a:lstStyle/>
          <a:p>
            <a:fld id="{EA5CCBC1-B65E-4975-93E1-0DC5ED59CC41}" type="slidenum">
              <a:rPr lang="en-US" smtClean="0">
                <a:solidFill>
                  <a:prstClr val="black"/>
                </a:solidFill>
                <a:latin typeface="Calibri"/>
              </a:rPr>
              <a:pPr/>
              <a:t>8</a:t>
            </a:fld>
            <a:endParaRPr lang="en-US" dirty="0">
              <a:solidFill>
                <a:prstClr val="black"/>
              </a:solidFill>
              <a:latin typeface="Calibri"/>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12BC81D3-C59B-4C63-B840-07ACB8BAB3C6}" type="slidenum">
              <a:rPr lang="en-GB" smtClean="0">
                <a:solidFill>
                  <a:prstClr val="black"/>
                </a:solidFill>
                <a:latin typeface="Calibri"/>
              </a:rPr>
              <a:pPr/>
              <a:t>9</a:t>
            </a:fld>
            <a:endParaRPr lang="en-GB" dirty="0">
              <a:solidFill>
                <a:prstClr val="black"/>
              </a:solidFill>
              <a:latin typeface="Calibri"/>
            </a:endParaRPr>
          </a:p>
        </p:txBody>
      </p:sp>
      <p:sp>
        <p:nvSpPr>
          <p:cNvPr id="5" name="Fußzeilenplatzhalter 4"/>
          <p:cNvSpPr>
            <a:spLocks noGrp="1"/>
          </p:cNvSpPr>
          <p:nvPr>
            <p:ph type="ftr" sz="quarter" idx="11"/>
          </p:nvPr>
        </p:nvSpPr>
        <p:spPr>
          <a:xfrm>
            <a:off x="0" y="8685213"/>
            <a:ext cx="2971800" cy="457200"/>
          </a:xfrm>
          <a:prstGeom prst="rect">
            <a:avLst/>
          </a:prstGeom>
        </p:spPr>
        <p:txBody>
          <a:bodyPr/>
          <a:lstStyle/>
          <a:p>
            <a:r>
              <a:rPr lang="en-GB" dirty="0" smtClean="0">
                <a:solidFill>
                  <a:prstClr val="black"/>
                </a:solidFill>
                <a:latin typeface="Calibri"/>
              </a:rPr>
              <a:t>Copyright 2014 FUJITSU</a:t>
            </a:r>
            <a:endParaRPr lang="en-GB" dirty="0">
              <a:solidFill>
                <a:prstClr val="black"/>
              </a:solidFill>
              <a:latin typeface="Calibri"/>
            </a:endParaRPr>
          </a:p>
        </p:txBody>
      </p:sp>
    </p:spTree>
    <p:extLst>
      <p:ext uri="{BB962C8B-B14F-4D97-AF65-F5344CB8AC3E}">
        <p14:creationId xmlns:p14="http://schemas.microsoft.com/office/powerpoint/2010/main" val="36557907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12BC81D3-C59B-4C63-B840-07ACB8BAB3C6}" type="slidenum">
              <a:rPr lang="en-GB" smtClean="0">
                <a:solidFill>
                  <a:prstClr val="black"/>
                </a:solidFill>
                <a:latin typeface="Calibri"/>
              </a:rPr>
              <a:pPr/>
              <a:t>10</a:t>
            </a:fld>
            <a:endParaRPr lang="en-GB" dirty="0">
              <a:solidFill>
                <a:prstClr val="black"/>
              </a:solidFill>
              <a:latin typeface="Calibri"/>
            </a:endParaRPr>
          </a:p>
        </p:txBody>
      </p:sp>
      <p:sp>
        <p:nvSpPr>
          <p:cNvPr id="5" name="Fußzeilenplatzhalter 4"/>
          <p:cNvSpPr>
            <a:spLocks noGrp="1"/>
          </p:cNvSpPr>
          <p:nvPr>
            <p:ph type="ftr" sz="quarter" idx="11"/>
          </p:nvPr>
        </p:nvSpPr>
        <p:spPr>
          <a:xfrm>
            <a:off x="0" y="8685213"/>
            <a:ext cx="2971800" cy="457200"/>
          </a:xfrm>
          <a:prstGeom prst="rect">
            <a:avLst/>
          </a:prstGeom>
        </p:spPr>
        <p:txBody>
          <a:bodyPr/>
          <a:lstStyle/>
          <a:p>
            <a:r>
              <a:rPr lang="en-GB" smtClean="0">
                <a:solidFill>
                  <a:prstClr val="black"/>
                </a:solidFill>
                <a:latin typeface="Calibri"/>
              </a:rPr>
              <a:t>Copyright 2014 FUJITSU</a:t>
            </a:r>
            <a:endParaRPr lang="en-GB" dirty="0">
              <a:solidFill>
                <a:prstClr val="black"/>
              </a:solidFill>
              <a:latin typeface="Calibri"/>
            </a:endParaRPr>
          </a:p>
        </p:txBody>
      </p:sp>
    </p:spTree>
    <p:extLst>
      <p:ext uri="{BB962C8B-B14F-4D97-AF65-F5344CB8AC3E}">
        <p14:creationId xmlns:p14="http://schemas.microsoft.com/office/powerpoint/2010/main" val="33375963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2BC81D3-C59B-4C63-B840-07ACB8BAB3C6}" type="slidenum">
              <a:rPr lang="en-US" smtClean="0">
                <a:solidFill>
                  <a:prstClr val="black"/>
                </a:solidFill>
                <a:latin typeface="Calibri"/>
              </a:rPr>
              <a:pPr/>
              <a:t>11</a:t>
            </a:fld>
            <a:endParaRPr lang="ru-RU" dirty="0">
              <a:solidFill>
                <a:prstClr val="black"/>
              </a:solidFill>
              <a:latin typeface="Calibri"/>
            </a:endParaRPr>
          </a:p>
        </p:txBody>
      </p:sp>
      <p:sp>
        <p:nvSpPr>
          <p:cNvPr id="5" name="Footer Placeholder 4"/>
          <p:cNvSpPr>
            <a:spLocks noGrp="1"/>
          </p:cNvSpPr>
          <p:nvPr>
            <p:ph type="ftr" sz="quarter" idx="11"/>
          </p:nvPr>
        </p:nvSpPr>
        <p:spPr>
          <a:xfrm>
            <a:off x="0" y="8685213"/>
            <a:ext cx="2971800" cy="457200"/>
          </a:xfrm>
          <a:prstGeom prst="rect">
            <a:avLst/>
          </a:prstGeom>
        </p:spPr>
        <p:txBody>
          <a:bodyPr/>
          <a:lstStyle/>
          <a:p>
            <a:r>
              <a:rPr dirty="0" smtClean="0">
                <a:solidFill>
                  <a:prstClr val="black"/>
                </a:solidFill>
                <a:latin typeface="Calibri"/>
              </a:rPr>
              <a:t>Copyright 2011 FUJITSU</a:t>
            </a:r>
            <a:endParaRPr lang="ru-RU" dirty="0">
              <a:solidFill>
                <a:prstClr val="black"/>
              </a:solidFill>
              <a:latin typeface="Calibri"/>
            </a:endParaRPr>
          </a:p>
        </p:txBody>
      </p:sp>
      <p:sp>
        <p:nvSpPr>
          <p:cNvPr id="9" name="Slide Image Placeholder 8"/>
          <p:cNvSpPr>
            <a:spLocks noGrp="1" noRot="1" noChangeAspect="1"/>
          </p:cNvSpPr>
          <p:nvPr>
            <p:ph type="sldImg"/>
          </p:nvPr>
        </p:nvSpPr>
        <p:spPr>
          <a:xfrm>
            <a:off x="381000" y="685800"/>
            <a:ext cx="6096000" cy="3429000"/>
          </a:xfrm>
        </p:spPr>
      </p:sp>
      <p:sp>
        <p:nvSpPr>
          <p:cNvPr id="10" name="Notes Placeholder 9"/>
          <p:cNvSpPr>
            <a:spLocks noGrp="1"/>
          </p:cNvSpPr>
          <p:nvPr>
            <p:ph type="body" idx="1"/>
          </p:nvPr>
        </p:nvSpPr>
        <p:spPr/>
        <p:txBody>
          <a:bodyPr>
            <a:normAutofit/>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jp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4.png"/><Relationship Id="rId5" Type="http://schemas.openxmlformats.org/officeDocument/2006/relationships/image" Target="../media/image3.jpg"/><Relationship Id="rId4"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5.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7.xml"/><Relationship Id="rId1" Type="http://schemas.openxmlformats.org/officeDocument/2006/relationships/tags" Target="../tags/tag86.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8.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9.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0.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1.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2.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4.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5.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7.xml"/><Relationship Id="rId1" Type="http://schemas.openxmlformats.org/officeDocument/2006/relationships/tags" Target="../tags/tag96.xml"/></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8.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9.xml"/></Relationships>
</file>

<file path=ppt/slideLayouts/_rels/slideLayout12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0.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2.xml"/></Relationships>
</file>

<file path=ppt/slideLayouts/_rels/slideLayout13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4.png"/><Relationship Id="rId5" Type="http://schemas.openxmlformats.org/officeDocument/2006/relationships/image" Target="../media/image3.jpg"/><Relationship Id="rId4"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0.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2.xml"/><Relationship Id="rId1" Type="http://schemas.openxmlformats.org/officeDocument/2006/relationships/tags" Target="../tags/tag111.xml"/></Relationships>
</file>

<file path=ppt/slideLayouts/_rels/slideLayout14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3.xml"/></Relationships>
</file>

<file path=ppt/slideLayouts/_rels/slideLayout14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4.xml"/></Relationships>
</file>

<file path=ppt/slideLayouts/_rels/slideLayout14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5.xml"/></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7.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1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20.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2.xml"/><Relationship Id="rId1" Type="http://schemas.openxmlformats.org/officeDocument/2006/relationships/tags" Target="../tags/tag12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6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23.xml"/></Relationships>
</file>

<file path=ppt/slideLayouts/_rels/slideLayout16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24.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25.xml"/></Relationships>
</file>

<file path=ppt/slideLayouts/_rels/slideLayout16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26.xml"/></Relationships>
</file>

<file path=ppt/slideLayouts/_rels/slideLayout16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27.xml"/></Relationships>
</file>

<file path=ppt/slideLayouts/_rels/slideLayout16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2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2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131.xml"/><Relationship Id="rId7" Type="http://schemas.openxmlformats.org/officeDocument/2006/relationships/slideMaster" Target="../slideMasters/slideMaster6.xml"/><Relationship Id="rId2" Type="http://schemas.openxmlformats.org/officeDocument/2006/relationships/tags" Target="../tags/tag130.xml"/><Relationship Id="rId1" Type="http://schemas.openxmlformats.org/officeDocument/2006/relationships/vmlDrawing" Target="../drawings/vmlDrawing1.vml"/><Relationship Id="rId6" Type="http://schemas.openxmlformats.org/officeDocument/2006/relationships/tags" Target="../tags/tag134.xml"/><Relationship Id="rId11" Type="http://schemas.openxmlformats.org/officeDocument/2006/relationships/image" Target="../media/image20.png"/><Relationship Id="rId5" Type="http://schemas.openxmlformats.org/officeDocument/2006/relationships/tags" Target="../tags/tag133.xml"/><Relationship Id="rId10" Type="http://schemas.openxmlformats.org/officeDocument/2006/relationships/image" Target="../media/image19.jpeg"/><Relationship Id="rId4" Type="http://schemas.openxmlformats.org/officeDocument/2006/relationships/tags" Target="../tags/tag132.xml"/><Relationship Id="rId9" Type="http://schemas.openxmlformats.org/officeDocument/2006/relationships/image" Target="../media/image18.emf"/></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4.png"/><Relationship Id="rId5" Type="http://schemas.openxmlformats.org/officeDocument/2006/relationships/image" Target="../media/image3.jpg"/><Relationship Id="rId4"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0.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2.xml"/><Relationship Id="rId1" Type="http://schemas.openxmlformats.org/officeDocument/2006/relationships/tags" Target="../tags/tag141.xml"/></Relationships>
</file>

<file path=ppt/slideLayouts/_rels/slideLayout18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3.xml"/></Relationships>
</file>

<file path=ppt/slideLayouts/_rels/slideLayout18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4.xml"/></Relationships>
</file>

<file path=ppt/slideLayouts/_rels/slideLayout18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5.xml"/></Relationships>
</file>

<file path=ppt/slideLayouts/_rels/slideLayout18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6.xml"/></Relationships>
</file>

<file path=ppt/slideLayouts/_rels/slideLayout18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7.xml"/></Relationships>
</file>

<file path=ppt/slideLayouts/_rels/slideLayout18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0.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2.xml"/><Relationship Id="rId1" Type="http://schemas.openxmlformats.org/officeDocument/2006/relationships/tags" Target="../tags/tag151.xml"/></Relationships>
</file>

<file path=ppt/slideLayouts/_rels/slideLayout19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3.xml"/></Relationships>
</file>

<file path=ppt/slideLayouts/_rels/slideLayout19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4.xml"/></Relationships>
</file>

<file path=ppt/slideLayouts/_rels/slideLayout19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6.xml"/></Relationships>
</file>

<file path=ppt/slideLayouts/_rels/slideLayout20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7.xml"/></Relationships>
</file>

<file path=ppt/slideLayouts/_rels/slideLayout20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21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6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tags" Target="../tags/tag161.xml"/><Relationship Id="rId5" Type="http://schemas.openxmlformats.org/officeDocument/2006/relationships/image" Target="../media/image29.jpg"/><Relationship Id="rId4"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3" Type="http://schemas.openxmlformats.org/officeDocument/2006/relationships/tags" Target="../tags/tag168.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4.png"/><Relationship Id="rId5" Type="http://schemas.openxmlformats.org/officeDocument/2006/relationships/image" Target="../media/image13.png"/><Relationship Id="rId4"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69.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71.xml"/><Relationship Id="rId1" Type="http://schemas.openxmlformats.org/officeDocument/2006/relationships/tags" Target="../tags/tag170.xml"/></Relationships>
</file>

<file path=ppt/slideLayouts/_rels/slideLayout22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72.xml"/></Relationships>
</file>

<file path=ppt/slideLayouts/_rels/slideLayout22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73.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3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74.xml"/></Relationships>
</file>

<file path=ppt/slideLayouts/_rels/slideLayout23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75.xml"/></Relationships>
</file>

<file path=ppt/slideLayouts/_rels/slideLayout23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76.xml"/></Relationships>
</file>

<file path=ppt/slideLayouts/_rels/slideLayout23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7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7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4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79.xml"/></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81.xml"/><Relationship Id="rId1" Type="http://schemas.openxmlformats.org/officeDocument/2006/relationships/tags" Target="../tags/tag180.xml"/></Relationships>
</file>

<file path=ppt/slideLayouts/_rels/slideLayout24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2.xml"/></Relationships>
</file>

<file path=ppt/slideLayouts/_rels/slideLayout24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3.xml"/></Relationships>
</file>

<file path=ppt/slideLayouts/_rels/slideLayout244.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4.xml"/></Relationships>
</file>

<file path=ppt/slideLayouts/_rels/slideLayout24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5.xml"/></Relationships>
</file>

<file path=ppt/slideLayouts/_rels/slideLayout24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6.xml"/></Relationships>
</file>

<file path=ppt/slideLayouts/_rels/slideLayout24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8.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191.xml"/><Relationship Id="rId2" Type="http://schemas.openxmlformats.org/officeDocument/2006/relationships/tags" Target="../tags/tag190.xml"/><Relationship Id="rId1" Type="http://schemas.openxmlformats.org/officeDocument/2006/relationships/tags" Target="../tags/tag189.xml"/><Relationship Id="rId5" Type="http://schemas.openxmlformats.org/officeDocument/2006/relationships/image" Target="../media/image17.jpeg"/><Relationship Id="rId4"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3" Type="http://schemas.openxmlformats.org/officeDocument/2006/relationships/tags" Target="../tags/tag196.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image" Target="../media/image4.png"/><Relationship Id="rId5" Type="http://schemas.openxmlformats.org/officeDocument/2006/relationships/image" Target="../media/image3.jpg"/><Relationship Id="rId4"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97.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99.xml"/><Relationship Id="rId1" Type="http://schemas.openxmlformats.org/officeDocument/2006/relationships/tags" Target="../tags/tag198.xml"/></Relationships>
</file>

<file path=ppt/slideLayouts/_rels/slideLayout265.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00.xml"/></Relationships>
</file>

<file path=ppt/slideLayouts/_rels/slideLayout266.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01.xml"/></Relationships>
</file>

<file path=ppt/slideLayouts/_rels/slideLayout267.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02.xml"/></Relationships>
</file>

<file path=ppt/slideLayouts/_rels/slideLayout268.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03.xml"/></Relationships>
</file>

<file path=ppt/slideLayouts/_rels/slideLayout269.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04.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70.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0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0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07.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09.xml"/><Relationship Id="rId1" Type="http://schemas.openxmlformats.org/officeDocument/2006/relationships/tags" Target="../tags/tag208.xml"/></Relationships>
</file>

<file path=ppt/slideLayouts/_rels/slideLayout279.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10.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80.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11.xml"/></Relationships>
</file>

<file path=ppt/slideLayouts/_rels/slideLayout281.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12.xml"/></Relationships>
</file>

<file path=ppt/slideLayouts/_rels/slideLayout282.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13.xml"/></Relationships>
</file>

<file path=ppt/slideLayouts/_rels/slideLayout283.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14.xml"/></Relationships>
</file>

<file path=ppt/slideLayouts/_rels/slideLayout284.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21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4.png"/><Relationship Id="rId5" Type="http://schemas.openxmlformats.org/officeDocument/2006/relationships/image" Target="../media/image13.png"/><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2.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tags" Target="../tags/tag33.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5.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6.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7.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8.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9.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2.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tags" Target="../tags/tag43.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5.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7.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8.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9.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7.jpeg"/><Relationship Id="rId4"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4.png"/><Relationship Id="rId5" Type="http://schemas.openxmlformats.org/officeDocument/2006/relationships/image" Target="../media/image13.png"/><Relationship Id="rId4"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2.xml"/><Relationship Id="rId1" Type="http://schemas.openxmlformats.org/officeDocument/2006/relationships/tags" Target="../tags/tag61.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3.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5.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6.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7.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0.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2.xml"/><Relationship Id="rId1" Type="http://schemas.openxmlformats.org/officeDocument/2006/relationships/tags" Target="../tags/tag71.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3.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5.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6.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7.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2" name="Bild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9" y="762"/>
            <a:ext cx="9144000" cy="5143500"/>
          </a:xfrm>
          <a:prstGeom prst="rect">
            <a:avLst/>
          </a:prstGeom>
        </p:spPr>
      </p:pic>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tab pos="3676650" algn="l"/>
              </a:tabLst>
              <a:defRPr/>
            </a:pPr>
            <a:r>
              <a:rPr lang="en-GB" sz="4400" b="0" i="0" u="none" baseline="0" dirty="0" smtClean="0">
                <a:solidFill>
                  <a:srgbClr val="FFFFFF"/>
                </a:solidFill>
                <a:latin typeface="Arial"/>
              </a:rPr>
              <a:t>Titelmasterformat </a:t>
            </a:r>
            <a:r>
              <a:rPr lang="en-GB" sz="4400" b="0" i="0" u="none" baseline="0" dirty="0" err="1" smtClean="0">
                <a:solidFill>
                  <a:srgbClr val="FFFFFF"/>
                </a:solidFill>
                <a:latin typeface="Arial"/>
              </a:rPr>
              <a:t>durch</a:t>
            </a:r>
            <a:r>
              <a:rPr lang="en-GB" sz="4400" b="0" i="0" u="none" baseline="0" dirty="0" smtClean="0">
                <a:solidFill>
                  <a:srgbClr val="FFFFFF"/>
                </a:solidFill>
                <a:latin typeface="Arial"/>
              </a:rPr>
              <a:t> </a:t>
            </a:r>
            <a:r>
              <a:rPr lang="en-GB" sz="4400" b="0" i="0" u="none" baseline="0" dirty="0" err="1" smtClean="0">
                <a:solidFill>
                  <a:srgbClr val="FFFFFF"/>
                </a:solidFill>
                <a:latin typeface="Arial"/>
              </a:rPr>
              <a:t>Klicken</a:t>
            </a:r>
            <a:r>
              <a:rPr lang="en-GB" sz="4400" b="0" i="0" u="none" baseline="0" dirty="0" smtClean="0">
                <a:solidFill>
                  <a:srgbClr val="FFFFFF"/>
                </a:solidFill>
                <a:latin typeface="Arial"/>
              </a:rPr>
              <a:t> </a:t>
            </a:r>
            <a:r>
              <a:rPr lang="en-GB" sz="4400" b="0" i="0" u="none" baseline="0" dirty="0" err="1" smtClean="0">
                <a:solidFill>
                  <a:srgbClr val="FFFFFF"/>
                </a:solidFill>
                <a:latin typeface="Arial"/>
              </a:rPr>
              <a:t>bearbeiten</a:t>
            </a:r>
            <a:endParaRPr lang="en-GB" sz="4400" b="0" i="0" u="none" baseline="0" dirty="0">
              <a:solidFill>
                <a:srgbClr val="FFFFFF"/>
              </a:solidFill>
              <a:latin typeface="Aria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marL="0" lvl="0" indent="0" algn="l" defTabSz="457200" rtl="0" eaLnBrk="1" latinLnBrk="0" hangingPunct="1">
              <a:lnSpc>
                <a:spcPct val="100000"/>
              </a:lnSpc>
              <a:spcBef>
                <a:spcPct val="0"/>
              </a:spcBef>
              <a:spcAft>
                <a:spcPct val="0"/>
              </a:spcAft>
              <a:buNone/>
            </a:pPr>
            <a:r>
              <a:rPr lang="de-DE" sz="2400" b="0" i="0" u="none" baseline="0" smtClean="0">
                <a:solidFill>
                  <a:srgbClr val="000000"/>
                </a:solidFill>
                <a:latin typeface="Arial"/>
              </a:rPr>
              <a:t>Formatvorlage des Untertitelmasters durch Klicken bearbeiten</a:t>
            </a:r>
            <a:endParaRPr lang="en-GB" sz="2400" b="0" i="0" u="none" baseline="0">
              <a:solidFill>
                <a:srgbClr val="000000"/>
              </a:solidFill>
              <a:latin typeface="Arial"/>
            </a:endParaRPr>
          </a:p>
        </p:txBody>
      </p:sp>
      <p:sp>
        <p:nvSpPr>
          <p:cNvPr id="48" name="Title 47"/>
          <p:cNvSpPr>
            <a:spLocks noGrp="1"/>
          </p:cNvSpPr>
          <p:nvPr>
            <p:ph type="title"/>
          </p:nvPr>
        </p:nvSpPr>
        <p:spPr bwMode="gray">
          <a:xfrm>
            <a:off x="395420" y="411450"/>
            <a:ext cx="2088291" cy="1368190"/>
          </a:xfrm>
          <a:noFill/>
          <a:ln w="9525">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2200" kern="1200" noProof="0" smtClean="0">
                <a:solidFill>
                  <a:schemeClr val="bg1"/>
                </a:solidFill>
                <a:latin typeface="Fujitsu Sans"/>
                <a:ea typeface="+mj-ea"/>
                <a:cs typeface="Fujitsu Sans"/>
              </a:defRPr>
            </a:lvl1pPr>
          </a:lstStyle>
          <a:p>
            <a:r>
              <a:rPr lang="de-DE" noProof="0" dirty="0" smtClean="0"/>
              <a:t>Mastertitelformat bearbeiten</a:t>
            </a:r>
            <a:endParaRPr lang="en-US" noProof="0" dirty="0"/>
          </a:p>
        </p:txBody>
      </p:sp>
      <p:sp>
        <p:nvSpPr>
          <p:cNvPr id="59" name="Subtitle 2"/>
          <p:cNvSpPr>
            <a:spLocks noGrp="1"/>
          </p:cNvSpPr>
          <p:nvPr>
            <p:ph type="subTitle" idx="1"/>
          </p:nvPr>
        </p:nvSpPr>
        <p:spPr bwMode="gray">
          <a:xfrm>
            <a:off x="395421" y="1801012"/>
            <a:ext cx="2088290" cy="69872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1400" b="0" kern="1200" noProof="0" dirty="0" smtClean="0">
                <a:solidFill>
                  <a:schemeClr val="bg1"/>
                </a:solidFill>
                <a:latin typeface="Fujitsu Sans"/>
                <a:ea typeface="+mn-ea"/>
                <a:cs typeface="Fujitsu San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smtClean="0"/>
              <a:t>Master-Untertitelformat bearbeiten</a:t>
            </a:r>
            <a:endParaRPr lang="en-US" noProof="0" dirty="0"/>
          </a:p>
        </p:txBody>
      </p:sp>
      <p:pic>
        <p:nvPicPr>
          <p:cNvPr id="1026" name="Picture 2" descr="Fujitsu_Logo_white"/>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7664185" y="243040"/>
            <a:ext cx="1252800" cy="626179"/>
          </a:xfrm>
          <a:prstGeom prst="rect">
            <a:avLst/>
          </a:prstGeom>
          <a:noFill/>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250824" y="1058863"/>
            <a:ext cx="4177159" cy="3744912"/>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6"/>
          </p:nvPr>
        </p:nvSpPr>
        <p:spPr bwMode="gray">
          <a:xfrm>
            <a:off x="4644009" y="987425"/>
            <a:ext cx="4249166"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Leer">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8961907"/>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anchor="ctr"/>
          <a:lstStyle/>
          <a:p>
            <a:endParaRPr lang="en-US">
              <a:solidFill>
                <a:srgbClr val="000000"/>
              </a:solidFill>
            </a:endParaRPr>
          </a:p>
        </p:txBody>
      </p:sp>
      <p:pic>
        <p:nvPicPr>
          <p:cNvPr id="41" name="Picture 2" descr="Fujitsu_Logo"/>
          <p:cNvPicPr>
            <a:picLocks noChangeAspect="1" noChangeArrowheads="1"/>
          </p:cNvPicPr>
          <p:nvPr userDrawn="1"/>
        </p:nvPicPr>
        <p:blipFill>
          <a:blip r:embed="rId2" cstate="print"/>
          <a:srcRect/>
          <a:stretch>
            <a:fillRect/>
          </a:stretch>
        </p:blipFill>
        <p:spPr bwMode="auto">
          <a:xfrm>
            <a:off x="2455510" y="1357200"/>
            <a:ext cx="4202009" cy="2100264"/>
          </a:xfrm>
          <a:prstGeom prst="rect">
            <a:avLst/>
          </a:prstGeom>
          <a:noFill/>
        </p:spPr>
      </p:pic>
    </p:spTree>
    <p:extLst>
      <p:ext uri="{BB962C8B-B14F-4D97-AF65-F5344CB8AC3E}">
        <p14:creationId xmlns:p14="http://schemas.microsoft.com/office/powerpoint/2010/main" val="627643545"/>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47650"/>
            <a:ext cx="8229600" cy="609600"/>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05800" y="5162551"/>
            <a:ext cx="838200" cy="100013"/>
          </a:xfrm>
          <a:prstGeom prst="rect">
            <a:avLst/>
          </a:prstGeom>
        </p:spPr>
        <p:txBody>
          <a:bodyPr/>
          <a:lstStyle/>
          <a:p>
            <a:endParaRPr lang="en-US">
              <a:solidFill>
                <a:srgbClr val="000000"/>
              </a:solidFill>
            </a:endParaRPr>
          </a:p>
        </p:txBody>
      </p:sp>
      <p:sp>
        <p:nvSpPr>
          <p:cNvPr id="5" name="Footer Placeholder 4"/>
          <p:cNvSpPr>
            <a:spLocks noGrp="1"/>
          </p:cNvSpPr>
          <p:nvPr>
            <p:ph type="ftr" sz="quarter" idx="11"/>
          </p:nvPr>
        </p:nvSpPr>
        <p:spPr>
          <a:xfrm>
            <a:off x="5910138" y="4856956"/>
            <a:ext cx="3086100" cy="274637"/>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8700260" y="4848226"/>
            <a:ext cx="338138" cy="111918"/>
          </a:xfrm>
          <a:prstGeom prst="rect">
            <a:avLst/>
          </a:prstGeom>
        </p:spPr>
        <p:txBody>
          <a:bodyPr/>
          <a:lstStyle/>
          <a:p>
            <a:fld id="{6EA6D8CF-3CDE-4807-BCD2-C9F2B831AAA5}" type="slidenum">
              <a:rPr lang="en-US" smtClean="0">
                <a:solidFill>
                  <a:srgbClr val="000000"/>
                </a:solidFill>
              </a:rPr>
              <a:pPr/>
              <a:t>‹#›</a:t>
            </a:fld>
            <a:endParaRPr lang="en-US">
              <a:solidFill>
                <a:srgbClr val="000000"/>
              </a:solidFill>
            </a:endParaRPr>
          </a:p>
        </p:txBody>
      </p:sp>
      <p:sp>
        <p:nvSpPr>
          <p:cNvPr id="8" name="Picture Placeholder 7"/>
          <p:cNvSpPr>
            <a:spLocks noGrp="1"/>
          </p:cNvSpPr>
          <p:nvPr>
            <p:ph type="pic" sz="quarter" idx="13" hasCustomPrompt="1"/>
          </p:nvPr>
        </p:nvSpPr>
        <p:spPr>
          <a:xfrm>
            <a:off x="6948488" y="357187"/>
            <a:ext cx="1727200" cy="486966"/>
          </a:xfrm>
        </p:spPr>
        <p:txBody>
          <a:bodyPr/>
          <a:lstStyle>
            <a:lvl1pPr>
              <a:defRPr/>
            </a:lvl1pPr>
          </a:lstStyle>
          <a:p>
            <a:r>
              <a:rPr lang="ru-RU" dirty="0" smtClean="0"/>
              <a:t>лдж</a:t>
            </a:r>
            <a:endParaRPr lang="en-US" dirty="0"/>
          </a:p>
        </p:txBody>
      </p:sp>
    </p:spTree>
    <p:extLst>
      <p:ext uri="{BB962C8B-B14F-4D97-AF65-F5344CB8AC3E}">
        <p14:creationId xmlns:p14="http://schemas.microsoft.com/office/powerpoint/2010/main" val="2719159279"/>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6"/>
          <p:cNvSpPr>
            <a:spLocks noGrp="1" noChangeArrowheads="1"/>
          </p:cNvSpPr>
          <p:nvPr>
            <p:ph type="sldNum" sz="quarter" idx="10"/>
          </p:nvPr>
        </p:nvSpPr>
        <p:spPr>
          <a:xfrm>
            <a:off x="4265614" y="5007769"/>
            <a:ext cx="611187" cy="135731"/>
          </a:xfrm>
          <a:prstGeom prst="rect">
            <a:avLst/>
          </a:prstGeom>
          <a:ln/>
        </p:spPr>
        <p:txBody>
          <a:bodyPr/>
          <a:lstStyle>
            <a:lvl1pPr>
              <a:defRPr/>
            </a:lvl1pPr>
          </a:lstStyle>
          <a:p>
            <a:pPr>
              <a:defRPr/>
            </a:pPr>
            <a:fld id="{43A41CED-1C45-471A-8AC9-F8071C0AC18B}" type="slidenum">
              <a:rPr lang="de-DE">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85257502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2" name="Bild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9" y="762"/>
            <a:ext cx="9144000" cy="5143500"/>
          </a:xfrm>
          <a:prstGeom prst="rect">
            <a:avLst/>
          </a:prstGeom>
        </p:spPr>
      </p:pic>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a:t>
            </a:r>
            <a:r>
              <a:rPr lang="en-GB" sz="4400" dirty="0" err="1" smtClean="0">
                <a:solidFill>
                  <a:srgbClr val="FFFFFF"/>
                </a:solidFill>
              </a:rPr>
              <a:t>durch</a:t>
            </a:r>
            <a:r>
              <a:rPr lang="en-GB" sz="4400" dirty="0" smtClean="0">
                <a:solidFill>
                  <a:srgbClr val="FFFFFF"/>
                </a:solidFill>
              </a:rPr>
              <a:t> </a:t>
            </a:r>
            <a:r>
              <a:rPr lang="en-GB" sz="4400" dirty="0" err="1" smtClean="0">
                <a:solidFill>
                  <a:srgbClr val="FFFFFF"/>
                </a:solidFill>
              </a:rPr>
              <a:t>Klicken</a:t>
            </a:r>
            <a:r>
              <a:rPr lang="en-GB" sz="4400" dirty="0" smtClean="0">
                <a:solidFill>
                  <a:srgbClr val="FFFFFF"/>
                </a:solidFill>
              </a:rPr>
              <a:t> </a:t>
            </a:r>
            <a:r>
              <a:rPr lang="en-GB" sz="4400" dirty="0" err="1" smtClean="0">
                <a:solidFill>
                  <a:srgbClr val="FFFFFF"/>
                </a:solidFill>
              </a:rPr>
              <a:t>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8" name="Title 47"/>
          <p:cNvSpPr>
            <a:spLocks noGrp="1"/>
          </p:cNvSpPr>
          <p:nvPr>
            <p:ph type="title"/>
          </p:nvPr>
        </p:nvSpPr>
        <p:spPr bwMode="gray">
          <a:xfrm>
            <a:off x="395420" y="411450"/>
            <a:ext cx="2088291" cy="1368190"/>
          </a:xfrm>
          <a:noFill/>
          <a:ln w="9525">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2200" kern="1200" noProof="0" smtClean="0">
                <a:solidFill>
                  <a:schemeClr val="bg1"/>
                </a:solidFill>
                <a:latin typeface="Fujitsu Sans"/>
                <a:ea typeface="+mj-ea"/>
                <a:cs typeface="Fujitsu Sans"/>
              </a:defRPr>
            </a:lvl1pPr>
          </a:lstStyle>
          <a:p>
            <a:r>
              <a:rPr lang="de-DE" noProof="0" dirty="0" smtClean="0"/>
              <a:t>Mastertitelformat bearbeiten</a:t>
            </a:r>
            <a:endParaRPr lang="en-US" noProof="0" dirty="0"/>
          </a:p>
        </p:txBody>
      </p:sp>
      <p:sp>
        <p:nvSpPr>
          <p:cNvPr id="59" name="Subtitle 2"/>
          <p:cNvSpPr>
            <a:spLocks noGrp="1"/>
          </p:cNvSpPr>
          <p:nvPr>
            <p:ph type="subTitle" idx="1"/>
          </p:nvPr>
        </p:nvSpPr>
        <p:spPr bwMode="gray">
          <a:xfrm>
            <a:off x="395421" y="1801012"/>
            <a:ext cx="2088290" cy="69872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1400" b="0" kern="1200" noProof="0" dirty="0" smtClean="0">
                <a:solidFill>
                  <a:schemeClr val="bg1"/>
                </a:solidFill>
                <a:latin typeface="Fujitsu Sans"/>
                <a:ea typeface="+mn-ea"/>
                <a:cs typeface="Fujitsu San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smtClean="0"/>
              <a:t>Master-Untertitelformat bearbeiten</a:t>
            </a:r>
            <a:endParaRPr lang="en-US" noProof="0" dirty="0"/>
          </a:p>
        </p:txBody>
      </p:sp>
      <p:pic>
        <p:nvPicPr>
          <p:cNvPr id="1026" name="Picture 2" descr="Fujitsu_Logo_white"/>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7664185" y="243040"/>
            <a:ext cx="1252800" cy="626179"/>
          </a:xfrm>
          <a:prstGeom prst="rect">
            <a:avLst/>
          </a:prstGeom>
          <a:noFill/>
        </p:spPr>
      </p:pic>
    </p:spTree>
    <p:extLst>
      <p:ext uri="{BB962C8B-B14F-4D97-AF65-F5344CB8AC3E}">
        <p14:creationId xmlns:p14="http://schemas.microsoft.com/office/powerpoint/2010/main" val="1211852953"/>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Intermediate Cover">
    <p:spTree>
      <p:nvGrpSpPr>
        <p:cNvPr id="1" name=""/>
        <p:cNvGrpSpPr/>
        <p:nvPr/>
      </p:nvGrpSpPr>
      <p:grpSpPr>
        <a:xfrm>
          <a:off x="0" y="0"/>
          <a:ext cx="0" cy="0"/>
          <a:chOff x="0" y="0"/>
          <a:chExt cx="0" cy="0"/>
        </a:xfrm>
      </p:grpSpPr>
      <p:pic>
        <p:nvPicPr>
          <p:cNvPr id="8" name="Bild 1"/>
          <p:cNvPicPr>
            <a:picLocks noChangeAspect="1"/>
          </p:cNvPicPr>
          <p:nvPr userDrawn="1"/>
        </p:nvPicPr>
        <p:blipFill rotWithShape="1">
          <a:blip r:embed="rId2">
            <a:extLst>
              <a:ext uri="{28A0092B-C50C-407E-A947-70E740481C1C}">
                <a14:useLocalDpi xmlns:a14="http://schemas.microsoft.com/office/drawing/2010/main" val="0"/>
              </a:ext>
            </a:extLst>
          </a:blip>
          <a:srcRect b="41615"/>
          <a:stretch/>
        </p:blipFill>
        <p:spPr>
          <a:xfrm>
            <a:off x="-829" y="762"/>
            <a:ext cx="9144000" cy="3003048"/>
          </a:xfrm>
          <a:prstGeom prst="rect">
            <a:avLst/>
          </a:prstGeom>
        </p:spPr>
      </p:pic>
      <p:sp>
        <p:nvSpPr>
          <p:cNvPr id="6" name="Title 15"/>
          <p:cNvSpPr>
            <a:spLocks noGrp="1"/>
          </p:cNvSpPr>
          <p:nvPr>
            <p:ph type="title"/>
          </p:nvPr>
        </p:nvSpPr>
        <p:spPr bwMode="gray">
          <a:xfrm>
            <a:off x="250825" y="1563638"/>
            <a:ext cx="8642350" cy="86409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tx1"/>
                </a:solidFill>
                <a:latin typeface="Fujitsu Sans" charset="0"/>
                <a:ea typeface="Fujitsu Sans" charset="0"/>
                <a:cs typeface="Fujitsu Sans" charset="0"/>
              </a:defRPr>
            </a:lvl1pPr>
          </a:lstStyle>
          <a:p>
            <a:r>
              <a:rPr lang="en-US" noProof="0" dirty="0" smtClean="0"/>
              <a:t>Click to edit Master title style</a:t>
            </a:r>
            <a:endParaRPr lang="en-US" noProof="0" dirty="0"/>
          </a:p>
        </p:txBody>
      </p:sp>
      <p:sp>
        <p:nvSpPr>
          <p:cNvPr id="7" name="Text Placeholder 19"/>
          <p:cNvSpPr>
            <a:spLocks noGrp="1"/>
          </p:cNvSpPr>
          <p:nvPr>
            <p:ph type="body" sz="quarter" idx="10"/>
          </p:nvPr>
        </p:nvSpPr>
        <p:spPr bwMode="gray">
          <a:xfrm>
            <a:off x="250824" y="2787780"/>
            <a:ext cx="8642351" cy="2015995"/>
          </a:xfrm>
        </p:spPr>
        <p:txBody>
          <a:bodyPr/>
          <a:lstStyle>
            <a:lvl1pPr>
              <a:spcAft>
                <a:spcPts val="300"/>
              </a:spcAft>
              <a:buClr>
                <a:schemeClr val="tx2"/>
              </a:buClr>
              <a:buFont typeface="Wingdings" pitchFamily="2" charset="2"/>
              <a:buChar char="n"/>
              <a:defRPr sz="2200">
                <a:latin typeface="Fujitsu Sans" charset="0"/>
                <a:ea typeface="Fujitsu Sans" charset="0"/>
                <a:cs typeface="Fujitsu Sans" charset="0"/>
              </a:defRPr>
            </a:lvl1pPr>
            <a:lvl2pPr marL="266700" indent="-266700">
              <a:spcBef>
                <a:spcPts val="516"/>
              </a:spcBef>
              <a:buFont typeface="Wingdings" pitchFamily="2" charset="2"/>
              <a:buChar char="n"/>
              <a:defRPr sz="2400"/>
            </a:lvl2pPr>
            <a:lvl3pPr marL="266700" indent="-266700">
              <a:spcBef>
                <a:spcPts val="516"/>
              </a:spcBef>
              <a:spcAft>
                <a:spcPts val="288"/>
              </a:spcAft>
              <a:buFont typeface="Wingdings" pitchFamily="2" charset="2"/>
              <a:buChar char="n"/>
              <a:defRPr sz="2400"/>
            </a:lvl3pPr>
            <a:lvl4pPr marL="266700" indent="-266700">
              <a:spcBef>
                <a:spcPts val="516"/>
              </a:spcBef>
              <a:spcAft>
                <a:spcPts val="288"/>
              </a:spcAft>
              <a:buFont typeface="Wingdings" pitchFamily="2" charset="2"/>
              <a:buChar char="n"/>
              <a:defRPr sz="2400"/>
            </a:lvl4pPr>
            <a:lvl5pPr marL="266700" indent="-266700">
              <a:spcBef>
                <a:spcPts val="516"/>
              </a:spcBef>
              <a:spcAft>
                <a:spcPts val="288"/>
              </a:spcAft>
              <a:buFont typeface="Wingdings" pitchFamily="2" charset="2"/>
              <a:buChar char="n"/>
              <a:defRPr sz="2400"/>
            </a:lvl5pPr>
          </a:lstStyle>
          <a:p>
            <a:pPr lvl="0"/>
            <a:r>
              <a:rPr lang="en-US" noProof="0" dirty="0" smtClean="0"/>
              <a:t>Click to edit Master text styles</a:t>
            </a:r>
          </a:p>
        </p:txBody>
      </p:sp>
      <p:pic>
        <p:nvPicPr>
          <p:cNvPr id="9" name="Picture 3" descr="Fujitsu_Logo"/>
          <p:cNvPicPr>
            <a:picLocks noChangeAspect="1" noChangeArrowheads="1"/>
          </p:cNvPicPr>
          <p:nvPr userDrawn="1"/>
        </p:nvPicPr>
        <p:blipFill>
          <a:blip r:embed="rId3" cstate="print"/>
          <a:srcRect b="20259"/>
          <a:stretch>
            <a:fillRect/>
          </a:stretch>
        </p:blipFill>
        <p:spPr bwMode="auto">
          <a:xfrm>
            <a:off x="7664790" y="243040"/>
            <a:ext cx="1252195" cy="499082"/>
          </a:xfrm>
          <a:prstGeom prst="rect">
            <a:avLst/>
          </a:prstGeom>
          <a:noFill/>
        </p:spPr>
      </p:pic>
    </p:spTree>
    <p:extLst>
      <p:ext uri="{BB962C8B-B14F-4D97-AF65-F5344CB8AC3E}">
        <p14:creationId xmlns:p14="http://schemas.microsoft.com/office/powerpoint/2010/main" val="2446883230"/>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dirty="0"/>
              <a:t>Mastertitelformat bearbeiten</a:t>
            </a:r>
            <a:endParaRPr lang="en-US" noProof="0" dirty="0"/>
          </a:p>
        </p:txBody>
      </p:sp>
      <p:sp>
        <p:nvSpPr>
          <p:cNvPr id="10" name="Text Placeholder 9"/>
          <p:cNvSpPr>
            <a:spLocks noGrp="1"/>
          </p:cNvSpPr>
          <p:nvPr>
            <p:ph type="body" sz="quarter" idx="10"/>
          </p:nvPr>
        </p:nvSpPr>
        <p:spPr bwMode="gray">
          <a:xfrm>
            <a:off x="250825" y="987425"/>
            <a:ext cx="8642350" cy="3816350"/>
          </a:xfrm>
        </p:spPr>
        <p:txBody>
          <a:body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en-US" noProof="0" dirty="0"/>
          </a:p>
        </p:txBody>
      </p:sp>
    </p:spTree>
    <p:extLst>
      <p:ext uri="{BB962C8B-B14F-4D97-AF65-F5344CB8AC3E}">
        <p14:creationId xmlns:p14="http://schemas.microsoft.com/office/powerpoint/2010/main" val="3293365197"/>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5" name="Text Placeholder 12"/>
          <p:cNvSpPr>
            <a:spLocks noGrp="1"/>
          </p:cNvSpPr>
          <p:nvPr>
            <p:ph type="body" sz="quarter" idx="15"/>
          </p:nvPr>
        </p:nvSpPr>
        <p:spPr bwMode="gray">
          <a:xfrm>
            <a:off x="250824" y="987424"/>
            <a:ext cx="4177159" cy="3816351"/>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12"/>
          <p:cNvSpPr>
            <a:spLocks noGrp="1"/>
          </p:cNvSpPr>
          <p:nvPr>
            <p:ph type="body" sz="quarter" idx="16"/>
          </p:nvPr>
        </p:nvSpPr>
        <p:spPr bwMode="gray">
          <a:xfrm>
            <a:off x="4644009" y="987425"/>
            <a:ext cx="4249166"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846373147"/>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Text Placeholder 9"/>
          <p:cNvSpPr>
            <a:spLocks noGrp="1"/>
          </p:cNvSpPr>
          <p:nvPr>
            <p:ph type="body" sz="quarter" idx="18"/>
          </p:nvPr>
        </p:nvSpPr>
        <p:spPr bwMode="gray">
          <a:xfrm>
            <a:off x="250824" y="987026"/>
            <a:ext cx="2736999"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9"/>
          <p:cNvSpPr>
            <a:spLocks noGrp="1"/>
          </p:cNvSpPr>
          <p:nvPr>
            <p:ph type="body" sz="quarter" idx="19"/>
          </p:nvPr>
        </p:nvSpPr>
        <p:spPr bwMode="gray">
          <a:xfrm>
            <a:off x="3203848" y="987067"/>
            <a:ext cx="2808312" cy="3816713"/>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8" name="Text Placeholder 9"/>
          <p:cNvSpPr>
            <a:spLocks noGrp="1"/>
          </p:cNvSpPr>
          <p:nvPr>
            <p:ph type="body" sz="quarter" idx="20"/>
          </p:nvPr>
        </p:nvSpPr>
        <p:spPr bwMode="gray">
          <a:xfrm>
            <a:off x="6228185" y="987425"/>
            <a:ext cx="2664990"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449888541"/>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Tree>
    <p:extLst>
      <p:ext uri="{BB962C8B-B14F-4D97-AF65-F5344CB8AC3E}">
        <p14:creationId xmlns:p14="http://schemas.microsoft.com/office/powerpoint/2010/main" val="265569999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6228184" y="1058863"/>
            <a:ext cx="2664991" cy="3744912"/>
          </a:xfrm>
          <a:prstGeom prst="round1Rect">
            <a:avLst>
              <a:gd name="adj" fmla="val 14296"/>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7"/>
          </p:nvPr>
        </p:nvSpPr>
        <p:spPr bwMode="gray">
          <a:xfrm>
            <a:off x="250824" y="987425"/>
            <a:ext cx="5761335"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250824" y="1058863"/>
            <a:ext cx="8642351" cy="3744912"/>
          </a:xfrm>
          <a:prstGeom prst="round1Rect">
            <a:avLst>
              <a:gd name="adj" fmla="val 10174"/>
            </a:avLst>
          </a:prstGeom>
          <a:noFill/>
          <a:ln>
            <a:noFill/>
          </a:ln>
        </p:spPr>
        <p:txBody>
          <a:bodyPr/>
          <a:lstStyle/>
          <a:p>
            <a:r>
              <a:rPr lang="de-DE" noProof="0"/>
              <a:t>Bild auf Platzhalter ziehen oder durch Klicken auf Symbol hinzufügen</a:t>
            </a:r>
            <a:endParaRPr lang="en-US" noProof="0"/>
          </a:p>
        </p:txBody>
      </p:sp>
    </p:spTree>
    <p:extLst>
      <p:ext uri="{BB962C8B-B14F-4D97-AF65-F5344CB8AC3E}">
        <p14:creationId xmlns:p14="http://schemas.microsoft.com/office/powerpoint/2010/main" val="1454557685"/>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4716016" y="1058863"/>
            <a:ext cx="4177159" cy="3744912"/>
          </a:xfrm>
          <a:prstGeom prst="round1Rect">
            <a:avLst>
              <a:gd name="adj" fmla="val 10174"/>
            </a:avLst>
          </a:prstGeom>
          <a:noFill/>
          <a:ln>
            <a:noFill/>
          </a:ln>
        </p:spPr>
        <p:txBody>
          <a:bodyPr/>
          <a:lstStyle/>
          <a:p>
            <a:r>
              <a:rPr lang="de-DE" noProof="0"/>
              <a:t>Bild auf Platzhalter ziehen oder durch Klicken auf Symbol hinzufügen</a:t>
            </a:r>
            <a:endParaRPr lang="en-US" noProof="0"/>
          </a:p>
        </p:txBody>
      </p:sp>
      <p:sp>
        <p:nvSpPr>
          <p:cNvPr id="10" name="Picture Placeholder 10"/>
          <p:cNvSpPr>
            <a:spLocks noGrp="1"/>
          </p:cNvSpPr>
          <p:nvPr>
            <p:ph type="pic" sz="quarter" idx="16"/>
            <p:custDataLst>
              <p:tags r:id="rId2"/>
            </p:custDataLst>
          </p:nvPr>
        </p:nvSpPr>
        <p:spPr bwMode="gray">
          <a:xfrm>
            <a:off x="250824" y="1058863"/>
            <a:ext cx="4177159" cy="3744912"/>
          </a:xfrm>
          <a:prstGeom prst="rect">
            <a:avLst/>
          </a:prstGeom>
          <a:noFill/>
          <a:ln>
            <a:noFill/>
          </a:ln>
        </p:spPr>
        <p:txBody>
          <a:bodyPr/>
          <a:lstStyle/>
          <a:p>
            <a:r>
              <a:rPr lang="de-DE" noProof="0"/>
              <a:t>Bild auf Platzhalter ziehen oder durch Klicken auf Symbol hinzufügen</a:t>
            </a:r>
            <a:endParaRPr lang="en-US" noProof="0"/>
          </a:p>
        </p:txBody>
      </p:sp>
    </p:spTree>
    <p:extLst>
      <p:ext uri="{BB962C8B-B14F-4D97-AF65-F5344CB8AC3E}">
        <p14:creationId xmlns:p14="http://schemas.microsoft.com/office/powerpoint/2010/main" val="3536773045"/>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4716016" y="1058863"/>
            <a:ext cx="4177159" cy="3744912"/>
          </a:xfrm>
          <a:prstGeom prst="round1Rect">
            <a:avLst>
              <a:gd name="adj" fmla="val 10174"/>
            </a:avLst>
          </a:prstGeom>
        </p:spPr>
        <p:txBody>
          <a:bodyPr/>
          <a:lstStyle/>
          <a:p>
            <a:r>
              <a:rPr lang="de-DE" noProof="0"/>
              <a:t>Bild auf Platzhalter ziehen oder durch Klicken auf Symbol hinzufügen</a:t>
            </a:r>
            <a:endParaRPr lang="en-US" noProof="0"/>
          </a:p>
        </p:txBody>
      </p:sp>
      <p:sp>
        <p:nvSpPr>
          <p:cNvPr id="11" name="Text Placeholder 8"/>
          <p:cNvSpPr>
            <a:spLocks noGrp="1"/>
          </p:cNvSpPr>
          <p:nvPr>
            <p:ph type="body" sz="quarter" idx="16"/>
          </p:nvPr>
        </p:nvSpPr>
        <p:spPr bwMode="gray">
          <a:xfrm>
            <a:off x="250824" y="987425"/>
            <a:ext cx="4177159"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455115172"/>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250824" y="1058863"/>
            <a:ext cx="4177159" cy="3744912"/>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6"/>
          </p:nvPr>
        </p:nvSpPr>
        <p:spPr bwMode="gray">
          <a:xfrm>
            <a:off x="4644009" y="987425"/>
            <a:ext cx="4249166"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531259585"/>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6228184" y="1058863"/>
            <a:ext cx="2664991" cy="3744912"/>
          </a:xfrm>
          <a:prstGeom prst="round1Rect">
            <a:avLst>
              <a:gd name="adj" fmla="val 14296"/>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7"/>
          </p:nvPr>
        </p:nvSpPr>
        <p:spPr bwMode="gray">
          <a:xfrm>
            <a:off x="250824" y="987425"/>
            <a:ext cx="5761335"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808768524"/>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058863"/>
            <a:ext cx="2664992" cy="3744912"/>
          </a:xfrm>
          <a:prstGeom prst="rect">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7"/>
          </p:nvPr>
        </p:nvSpPr>
        <p:spPr bwMode="gray">
          <a:xfrm>
            <a:off x="3131840" y="987425"/>
            <a:ext cx="5761335"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2978359902"/>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3132139" y="1058862"/>
            <a:ext cx="5761036" cy="3744913"/>
          </a:xfrm>
          <a:prstGeom prst="round1Rect">
            <a:avLst>
              <a:gd name="adj" fmla="val 10174"/>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5" y="987425"/>
            <a:ext cx="2665414"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1911446902"/>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058862"/>
            <a:ext cx="5761038" cy="3744913"/>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6227763" y="987425"/>
            <a:ext cx="2665412"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178141640"/>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top – Picture bottom">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8"/>
          </p:nvPr>
        </p:nvSpPr>
        <p:spPr bwMode="gray">
          <a:xfrm>
            <a:off x="250825" y="3003809"/>
            <a:ext cx="8642349" cy="1799965"/>
          </a:xfrm>
          <a:prstGeom prst="rect">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9"/>
          </p:nvPr>
        </p:nvSpPr>
        <p:spPr bwMode="gray">
          <a:xfrm>
            <a:off x="250825" y="987426"/>
            <a:ext cx="8642350" cy="187236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71787494"/>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5" y="1058862"/>
            <a:ext cx="8642351" cy="1800928"/>
          </a:xfrm>
          <a:prstGeom prst="round1Rect">
            <a:avLst>
              <a:gd name="adj" fmla="val 21156"/>
            </a:avLst>
          </a:prstGeom>
        </p:spPr>
        <p:txBody>
          <a:bodyPr/>
          <a:lstStyle/>
          <a:p>
            <a:r>
              <a:rPr lang="de-DE" noProof="0"/>
              <a:t>Bild auf Platzhalter ziehen oder durch Klicken auf Symbol hinzufügen</a:t>
            </a:r>
            <a:endParaRPr lang="en-US" noProof="0"/>
          </a:p>
        </p:txBody>
      </p:sp>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Text Placeholder 9"/>
          <p:cNvSpPr>
            <a:spLocks noGrp="1"/>
          </p:cNvSpPr>
          <p:nvPr>
            <p:ph type="body" sz="quarter" idx="19"/>
          </p:nvPr>
        </p:nvSpPr>
        <p:spPr bwMode="gray">
          <a:xfrm>
            <a:off x="250825" y="3003810"/>
            <a:ext cx="8642350" cy="179996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3110858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058863"/>
            <a:ext cx="2664992" cy="3744912"/>
          </a:xfrm>
          <a:prstGeom prst="rect">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7"/>
          </p:nvPr>
        </p:nvSpPr>
        <p:spPr bwMode="gray">
          <a:xfrm>
            <a:off x="3131840" y="987425"/>
            <a:ext cx="5761335"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0" name="Text Placeholder 7"/>
          <p:cNvSpPr>
            <a:spLocks noGrp="1"/>
          </p:cNvSpPr>
          <p:nvPr>
            <p:ph type="body" sz="quarter" idx="15"/>
          </p:nvPr>
        </p:nvSpPr>
        <p:spPr bwMode="gray">
          <a:xfrm>
            <a:off x="250826" y="1563927"/>
            <a:ext cx="8642350"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6" y="987267"/>
            <a:ext cx="8642349"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562689291"/>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5" name="Text Placeholder 10"/>
          <p:cNvSpPr>
            <a:spLocks noGrp="1"/>
          </p:cNvSpPr>
          <p:nvPr>
            <p:ph type="body" sz="quarter" idx="16"/>
          </p:nvPr>
        </p:nvSpPr>
        <p:spPr bwMode="gray">
          <a:xfrm>
            <a:off x="250824" y="1563928"/>
            <a:ext cx="417715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10"/>
          <p:cNvSpPr>
            <a:spLocks noGrp="1"/>
          </p:cNvSpPr>
          <p:nvPr>
            <p:ph type="body" sz="quarter" idx="17"/>
          </p:nvPr>
        </p:nvSpPr>
        <p:spPr bwMode="gray">
          <a:xfrm>
            <a:off x="4644009" y="1563928"/>
            <a:ext cx="4249166"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8"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309649310"/>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8" name="Text Placeholder 9"/>
          <p:cNvSpPr>
            <a:spLocks noGrp="1"/>
          </p:cNvSpPr>
          <p:nvPr>
            <p:ph type="body" sz="quarter" idx="19"/>
          </p:nvPr>
        </p:nvSpPr>
        <p:spPr bwMode="gray">
          <a:xfrm>
            <a:off x="250825" y="1563928"/>
            <a:ext cx="273699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9" name="Text Placeholder 9"/>
          <p:cNvSpPr>
            <a:spLocks noGrp="1"/>
          </p:cNvSpPr>
          <p:nvPr>
            <p:ph type="body" sz="quarter" idx="20"/>
          </p:nvPr>
        </p:nvSpPr>
        <p:spPr bwMode="gray">
          <a:xfrm>
            <a:off x="3203848" y="1563928"/>
            <a:ext cx="2808312"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20" name="Text Placeholder 9"/>
          <p:cNvSpPr>
            <a:spLocks noGrp="1"/>
          </p:cNvSpPr>
          <p:nvPr>
            <p:ph type="body" sz="quarter" idx="21"/>
          </p:nvPr>
        </p:nvSpPr>
        <p:spPr bwMode="gray">
          <a:xfrm>
            <a:off x="6228184" y="1563928"/>
            <a:ext cx="2664991" cy="3239848"/>
          </a:xfrm>
        </p:spPr>
        <p:txBody>
          <a:bodyPr/>
          <a:lstStyle>
            <a:lvl5pPr>
              <a:defRPr/>
            </a:lvl5p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7"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267227278"/>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4" name="Textplatzhalter 14"/>
          <p:cNvSpPr>
            <a:spLocks noGrp="1"/>
          </p:cNvSpPr>
          <p:nvPr>
            <p:ph type="body" sz="quarter" idx="16" hasCustomPrompt="1"/>
          </p:nvPr>
        </p:nvSpPr>
        <p:spPr bwMode="gray">
          <a:xfrm>
            <a:off x="250825" y="987546"/>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785205023"/>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ubheadline + 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250825" y="1635936"/>
            <a:ext cx="8642350" cy="3167840"/>
          </a:xfrm>
          <a:prstGeom prst="round1Rect">
            <a:avLst>
              <a:gd name="adj" fmla="val 12027"/>
            </a:avLst>
          </a:prstGeom>
          <a:noFill/>
          <a:ln>
            <a:noFill/>
          </a:ln>
        </p:spPr>
        <p:txBody>
          <a:bodyPr/>
          <a:lstStyle/>
          <a:p>
            <a:r>
              <a:rPr lang="de-DE" noProof="0"/>
              <a:t>Bild auf Platzhalter ziehen oder durch Klicken auf Symbol hinzufügen</a:t>
            </a:r>
            <a:endParaRPr lang="en-US" noProof="0"/>
          </a:p>
        </p:txBody>
      </p:sp>
      <p:sp>
        <p:nvSpPr>
          <p:cNvPr id="5"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672103642"/>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ubheadline + 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4716016" y="1635936"/>
            <a:ext cx="4177159" cy="3167840"/>
          </a:xfrm>
          <a:prstGeom prst="round1Rect">
            <a:avLst>
              <a:gd name="adj" fmla="val 12027"/>
            </a:avLst>
          </a:prstGeom>
          <a:noFill/>
          <a:ln>
            <a:noFill/>
          </a:ln>
        </p:spPr>
        <p:txBody>
          <a:bodyPr/>
          <a:lstStyle/>
          <a:p>
            <a:r>
              <a:rPr lang="de-DE" noProof="0"/>
              <a:t>Bild auf Platzhalter ziehen oder durch Klicken auf Symbol hinzufügen</a:t>
            </a:r>
            <a:endParaRPr lang="en-US" noProof="0"/>
          </a:p>
        </p:txBody>
      </p:sp>
      <p:sp>
        <p:nvSpPr>
          <p:cNvPr id="10" name="Picture Placeholder 10"/>
          <p:cNvSpPr>
            <a:spLocks noGrp="1"/>
          </p:cNvSpPr>
          <p:nvPr>
            <p:ph type="pic" sz="quarter" idx="16"/>
            <p:custDataLst>
              <p:tags r:id="rId2"/>
            </p:custDataLst>
          </p:nvPr>
        </p:nvSpPr>
        <p:spPr bwMode="gray">
          <a:xfrm>
            <a:off x="250825" y="1635936"/>
            <a:ext cx="4177160" cy="3167840"/>
          </a:xfrm>
          <a:prstGeom prst="rect">
            <a:avLst/>
          </a:prstGeom>
          <a:noFill/>
          <a:ln>
            <a:noFill/>
          </a:ln>
        </p:spPr>
        <p:txBody>
          <a:bodyPr/>
          <a:lstStyle/>
          <a:p>
            <a:r>
              <a:rPr lang="de-DE" noProof="0"/>
              <a:t>Bild auf Platzhalter ziehen oder durch Klicken auf Symbol hinzufügen</a:t>
            </a:r>
            <a:endParaRPr lang="en-US" noProof="0"/>
          </a:p>
        </p:txBody>
      </p:sp>
      <p:sp>
        <p:nvSpPr>
          <p:cNvPr id="6" name="Textplatzhalter 14"/>
          <p:cNvSpPr>
            <a:spLocks noGrp="1"/>
          </p:cNvSpPr>
          <p:nvPr>
            <p:ph type="body" sz="quarter" idx="17"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977607265"/>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ubheadline + 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4716016" y="1635936"/>
            <a:ext cx="4177159" cy="3167840"/>
          </a:xfrm>
          <a:prstGeom prst="round1Rect">
            <a:avLst>
              <a:gd name="adj" fmla="val 12027"/>
            </a:avLst>
          </a:prstGeom>
        </p:spPr>
        <p:txBody>
          <a:bodyPr/>
          <a:lstStyle/>
          <a:p>
            <a:r>
              <a:rPr lang="de-DE" noProof="0"/>
              <a:t>Bild auf Platzhalter ziehen oder durch Klicken auf Symbol hinzufügen</a:t>
            </a:r>
            <a:endParaRPr lang="en-US" noProof="0"/>
          </a:p>
        </p:txBody>
      </p:sp>
      <p:sp>
        <p:nvSpPr>
          <p:cNvPr id="11" name="Text Placeholder 8"/>
          <p:cNvSpPr>
            <a:spLocks noGrp="1"/>
          </p:cNvSpPr>
          <p:nvPr>
            <p:ph type="body" sz="quarter" idx="17"/>
          </p:nvPr>
        </p:nvSpPr>
        <p:spPr bwMode="gray">
          <a:xfrm>
            <a:off x="250824" y="1563928"/>
            <a:ext cx="417715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031074136"/>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250824" y="1635936"/>
            <a:ext cx="4177159"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7"/>
          </p:nvPr>
        </p:nvSpPr>
        <p:spPr bwMode="gray">
          <a:xfrm>
            <a:off x="4644008" y="1563928"/>
            <a:ext cx="4249167"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730793703"/>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ubheadline + 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6228184" y="1635936"/>
            <a:ext cx="2664991" cy="3167840"/>
          </a:xfrm>
          <a:prstGeom prst="round1Rect">
            <a:avLst>
              <a:gd name="adj" fmla="val 14296"/>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4" y="1563928"/>
            <a:ext cx="5761335"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102102293"/>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635936"/>
            <a:ext cx="2664991"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3131840" y="1563928"/>
            <a:ext cx="5761335"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4369438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3132139" y="1058862"/>
            <a:ext cx="5761036" cy="3744913"/>
          </a:xfrm>
          <a:prstGeom prst="round1Rect">
            <a:avLst>
              <a:gd name="adj" fmla="val 10174"/>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5" y="987425"/>
            <a:ext cx="2665414"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ubheadline + 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3132139" y="1635936"/>
            <a:ext cx="5761036" cy="3167840"/>
          </a:xfrm>
          <a:prstGeom prst="round1Rect">
            <a:avLst>
              <a:gd name="adj" fmla="val 12027"/>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5" y="1563928"/>
            <a:ext cx="2665414"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719236813"/>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635936"/>
            <a:ext cx="5761038"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6227763" y="1563928"/>
            <a:ext cx="2665412"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971709141"/>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8"/>
          </p:nvPr>
        </p:nvSpPr>
        <p:spPr bwMode="gray">
          <a:xfrm>
            <a:off x="250826" y="3291851"/>
            <a:ext cx="8642350" cy="1511924"/>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9"/>
          </p:nvPr>
        </p:nvSpPr>
        <p:spPr bwMode="gray">
          <a:xfrm>
            <a:off x="250828" y="1563927"/>
            <a:ext cx="8642348" cy="158390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7" y="987268"/>
            <a:ext cx="8642348"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306934853"/>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ubheadline + 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9" y="1635935"/>
            <a:ext cx="8642346" cy="1511896"/>
          </a:xfrm>
          <a:prstGeom prst="round1Rect">
            <a:avLst>
              <a:gd name="adj" fmla="val 25200"/>
            </a:avLst>
          </a:prstGeom>
        </p:spPr>
        <p:txBody>
          <a:bodyPr/>
          <a:lstStyle/>
          <a:p>
            <a:r>
              <a:rPr lang="de-DE" noProof="0"/>
              <a:t>Bild auf Platzhalter ziehen oder durch Klicken auf Symbol hinzufügen</a:t>
            </a:r>
            <a:endParaRPr lang="en-US" noProof="0"/>
          </a:p>
        </p:txBody>
      </p:sp>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0" name="Text Placeholder 8"/>
          <p:cNvSpPr>
            <a:spLocks noGrp="1"/>
          </p:cNvSpPr>
          <p:nvPr>
            <p:ph type="body" sz="quarter" idx="19"/>
          </p:nvPr>
        </p:nvSpPr>
        <p:spPr bwMode="gray">
          <a:xfrm>
            <a:off x="250829" y="3291851"/>
            <a:ext cx="8642346" cy="151192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8" y="987268"/>
            <a:ext cx="8642346"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804410190"/>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Leer">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0519010"/>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anchor="ctr"/>
          <a:lstStyle/>
          <a:p>
            <a:endParaRPr lang="en-US">
              <a:solidFill>
                <a:srgbClr val="000000"/>
              </a:solidFill>
            </a:endParaRPr>
          </a:p>
        </p:txBody>
      </p:sp>
      <p:pic>
        <p:nvPicPr>
          <p:cNvPr id="41" name="Picture 2" descr="Fujitsu_Logo"/>
          <p:cNvPicPr>
            <a:picLocks noChangeAspect="1" noChangeArrowheads="1"/>
          </p:cNvPicPr>
          <p:nvPr userDrawn="1"/>
        </p:nvPicPr>
        <p:blipFill>
          <a:blip r:embed="rId2" cstate="print"/>
          <a:srcRect/>
          <a:stretch>
            <a:fillRect/>
          </a:stretch>
        </p:blipFill>
        <p:spPr bwMode="auto">
          <a:xfrm>
            <a:off x="2455510" y="1357200"/>
            <a:ext cx="4202009" cy="2100264"/>
          </a:xfrm>
          <a:prstGeom prst="rect">
            <a:avLst/>
          </a:prstGeom>
          <a:noFill/>
        </p:spPr>
      </p:pic>
    </p:spTree>
    <p:extLst>
      <p:ext uri="{BB962C8B-B14F-4D97-AF65-F5344CB8AC3E}">
        <p14:creationId xmlns:p14="http://schemas.microsoft.com/office/powerpoint/2010/main" val="1560405077"/>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ru-RU" smtClean="0"/>
              <a:t>Образец заголовка</a:t>
            </a:r>
            <a:endParaRPr lang="de-DE"/>
          </a:p>
        </p:txBody>
      </p:sp>
      <p:sp>
        <p:nvSpPr>
          <p:cNvPr id="3" name="Inhaltsplatzhalter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de-DE" dirty="0"/>
          </a:p>
        </p:txBody>
      </p:sp>
      <p:sp>
        <p:nvSpPr>
          <p:cNvPr id="4" name="Datumsplatzhalter 3"/>
          <p:cNvSpPr>
            <a:spLocks noGrp="1"/>
          </p:cNvSpPr>
          <p:nvPr>
            <p:ph type="dt" sz="half" idx="10"/>
          </p:nvPr>
        </p:nvSpPr>
        <p:spPr>
          <a:xfrm>
            <a:off x="457200" y="4767264"/>
            <a:ext cx="2133600" cy="273844"/>
          </a:xfrm>
          <a:prstGeom prst="rect">
            <a:avLst/>
          </a:prstGeom>
        </p:spPr>
        <p:txBody>
          <a:bodyPr/>
          <a:lstStyle/>
          <a:p>
            <a:endParaRPr lang="de-DE">
              <a:solidFill>
                <a:srgbClr val="000000"/>
              </a:solidFill>
            </a:endParaRPr>
          </a:p>
        </p:txBody>
      </p:sp>
      <p:sp>
        <p:nvSpPr>
          <p:cNvPr id="5" name="Fußzeilenplatzhalter 4"/>
          <p:cNvSpPr>
            <a:spLocks noGrp="1"/>
          </p:cNvSpPr>
          <p:nvPr>
            <p:ph type="ftr" sz="quarter" idx="11"/>
          </p:nvPr>
        </p:nvSpPr>
        <p:spPr>
          <a:xfrm>
            <a:off x="4929575" y="4937125"/>
            <a:ext cx="3963600" cy="201600"/>
          </a:xfrm>
          <a:prstGeom prst="rect">
            <a:avLst/>
          </a:prstGeom>
        </p:spPr>
        <p:txBody>
          <a:bodyPr/>
          <a:lstStyle/>
          <a:p>
            <a:r>
              <a:rPr>
                <a:solidFill>
                  <a:srgbClr val="000000">
                    <a:tint val="75000"/>
                  </a:srgbClr>
                </a:solidFill>
              </a:rPr>
              <a:t>2017</a:t>
            </a:r>
          </a:p>
        </p:txBody>
      </p:sp>
      <p:sp>
        <p:nvSpPr>
          <p:cNvPr id="6" name="Foliennummernplatzhalter 5"/>
          <p:cNvSpPr>
            <a:spLocks noGrp="1"/>
          </p:cNvSpPr>
          <p:nvPr>
            <p:ph type="sldNum" sz="quarter" idx="12"/>
          </p:nvPr>
        </p:nvSpPr>
        <p:spPr>
          <a:xfrm>
            <a:off x="4044114" y="4856957"/>
            <a:ext cx="1055772" cy="274637"/>
          </a:xfrm>
          <a:prstGeom prst="rect">
            <a:avLst/>
          </a:prstGeom>
        </p:spPr>
        <p:txBody>
          <a:bodyPr/>
          <a:lstStyle/>
          <a:p>
            <a:fld id="{E0FB0A61-C40D-4672-9AD2-638BA04E9065}" type="slidenum">
              <a:rPr lang="de-DE" smtClean="0">
                <a:solidFill>
                  <a:srgbClr val="000000">
                    <a:tint val="75000"/>
                  </a:srgbClr>
                </a:solidFill>
              </a:rPr>
              <a:pPr/>
              <a:t>‹#›</a:t>
            </a:fld>
            <a:endParaRPr lang="de-DE">
              <a:solidFill>
                <a:srgbClr val="000000">
                  <a:tint val="75000"/>
                </a:srgbClr>
              </a:solidFill>
            </a:endParaRPr>
          </a:p>
        </p:txBody>
      </p:sp>
    </p:spTree>
    <p:extLst>
      <p:ext uri="{BB962C8B-B14F-4D97-AF65-F5344CB8AC3E}">
        <p14:creationId xmlns:p14="http://schemas.microsoft.com/office/powerpoint/2010/main" val="175432850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ext 1 column">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bwMode="gray">
          <a:xfrm>
            <a:off x="250825" y="987427"/>
            <a:ext cx="8642350" cy="3816350"/>
          </a:xfrm>
        </p:spPr>
        <p:txBody>
          <a:body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en-US" noProof="0" dirty="0"/>
          </a:p>
        </p:txBody>
      </p:sp>
    </p:spTree>
    <p:extLst>
      <p:ext uri="{BB962C8B-B14F-4D97-AF65-F5344CB8AC3E}">
        <p14:creationId xmlns:p14="http://schemas.microsoft.com/office/powerpoint/2010/main" val="3724372010"/>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2" name="Bild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9" y="762"/>
            <a:ext cx="9144000" cy="5143500"/>
          </a:xfrm>
          <a:prstGeom prst="rect">
            <a:avLst/>
          </a:prstGeom>
        </p:spPr>
      </p:pic>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a:t>
            </a:r>
            <a:r>
              <a:rPr lang="en-GB" sz="4400" dirty="0" err="1" smtClean="0">
                <a:solidFill>
                  <a:srgbClr val="FFFFFF"/>
                </a:solidFill>
              </a:rPr>
              <a:t>durch</a:t>
            </a:r>
            <a:r>
              <a:rPr lang="en-GB" sz="4400" dirty="0" smtClean="0">
                <a:solidFill>
                  <a:srgbClr val="FFFFFF"/>
                </a:solidFill>
              </a:rPr>
              <a:t> </a:t>
            </a:r>
            <a:r>
              <a:rPr lang="en-GB" sz="4400" dirty="0" err="1" smtClean="0">
                <a:solidFill>
                  <a:srgbClr val="FFFFFF"/>
                </a:solidFill>
              </a:rPr>
              <a:t>Klicken</a:t>
            </a:r>
            <a:r>
              <a:rPr lang="en-GB" sz="4400" dirty="0" smtClean="0">
                <a:solidFill>
                  <a:srgbClr val="FFFFFF"/>
                </a:solidFill>
              </a:rPr>
              <a:t> </a:t>
            </a:r>
            <a:r>
              <a:rPr lang="en-GB" sz="4400" dirty="0" err="1" smtClean="0">
                <a:solidFill>
                  <a:srgbClr val="FFFFFF"/>
                </a:solidFill>
              </a:rPr>
              <a:t>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8" name="Title 47"/>
          <p:cNvSpPr>
            <a:spLocks noGrp="1"/>
          </p:cNvSpPr>
          <p:nvPr>
            <p:ph type="title"/>
          </p:nvPr>
        </p:nvSpPr>
        <p:spPr bwMode="gray">
          <a:xfrm>
            <a:off x="395420" y="411450"/>
            <a:ext cx="2088291" cy="1368190"/>
          </a:xfrm>
          <a:noFill/>
          <a:ln w="9525">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2200" kern="1200" noProof="0" smtClean="0">
                <a:solidFill>
                  <a:schemeClr val="bg1"/>
                </a:solidFill>
                <a:latin typeface="Fujitsu Sans"/>
                <a:ea typeface="+mj-ea"/>
                <a:cs typeface="Fujitsu Sans"/>
              </a:defRPr>
            </a:lvl1pPr>
          </a:lstStyle>
          <a:p>
            <a:r>
              <a:rPr lang="de-DE" noProof="0" dirty="0" smtClean="0"/>
              <a:t>Mastertitelformat bearbeiten</a:t>
            </a:r>
            <a:endParaRPr lang="en-US" noProof="0" dirty="0"/>
          </a:p>
        </p:txBody>
      </p:sp>
      <p:sp>
        <p:nvSpPr>
          <p:cNvPr id="59" name="Subtitle 2"/>
          <p:cNvSpPr>
            <a:spLocks noGrp="1"/>
          </p:cNvSpPr>
          <p:nvPr>
            <p:ph type="subTitle" idx="1"/>
          </p:nvPr>
        </p:nvSpPr>
        <p:spPr bwMode="gray">
          <a:xfrm>
            <a:off x="395421" y="1801012"/>
            <a:ext cx="2088290" cy="69872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1400" b="0" kern="1200" noProof="0" dirty="0" smtClean="0">
                <a:solidFill>
                  <a:schemeClr val="bg1"/>
                </a:solidFill>
                <a:latin typeface="Fujitsu Sans"/>
                <a:ea typeface="+mn-ea"/>
                <a:cs typeface="Fujitsu San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smtClean="0"/>
              <a:t>Master-Untertitelformat bearbeiten</a:t>
            </a:r>
            <a:endParaRPr lang="en-US" noProof="0" dirty="0"/>
          </a:p>
        </p:txBody>
      </p:sp>
      <p:pic>
        <p:nvPicPr>
          <p:cNvPr id="1026" name="Picture 2" descr="Fujitsu_Logo_white"/>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7664185" y="243040"/>
            <a:ext cx="1252800" cy="626179"/>
          </a:xfrm>
          <a:prstGeom prst="rect">
            <a:avLst/>
          </a:prstGeom>
          <a:noFill/>
        </p:spPr>
      </p:pic>
    </p:spTree>
    <p:extLst>
      <p:ext uri="{BB962C8B-B14F-4D97-AF65-F5344CB8AC3E}">
        <p14:creationId xmlns:p14="http://schemas.microsoft.com/office/powerpoint/2010/main" val="2885225654"/>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Intermediate Cover">
    <p:spTree>
      <p:nvGrpSpPr>
        <p:cNvPr id="1" name=""/>
        <p:cNvGrpSpPr/>
        <p:nvPr/>
      </p:nvGrpSpPr>
      <p:grpSpPr>
        <a:xfrm>
          <a:off x="0" y="0"/>
          <a:ext cx="0" cy="0"/>
          <a:chOff x="0" y="0"/>
          <a:chExt cx="0" cy="0"/>
        </a:xfrm>
      </p:grpSpPr>
      <p:pic>
        <p:nvPicPr>
          <p:cNvPr id="8" name="Bild 1"/>
          <p:cNvPicPr>
            <a:picLocks noChangeAspect="1"/>
          </p:cNvPicPr>
          <p:nvPr userDrawn="1"/>
        </p:nvPicPr>
        <p:blipFill rotWithShape="1">
          <a:blip r:embed="rId2">
            <a:extLst>
              <a:ext uri="{28A0092B-C50C-407E-A947-70E740481C1C}">
                <a14:useLocalDpi xmlns:a14="http://schemas.microsoft.com/office/drawing/2010/main" val="0"/>
              </a:ext>
            </a:extLst>
          </a:blip>
          <a:srcRect b="41615"/>
          <a:stretch/>
        </p:blipFill>
        <p:spPr>
          <a:xfrm>
            <a:off x="-829" y="762"/>
            <a:ext cx="9144000" cy="3003048"/>
          </a:xfrm>
          <a:prstGeom prst="rect">
            <a:avLst/>
          </a:prstGeom>
        </p:spPr>
      </p:pic>
      <p:sp>
        <p:nvSpPr>
          <p:cNvPr id="6" name="Title 15"/>
          <p:cNvSpPr>
            <a:spLocks noGrp="1"/>
          </p:cNvSpPr>
          <p:nvPr>
            <p:ph type="title"/>
          </p:nvPr>
        </p:nvSpPr>
        <p:spPr bwMode="gray">
          <a:xfrm>
            <a:off x="250825" y="1563638"/>
            <a:ext cx="8642350" cy="86409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tx1"/>
                </a:solidFill>
                <a:latin typeface="Fujitsu Sans" charset="0"/>
                <a:ea typeface="Fujitsu Sans" charset="0"/>
                <a:cs typeface="Fujitsu Sans" charset="0"/>
              </a:defRPr>
            </a:lvl1pPr>
          </a:lstStyle>
          <a:p>
            <a:r>
              <a:rPr lang="en-US" noProof="0" dirty="0" smtClean="0"/>
              <a:t>Click to edit Master title style</a:t>
            </a:r>
            <a:endParaRPr lang="en-US" noProof="0" dirty="0"/>
          </a:p>
        </p:txBody>
      </p:sp>
      <p:sp>
        <p:nvSpPr>
          <p:cNvPr id="7" name="Text Placeholder 19"/>
          <p:cNvSpPr>
            <a:spLocks noGrp="1"/>
          </p:cNvSpPr>
          <p:nvPr>
            <p:ph type="body" sz="quarter" idx="10"/>
          </p:nvPr>
        </p:nvSpPr>
        <p:spPr bwMode="gray">
          <a:xfrm>
            <a:off x="250824" y="2787780"/>
            <a:ext cx="8642351" cy="2015995"/>
          </a:xfrm>
        </p:spPr>
        <p:txBody>
          <a:bodyPr/>
          <a:lstStyle>
            <a:lvl1pPr>
              <a:spcAft>
                <a:spcPts val="300"/>
              </a:spcAft>
              <a:buClr>
                <a:schemeClr val="tx2"/>
              </a:buClr>
              <a:buFont typeface="Wingdings" pitchFamily="2" charset="2"/>
              <a:buChar char="n"/>
              <a:defRPr sz="2200">
                <a:latin typeface="Fujitsu Sans" charset="0"/>
                <a:ea typeface="Fujitsu Sans" charset="0"/>
                <a:cs typeface="Fujitsu Sans" charset="0"/>
              </a:defRPr>
            </a:lvl1pPr>
            <a:lvl2pPr marL="266700" indent="-266700">
              <a:spcBef>
                <a:spcPts val="516"/>
              </a:spcBef>
              <a:buFont typeface="Wingdings" pitchFamily="2" charset="2"/>
              <a:buChar char="n"/>
              <a:defRPr sz="2400"/>
            </a:lvl2pPr>
            <a:lvl3pPr marL="266700" indent="-266700">
              <a:spcBef>
                <a:spcPts val="516"/>
              </a:spcBef>
              <a:spcAft>
                <a:spcPts val="288"/>
              </a:spcAft>
              <a:buFont typeface="Wingdings" pitchFamily="2" charset="2"/>
              <a:buChar char="n"/>
              <a:defRPr sz="2400"/>
            </a:lvl3pPr>
            <a:lvl4pPr marL="266700" indent="-266700">
              <a:spcBef>
                <a:spcPts val="516"/>
              </a:spcBef>
              <a:spcAft>
                <a:spcPts val="288"/>
              </a:spcAft>
              <a:buFont typeface="Wingdings" pitchFamily="2" charset="2"/>
              <a:buChar char="n"/>
              <a:defRPr sz="2400"/>
            </a:lvl4pPr>
            <a:lvl5pPr marL="266700" indent="-266700">
              <a:spcBef>
                <a:spcPts val="516"/>
              </a:spcBef>
              <a:spcAft>
                <a:spcPts val="288"/>
              </a:spcAft>
              <a:buFont typeface="Wingdings" pitchFamily="2" charset="2"/>
              <a:buChar char="n"/>
              <a:defRPr sz="2400"/>
            </a:lvl5pPr>
          </a:lstStyle>
          <a:p>
            <a:pPr lvl="0"/>
            <a:r>
              <a:rPr lang="en-US" noProof="0" dirty="0" smtClean="0"/>
              <a:t>Click to edit Master text styles</a:t>
            </a:r>
          </a:p>
        </p:txBody>
      </p:sp>
      <p:pic>
        <p:nvPicPr>
          <p:cNvPr id="9" name="Picture 3" descr="Fujitsu_Logo"/>
          <p:cNvPicPr>
            <a:picLocks noChangeAspect="1" noChangeArrowheads="1"/>
          </p:cNvPicPr>
          <p:nvPr userDrawn="1"/>
        </p:nvPicPr>
        <p:blipFill>
          <a:blip r:embed="rId3" cstate="print"/>
          <a:srcRect b="20259"/>
          <a:stretch>
            <a:fillRect/>
          </a:stretch>
        </p:blipFill>
        <p:spPr bwMode="auto">
          <a:xfrm>
            <a:off x="7664790" y="243040"/>
            <a:ext cx="1252195" cy="499082"/>
          </a:xfrm>
          <a:prstGeom prst="rect">
            <a:avLst/>
          </a:prstGeom>
          <a:noFill/>
        </p:spPr>
      </p:pic>
    </p:spTree>
    <p:extLst>
      <p:ext uri="{BB962C8B-B14F-4D97-AF65-F5344CB8AC3E}">
        <p14:creationId xmlns:p14="http://schemas.microsoft.com/office/powerpoint/2010/main" val="106044691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058862"/>
            <a:ext cx="5761038" cy="3744913"/>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6227763" y="987425"/>
            <a:ext cx="2665412"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dirty="0"/>
              <a:t>Mastertitelformat bearbeiten</a:t>
            </a:r>
            <a:endParaRPr lang="en-US" noProof="0" dirty="0"/>
          </a:p>
        </p:txBody>
      </p:sp>
      <p:sp>
        <p:nvSpPr>
          <p:cNvPr id="10" name="Text Placeholder 9"/>
          <p:cNvSpPr>
            <a:spLocks noGrp="1"/>
          </p:cNvSpPr>
          <p:nvPr>
            <p:ph type="body" sz="quarter" idx="10"/>
          </p:nvPr>
        </p:nvSpPr>
        <p:spPr bwMode="gray">
          <a:xfrm>
            <a:off x="250825" y="987425"/>
            <a:ext cx="8642350" cy="3816350"/>
          </a:xfrm>
        </p:spPr>
        <p:txBody>
          <a:body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en-US" noProof="0" dirty="0"/>
          </a:p>
        </p:txBody>
      </p:sp>
    </p:spTree>
    <p:extLst>
      <p:ext uri="{BB962C8B-B14F-4D97-AF65-F5344CB8AC3E}">
        <p14:creationId xmlns:p14="http://schemas.microsoft.com/office/powerpoint/2010/main" val="2305381060"/>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5" name="Text Placeholder 12"/>
          <p:cNvSpPr>
            <a:spLocks noGrp="1"/>
          </p:cNvSpPr>
          <p:nvPr>
            <p:ph type="body" sz="quarter" idx="15"/>
          </p:nvPr>
        </p:nvSpPr>
        <p:spPr bwMode="gray">
          <a:xfrm>
            <a:off x="250824" y="987424"/>
            <a:ext cx="4177159" cy="3816351"/>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12"/>
          <p:cNvSpPr>
            <a:spLocks noGrp="1"/>
          </p:cNvSpPr>
          <p:nvPr>
            <p:ph type="body" sz="quarter" idx="16"/>
          </p:nvPr>
        </p:nvSpPr>
        <p:spPr bwMode="gray">
          <a:xfrm>
            <a:off x="4644009" y="987425"/>
            <a:ext cx="4249166"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457310782"/>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Text Placeholder 9"/>
          <p:cNvSpPr>
            <a:spLocks noGrp="1"/>
          </p:cNvSpPr>
          <p:nvPr>
            <p:ph type="body" sz="quarter" idx="18"/>
          </p:nvPr>
        </p:nvSpPr>
        <p:spPr bwMode="gray">
          <a:xfrm>
            <a:off x="250824" y="987026"/>
            <a:ext cx="2736999"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9"/>
          <p:cNvSpPr>
            <a:spLocks noGrp="1"/>
          </p:cNvSpPr>
          <p:nvPr>
            <p:ph type="body" sz="quarter" idx="19"/>
          </p:nvPr>
        </p:nvSpPr>
        <p:spPr bwMode="gray">
          <a:xfrm>
            <a:off x="3203848" y="987067"/>
            <a:ext cx="2808312" cy="3816713"/>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8" name="Text Placeholder 9"/>
          <p:cNvSpPr>
            <a:spLocks noGrp="1"/>
          </p:cNvSpPr>
          <p:nvPr>
            <p:ph type="body" sz="quarter" idx="20"/>
          </p:nvPr>
        </p:nvSpPr>
        <p:spPr bwMode="gray">
          <a:xfrm>
            <a:off x="6228185" y="987425"/>
            <a:ext cx="2664990"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1088142815"/>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Tree>
    <p:extLst>
      <p:ext uri="{BB962C8B-B14F-4D97-AF65-F5344CB8AC3E}">
        <p14:creationId xmlns:p14="http://schemas.microsoft.com/office/powerpoint/2010/main" val="552122648"/>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250824" y="1058863"/>
            <a:ext cx="8642351" cy="3744912"/>
          </a:xfrm>
          <a:prstGeom prst="round1Rect">
            <a:avLst>
              <a:gd name="adj" fmla="val 10174"/>
            </a:avLst>
          </a:prstGeom>
          <a:noFill/>
          <a:ln>
            <a:noFill/>
          </a:ln>
        </p:spPr>
        <p:txBody>
          <a:bodyPr/>
          <a:lstStyle/>
          <a:p>
            <a:r>
              <a:rPr lang="de-DE" noProof="0"/>
              <a:t>Bild auf Platzhalter ziehen oder durch Klicken auf Symbol hinzufügen</a:t>
            </a:r>
            <a:endParaRPr lang="en-US" noProof="0"/>
          </a:p>
        </p:txBody>
      </p:sp>
    </p:spTree>
    <p:extLst>
      <p:ext uri="{BB962C8B-B14F-4D97-AF65-F5344CB8AC3E}">
        <p14:creationId xmlns:p14="http://schemas.microsoft.com/office/powerpoint/2010/main" val="197880056"/>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4716016" y="1058863"/>
            <a:ext cx="4177159" cy="3744912"/>
          </a:xfrm>
          <a:prstGeom prst="round1Rect">
            <a:avLst>
              <a:gd name="adj" fmla="val 10174"/>
            </a:avLst>
          </a:prstGeom>
          <a:noFill/>
          <a:ln>
            <a:noFill/>
          </a:ln>
        </p:spPr>
        <p:txBody>
          <a:bodyPr/>
          <a:lstStyle/>
          <a:p>
            <a:r>
              <a:rPr lang="de-DE" noProof="0"/>
              <a:t>Bild auf Platzhalter ziehen oder durch Klicken auf Symbol hinzufügen</a:t>
            </a:r>
            <a:endParaRPr lang="en-US" noProof="0"/>
          </a:p>
        </p:txBody>
      </p:sp>
      <p:sp>
        <p:nvSpPr>
          <p:cNvPr id="10" name="Picture Placeholder 10"/>
          <p:cNvSpPr>
            <a:spLocks noGrp="1"/>
          </p:cNvSpPr>
          <p:nvPr>
            <p:ph type="pic" sz="quarter" idx="16"/>
            <p:custDataLst>
              <p:tags r:id="rId2"/>
            </p:custDataLst>
          </p:nvPr>
        </p:nvSpPr>
        <p:spPr bwMode="gray">
          <a:xfrm>
            <a:off x="250824" y="1058863"/>
            <a:ext cx="4177159" cy="3744912"/>
          </a:xfrm>
          <a:prstGeom prst="rect">
            <a:avLst/>
          </a:prstGeom>
          <a:noFill/>
          <a:ln>
            <a:noFill/>
          </a:ln>
        </p:spPr>
        <p:txBody>
          <a:bodyPr/>
          <a:lstStyle/>
          <a:p>
            <a:r>
              <a:rPr lang="de-DE" noProof="0"/>
              <a:t>Bild auf Platzhalter ziehen oder durch Klicken auf Symbol hinzufügen</a:t>
            </a:r>
            <a:endParaRPr lang="en-US" noProof="0"/>
          </a:p>
        </p:txBody>
      </p:sp>
    </p:spTree>
    <p:extLst>
      <p:ext uri="{BB962C8B-B14F-4D97-AF65-F5344CB8AC3E}">
        <p14:creationId xmlns:p14="http://schemas.microsoft.com/office/powerpoint/2010/main" val="3574194669"/>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4716016" y="1058863"/>
            <a:ext cx="4177159" cy="3744912"/>
          </a:xfrm>
          <a:prstGeom prst="round1Rect">
            <a:avLst>
              <a:gd name="adj" fmla="val 10174"/>
            </a:avLst>
          </a:prstGeom>
        </p:spPr>
        <p:txBody>
          <a:bodyPr/>
          <a:lstStyle/>
          <a:p>
            <a:r>
              <a:rPr lang="de-DE" noProof="0"/>
              <a:t>Bild auf Platzhalter ziehen oder durch Klicken auf Symbol hinzufügen</a:t>
            </a:r>
            <a:endParaRPr lang="en-US" noProof="0"/>
          </a:p>
        </p:txBody>
      </p:sp>
      <p:sp>
        <p:nvSpPr>
          <p:cNvPr id="11" name="Text Placeholder 8"/>
          <p:cNvSpPr>
            <a:spLocks noGrp="1"/>
          </p:cNvSpPr>
          <p:nvPr>
            <p:ph type="body" sz="quarter" idx="16"/>
          </p:nvPr>
        </p:nvSpPr>
        <p:spPr bwMode="gray">
          <a:xfrm>
            <a:off x="250824" y="987425"/>
            <a:ext cx="4177159"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2862335473"/>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250824" y="1058863"/>
            <a:ext cx="4177159" cy="3744912"/>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6"/>
          </p:nvPr>
        </p:nvSpPr>
        <p:spPr bwMode="gray">
          <a:xfrm>
            <a:off x="4644009" y="987425"/>
            <a:ext cx="4249166"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817430002"/>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6228184" y="1058863"/>
            <a:ext cx="2664991" cy="3744912"/>
          </a:xfrm>
          <a:prstGeom prst="round1Rect">
            <a:avLst>
              <a:gd name="adj" fmla="val 14296"/>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7"/>
          </p:nvPr>
        </p:nvSpPr>
        <p:spPr bwMode="gray">
          <a:xfrm>
            <a:off x="250824" y="987425"/>
            <a:ext cx="5761335"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109795099"/>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058863"/>
            <a:ext cx="2664992" cy="3744912"/>
          </a:xfrm>
          <a:prstGeom prst="rect">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7"/>
          </p:nvPr>
        </p:nvSpPr>
        <p:spPr bwMode="gray">
          <a:xfrm>
            <a:off x="3131840" y="987425"/>
            <a:ext cx="5761335"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273976593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top – Picture bottom">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8"/>
          </p:nvPr>
        </p:nvSpPr>
        <p:spPr bwMode="gray">
          <a:xfrm>
            <a:off x="250825" y="3003809"/>
            <a:ext cx="8642349" cy="1799965"/>
          </a:xfrm>
          <a:prstGeom prst="rect">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9"/>
          </p:nvPr>
        </p:nvSpPr>
        <p:spPr bwMode="gray">
          <a:xfrm>
            <a:off x="250825" y="987426"/>
            <a:ext cx="8642350" cy="187236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3132139" y="1058862"/>
            <a:ext cx="5761036" cy="3744913"/>
          </a:xfrm>
          <a:prstGeom prst="round1Rect">
            <a:avLst>
              <a:gd name="adj" fmla="val 10174"/>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5" y="987425"/>
            <a:ext cx="2665414"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824084870"/>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058862"/>
            <a:ext cx="5761038" cy="3744913"/>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6227763" y="987425"/>
            <a:ext cx="2665412"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1388281664"/>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ext top – Picture bottom">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8"/>
          </p:nvPr>
        </p:nvSpPr>
        <p:spPr bwMode="gray">
          <a:xfrm>
            <a:off x="250825" y="3003809"/>
            <a:ext cx="8642349" cy="1799965"/>
          </a:xfrm>
          <a:prstGeom prst="rect">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9"/>
          </p:nvPr>
        </p:nvSpPr>
        <p:spPr bwMode="gray">
          <a:xfrm>
            <a:off x="250825" y="987426"/>
            <a:ext cx="8642350" cy="187236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867375330"/>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5" y="1058862"/>
            <a:ext cx="8642351" cy="1800928"/>
          </a:xfrm>
          <a:prstGeom prst="round1Rect">
            <a:avLst>
              <a:gd name="adj" fmla="val 21156"/>
            </a:avLst>
          </a:prstGeom>
        </p:spPr>
        <p:txBody>
          <a:bodyPr/>
          <a:lstStyle/>
          <a:p>
            <a:r>
              <a:rPr lang="de-DE" noProof="0"/>
              <a:t>Bild auf Platzhalter ziehen oder durch Klicken auf Symbol hinzufügen</a:t>
            </a:r>
            <a:endParaRPr lang="en-US" noProof="0"/>
          </a:p>
        </p:txBody>
      </p:sp>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Text Placeholder 9"/>
          <p:cNvSpPr>
            <a:spLocks noGrp="1"/>
          </p:cNvSpPr>
          <p:nvPr>
            <p:ph type="body" sz="quarter" idx="19"/>
          </p:nvPr>
        </p:nvSpPr>
        <p:spPr bwMode="gray">
          <a:xfrm>
            <a:off x="250825" y="3003810"/>
            <a:ext cx="8642350" cy="179996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4252053387"/>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0" name="Text Placeholder 7"/>
          <p:cNvSpPr>
            <a:spLocks noGrp="1"/>
          </p:cNvSpPr>
          <p:nvPr>
            <p:ph type="body" sz="quarter" idx="15"/>
          </p:nvPr>
        </p:nvSpPr>
        <p:spPr bwMode="gray">
          <a:xfrm>
            <a:off x="250826" y="1563927"/>
            <a:ext cx="8642350"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6" y="987267"/>
            <a:ext cx="8642349"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4042246579"/>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5" name="Text Placeholder 10"/>
          <p:cNvSpPr>
            <a:spLocks noGrp="1"/>
          </p:cNvSpPr>
          <p:nvPr>
            <p:ph type="body" sz="quarter" idx="16"/>
          </p:nvPr>
        </p:nvSpPr>
        <p:spPr bwMode="gray">
          <a:xfrm>
            <a:off x="250824" y="1563928"/>
            <a:ext cx="417715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10"/>
          <p:cNvSpPr>
            <a:spLocks noGrp="1"/>
          </p:cNvSpPr>
          <p:nvPr>
            <p:ph type="body" sz="quarter" idx="17"/>
          </p:nvPr>
        </p:nvSpPr>
        <p:spPr bwMode="gray">
          <a:xfrm>
            <a:off x="4644009" y="1563928"/>
            <a:ext cx="4249166"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8"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48930785"/>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8" name="Text Placeholder 9"/>
          <p:cNvSpPr>
            <a:spLocks noGrp="1"/>
          </p:cNvSpPr>
          <p:nvPr>
            <p:ph type="body" sz="quarter" idx="19"/>
          </p:nvPr>
        </p:nvSpPr>
        <p:spPr bwMode="gray">
          <a:xfrm>
            <a:off x="250825" y="1563928"/>
            <a:ext cx="273699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9" name="Text Placeholder 9"/>
          <p:cNvSpPr>
            <a:spLocks noGrp="1"/>
          </p:cNvSpPr>
          <p:nvPr>
            <p:ph type="body" sz="quarter" idx="20"/>
          </p:nvPr>
        </p:nvSpPr>
        <p:spPr bwMode="gray">
          <a:xfrm>
            <a:off x="3203848" y="1563928"/>
            <a:ext cx="2808312"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20" name="Text Placeholder 9"/>
          <p:cNvSpPr>
            <a:spLocks noGrp="1"/>
          </p:cNvSpPr>
          <p:nvPr>
            <p:ph type="body" sz="quarter" idx="21"/>
          </p:nvPr>
        </p:nvSpPr>
        <p:spPr bwMode="gray">
          <a:xfrm>
            <a:off x="6228184" y="1563928"/>
            <a:ext cx="2664991" cy="3239848"/>
          </a:xfrm>
        </p:spPr>
        <p:txBody>
          <a:bodyPr/>
          <a:lstStyle>
            <a:lvl5pPr>
              <a:defRPr/>
            </a:lvl5p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7"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214706016"/>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4" name="Textplatzhalter 14"/>
          <p:cNvSpPr>
            <a:spLocks noGrp="1"/>
          </p:cNvSpPr>
          <p:nvPr>
            <p:ph type="body" sz="quarter" idx="16" hasCustomPrompt="1"/>
          </p:nvPr>
        </p:nvSpPr>
        <p:spPr bwMode="gray">
          <a:xfrm>
            <a:off x="250825" y="987546"/>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22099624"/>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ubheadline + 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250825" y="1635936"/>
            <a:ext cx="8642350" cy="3167840"/>
          </a:xfrm>
          <a:prstGeom prst="round1Rect">
            <a:avLst>
              <a:gd name="adj" fmla="val 12027"/>
            </a:avLst>
          </a:prstGeom>
          <a:noFill/>
          <a:ln>
            <a:noFill/>
          </a:ln>
        </p:spPr>
        <p:txBody>
          <a:bodyPr/>
          <a:lstStyle/>
          <a:p>
            <a:r>
              <a:rPr lang="de-DE" noProof="0"/>
              <a:t>Bild auf Platzhalter ziehen oder durch Klicken auf Symbol hinzufügen</a:t>
            </a:r>
            <a:endParaRPr lang="en-US" noProof="0"/>
          </a:p>
        </p:txBody>
      </p:sp>
      <p:sp>
        <p:nvSpPr>
          <p:cNvPr id="5"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191864574"/>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ubheadline + 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4716016" y="1635936"/>
            <a:ext cx="4177159" cy="3167840"/>
          </a:xfrm>
          <a:prstGeom prst="round1Rect">
            <a:avLst>
              <a:gd name="adj" fmla="val 12027"/>
            </a:avLst>
          </a:prstGeom>
          <a:noFill/>
          <a:ln>
            <a:noFill/>
          </a:ln>
        </p:spPr>
        <p:txBody>
          <a:bodyPr/>
          <a:lstStyle/>
          <a:p>
            <a:r>
              <a:rPr lang="de-DE" noProof="0"/>
              <a:t>Bild auf Platzhalter ziehen oder durch Klicken auf Symbol hinzufügen</a:t>
            </a:r>
            <a:endParaRPr lang="en-US" noProof="0"/>
          </a:p>
        </p:txBody>
      </p:sp>
      <p:sp>
        <p:nvSpPr>
          <p:cNvPr id="10" name="Picture Placeholder 10"/>
          <p:cNvSpPr>
            <a:spLocks noGrp="1"/>
          </p:cNvSpPr>
          <p:nvPr>
            <p:ph type="pic" sz="quarter" idx="16"/>
            <p:custDataLst>
              <p:tags r:id="rId2"/>
            </p:custDataLst>
          </p:nvPr>
        </p:nvSpPr>
        <p:spPr bwMode="gray">
          <a:xfrm>
            <a:off x="250825" y="1635936"/>
            <a:ext cx="4177160" cy="3167840"/>
          </a:xfrm>
          <a:prstGeom prst="rect">
            <a:avLst/>
          </a:prstGeom>
          <a:noFill/>
          <a:ln>
            <a:noFill/>
          </a:ln>
        </p:spPr>
        <p:txBody>
          <a:bodyPr/>
          <a:lstStyle/>
          <a:p>
            <a:r>
              <a:rPr lang="de-DE" noProof="0"/>
              <a:t>Bild auf Platzhalter ziehen oder durch Klicken auf Symbol hinzufügen</a:t>
            </a:r>
            <a:endParaRPr lang="en-US" noProof="0"/>
          </a:p>
        </p:txBody>
      </p:sp>
      <p:sp>
        <p:nvSpPr>
          <p:cNvPr id="6" name="Textplatzhalter 14"/>
          <p:cNvSpPr>
            <a:spLocks noGrp="1"/>
          </p:cNvSpPr>
          <p:nvPr>
            <p:ph type="body" sz="quarter" idx="17"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60347986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5" y="1058862"/>
            <a:ext cx="8642351" cy="1800928"/>
          </a:xfrm>
          <a:prstGeom prst="round1Rect">
            <a:avLst>
              <a:gd name="adj" fmla="val 21156"/>
            </a:avLst>
          </a:prstGeom>
        </p:spPr>
        <p:txBody>
          <a:bodyPr/>
          <a:lstStyle/>
          <a:p>
            <a:r>
              <a:rPr lang="de-DE" noProof="0"/>
              <a:t>Bild auf Platzhalter ziehen oder durch Klicken auf Symbol hinzufügen</a:t>
            </a:r>
            <a:endParaRPr lang="en-US" noProof="0"/>
          </a:p>
        </p:txBody>
      </p:sp>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Text Placeholder 9"/>
          <p:cNvSpPr>
            <a:spLocks noGrp="1"/>
          </p:cNvSpPr>
          <p:nvPr>
            <p:ph type="body" sz="quarter" idx="19"/>
          </p:nvPr>
        </p:nvSpPr>
        <p:spPr bwMode="gray">
          <a:xfrm>
            <a:off x="250825" y="3003810"/>
            <a:ext cx="8642350" cy="179996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ubheadline + 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4716016" y="1635936"/>
            <a:ext cx="4177159" cy="3167840"/>
          </a:xfrm>
          <a:prstGeom prst="round1Rect">
            <a:avLst>
              <a:gd name="adj" fmla="val 12027"/>
            </a:avLst>
          </a:prstGeom>
        </p:spPr>
        <p:txBody>
          <a:bodyPr/>
          <a:lstStyle/>
          <a:p>
            <a:r>
              <a:rPr lang="de-DE" noProof="0"/>
              <a:t>Bild auf Platzhalter ziehen oder durch Klicken auf Symbol hinzufügen</a:t>
            </a:r>
            <a:endParaRPr lang="en-US" noProof="0"/>
          </a:p>
        </p:txBody>
      </p:sp>
      <p:sp>
        <p:nvSpPr>
          <p:cNvPr id="11" name="Text Placeholder 8"/>
          <p:cNvSpPr>
            <a:spLocks noGrp="1"/>
          </p:cNvSpPr>
          <p:nvPr>
            <p:ph type="body" sz="quarter" idx="17"/>
          </p:nvPr>
        </p:nvSpPr>
        <p:spPr bwMode="gray">
          <a:xfrm>
            <a:off x="250824" y="1563928"/>
            <a:ext cx="417715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035697096"/>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250824" y="1635936"/>
            <a:ext cx="4177159"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7"/>
          </p:nvPr>
        </p:nvSpPr>
        <p:spPr bwMode="gray">
          <a:xfrm>
            <a:off x="4644008" y="1563928"/>
            <a:ext cx="4249167"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567037574"/>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ubheadline + 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6228184" y="1635936"/>
            <a:ext cx="2664991" cy="3167840"/>
          </a:xfrm>
          <a:prstGeom prst="round1Rect">
            <a:avLst>
              <a:gd name="adj" fmla="val 14296"/>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4" y="1563928"/>
            <a:ext cx="5761335"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971191851"/>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635936"/>
            <a:ext cx="2664991"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3131840" y="1563928"/>
            <a:ext cx="5761335"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981070712"/>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ubheadline + 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3132139" y="1635936"/>
            <a:ext cx="5761036" cy="3167840"/>
          </a:xfrm>
          <a:prstGeom prst="round1Rect">
            <a:avLst>
              <a:gd name="adj" fmla="val 12027"/>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5" y="1563928"/>
            <a:ext cx="2665414"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745478539"/>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635936"/>
            <a:ext cx="5761038"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6227763" y="1563928"/>
            <a:ext cx="2665412"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126135476"/>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8"/>
          </p:nvPr>
        </p:nvSpPr>
        <p:spPr bwMode="gray">
          <a:xfrm>
            <a:off x="250826" y="3291851"/>
            <a:ext cx="8642350" cy="1511924"/>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9"/>
          </p:nvPr>
        </p:nvSpPr>
        <p:spPr bwMode="gray">
          <a:xfrm>
            <a:off x="250828" y="1563927"/>
            <a:ext cx="8642348" cy="158390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7" y="987268"/>
            <a:ext cx="8642348"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4020384130"/>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ubheadline + 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9" y="1635935"/>
            <a:ext cx="8642346" cy="1511896"/>
          </a:xfrm>
          <a:prstGeom prst="round1Rect">
            <a:avLst>
              <a:gd name="adj" fmla="val 25200"/>
            </a:avLst>
          </a:prstGeom>
        </p:spPr>
        <p:txBody>
          <a:bodyPr/>
          <a:lstStyle/>
          <a:p>
            <a:r>
              <a:rPr lang="de-DE" noProof="0"/>
              <a:t>Bild auf Platzhalter ziehen oder durch Klicken auf Symbol hinzufügen</a:t>
            </a:r>
            <a:endParaRPr lang="en-US" noProof="0"/>
          </a:p>
        </p:txBody>
      </p:sp>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0" name="Text Placeholder 8"/>
          <p:cNvSpPr>
            <a:spLocks noGrp="1"/>
          </p:cNvSpPr>
          <p:nvPr>
            <p:ph type="body" sz="quarter" idx="19"/>
          </p:nvPr>
        </p:nvSpPr>
        <p:spPr bwMode="gray">
          <a:xfrm>
            <a:off x="250829" y="3291851"/>
            <a:ext cx="8642346" cy="151192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8" y="987268"/>
            <a:ext cx="8642346"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865886303"/>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Leer">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4664941"/>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anchor="ctr"/>
          <a:lstStyle/>
          <a:p>
            <a:endParaRPr lang="en-US">
              <a:solidFill>
                <a:srgbClr val="000000"/>
              </a:solidFill>
            </a:endParaRPr>
          </a:p>
        </p:txBody>
      </p:sp>
      <p:pic>
        <p:nvPicPr>
          <p:cNvPr id="41" name="Picture 2" descr="Fujitsu_Logo"/>
          <p:cNvPicPr>
            <a:picLocks noChangeAspect="1" noChangeArrowheads="1"/>
          </p:cNvPicPr>
          <p:nvPr userDrawn="1"/>
        </p:nvPicPr>
        <p:blipFill>
          <a:blip r:embed="rId2" cstate="print"/>
          <a:srcRect/>
          <a:stretch>
            <a:fillRect/>
          </a:stretch>
        </p:blipFill>
        <p:spPr bwMode="auto">
          <a:xfrm>
            <a:off x="2455510" y="1357200"/>
            <a:ext cx="4202009" cy="2100264"/>
          </a:xfrm>
          <a:prstGeom prst="rect">
            <a:avLst/>
          </a:prstGeom>
          <a:noFill/>
        </p:spPr>
      </p:pic>
    </p:spTree>
    <p:extLst>
      <p:ext uri="{BB962C8B-B14F-4D97-AF65-F5344CB8AC3E}">
        <p14:creationId xmlns:p14="http://schemas.microsoft.com/office/powerpoint/2010/main" val="417600783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0" name="Text Placeholder 7"/>
          <p:cNvSpPr>
            <a:spLocks noGrp="1"/>
          </p:cNvSpPr>
          <p:nvPr>
            <p:ph type="body" sz="quarter" idx="15"/>
          </p:nvPr>
        </p:nvSpPr>
        <p:spPr bwMode="gray">
          <a:xfrm>
            <a:off x="250826" y="1563927"/>
            <a:ext cx="8642350"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6" y="987267"/>
            <a:ext cx="8642349"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ru-RU" smtClean="0"/>
              <a:t>Образец заголовка</a:t>
            </a:r>
            <a:endParaRPr lang="de-DE"/>
          </a:p>
        </p:txBody>
      </p:sp>
      <p:sp>
        <p:nvSpPr>
          <p:cNvPr id="3" name="Inhaltsplatzhalter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de-DE" dirty="0"/>
          </a:p>
        </p:txBody>
      </p:sp>
      <p:sp>
        <p:nvSpPr>
          <p:cNvPr id="4" name="Datumsplatzhalter 3"/>
          <p:cNvSpPr>
            <a:spLocks noGrp="1"/>
          </p:cNvSpPr>
          <p:nvPr>
            <p:ph type="dt" sz="half" idx="10"/>
          </p:nvPr>
        </p:nvSpPr>
        <p:spPr>
          <a:xfrm>
            <a:off x="457200" y="4767264"/>
            <a:ext cx="2133600" cy="273844"/>
          </a:xfrm>
          <a:prstGeom prst="rect">
            <a:avLst/>
          </a:prstGeom>
        </p:spPr>
        <p:txBody>
          <a:bodyPr/>
          <a:lstStyle/>
          <a:p>
            <a:endParaRPr lang="de-DE">
              <a:solidFill>
                <a:srgbClr val="000000"/>
              </a:solidFill>
            </a:endParaRPr>
          </a:p>
        </p:txBody>
      </p:sp>
      <p:sp>
        <p:nvSpPr>
          <p:cNvPr id="5" name="Fußzeilenplatzhalter 4"/>
          <p:cNvSpPr>
            <a:spLocks noGrp="1"/>
          </p:cNvSpPr>
          <p:nvPr>
            <p:ph type="ftr" sz="quarter" idx="11"/>
          </p:nvPr>
        </p:nvSpPr>
        <p:spPr>
          <a:xfrm>
            <a:off x="4929575" y="4937125"/>
            <a:ext cx="3963600" cy="201600"/>
          </a:xfrm>
          <a:prstGeom prst="rect">
            <a:avLst/>
          </a:prstGeom>
        </p:spPr>
        <p:txBody>
          <a:bodyPr/>
          <a:lstStyle/>
          <a:p>
            <a:r>
              <a:rPr>
                <a:solidFill>
                  <a:srgbClr val="000000">
                    <a:tint val="75000"/>
                  </a:srgbClr>
                </a:solidFill>
              </a:rPr>
              <a:t>2017</a:t>
            </a:r>
          </a:p>
        </p:txBody>
      </p:sp>
      <p:sp>
        <p:nvSpPr>
          <p:cNvPr id="6" name="Foliennummernplatzhalter 5"/>
          <p:cNvSpPr>
            <a:spLocks noGrp="1"/>
          </p:cNvSpPr>
          <p:nvPr>
            <p:ph type="sldNum" sz="quarter" idx="12"/>
          </p:nvPr>
        </p:nvSpPr>
        <p:spPr>
          <a:xfrm>
            <a:off x="4044114" y="4856957"/>
            <a:ext cx="1055772" cy="274637"/>
          </a:xfrm>
          <a:prstGeom prst="rect">
            <a:avLst/>
          </a:prstGeom>
        </p:spPr>
        <p:txBody>
          <a:bodyPr/>
          <a:lstStyle/>
          <a:p>
            <a:fld id="{E0FB0A61-C40D-4672-9AD2-638BA04E9065}" type="slidenum">
              <a:rPr lang="de-DE" smtClean="0">
                <a:solidFill>
                  <a:srgbClr val="000000">
                    <a:tint val="75000"/>
                  </a:srgbClr>
                </a:solidFill>
              </a:rPr>
              <a:pPr/>
              <a:t>‹#›</a:t>
            </a:fld>
            <a:endParaRPr lang="de-DE">
              <a:solidFill>
                <a:srgbClr val="000000">
                  <a:tint val="75000"/>
                </a:srgbClr>
              </a:solidFill>
            </a:endParaRPr>
          </a:p>
        </p:txBody>
      </p:sp>
    </p:spTree>
    <p:extLst>
      <p:ext uri="{BB962C8B-B14F-4D97-AF65-F5344CB8AC3E}">
        <p14:creationId xmlns:p14="http://schemas.microsoft.com/office/powerpoint/2010/main" val="244029935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Text 1 column">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bwMode="gray">
          <a:xfrm>
            <a:off x="250825" y="987427"/>
            <a:ext cx="8642350" cy="3816350"/>
          </a:xfrm>
        </p:spPr>
        <p:txBody>
          <a:body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en-US" noProof="0" dirty="0"/>
          </a:p>
        </p:txBody>
      </p:sp>
    </p:spTree>
    <p:extLst>
      <p:ext uri="{BB962C8B-B14F-4D97-AF65-F5344CB8AC3E}">
        <p14:creationId xmlns:p14="http://schemas.microsoft.com/office/powerpoint/2010/main" val="2176549479"/>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userDrawn="1">
  <p:cSld name="1_Title Master">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27672" name="think-cell Folie" r:id="rId8" imgW="360" imgH="360" progId="">
                  <p:embed/>
                </p:oleObj>
              </mc:Choice>
              <mc:Fallback>
                <p:oleObj name="think-cell Foli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9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79" descr="TitleRed_24_L150"/>
          <p:cNvPicPr>
            <a:picLocks noChangeAspect="1" noChangeArrowheads="1"/>
          </p:cNvPicPr>
          <p:nvPr userDrawn="1"/>
        </p:nvPicPr>
        <p:blipFill>
          <a:blip r:embed="rId10" cstate="print"/>
          <a:stretch>
            <a:fillRect/>
          </a:stretch>
        </p:blipFill>
        <p:spPr bwMode="gray">
          <a:xfrm>
            <a:off x="0" y="0"/>
            <a:ext cx="9144000" cy="3730752"/>
          </a:xfrm>
          <a:prstGeom prst="rect">
            <a:avLst/>
          </a:prstGeom>
          <a:noFill/>
          <a:ln>
            <a:noFill/>
          </a:ln>
        </p:spPr>
      </p:pic>
      <p:sp>
        <p:nvSpPr>
          <p:cNvPr id="7" name="VCT_Marker_ID_7" hidden="1"/>
          <p:cNvSpPr/>
          <p:nvPr userDrawn="1">
            <p:custDataLst>
              <p:tags r:id="rId3"/>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4"/>
            </p:custDataLst>
          </p:nvPr>
        </p:nvSpPr>
        <p:spPr bwMode="auto">
          <a:xfrm>
            <a:off x="324023" y="1304112"/>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durch Klicken bearbeiten</a:t>
            </a:r>
            <a:endParaRPr lang="en-GB" sz="4400" dirty="0">
              <a:solidFill>
                <a:srgbClr val="FFFFFF"/>
              </a:solidFill>
            </a:endParaRPr>
          </a:p>
        </p:txBody>
      </p:sp>
      <p:sp>
        <p:nvSpPr>
          <p:cNvPr id="45" name="VCT_Backup_ID_45" hidden="1"/>
          <p:cNvSpPr txBox="1"/>
          <p:nvPr userDrawn="1">
            <p:custDataLst>
              <p:tags r:id="rId5"/>
            </p:custDataLst>
          </p:nvPr>
        </p:nvSpPr>
        <p:spPr bwMode="auto">
          <a:xfrm>
            <a:off x="324022" y="3434412"/>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dirty="0" smtClean="0">
                <a:solidFill>
                  <a:srgbClr val="000000"/>
                </a:solidFill>
              </a:rPr>
              <a:t>Formatvorlage des Untertitelmasters durch Klicken bearbeiten</a:t>
            </a:r>
            <a:endParaRPr lang="en-GB" sz="2400" dirty="0">
              <a:solidFill>
                <a:srgbClr val="000000"/>
              </a:solidFill>
            </a:endParaRPr>
          </a:p>
        </p:txBody>
      </p:sp>
      <p:pic>
        <p:nvPicPr>
          <p:cNvPr id="1026" name="Picture 2" descr="Fujitsu_Logo_white"/>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gray">
          <a:xfrm>
            <a:off x="7664185" y="243052"/>
            <a:ext cx="1252800" cy="626179"/>
          </a:xfrm>
          <a:prstGeom prst="rect">
            <a:avLst/>
          </a:prstGeom>
          <a:noFill/>
        </p:spPr>
      </p:pic>
      <p:sp>
        <p:nvSpPr>
          <p:cNvPr id="13" name="Eine Ecke des Rechtecks abrunden 12"/>
          <p:cNvSpPr/>
          <p:nvPr userDrawn="1">
            <p:custDataLst>
              <p:tags r:id="rId6"/>
            </p:custDataLst>
          </p:nvPr>
        </p:nvSpPr>
        <p:spPr>
          <a:xfrm>
            <a:off x="0" y="3219822"/>
            <a:ext cx="9144000" cy="1923678"/>
          </a:xfrm>
          <a:prstGeom prst="round1Rect">
            <a:avLst>
              <a:gd name="adj" fmla="val 19806"/>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rgbClr val="000000"/>
              </a:solidFill>
            </a:endParaRPr>
          </a:p>
        </p:txBody>
      </p:sp>
      <p:sp>
        <p:nvSpPr>
          <p:cNvPr id="41" name="Rechteck 40"/>
          <p:cNvSpPr/>
          <p:nvPr userDrawn="1"/>
        </p:nvSpPr>
        <p:spPr bwMode="gray">
          <a:xfrm>
            <a:off x="4427984" y="4991100"/>
            <a:ext cx="360040" cy="1524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dirty="0" smtClean="0">
              <a:solidFill>
                <a:srgbClr val="000000"/>
              </a:solidFill>
            </a:endParaRPr>
          </a:p>
        </p:txBody>
      </p:sp>
      <p:sp>
        <p:nvSpPr>
          <p:cNvPr id="137" name="Footer Placeholder 110"/>
          <p:cNvSpPr>
            <a:spLocks noGrp="1"/>
          </p:cNvSpPr>
          <p:nvPr>
            <p:ph type="ftr" sz="quarter" idx="3"/>
          </p:nvPr>
        </p:nvSpPr>
        <p:spPr bwMode="gray">
          <a:xfrm>
            <a:off x="4929575" y="4937125"/>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marL="0" algn="r" defTabSz="914400" rtl="0" eaLnBrk="1" fontAlgn="base" latinLnBrk="0" hangingPunct="1">
              <a:defRPr kumimoji="0" lang="de-DE" altLang="ja-JP" sz="800" kern="1200" noProof="0" dirty="0" smtClean="0">
                <a:solidFill>
                  <a:schemeClr val="tx1"/>
                </a:solidFill>
                <a:latin typeface="+mn-lt"/>
                <a:ea typeface="+mn-ea"/>
                <a:cs typeface="+mn-cs"/>
              </a:defRPr>
            </a:lvl1pPr>
          </a:lstStyle>
          <a:p>
            <a:endParaRPr>
              <a:solidFill>
                <a:srgbClr val="000000"/>
              </a:solidFill>
            </a:endParaRPr>
          </a:p>
        </p:txBody>
      </p:sp>
      <p:sp>
        <p:nvSpPr>
          <p:cNvPr id="15" name="Title 47"/>
          <p:cNvSpPr>
            <a:spLocks noGrp="1"/>
          </p:cNvSpPr>
          <p:nvPr>
            <p:ph type="title"/>
          </p:nvPr>
        </p:nvSpPr>
        <p:spPr bwMode="gray">
          <a:xfrm>
            <a:off x="250825" y="2427730"/>
            <a:ext cx="8642356" cy="64809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2600" kern="1200" noProof="0" smtClean="0">
                <a:solidFill>
                  <a:schemeClr val="bg1"/>
                </a:solidFill>
                <a:latin typeface="+mj-lt"/>
                <a:ea typeface="+mj-ea"/>
                <a:cs typeface="+mj-cs"/>
              </a:defRPr>
            </a:lvl1pPr>
          </a:lstStyle>
          <a:p>
            <a:r>
              <a:rPr lang="de-DE" noProof="0" dirty="0" smtClean="0"/>
              <a:t>Titelmasterformat durch Klicken bearbeiten</a:t>
            </a:r>
            <a:endParaRPr lang="en-US" noProof="0" dirty="0"/>
          </a:p>
        </p:txBody>
      </p:sp>
      <p:sp>
        <p:nvSpPr>
          <p:cNvPr id="16" name="Subtitle 2"/>
          <p:cNvSpPr>
            <a:spLocks noGrp="1"/>
          </p:cNvSpPr>
          <p:nvPr>
            <p:ph type="subTitle" idx="1"/>
          </p:nvPr>
        </p:nvSpPr>
        <p:spPr bwMode="gray">
          <a:xfrm>
            <a:off x="250250" y="2067681"/>
            <a:ext cx="8642926" cy="43206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2000" b="0" kern="1200" noProof="0" dirty="0" smtClean="0">
                <a:solidFill>
                  <a:schemeClr val="bg1"/>
                </a:solidFill>
                <a:latin typeface="+mn-lt"/>
                <a:ea typeface="+mn-ea"/>
                <a:cs typeface="+mn-c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smtClean="0"/>
              <a:t>Formatvorlage des Untertitelmasters durch Klicken bearbeiten</a:t>
            </a:r>
            <a:endParaRPr lang="en-US" noProof="0" dirty="0"/>
          </a:p>
        </p:txBody>
      </p:sp>
    </p:spTree>
    <p:extLst>
      <p:ext uri="{BB962C8B-B14F-4D97-AF65-F5344CB8AC3E}">
        <p14:creationId xmlns:p14="http://schemas.microsoft.com/office/powerpoint/2010/main" val="2998282339"/>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2. Header w/ graphic ">
    <p:spTree>
      <p:nvGrpSpPr>
        <p:cNvPr id="1" name=""/>
        <p:cNvGrpSpPr/>
        <p:nvPr/>
      </p:nvGrpSpPr>
      <p:grpSpPr>
        <a:xfrm>
          <a:off x="0" y="0"/>
          <a:ext cx="0" cy="0"/>
          <a:chOff x="0" y="0"/>
          <a:chExt cx="0" cy="0"/>
        </a:xfrm>
      </p:grpSpPr>
      <p:sp>
        <p:nvSpPr>
          <p:cNvPr id="9" name="Text Placeholder 11"/>
          <p:cNvSpPr>
            <a:spLocks noGrp="1"/>
          </p:cNvSpPr>
          <p:nvPr>
            <p:ph type="body" sz="quarter" idx="11" hasCustomPrompt="1"/>
          </p:nvPr>
        </p:nvSpPr>
        <p:spPr>
          <a:xfrm>
            <a:off x="319957" y="163468"/>
            <a:ext cx="8187455" cy="966788"/>
          </a:xfrm>
          <a:prstGeom prst="rect">
            <a:avLst/>
          </a:pr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2400" baseline="0">
                <a:latin typeface="Tahoma"/>
                <a:cs typeface="Tahoma"/>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smtClean="0"/>
              <a:t>HEADER WITH GRAPHIC LAYOUT</a:t>
            </a:r>
          </a:p>
        </p:txBody>
      </p:sp>
      <p:sp>
        <p:nvSpPr>
          <p:cNvPr id="11" name="Content Placeholder 3"/>
          <p:cNvSpPr>
            <a:spLocks noGrp="1"/>
          </p:cNvSpPr>
          <p:nvPr>
            <p:ph sz="quarter" idx="13" hasCustomPrompt="1"/>
          </p:nvPr>
        </p:nvSpPr>
        <p:spPr>
          <a:xfrm>
            <a:off x="561985" y="1738314"/>
            <a:ext cx="8113713" cy="2825750"/>
          </a:xfrm>
          <a:prstGeom prst="rect">
            <a:avLst/>
          </a:prstGeom>
        </p:spPr>
        <p:txBody>
          <a:bodyPr vert="horz"/>
          <a:lstStyle>
            <a:lvl1pPr marL="0" indent="0">
              <a:buNone/>
              <a:defRPr sz="1800">
                <a:latin typeface="Tahoma"/>
                <a:cs typeface="Tahoma"/>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smtClean="0"/>
              <a:t>Add a graphic or table here</a:t>
            </a:r>
            <a:endParaRPr lang="en-US" dirty="0"/>
          </a:p>
        </p:txBody>
      </p:sp>
      <p:pic>
        <p:nvPicPr>
          <p:cNvPr id="5" name="Picture 4" descr="CMV-vector.jpg"/>
          <p:cNvPicPr>
            <a:picLocks noChangeAspect="1"/>
          </p:cNvPicPr>
          <p:nvPr userDrawn="1"/>
        </p:nvPicPr>
        <p:blipFill rotWithShape="1">
          <a:blip r:embed="rId2" cstate="screen">
            <a:extLst>
              <a:ext uri="{28A0092B-C50C-407E-A947-70E740481C1C}">
                <a14:useLocalDpi xmlns:a14="http://schemas.microsoft.com/office/drawing/2010/main"/>
              </a:ext>
            </a:extLst>
          </a:blip>
          <a:srcRect l="-10194" r="-1"/>
          <a:stretch/>
        </p:blipFill>
        <p:spPr>
          <a:xfrm>
            <a:off x="-21895" y="321187"/>
            <a:ext cx="151457" cy="175189"/>
          </a:xfrm>
          <a:prstGeom prst="rect">
            <a:avLst/>
          </a:prstGeom>
        </p:spPr>
      </p:pic>
    </p:spTree>
    <p:extLst>
      <p:ext uri="{BB962C8B-B14F-4D97-AF65-F5344CB8AC3E}">
        <p14:creationId xmlns:p14="http://schemas.microsoft.com/office/powerpoint/2010/main" val="2161582740"/>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2. One column w/ quote and cubes">
    <p:spTree>
      <p:nvGrpSpPr>
        <p:cNvPr id="1" name=""/>
        <p:cNvGrpSpPr/>
        <p:nvPr/>
      </p:nvGrpSpPr>
      <p:grpSpPr>
        <a:xfrm>
          <a:off x="0" y="0"/>
          <a:ext cx="0" cy="0"/>
          <a:chOff x="0" y="0"/>
          <a:chExt cx="0" cy="0"/>
        </a:xfrm>
      </p:grpSpPr>
      <p:sp>
        <p:nvSpPr>
          <p:cNvPr id="9" name="Text Placeholder 11"/>
          <p:cNvSpPr>
            <a:spLocks noGrp="1"/>
          </p:cNvSpPr>
          <p:nvPr>
            <p:ph type="body" sz="quarter" idx="13"/>
          </p:nvPr>
        </p:nvSpPr>
        <p:spPr>
          <a:xfrm>
            <a:off x="4707930" y="2033480"/>
            <a:ext cx="4018219" cy="1629030"/>
          </a:xfrm>
          <a:prstGeom prst="rect">
            <a:avLst/>
          </a:prstGeom>
        </p:spPr>
        <p:txBody>
          <a:bodyPr vert="horz" anchor="ctr"/>
          <a:lstStyle>
            <a:lvl1pPr marL="0" indent="0" algn="ctr">
              <a:buNone/>
              <a:defRPr sz="1900">
                <a:latin typeface="Tahoma"/>
                <a:cs typeface="Tahoma"/>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smtClean="0"/>
              <a:t>Click to edit Master text styles</a:t>
            </a:r>
          </a:p>
        </p:txBody>
      </p:sp>
      <p:sp>
        <p:nvSpPr>
          <p:cNvPr id="10" name="Rectangle 9"/>
          <p:cNvSpPr/>
          <p:nvPr userDrawn="1"/>
        </p:nvSpPr>
        <p:spPr>
          <a:xfrm>
            <a:off x="0" y="5093365"/>
            <a:ext cx="9144000" cy="66842"/>
          </a:xfrm>
          <a:prstGeom prst="rect">
            <a:avLst/>
          </a:prstGeom>
          <a:solidFill>
            <a:srgbClr val="0C131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latin typeface="Tahoma"/>
              <a:cs typeface="Tahoma"/>
            </a:endParaRPr>
          </a:p>
        </p:txBody>
      </p:sp>
      <p:sp>
        <p:nvSpPr>
          <p:cNvPr id="11" name="Text Placeholder 11"/>
          <p:cNvSpPr>
            <a:spLocks noGrp="1"/>
          </p:cNvSpPr>
          <p:nvPr>
            <p:ph type="body" sz="quarter" idx="11" hasCustomPrompt="1"/>
          </p:nvPr>
        </p:nvSpPr>
        <p:spPr>
          <a:xfrm>
            <a:off x="319957" y="166750"/>
            <a:ext cx="8187455" cy="966788"/>
          </a:xfrm>
          <a:prstGeom prst="rect">
            <a:avLst/>
          </a:prstGeom>
        </p:spPr>
        <p:txBody>
          <a:bodyPr vert="horz"/>
          <a:lstStyle>
            <a:lvl1pPr marL="0" indent="0">
              <a:buNone/>
              <a:defRPr sz="2400" baseline="0">
                <a:latin typeface="Tahoma"/>
                <a:cs typeface="Tahoma"/>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smtClean="0"/>
              <a:t>ONE-COLUMN AND QUOTE WITH GRAPHIC BACKGROUND LAYOUT</a:t>
            </a:r>
          </a:p>
        </p:txBody>
      </p:sp>
      <p:sp>
        <p:nvSpPr>
          <p:cNvPr id="15" name="Text Placeholder 14"/>
          <p:cNvSpPr>
            <a:spLocks noGrp="1"/>
          </p:cNvSpPr>
          <p:nvPr>
            <p:ph type="body" sz="quarter" idx="16"/>
          </p:nvPr>
        </p:nvSpPr>
        <p:spPr>
          <a:xfrm>
            <a:off x="465884" y="1647573"/>
            <a:ext cx="4092405" cy="2718485"/>
          </a:xfrm>
          <a:prstGeom prst="rect">
            <a:avLst/>
          </a:prstGeom>
        </p:spPr>
        <p:txBody>
          <a:bodyPr vert="horz"/>
          <a:lstStyle>
            <a:lvl1pPr marL="0" indent="-284400">
              <a:spcBef>
                <a:spcPts val="0"/>
              </a:spcBef>
              <a:spcAft>
                <a:spcPts val="1200"/>
              </a:spcAft>
              <a:buClr>
                <a:srgbClr val="009CD0"/>
              </a:buClr>
              <a:buFont typeface="Arial"/>
              <a:buChar char="•"/>
              <a:defRPr sz="1400">
                <a:latin typeface="Tahoma"/>
                <a:cs typeface="Tahoma"/>
              </a:defRPr>
            </a:lvl1pPr>
            <a:lvl2pPr marL="800100" indent="-342900">
              <a:buClr>
                <a:srgbClr val="009CD0"/>
              </a:buClr>
              <a:buFont typeface="Arial"/>
              <a:buChar char="•"/>
              <a:defRPr sz="1400">
                <a:latin typeface="Tahoma"/>
                <a:cs typeface="Tahoma"/>
              </a:defRPr>
            </a:lvl2pPr>
            <a:lvl3pPr marL="572400" indent="-284400">
              <a:spcBef>
                <a:spcPts val="0"/>
              </a:spcBef>
              <a:spcAft>
                <a:spcPts val="1200"/>
              </a:spcAft>
              <a:buClr>
                <a:srgbClr val="009CD0"/>
              </a:buClr>
              <a:buFont typeface="Arial"/>
              <a:buChar char="•"/>
              <a:defRPr sz="1400">
                <a:latin typeface="Tahoma"/>
                <a:cs typeface="Tahoma"/>
              </a:defRPr>
            </a:lvl3pPr>
            <a:lvl4pPr marL="885600" indent="-284400">
              <a:spcBef>
                <a:spcPts val="0"/>
              </a:spcBef>
              <a:spcAft>
                <a:spcPts val="1200"/>
              </a:spcAft>
              <a:buClr>
                <a:srgbClr val="009CD0"/>
              </a:buClr>
              <a:buFont typeface="Arial"/>
              <a:buChar char="•"/>
              <a:defRPr sz="1400">
                <a:latin typeface="Tahoma"/>
                <a:cs typeface="Tahoma"/>
              </a:defRPr>
            </a:lvl4pPr>
            <a:lvl5pPr marL="1162800" indent="-284400">
              <a:spcBef>
                <a:spcPts val="0"/>
              </a:spcBef>
              <a:spcAft>
                <a:spcPts val="1200"/>
              </a:spcAft>
              <a:buClr>
                <a:srgbClr val="009CD0"/>
              </a:buClr>
              <a:buFont typeface="Arial"/>
              <a:buChar char="•"/>
              <a:defRPr sz="1400">
                <a:latin typeface="Tahoma"/>
                <a:cs typeface="Tahoma"/>
              </a:defRPr>
            </a:lvl5pPr>
          </a:lstStyle>
          <a:p>
            <a:pPr lvl="0"/>
            <a:r>
              <a:rPr lang="en-US" dirty="0" smtClean="0"/>
              <a:t>Click to edit Master text styles</a:t>
            </a:r>
          </a:p>
          <a:p>
            <a:pPr lvl="0"/>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2"/>
          <p:cNvSpPr txBox="1">
            <a:spLocks/>
          </p:cNvSpPr>
          <p:nvPr userDrawn="1"/>
        </p:nvSpPr>
        <p:spPr>
          <a:xfrm>
            <a:off x="6645281" y="4756162"/>
            <a:ext cx="2112963" cy="334963"/>
          </a:xfrm>
          <a:prstGeom prst="rect">
            <a:avLst/>
          </a:prstGeom>
        </p:spPr>
        <p:txBody>
          <a:bodyPr vert="horz"/>
          <a:lstStyle>
            <a:lvl1pPr marL="0" indent="0" algn="r" defTabSz="457200" rtl="0" eaLnBrk="1" latinLnBrk="0" hangingPunct="1">
              <a:spcBef>
                <a:spcPct val="20000"/>
              </a:spcBef>
              <a:buFont typeface="Arial"/>
              <a:buNone/>
              <a:defRPr sz="1200" kern="1200">
                <a:solidFill>
                  <a:srgbClr val="898989"/>
                </a:solidFill>
                <a:latin typeface="Tahoma"/>
                <a:ea typeface="+mn-ea"/>
                <a:cs typeface="Tahoma"/>
              </a:defRPr>
            </a:lvl1pPr>
            <a:lvl2pPr marL="457200" indent="0" algn="l" defTabSz="457200" rtl="0" eaLnBrk="1" latinLnBrk="0" hangingPunct="1">
              <a:spcBef>
                <a:spcPct val="20000"/>
              </a:spcBef>
              <a:buFont typeface="Arial"/>
              <a:buNone/>
              <a:defRPr sz="1100" kern="1200">
                <a:solidFill>
                  <a:srgbClr val="898989"/>
                </a:solidFill>
                <a:latin typeface="Tahoma"/>
                <a:ea typeface="+mn-ea"/>
                <a:cs typeface="Tahoma"/>
              </a:defRPr>
            </a:lvl2pPr>
            <a:lvl3pPr marL="914400" indent="0" algn="l" defTabSz="457200" rtl="0" eaLnBrk="1" latinLnBrk="0" hangingPunct="1">
              <a:spcBef>
                <a:spcPct val="20000"/>
              </a:spcBef>
              <a:buFont typeface="Arial"/>
              <a:buNone/>
              <a:defRPr sz="1100" kern="1200">
                <a:solidFill>
                  <a:srgbClr val="898989"/>
                </a:solidFill>
                <a:latin typeface="Tahoma"/>
                <a:ea typeface="+mn-ea"/>
                <a:cs typeface="Tahoma"/>
              </a:defRPr>
            </a:lvl3pPr>
            <a:lvl4pPr marL="1371600" indent="0" algn="l" defTabSz="457200" rtl="0" eaLnBrk="1" latinLnBrk="0" hangingPunct="1">
              <a:spcBef>
                <a:spcPct val="20000"/>
              </a:spcBef>
              <a:buFont typeface="Arial"/>
              <a:buNone/>
              <a:defRPr sz="1100" kern="1200">
                <a:solidFill>
                  <a:srgbClr val="898989"/>
                </a:solidFill>
                <a:latin typeface="Tahoma"/>
                <a:ea typeface="+mn-ea"/>
                <a:cs typeface="Tahoma"/>
              </a:defRPr>
            </a:lvl4pPr>
            <a:lvl5pPr marL="1828800" indent="0" algn="l" defTabSz="457200" rtl="0" eaLnBrk="1" latinLnBrk="0" hangingPunct="1">
              <a:spcBef>
                <a:spcPct val="20000"/>
              </a:spcBef>
              <a:buFont typeface="Arial"/>
              <a:buNone/>
              <a:defRPr sz="1100" kern="1200">
                <a:solidFill>
                  <a:srgbClr val="898989"/>
                </a:solidFill>
                <a:latin typeface="Tahoma"/>
                <a:ea typeface="+mn-ea"/>
                <a:cs typeface="Tahom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fld id="{91BD701E-A5E0-FF49-9372-5F42B4CEB33D}" type="slidenum">
              <a:rPr lang="en-US" smtClean="0"/>
              <a:pPr/>
              <a:t>‹#›</a:t>
            </a:fld>
            <a:endParaRPr lang="en-US" dirty="0"/>
          </a:p>
        </p:txBody>
      </p:sp>
      <p:pic>
        <p:nvPicPr>
          <p:cNvPr id="12" name="Picture 11" descr="CMV-vector.jpg"/>
          <p:cNvPicPr>
            <a:picLocks noChangeAspect="1"/>
          </p:cNvPicPr>
          <p:nvPr userDrawn="1"/>
        </p:nvPicPr>
        <p:blipFill rotWithShape="1">
          <a:blip r:embed="rId2" cstate="screen">
            <a:extLst>
              <a:ext uri="{28A0092B-C50C-407E-A947-70E740481C1C}">
                <a14:useLocalDpi xmlns:a14="http://schemas.microsoft.com/office/drawing/2010/main"/>
              </a:ext>
            </a:extLst>
          </a:blip>
          <a:srcRect l="-10194" r="-1"/>
          <a:stretch/>
        </p:blipFill>
        <p:spPr>
          <a:xfrm>
            <a:off x="-21895" y="321187"/>
            <a:ext cx="151457" cy="175189"/>
          </a:xfrm>
          <a:prstGeom prst="rect">
            <a:avLst/>
          </a:prstGeom>
        </p:spPr>
      </p:pic>
    </p:spTree>
    <p:extLst>
      <p:ext uri="{BB962C8B-B14F-4D97-AF65-F5344CB8AC3E}">
        <p14:creationId xmlns:p14="http://schemas.microsoft.com/office/powerpoint/2010/main" val="3992291148"/>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2" name="Bild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9" y="762"/>
            <a:ext cx="9144000" cy="5143500"/>
          </a:xfrm>
          <a:prstGeom prst="rect">
            <a:avLst/>
          </a:prstGeom>
        </p:spPr>
      </p:pic>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a:t>
            </a:r>
            <a:r>
              <a:rPr lang="en-GB" sz="4400" dirty="0" err="1" smtClean="0">
                <a:solidFill>
                  <a:srgbClr val="FFFFFF"/>
                </a:solidFill>
              </a:rPr>
              <a:t>durch</a:t>
            </a:r>
            <a:r>
              <a:rPr lang="en-GB" sz="4400" dirty="0" smtClean="0">
                <a:solidFill>
                  <a:srgbClr val="FFFFFF"/>
                </a:solidFill>
              </a:rPr>
              <a:t> </a:t>
            </a:r>
            <a:r>
              <a:rPr lang="en-GB" sz="4400" dirty="0" err="1" smtClean="0">
                <a:solidFill>
                  <a:srgbClr val="FFFFFF"/>
                </a:solidFill>
              </a:rPr>
              <a:t>Klicken</a:t>
            </a:r>
            <a:r>
              <a:rPr lang="en-GB" sz="4400" dirty="0" smtClean="0">
                <a:solidFill>
                  <a:srgbClr val="FFFFFF"/>
                </a:solidFill>
              </a:rPr>
              <a:t> </a:t>
            </a:r>
            <a:r>
              <a:rPr lang="en-GB" sz="4400" dirty="0" err="1" smtClean="0">
                <a:solidFill>
                  <a:srgbClr val="FFFFFF"/>
                </a:solidFill>
              </a:rPr>
              <a:t>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8" name="Title 47"/>
          <p:cNvSpPr>
            <a:spLocks noGrp="1"/>
          </p:cNvSpPr>
          <p:nvPr>
            <p:ph type="title"/>
          </p:nvPr>
        </p:nvSpPr>
        <p:spPr bwMode="gray">
          <a:xfrm>
            <a:off x="395420" y="411450"/>
            <a:ext cx="2088291" cy="1368190"/>
          </a:xfrm>
          <a:noFill/>
          <a:ln w="9525">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2200" kern="1200" noProof="0" smtClean="0">
                <a:solidFill>
                  <a:schemeClr val="bg1"/>
                </a:solidFill>
                <a:latin typeface="Fujitsu Sans"/>
                <a:ea typeface="+mj-ea"/>
                <a:cs typeface="Fujitsu Sans"/>
              </a:defRPr>
            </a:lvl1pPr>
          </a:lstStyle>
          <a:p>
            <a:r>
              <a:rPr lang="de-DE" noProof="0" dirty="0" smtClean="0"/>
              <a:t>Mastertitelformat bearbeiten</a:t>
            </a:r>
            <a:endParaRPr lang="en-US" noProof="0" dirty="0"/>
          </a:p>
        </p:txBody>
      </p:sp>
      <p:sp>
        <p:nvSpPr>
          <p:cNvPr id="59" name="Subtitle 2"/>
          <p:cNvSpPr>
            <a:spLocks noGrp="1"/>
          </p:cNvSpPr>
          <p:nvPr>
            <p:ph type="subTitle" idx="1"/>
          </p:nvPr>
        </p:nvSpPr>
        <p:spPr bwMode="gray">
          <a:xfrm>
            <a:off x="395421" y="1801012"/>
            <a:ext cx="2088290" cy="69872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1400" b="0" kern="1200" noProof="0" dirty="0" smtClean="0">
                <a:solidFill>
                  <a:schemeClr val="bg1"/>
                </a:solidFill>
                <a:latin typeface="Fujitsu Sans"/>
                <a:ea typeface="+mn-ea"/>
                <a:cs typeface="Fujitsu San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smtClean="0"/>
              <a:t>Master-Untertitelformat bearbeiten</a:t>
            </a:r>
            <a:endParaRPr lang="en-US" noProof="0" dirty="0"/>
          </a:p>
        </p:txBody>
      </p:sp>
      <p:pic>
        <p:nvPicPr>
          <p:cNvPr id="1026" name="Picture 2" descr="Fujitsu_Logo_white"/>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7664185" y="243040"/>
            <a:ext cx="1252800" cy="626179"/>
          </a:xfrm>
          <a:prstGeom prst="rect">
            <a:avLst/>
          </a:prstGeom>
          <a:noFill/>
        </p:spPr>
      </p:pic>
    </p:spTree>
    <p:extLst>
      <p:ext uri="{BB962C8B-B14F-4D97-AF65-F5344CB8AC3E}">
        <p14:creationId xmlns:p14="http://schemas.microsoft.com/office/powerpoint/2010/main" val="1843232417"/>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Intermediate Cover">
    <p:spTree>
      <p:nvGrpSpPr>
        <p:cNvPr id="1" name=""/>
        <p:cNvGrpSpPr/>
        <p:nvPr/>
      </p:nvGrpSpPr>
      <p:grpSpPr>
        <a:xfrm>
          <a:off x="0" y="0"/>
          <a:ext cx="0" cy="0"/>
          <a:chOff x="0" y="0"/>
          <a:chExt cx="0" cy="0"/>
        </a:xfrm>
      </p:grpSpPr>
      <p:pic>
        <p:nvPicPr>
          <p:cNvPr id="8" name="Bild 1"/>
          <p:cNvPicPr>
            <a:picLocks noChangeAspect="1"/>
          </p:cNvPicPr>
          <p:nvPr userDrawn="1"/>
        </p:nvPicPr>
        <p:blipFill rotWithShape="1">
          <a:blip r:embed="rId2">
            <a:extLst>
              <a:ext uri="{28A0092B-C50C-407E-A947-70E740481C1C}">
                <a14:useLocalDpi xmlns:a14="http://schemas.microsoft.com/office/drawing/2010/main" val="0"/>
              </a:ext>
            </a:extLst>
          </a:blip>
          <a:srcRect b="41615"/>
          <a:stretch/>
        </p:blipFill>
        <p:spPr>
          <a:xfrm>
            <a:off x="-829" y="762"/>
            <a:ext cx="9144000" cy="3003048"/>
          </a:xfrm>
          <a:prstGeom prst="rect">
            <a:avLst/>
          </a:prstGeom>
        </p:spPr>
      </p:pic>
      <p:sp>
        <p:nvSpPr>
          <p:cNvPr id="6" name="Title 15"/>
          <p:cNvSpPr>
            <a:spLocks noGrp="1"/>
          </p:cNvSpPr>
          <p:nvPr>
            <p:ph type="title"/>
          </p:nvPr>
        </p:nvSpPr>
        <p:spPr bwMode="gray">
          <a:xfrm>
            <a:off x="250825" y="1563638"/>
            <a:ext cx="8642350" cy="86409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tx1"/>
                </a:solidFill>
                <a:latin typeface="Fujitsu Sans" charset="0"/>
                <a:ea typeface="Fujitsu Sans" charset="0"/>
                <a:cs typeface="Fujitsu Sans" charset="0"/>
              </a:defRPr>
            </a:lvl1pPr>
          </a:lstStyle>
          <a:p>
            <a:r>
              <a:rPr lang="en-US" noProof="0" dirty="0" smtClean="0"/>
              <a:t>Click to edit Master title style</a:t>
            </a:r>
            <a:endParaRPr lang="en-US" noProof="0" dirty="0"/>
          </a:p>
        </p:txBody>
      </p:sp>
      <p:sp>
        <p:nvSpPr>
          <p:cNvPr id="7" name="Text Placeholder 19"/>
          <p:cNvSpPr>
            <a:spLocks noGrp="1"/>
          </p:cNvSpPr>
          <p:nvPr>
            <p:ph type="body" sz="quarter" idx="10"/>
          </p:nvPr>
        </p:nvSpPr>
        <p:spPr bwMode="gray">
          <a:xfrm>
            <a:off x="250824" y="2787780"/>
            <a:ext cx="8642351" cy="2015995"/>
          </a:xfrm>
        </p:spPr>
        <p:txBody>
          <a:bodyPr/>
          <a:lstStyle>
            <a:lvl1pPr>
              <a:spcAft>
                <a:spcPts val="300"/>
              </a:spcAft>
              <a:buClr>
                <a:schemeClr val="tx2"/>
              </a:buClr>
              <a:buFont typeface="Wingdings" pitchFamily="2" charset="2"/>
              <a:buChar char="n"/>
              <a:defRPr sz="2200">
                <a:latin typeface="Fujitsu Sans" charset="0"/>
                <a:ea typeface="Fujitsu Sans" charset="0"/>
                <a:cs typeface="Fujitsu Sans" charset="0"/>
              </a:defRPr>
            </a:lvl1pPr>
            <a:lvl2pPr marL="266700" indent="-266700">
              <a:spcBef>
                <a:spcPts val="516"/>
              </a:spcBef>
              <a:buFont typeface="Wingdings" pitchFamily="2" charset="2"/>
              <a:buChar char="n"/>
              <a:defRPr sz="2400"/>
            </a:lvl2pPr>
            <a:lvl3pPr marL="266700" indent="-266700">
              <a:spcBef>
                <a:spcPts val="516"/>
              </a:spcBef>
              <a:spcAft>
                <a:spcPts val="288"/>
              </a:spcAft>
              <a:buFont typeface="Wingdings" pitchFamily="2" charset="2"/>
              <a:buChar char="n"/>
              <a:defRPr sz="2400"/>
            </a:lvl3pPr>
            <a:lvl4pPr marL="266700" indent="-266700">
              <a:spcBef>
                <a:spcPts val="516"/>
              </a:spcBef>
              <a:spcAft>
                <a:spcPts val="288"/>
              </a:spcAft>
              <a:buFont typeface="Wingdings" pitchFamily="2" charset="2"/>
              <a:buChar char="n"/>
              <a:defRPr sz="2400"/>
            </a:lvl4pPr>
            <a:lvl5pPr marL="266700" indent="-266700">
              <a:spcBef>
                <a:spcPts val="516"/>
              </a:spcBef>
              <a:spcAft>
                <a:spcPts val="288"/>
              </a:spcAft>
              <a:buFont typeface="Wingdings" pitchFamily="2" charset="2"/>
              <a:buChar char="n"/>
              <a:defRPr sz="2400"/>
            </a:lvl5pPr>
          </a:lstStyle>
          <a:p>
            <a:pPr lvl="0"/>
            <a:r>
              <a:rPr lang="en-US" noProof="0" dirty="0" smtClean="0"/>
              <a:t>Click to edit Master text styles</a:t>
            </a:r>
          </a:p>
        </p:txBody>
      </p:sp>
      <p:pic>
        <p:nvPicPr>
          <p:cNvPr id="9" name="Picture 3" descr="Fujitsu_Logo"/>
          <p:cNvPicPr>
            <a:picLocks noChangeAspect="1" noChangeArrowheads="1"/>
          </p:cNvPicPr>
          <p:nvPr userDrawn="1"/>
        </p:nvPicPr>
        <p:blipFill>
          <a:blip r:embed="rId3" cstate="print"/>
          <a:srcRect b="20259"/>
          <a:stretch>
            <a:fillRect/>
          </a:stretch>
        </p:blipFill>
        <p:spPr bwMode="auto">
          <a:xfrm>
            <a:off x="7664790" y="243040"/>
            <a:ext cx="1252195" cy="499082"/>
          </a:xfrm>
          <a:prstGeom prst="rect">
            <a:avLst/>
          </a:prstGeom>
          <a:noFill/>
        </p:spPr>
      </p:pic>
    </p:spTree>
    <p:extLst>
      <p:ext uri="{BB962C8B-B14F-4D97-AF65-F5344CB8AC3E}">
        <p14:creationId xmlns:p14="http://schemas.microsoft.com/office/powerpoint/2010/main" val="2515761750"/>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dirty="0"/>
              <a:t>Mastertitelformat bearbeiten</a:t>
            </a:r>
            <a:endParaRPr lang="en-US" noProof="0" dirty="0"/>
          </a:p>
        </p:txBody>
      </p:sp>
      <p:sp>
        <p:nvSpPr>
          <p:cNvPr id="10" name="Text Placeholder 9"/>
          <p:cNvSpPr>
            <a:spLocks noGrp="1"/>
          </p:cNvSpPr>
          <p:nvPr>
            <p:ph type="body" sz="quarter" idx="10"/>
          </p:nvPr>
        </p:nvSpPr>
        <p:spPr bwMode="gray">
          <a:xfrm>
            <a:off x="250825" y="987425"/>
            <a:ext cx="8642350" cy="3816350"/>
          </a:xfrm>
        </p:spPr>
        <p:txBody>
          <a:body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en-US" noProof="0" dirty="0"/>
          </a:p>
        </p:txBody>
      </p:sp>
    </p:spTree>
    <p:extLst>
      <p:ext uri="{BB962C8B-B14F-4D97-AF65-F5344CB8AC3E}">
        <p14:creationId xmlns:p14="http://schemas.microsoft.com/office/powerpoint/2010/main" val="2926319808"/>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5" name="Text Placeholder 12"/>
          <p:cNvSpPr>
            <a:spLocks noGrp="1"/>
          </p:cNvSpPr>
          <p:nvPr>
            <p:ph type="body" sz="quarter" idx="15"/>
          </p:nvPr>
        </p:nvSpPr>
        <p:spPr bwMode="gray">
          <a:xfrm>
            <a:off x="250824" y="987424"/>
            <a:ext cx="4177159" cy="3816351"/>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12"/>
          <p:cNvSpPr>
            <a:spLocks noGrp="1"/>
          </p:cNvSpPr>
          <p:nvPr>
            <p:ph type="body" sz="quarter" idx="16"/>
          </p:nvPr>
        </p:nvSpPr>
        <p:spPr bwMode="gray">
          <a:xfrm>
            <a:off x="4644009" y="987425"/>
            <a:ext cx="4249166"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728468359"/>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Text Placeholder 9"/>
          <p:cNvSpPr>
            <a:spLocks noGrp="1"/>
          </p:cNvSpPr>
          <p:nvPr>
            <p:ph type="body" sz="quarter" idx="18"/>
          </p:nvPr>
        </p:nvSpPr>
        <p:spPr bwMode="gray">
          <a:xfrm>
            <a:off x="250824" y="987026"/>
            <a:ext cx="2736999"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9"/>
          <p:cNvSpPr>
            <a:spLocks noGrp="1"/>
          </p:cNvSpPr>
          <p:nvPr>
            <p:ph type="body" sz="quarter" idx="19"/>
          </p:nvPr>
        </p:nvSpPr>
        <p:spPr bwMode="gray">
          <a:xfrm>
            <a:off x="3203848" y="987067"/>
            <a:ext cx="2808312" cy="3816713"/>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8" name="Text Placeholder 9"/>
          <p:cNvSpPr>
            <a:spLocks noGrp="1"/>
          </p:cNvSpPr>
          <p:nvPr>
            <p:ph type="body" sz="quarter" idx="20"/>
          </p:nvPr>
        </p:nvSpPr>
        <p:spPr bwMode="gray">
          <a:xfrm>
            <a:off x="6228185" y="987425"/>
            <a:ext cx="2664990"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176106805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5" name="Text Placeholder 10"/>
          <p:cNvSpPr>
            <a:spLocks noGrp="1"/>
          </p:cNvSpPr>
          <p:nvPr>
            <p:ph type="body" sz="quarter" idx="16"/>
          </p:nvPr>
        </p:nvSpPr>
        <p:spPr bwMode="gray">
          <a:xfrm>
            <a:off x="250824" y="1563928"/>
            <a:ext cx="417715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10"/>
          <p:cNvSpPr>
            <a:spLocks noGrp="1"/>
          </p:cNvSpPr>
          <p:nvPr>
            <p:ph type="body" sz="quarter" idx="17"/>
          </p:nvPr>
        </p:nvSpPr>
        <p:spPr bwMode="gray">
          <a:xfrm>
            <a:off x="4644009" y="1563928"/>
            <a:ext cx="4249166"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8"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Tree>
    <p:extLst>
      <p:ext uri="{BB962C8B-B14F-4D97-AF65-F5344CB8AC3E}">
        <p14:creationId xmlns:p14="http://schemas.microsoft.com/office/powerpoint/2010/main" val="2211112060"/>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250824" y="1058863"/>
            <a:ext cx="8642351" cy="3744912"/>
          </a:xfrm>
          <a:prstGeom prst="round1Rect">
            <a:avLst>
              <a:gd name="adj" fmla="val 10174"/>
            </a:avLst>
          </a:prstGeom>
          <a:noFill/>
          <a:ln>
            <a:noFill/>
          </a:ln>
        </p:spPr>
        <p:txBody>
          <a:bodyPr/>
          <a:lstStyle/>
          <a:p>
            <a:r>
              <a:rPr lang="de-DE" noProof="0"/>
              <a:t>Bild auf Platzhalter ziehen oder durch Klicken auf Symbol hinzufügen</a:t>
            </a:r>
            <a:endParaRPr lang="en-US" noProof="0"/>
          </a:p>
        </p:txBody>
      </p:sp>
    </p:spTree>
    <p:extLst>
      <p:ext uri="{BB962C8B-B14F-4D97-AF65-F5344CB8AC3E}">
        <p14:creationId xmlns:p14="http://schemas.microsoft.com/office/powerpoint/2010/main" val="1229126543"/>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4716016" y="1058863"/>
            <a:ext cx="4177159" cy="3744912"/>
          </a:xfrm>
          <a:prstGeom prst="round1Rect">
            <a:avLst>
              <a:gd name="adj" fmla="val 10174"/>
            </a:avLst>
          </a:prstGeom>
          <a:noFill/>
          <a:ln>
            <a:noFill/>
          </a:ln>
        </p:spPr>
        <p:txBody>
          <a:bodyPr/>
          <a:lstStyle/>
          <a:p>
            <a:r>
              <a:rPr lang="de-DE" noProof="0"/>
              <a:t>Bild auf Platzhalter ziehen oder durch Klicken auf Symbol hinzufügen</a:t>
            </a:r>
            <a:endParaRPr lang="en-US" noProof="0"/>
          </a:p>
        </p:txBody>
      </p:sp>
      <p:sp>
        <p:nvSpPr>
          <p:cNvPr id="10" name="Picture Placeholder 10"/>
          <p:cNvSpPr>
            <a:spLocks noGrp="1"/>
          </p:cNvSpPr>
          <p:nvPr>
            <p:ph type="pic" sz="quarter" idx="16"/>
            <p:custDataLst>
              <p:tags r:id="rId2"/>
            </p:custDataLst>
          </p:nvPr>
        </p:nvSpPr>
        <p:spPr bwMode="gray">
          <a:xfrm>
            <a:off x="250824" y="1058863"/>
            <a:ext cx="4177159" cy="3744912"/>
          </a:xfrm>
          <a:prstGeom prst="rect">
            <a:avLst/>
          </a:prstGeom>
          <a:noFill/>
          <a:ln>
            <a:noFill/>
          </a:ln>
        </p:spPr>
        <p:txBody>
          <a:bodyPr/>
          <a:lstStyle/>
          <a:p>
            <a:r>
              <a:rPr lang="de-DE" noProof="0"/>
              <a:t>Bild auf Platzhalter ziehen oder durch Klicken auf Symbol hinzufügen</a:t>
            </a:r>
            <a:endParaRPr lang="en-US" noProof="0"/>
          </a:p>
        </p:txBody>
      </p:sp>
    </p:spTree>
    <p:extLst>
      <p:ext uri="{BB962C8B-B14F-4D97-AF65-F5344CB8AC3E}">
        <p14:creationId xmlns:p14="http://schemas.microsoft.com/office/powerpoint/2010/main" val="1001165346"/>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4716016" y="1058863"/>
            <a:ext cx="4177159" cy="3744912"/>
          </a:xfrm>
          <a:prstGeom prst="round1Rect">
            <a:avLst>
              <a:gd name="adj" fmla="val 10174"/>
            </a:avLst>
          </a:prstGeom>
        </p:spPr>
        <p:txBody>
          <a:bodyPr/>
          <a:lstStyle/>
          <a:p>
            <a:r>
              <a:rPr lang="de-DE" noProof="0"/>
              <a:t>Bild auf Platzhalter ziehen oder durch Klicken auf Symbol hinzufügen</a:t>
            </a:r>
            <a:endParaRPr lang="en-US" noProof="0"/>
          </a:p>
        </p:txBody>
      </p:sp>
      <p:sp>
        <p:nvSpPr>
          <p:cNvPr id="11" name="Text Placeholder 8"/>
          <p:cNvSpPr>
            <a:spLocks noGrp="1"/>
          </p:cNvSpPr>
          <p:nvPr>
            <p:ph type="body" sz="quarter" idx="16"/>
          </p:nvPr>
        </p:nvSpPr>
        <p:spPr bwMode="gray">
          <a:xfrm>
            <a:off x="250824" y="987425"/>
            <a:ext cx="4177159"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1097886038"/>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250824" y="1058863"/>
            <a:ext cx="4177159" cy="3744912"/>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6"/>
          </p:nvPr>
        </p:nvSpPr>
        <p:spPr bwMode="gray">
          <a:xfrm>
            <a:off x="4644009" y="987425"/>
            <a:ext cx="4249166"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302154563"/>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6228184" y="1058863"/>
            <a:ext cx="2664991" cy="3744912"/>
          </a:xfrm>
          <a:prstGeom prst="round1Rect">
            <a:avLst>
              <a:gd name="adj" fmla="val 14296"/>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7"/>
          </p:nvPr>
        </p:nvSpPr>
        <p:spPr bwMode="gray">
          <a:xfrm>
            <a:off x="250824" y="987425"/>
            <a:ext cx="5761335"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440221659"/>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058863"/>
            <a:ext cx="2664992" cy="3744912"/>
          </a:xfrm>
          <a:prstGeom prst="rect">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7"/>
          </p:nvPr>
        </p:nvSpPr>
        <p:spPr bwMode="gray">
          <a:xfrm>
            <a:off x="3131840" y="987425"/>
            <a:ext cx="5761335"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1879086736"/>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3132139" y="1058862"/>
            <a:ext cx="5761036" cy="3744913"/>
          </a:xfrm>
          <a:prstGeom prst="round1Rect">
            <a:avLst>
              <a:gd name="adj" fmla="val 10174"/>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5" y="987425"/>
            <a:ext cx="2665414"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548752232"/>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058862"/>
            <a:ext cx="5761038" cy="3744913"/>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6227763" y="987425"/>
            <a:ext cx="2665412"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523577062"/>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ext top – Picture bottom">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8"/>
          </p:nvPr>
        </p:nvSpPr>
        <p:spPr bwMode="gray">
          <a:xfrm>
            <a:off x="250825" y="3003809"/>
            <a:ext cx="8642349" cy="1799965"/>
          </a:xfrm>
          <a:prstGeom prst="rect">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9"/>
          </p:nvPr>
        </p:nvSpPr>
        <p:spPr bwMode="gray">
          <a:xfrm>
            <a:off x="250825" y="987426"/>
            <a:ext cx="8642350" cy="187236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71571661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8" name="Text Placeholder 9"/>
          <p:cNvSpPr>
            <a:spLocks noGrp="1"/>
          </p:cNvSpPr>
          <p:nvPr>
            <p:ph type="body" sz="quarter" idx="19"/>
          </p:nvPr>
        </p:nvSpPr>
        <p:spPr bwMode="gray">
          <a:xfrm>
            <a:off x="250825" y="1563928"/>
            <a:ext cx="273699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9" name="Text Placeholder 9"/>
          <p:cNvSpPr>
            <a:spLocks noGrp="1"/>
          </p:cNvSpPr>
          <p:nvPr>
            <p:ph type="body" sz="quarter" idx="20"/>
          </p:nvPr>
        </p:nvSpPr>
        <p:spPr bwMode="gray">
          <a:xfrm>
            <a:off x="3203848" y="1563928"/>
            <a:ext cx="2808312"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20" name="Text Placeholder 9"/>
          <p:cNvSpPr>
            <a:spLocks noGrp="1"/>
          </p:cNvSpPr>
          <p:nvPr>
            <p:ph type="body" sz="quarter" idx="21"/>
          </p:nvPr>
        </p:nvSpPr>
        <p:spPr bwMode="gray">
          <a:xfrm>
            <a:off x="6228184" y="1563928"/>
            <a:ext cx="2664991" cy="3239848"/>
          </a:xfrm>
        </p:spPr>
        <p:txBody>
          <a:bodyPr/>
          <a:lstStyle>
            <a:lvl5pPr>
              <a:defRPr/>
            </a:lvl5p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7"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5" y="1058862"/>
            <a:ext cx="8642351" cy="1800928"/>
          </a:xfrm>
          <a:prstGeom prst="round1Rect">
            <a:avLst>
              <a:gd name="adj" fmla="val 21156"/>
            </a:avLst>
          </a:prstGeom>
        </p:spPr>
        <p:txBody>
          <a:bodyPr/>
          <a:lstStyle/>
          <a:p>
            <a:r>
              <a:rPr lang="de-DE" noProof="0"/>
              <a:t>Bild auf Platzhalter ziehen oder durch Klicken auf Symbol hinzufügen</a:t>
            </a:r>
            <a:endParaRPr lang="en-US" noProof="0"/>
          </a:p>
        </p:txBody>
      </p:sp>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Text Placeholder 9"/>
          <p:cNvSpPr>
            <a:spLocks noGrp="1"/>
          </p:cNvSpPr>
          <p:nvPr>
            <p:ph type="body" sz="quarter" idx="19"/>
          </p:nvPr>
        </p:nvSpPr>
        <p:spPr bwMode="gray">
          <a:xfrm>
            <a:off x="250825" y="3003810"/>
            <a:ext cx="8642350" cy="179996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2406150983"/>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0" name="Text Placeholder 7"/>
          <p:cNvSpPr>
            <a:spLocks noGrp="1"/>
          </p:cNvSpPr>
          <p:nvPr>
            <p:ph type="body" sz="quarter" idx="15"/>
          </p:nvPr>
        </p:nvSpPr>
        <p:spPr bwMode="gray">
          <a:xfrm>
            <a:off x="250826" y="1563927"/>
            <a:ext cx="8642350"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6" y="987267"/>
            <a:ext cx="8642349"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579786703"/>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5" name="Text Placeholder 10"/>
          <p:cNvSpPr>
            <a:spLocks noGrp="1"/>
          </p:cNvSpPr>
          <p:nvPr>
            <p:ph type="body" sz="quarter" idx="16"/>
          </p:nvPr>
        </p:nvSpPr>
        <p:spPr bwMode="gray">
          <a:xfrm>
            <a:off x="250824" y="1563928"/>
            <a:ext cx="417715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10"/>
          <p:cNvSpPr>
            <a:spLocks noGrp="1"/>
          </p:cNvSpPr>
          <p:nvPr>
            <p:ph type="body" sz="quarter" idx="17"/>
          </p:nvPr>
        </p:nvSpPr>
        <p:spPr bwMode="gray">
          <a:xfrm>
            <a:off x="4644009" y="1563928"/>
            <a:ext cx="4249166"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8"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764444902"/>
      </p:ext>
    </p:extLst>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8" name="Text Placeholder 9"/>
          <p:cNvSpPr>
            <a:spLocks noGrp="1"/>
          </p:cNvSpPr>
          <p:nvPr>
            <p:ph type="body" sz="quarter" idx="19"/>
          </p:nvPr>
        </p:nvSpPr>
        <p:spPr bwMode="gray">
          <a:xfrm>
            <a:off x="250825" y="1563928"/>
            <a:ext cx="273699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9" name="Text Placeholder 9"/>
          <p:cNvSpPr>
            <a:spLocks noGrp="1"/>
          </p:cNvSpPr>
          <p:nvPr>
            <p:ph type="body" sz="quarter" idx="20"/>
          </p:nvPr>
        </p:nvSpPr>
        <p:spPr bwMode="gray">
          <a:xfrm>
            <a:off x="3203848" y="1563928"/>
            <a:ext cx="2808312"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20" name="Text Placeholder 9"/>
          <p:cNvSpPr>
            <a:spLocks noGrp="1"/>
          </p:cNvSpPr>
          <p:nvPr>
            <p:ph type="body" sz="quarter" idx="21"/>
          </p:nvPr>
        </p:nvSpPr>
        <p:spPr bwMode="gray">
          <a:xfrm>
            <a:off x="6228184" y="1563928"/>
            <a:ext cx="2664991" cy="3239848"/>
          </a:xfrm>
        </p:spPr>
        <p:txBody>
          <a:bodyPr/>
          <a:lstStyle>
            <a:lvl5pPr>
              <a:defRPr/>
            </a:lvl5p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7"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900614385"/>
      </p:ext>
    </p:extLst>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4" name="Textplatzhalter 14"/>
          <p:cNvSpPr>
            <a:spLocks noGrp="1"/>
          </p:cNvSpPr>
          <p:nvPr>
            <p:ph type="body" sz="quarter" idx="16" hasCustomPrompt="1"/>
          </p:nvPr>
        </p:nvSpPr>
        <p:spPr bwMode="gray">
          <a:xfrm>
            <a:off x="250825" y="987546"/>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499546069"/>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ubheadline + 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250825" y="1635936"/>
            <a:ext cx="8642350" cy="3167840"/>
          </a:xfrm>
          <a:prstGeom prst="round1Rect">
            <a:avLst>
              <a:gd name="adj" fmla="val 12027"/>
            </a:avLst>
          </a:prstGeom>
          <a:noFill/>
          <a:ln>
            <a:noFill/>
          </a:ln>
        </p:spPr>
        <p:txBody>
          <a:bodyPr/>
          <a:lstStyle/>
          <a:p>
            <a:r>
              <a:rPr lang="de-DE" noProof="0"/>
              <a:t>Bild auf Platzhalter ziehen oder durch Klicken auf Symbol hinzufügen</a:t>
            </a:r>
            <a:endParaRPr lang="en-US" noProof="0"/>
          </a:p>
        </p:txBody>
      </p:sp>
      <p:sp>
        <p:nvSpPr>
          <p:cNvPr id="5"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172256607"/>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ubheadline + 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4716016" y="1635936"/>
            <a:ext cx="4177159" cy="3167840"/>
          </a:xfrm>
          <a:prstGeom prst="round1Rect">
            <a:avLst>
              <a:gd name="adj" fmla="val 12027"/>
            </a:avLst>
          </a:prstGeom>
          <a:noFill/>
          <a:ln>
            <a:noFill/>
          </a:ln>
        </p:spPr>
        <p:txBody>
          <a:bodyPr/>
          <a:lstStyle/>
          <a:p>
            <a:r>
              <a:rPr lang="de-DE" noProof="0"/>
              <a:t>Bild auf Platzhalter ziehen oder durch Klicken auf Symbol hinzufügen</a:t>
            </a:r>
            <a:endParaRPr lang="en-US" noProof="0"/>
          </a:p>
        </p:txBody>
      </p:sp>
      <p:sp>
        <p:nvSpPr>
          <p:cNvPr id="10" name="Picture Placeholder 10"/>
          <p:cNvSpPr>
            <a:spLocks noGrp="1"/>
          </p:cNvSpPr>
          <p:nvPr>
            <p:ph type="pic" sz="quarter" idx="16"/>
            <p:custDataLst>
              <p:tags r:id="rId2"/>
            </p:custDataLst>
          </p:nvPr>
        </p:nvSpPr>
        <p:spPr bwMode="gray">
          <a:xfrm>
            <a:off x="250825" y="1635936"/>
            <a:ext cx="4177160" cy="3167840"/>
          </a:xfrm>
          <a:prstGeom prst="rect">
            <a:avLst/>
          </a:prstGeom>
          <a:noFill/>
          <a:ln>
            <a:noFill/>
          </a:ln>
        </p:spPr>
        <p:txBody>
          <a:bodyPr/>
          <a:lstStyle/>
          <a:p>
            <a:r>
              <a:rPr lang="de-DE" noProof="0"/>
              <a:t>Bild auf Platzhalter ziehen oder durch Klicken auf Symbol hinzufügen</a:t>
            </a:r>
            <a:endParaRPr lang="en-US" noProof="0"/>
          </a:p>
        </p:txBody>
      </p:sp>
      <p:sp>
        <p:nvSpPr>
          <p:cNvPr id="6" name="Textplatzhalter 14"/>
          <p:cNvSpPr>
            <a:spLocks noGrp="1"/>
          </p:cNvSpPr>
          <p:nvPr>
            <p:ph type="body" sz="quarter" idx="17"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098799202"/>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ubheadline + 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4716016" y="1635936"/>
            <a:ext cx="4177159" cy="3167840"/>
          </a:xfrm>
          <a:prstGeom prst="round1Rect">
            <a:avLst>
              <a:gd name="adj" fmla="val 12027"/>
            </a:avLst>
          </a:prstGeom>
        </p:spPr>
        <p:txBody>
          <a:bodyPr/>
          <a:lstStyle/>
          <a:p>
            <a:r>
              <a:rPr lang="de-DE" noProof="0"/>
              <a:t>Bild auf Platzhalter ziehen oder durch Klicken auf Symbol hinzufügen</a:t>
            </a:r>
            <a:endParaRPr lang="en-US" noProof="0"/>
          </a:p>
        </p:txBody>
      </p:sp>
      <p:sp>
        <p:nvSpPr>
          <p:cNvPr id="11" name="Text Placeholder 8"/>
          <p:cNvSpPr>
            <a:spLocks noGrp="1"/>
          </p:cNvSpPr>
          <p:nvPr>
            <p:ph type="body" sz="quarter" idx="17"/>
          </p:nvPr>
        </p:nvSpPr>
        <p:spPr bwMode="gray">
          <a:xfrm>
            <a:off x="250824" y="1563928"/>
            <a:ext cx="417715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4253788861"/>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250824" y="1635936"/>
            <a:ext cx="4177159"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7"/>
          </p:nvPr>
        </p:nvSpPr>
        <p:spPr bwMode="gray">
          <a:xfrm>
            <a:off x="4644008" y="1563928"/>
            <a:ext cx="4249167"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61890561"/>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ubheadline + 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6228184" y="1635936"/>
            <a:ext cx="2664991" cy="3167840"/>
          </a:xfrm>
          <a:prstGeom prst="round1Rect">
            <a:avLst>
              <a:gd name="adj" fmla="val 14296"/>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4" y="1563928"/>
            <a:ext cx="5761335"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23788710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Intermediate Cover">
    <p:spTree>
      <p:nvGrpSpPr>
        <p:cNvPr id="1" name=""/>
        <p:cNvGrpSpPr/>
        <p:nvPr/>
      </p:nvGrpSpPr>
      <p:grpSpPr>
        <a:xfrm>
          <a:off x="0" y="0"/>
          <a:ext cx="0" cy="0"/>
          <a:chOff x="0" y="0"/>
          <a:chExt cx="0" cy="0"/>
        </a:xfrm>
      </p:grpSpPr>
      <p:pic>
        <p:nvPicPr>
          <p:cNvPr id="8" name="Bild 1"/>
          <p:cNvPicPr>
            <a:picLocks noChangeAspect="1"/>
          </p:cNvPicPr>
          <p:nvPr userDrawn="1"/>
        </p:nvPicPr>
        <p:blipFill rotWithShape="1">
          <a:blip r:embed="rId2">
            <a:extLst>
              <a:ext uri="{28A0092B-C50C-407E-A947-70E740481C1C}">
                <a14:useLocalDpi xmlns:a14="http://schemas.microsoft.com/office/drawing/2010/main" val="0"/>
              </a:ext>
            </a:extLst>
          </a:blip>
          <a:srcRect b="41615"/>
          <a:stretch/>
        </p:blipFill>
        <p:spPr>
          <a:xfrm>
            <a:off x="-829" y="762"/>
            <a:ext cx="9144000" cy="3003048"/>
          </a:xfrm>
          <a:prstGeom prst="rect">
            <a:avLst/>
          </a:prstGeom>
        </p:spPr>
      </p:pic>
      <p:sp>
        <p:nvSpPr>
          <p:cNvPr id="6" name="Title 15"/>
          <p:cNvSpPr>
            <a:spLocks noGrp="1"/>
          </p:cNvSpPr>
          <p:nvPr>
            <p:ph type="title"/>
          </p:nvPr>
        </p:nvSpPr>
        <p:spPr bwMode="gray">
          <a:xfrm>
            <a:off x="250825" y="1563638"/>
            <a:ext cx="8642350" cy="86409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tx1"/>
                </a:solidFill>
                <a:latin typeface="Fujitsu Sans" charset="0"/>
                <a:ea typeface="Fujitsu Sans" charset="0"/>
                <a:cs typeface="Fujitsu Sans" charset="0"/>
              </a:defRPr>
            </a:lvl1pPr>
          </a:lstStyle>
          <a:p>
            <a:r>
              <a:rPr lang="en-US" noProof="0" dirty="0" smtClean="0"/>
              <a:t>Click to edit Master title style</a:t>
            </a:r>
            <a:endParaRPr lang="en-US" noProof="0" dirty="0"/>
          </a:p>
        </p:txBody>
      </p:sp>
      <p:sp>
        <p:nvSpPr>
          <p:cNvPr id="7" name="Text Placeholder 19"/>
          <p:cNvSpPr>
            <a:spLocks noGrp="1"/>
          </p:cNvSpPr>
          <p:nvPr>
            <p:ph type="body" sz="quarter" idx="10"/>
          </p:nvPr>
        </p:nvSpPr>
        <p:spPr bwMode="gray">
          <a:xfrm>
            <a:off x="250824" y="2787780"/>
            <a:ext cx="8642351" cy="2015995"/>
          </a:xfrm>
        </p:spPr>
        <p:txBody>
          <a:bodyPr/>
          <a:lstStyle>
            <a:lvl1pPr>
              <a:spcAft>
                <a:spcPts val="300"/>
              </a:spcAft>
              <a:buClr>
                <a:schemeClr val="tx2"/>
              </a:buClr>
              <a:buFont typeface="Wingdings" pitchFamily="2" charset="2"/>
              <a:buChar char="n"/>
              <a:defRPr sz="2200">
                <a:latin typeface="Fujitsu Sans" charset="0"/>
                <a:ea typeface="Fujitsu Sans" charset="0"/>
                <a:cs typeface="Fujitsu Sans" charset="0"/>
              </a:defRPr>
            </a:lvl1pPr>
            <a:lvl2pPr marL="266700" indent="-266700">
              <a:spcBef>
                <a:spcPts val="516"/>
              </a:spcBef>
              <a:buFont typeface="Wingdings" pitchFamily="2" charset="2"/>
              <a:buChar char="n"/>
              <a:defRPr sz="2400"/>
            </a:lvl2pPr>
            <a:lvl3pPr marL="266700" indent="-266700">
              <a:spcBef>
                <a:spcPts val="516"/>
              </a:spcBef>
              <a:spcAft>
                <a:spcPts val="288"/>
              </a:spcAft>
              <a:buFont typeface="Wingdings" pitchFamily="2" charset="2"/>
              <a:buChar char="n"/>
              <a:defRPr sz="2400"/>
            </a:lvl3pPr>
            <a:lvl4pPr marL="266700" indent="-266700">
              <a:spcBef>
                <a:spcPts val="516"/>
              </a:spcBef>
              <a:spcAft>
                <a:spcPts val="288"/>
              </a:spcAft>
              <a:buFont typeface="Wingdings" pitchFamily="2" charset="2"/>
              <a:buChar char="n"/>
              <a:defRPr sz="2400"/>
            </a:lvl4pPr>
            <a:lvl5pPr marL="266700" indent="-266700">
              <a:spcBef>
                <a:spcPts val="516"/>
              </a:spcBef>
              <a:spcAft>
                <a:spcPts val="288"/>
              </a:spcAft>
              <a:buFont typeface="Wingdings" pitchFamily="2" charset="2"/>
              <a:buChar char="n"/>
              <a:defRPr sz="2400"/>
            </a:lvl5pPr>
          </a:lstStyle>
          <a:p>
            <a:pPr lvl="0"/>
            <a:r>
              <a:rPr lang="en-US" noProof="0" dirty="0" smtClean="0"/>
              <a:t>Click to edit Master text styles</a:t>
            </a:r>
          </a:p>
        </p:txBody>
      </p:sp>
      <p:pic>
        <p:nvPicPr>
          <p:cNvPr id="9" name="Picture 3" descr="Fujitsu_Logo"/>
          <p:cNvPicPr>
            <a:picLocks noChangeAspect="1" noChangeArrowheads="1"/>
          </p:cNvPicPr>
          <p:nvPr userDrawn="1"/>
        </p:nvPicPr>
        <p:blipFill>
          <a:blip r:embed="rId3" cstate="print"/>
          <a:srcRect b="20259"/>
          <a:stretch>
            <a:fillRect/>
          </a:stretch>
        </p:blipFill>
        <p:spPr bwMode="auto">
          <a:xfrm>
            <a:off x="7664790" y="243040"/>
            <a:ext cx="1252195" cy="499082"/>
          </a:xfrm>
          <a:prstGeom prst="rect">
            <a:avLst/>
          </a:prstGeom>
          <a:noFill/>
        </p:spPr>
      </p:pic>
    </p:spTree>
    <p:extLst>
      <p:ext uri="{BB962C8B-B14F-4D97-AF65-F5344CB8AC3E}">
        <p14:creationId xmlns:p14="http://schemas.microsoft.com/office/powerpoint/2010/main" val="169964974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4" name="Textplatzhalter 14"/>
          <p:cNvSpPr>
            <a:spLocks noGrp="1"/>
          </p:cNvSpPr>
          <p:nvPr>
            <p:ph type="body" sz="quarter" idx="16" hasCustomPrompt="1"/>
          </p:nvPr>
        </p:nvSpPr>
        <p:spPr bwMode="gray">
          <a:xfrm>
            <a:off x="250825" y="987546"/>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635936"/>
            <a:ext cx="2664991"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3131840" y="1563928"/>
            <a:ext cx="5761335"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444152231"/>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ubheadline + 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3132139" y="1635936"/>
            <a:ext cx="5761036" cy="3167840"/>
          </a:xfrm>
          <a:prstGeom prst="round1Rect">
            <a:avLst>
              <a:gd name="adj" fmla="val 12027"/>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5" y="1563928"/>
            <a:ext cx="2665414"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4175809504"/>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635936"/>
            <a:ext cx="5761038"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6227763" y="1563928"/>
            <a:ext cx="2665412"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852698017"/>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8"/>
          </p:nvPr>
        </p:nvSpPr>
        <p:spPr bwMode="gray">
          <a:xfrm>
            <a:off x="250826" y="3291851"/>
            <a:ext cx="8642350" cy="1511924"/>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9"/>
          </p:nvPr>
        </p:nvSpPr>
        <p:spPr bwMode="gray">
          <a:xfrm>
            <a:off x="250828" y="1563927"/>
            <a:ext cx="8642348" cy="158390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7" y="987268"/>
            <a:ext cx="8642348"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4123234045"/>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ubheadline + 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9" y="1635935"/>
            <a:ext cx="8642346" cy="1511896"/>
          </a:xfrm>
          <a:prstGeom prst="round1Rect">
            <a:avLst>
              <a:gd name="adj" fmla="val 25200"/>
            </a:avLst>
          </a:prstGeom>
        </p:spPr>
        <p:txBody>
          <a:bodyPr/>
          <a:lstStyle/>
          <a:p>
            <a:r>
              <a:rPr lang="de-DE" noProof="0"/>
              <a:t>Bild auf Platzhalter ziehen oder durch Klicken auf Symbol hinzufügen</a:t>
            </a:r>
            <a:endParaRPr lang="en-US" noProof="0"/>
          </a:p>
        </p:txBody>
      </p:sp>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0" name="Text Placeholder 8"/>
          <p:cNvSpPr>
            <a:spLocks noGrp="1"/>
          </p:cNvSpPr>
          <p:nvPr>
            <p:ph type="body" sz="quarter" idx="19"/>
          </p:nvPr>
        </p:nvSpPr>
        <p:spPr bwMode="gray">
          <a:xfrm>
            <a:off x="250829" y="3291851"/>
            <a:ext cx="8642346" cy="151192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8" y="987268"/>
            <a:ext cx="8642346"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894242859"/>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Leer">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4874766"/>
      </p:ext>
    </p:extLst>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anchor="ctr"/>
          <a:lstStyle/>
          <a:p>
            <a:endParaRPr lang="en-US">
              <a:solidFill>
                <a:srgbClr val="000000"/>
              </a:solidFill>
            </a:endParaRPr>
          </a:p>
        </p:txBody>
      </p:sp>
      <p:pic>
        <p:nvPicPr>
          <p:cNvPr id="41" name="Picture 2" descr="Fujitsu_Logo"/>
          <p:cNvPicPr>
            <a:picLocks noChangeAspect="1" noChangeArrowheads="1"/>
          </p:cNvPicPr>
          <p:nvPr userDrawn="1"/>
        </p:nvPicPr>
        <p:blipFill>
          <a:blip r:embed="rId2" cstate="print"/>
          <a:srcRect/>
          <a:stretch>
            <a:fillRect/>
          </a:stretch>
        </p:blipFill>
        <p:spPr bwMode="auto">
          <a:xfrm>
            <a:off x="2455510" y="1357200"/>
            <a:ext cx="4202009" cy="2100264"/>
          </a:xfrm>
          <a:prstGeom prst="rect">
            <a:avLst/>
          </a:prstGeom>
          <a:noFill/>
        </p:spPr>
      </p:pic>
    </p:spTree>
    <p:extLst>
      <p:ext uri="{BB962C8B-B14F-4D97-AF65-F5344CB8AC3E}">
        <p14:creationId xmlns:p14="http://schemas.microsoft.com/office/powerpoint/2010/main" val="141156644"/>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4" name="Picture 46" descr="TitleRed_L15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0" y="0"/>
            <a:ext cx="9144000" cy="3639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47"/>
          <p:cNvGrpSpPr>
            <a:grpSpLocks noChangeAspect="1"/>
          </p:cNvGrpSpPr>
          <p:nvPr userDrawn="1"/>
        </p:nvGrpSpPr>
        <p:grpSpPr bwMode="auto">
          <a:xfrm>
            <a:off x="7308851" y="139303"/>
            <a:ext cx="1647825" cy="690563"/>
            <a:chOff x="4604" y="117"/>
            <a:chExt cx="1038" cy="580"/>
          </a:xfrm>
        </p:grpSpPr>
        <p:sp>
          <p:nvSpPr>
            <p:cNvPr id="6" name="AutoShape 48"/>
            <p:cNvSpPr>
              <a:spLocks noChangeAspect="1" noChangeArrowheads="1" noTextEdit="1"/>
            </p:cNvSpPr>
            <p:nvPr userDrawn="1"/>
          </p:nvSpPr>
          <p:spPr bwMode="gray">
            <a:xfrm>
              <a:off x="4604" y="117"/>
              <a:ext cx="1038" cy="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7" name="Freeform 49"/>
            <p:cNvSpPr>
              <a:spLocks/>
            </p:cNvSpPr>
            <p:nvPr userDrawn="1"/>
          </p:nvSpPr>
          <p:spPr bwMode="gray">
            <a:xfrm>
              <a:off x="4655" y="604"/>
              <a:ext cx="26" cy="43"/>
            </a:xfrm>
            <a:custGeom>
              <a:avLst/>
              <a:gdLst>
                <a:gd name="T0" fmla="*/ 0 w 463"/>
                <a:gd name="T1" fmla="*/ 0 h 762"/>
                <a:gd name="T2" fmla="*/ 0 w 463"/>
                <a:gd name="T3" fmla="*/ 0 h 762"/>
                <a:gd name="T4" fmla="*/ 0 w 463"/>
                <a:gd name="T5" fmla="*/ 0 h 762"/>
                <a:gd name="T6" fmla="*/ 0 w 463"/>
                <a:gd name="T7" fmla="*/ 0 h 762"/>
                <a:gd name="T8" fmla="*/ 0 w 463"/>
                <a:gd name="T9" fmla="*/ 0 h 762"/>
                <a:gd name="T10" fmla="*/ 0 w 463"/>
                <a:gd name="T11" fmla="*/ 0 h 762"/>
                <a:gd name="T12" fmla="*/ 0 w 463"/>
                <a:gd name="T13" fmla="*/ 0 h 762"/>
                <a:gd name="T14" fmla="*/ 0 w 463"/>
                <a:gd name="T15" fmla="*/ 0 h 762"/>
                <a:gd name="T16" fmla="*/ 0 w 463"/>
                <a:gd name="T17" fmla="*/ 0 h 762"/>
                <a:gd name="T18" fmla="*/ 0 w 463"/>
                <a:gd name="T19" fmla="*/ 0 h 762"/>
                <a:gd name="T20" fmla="*/ 0 w 463"/>
                <a:gd name="T21" fmla="*/ 0 h 762"/>
                <a:gd name="T22" fmla="*/ 0 w 463"/>
                <a:gd name="T23" fmla="*/ 0 h 762"/>
                <a:gd name="T24" fmla="*/ 0 w 463"/>
                <a:gd name="T25" fmla="*/ 0 h 762"/>
                <a:gd name="T26" fmla="*/ 0 w 463"/>
                <a:gd name="T27" fmla="*/ 0 h 762"/>
                <a:gd name="T28" fmla="*/ 0 w 463"/>
                <a:gd name="T29" fmla="*/ 0 h 762"/>
                <a:gd name="T30" fmla="*/ 0 w 463"/>
                <a:gd name="T31" fmla="*/ 0 h 762"/>
                <a:gd name="T32" fmla="*/ 0 w 463"/>
                <a:gd name="T33" fmla="*/ 0 h 762"/>
                <a:gd name="T34" fmla="*/ 0 w 463"/>
                <a:gd name="T35" fmla="*/ 0 h 762"/>
                <a:gd name="T36" fmla="*/ 0 w 463"/>
                <a:gd name="T37" fmla="*/ 0 h 762"/>
                <a:gd name="T38" fmla="*/ 0 w 463"/>
                <a:gd name="T39" fmla="*/ 0 h 762"/>
                <a:gd name="T40" fmla="*/ 0 w 463"/>
                <a:gd name="T41" fmla="*/ 0 h 762"/>
                <a:gd name="T42" fmla="*/ 0 w 463"/>
                <a:gd name="T43" fmla="*/ 0 h 762"/>
                <a:gd name="T44" fmla="*/ 0 w 463"/>
                <a:gd name="T45" fmla="*/ 0 h 76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8" name="Freeform 50"/>
            <p:cNvSpPr>
              <a:spLocks/>
            </p:cNvSpPr>
            <p:nvPr userDrawn="1"/>
          </p:nvSpPr>
          <p:spPr bwMode="gray">
            <a:xfrm>
              <a:off x="4691" y="585"/>
              <a:ext cx="30" cy="61"/>
            </a:xfrm>
            <a:custGeom>
              <a:avLst/>
              <a:gdLst>
                <a:gd name="T0" fmla="*/ 0 w 548"/>
                <a:gd name="T1" fmla="*/ 0 h 1087"/>
                <a:gd name="T2" fmla="*/ 0 w 548"/>
                <a:gd name="T3" fmla="*/ 0 h 1087"/>
                <a:gd name="T4" fmla="*/ 0 w 548"/>
                <a:gd name="T5" fmla="*/ 0 h 1087"/>
                <a:gd name="T6" fmla="*/ 0 w 548"/>
                <a:gd name="T7" fmla="*/ 0 h 1087"/>
                <a:gd name="T8" fmla="*/ 0 w 548"/>
                <a:gd name="T9" fmla="*/ 0 h 1087"/>
                <a:gd name="T10" fmla="*/ 0 w 548"/>
                <a:gd name="T11" fmla="*/ 0 h 1087"/>
                <a:gd name="T12" fmla="*/ 0 w 548"/>
                <a:gd name="T13" fmla="*/ 0 h 1087"/>
                <a:gd name="T14" fmla="*/ 0 w 548"/>
                <a:gd name="T15" fmla="*/ 0 h 1087"/>
                <a:gd name="T16" fmla="*/ 0 w 548"/>
                <a:gd name="T17" fmla="*/ 0 h 1087"/>
                <a:gd name="T18" fmla="*/ 0 w 548"/>
                <a:gd name="T19" fmla="*/ 0 h 1087"/>
                <a:gd name="T20" fmla="*/ 0 w 548"/>
                <a:gd name="T21" fmla="*/ 0 h 1087"/>
                <a:gd name="T22" fmla="*/ 0 w 548"/>
                <a:gd name="T23" fmla="*/ 0 h 1087"/>
                <a:gd name="T24" fmla="*/ 0 w 548"/>
                <a:gd name="T25" fmla="*/ 0 h 1087"/>
                <a:gd name="T26" fmla="*/ 0 w 548"/>
                <a:gd name="T27" fmla="*/ 0 h 1087"/>
                <a:gd name="T28" fmla="*/ 0 w 548"/>
                <a:gd name="T29" fmla="*/ 0 h 108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9" name="Freeform 51"/>
            <p:cNvSpPr>
              <a:spLocks noEditPoints="1"/>
            </p:cNvSpPr>
            <p:nvPr userDrawn="1"/>
          </p:nvSpPr>
          <p:spPr bwMode="gray">
            <a:xfrm>
              <a:off x="4730" y="604"/>
              <a:ext cx="32" cy="43"/>
            </a:xfrm>
            <a:custGeom>
              <a:avLst/>
              <a:gdLst>
                <a:gd name="T0" fmla="*/ 0 w 561"/>
                <a:gd name="T1" fmla="*/ 0 h 762"/>
                <a:gd name="T2" fmla="*/ 0 w 561"/>
                <a:gd name="T3" fmla="*/ 0 h 762"/>
                <a:gd name="T4" fmla="*/ 0 w 561"/>
                <a:gd name="T5" fmla="*/ 0 h 762"/>
                <a:gd name="T6" fmla="*/ 0 w 561"/>
                <a:gd name="T7" fmla="*/ 0 h 762"/>
                <a:gd name="T8" fmla="*/ 0 w 561"/>
                <a:gd name="T9" fmla="*/ 0 h 762"/>
                <a:gd name="T10" fmla="*/ 0 w 561"/>
                <a:gd name="T11" fmla="*/ 0 h 762"/>
                <a:gd name="T12" fmla="*/ 0 w 561"/>
                <a:gd name="T13" fmla="*/ 0 h 762"/>
                <a:gd name="T14" fmla="*/ 0 w 561"/>
                <a:gd name="T15" fmla="*/ 0 h 762"/>
                <a:gd name="T16" fmla="*/ 0 w 561"/>
                <a:gd name="T17" fmla="*/ 0 h 762"/>
                <a:gd name="T18" fmla="*/ 0 w 561"/>
                <a:gd name="T19" fmla="*/ 0 h 762"/>
                <a:gd name="T20" fmla="*/ 0 w 561"/>
                <a:gd name="T21" fmla="*/ 0 h 762"/>
                <a:gd name="T22" fmla="*/ 0 w 561"/>
                <a:gd name="T23" fmla="*/ 0 h 762"/>
                <a:gd name="T24" fmla="*/ 0 w 561"/>
                <a:gd name="T25" fmla="*/ 0 h 762"/>
                <a:gd name="T26" fmla="*/ 0 w 561"/>
                <a:gd name="T27" fmla="*/ 0 h 762"/>
                <a:gd name="T28" fmla="*/ 0 w 561"/>
                <a:gd name="T29" fmla="*/ 0 h 762"/>
                <a:gd name="T30" fmla="*/ 0 w 561"/>
                <a:gd name="T31" fmla="*/ 0 h 762"/>
                <a:gd name="T32" fmla="*/ 0 w 561"/>
                <a:gd name="T33" fmla="*/ 0 h 762"/>
                <a:gd name="T34" fmla="*/ 0 w 561"/>
                <a:gd name="T35" fmla="*/ 0 h 762"/>
                <a:gd name="T36" fmla="*/ 0 w 561"/>
                <a:gd name="T37" fmla="*/ 0 h 762"/>
                <a:gd name="T38" fmla="*/ 0 w 561"/>
                <a:gd name="T39" fmla="*/ 0 h 762"/>
                <a:gd name="T40" fmla="*/ 0 w 561"/>
                <a:gd name="T41" fmla="*/ 0 h 762"/>
                <a:gd name="T42" fmla="*/ 0 w 561"/>
                <a:gd name="T43" fmla="*/ 0 h 762"/>
                <a:gd name="T44" fmla="*/ 0 w 561"/>
                <a:gd name="T45" fmla="*/ 0 h 762"/>
                <a:gd name="T46" fmla="*/ 0 w 561"/>
                <a:gd name="T47" fmla="*/ 0 h 7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10" name="Freeform 52"/>
            <p:cNvSpPr>
              <a:spLocks noEditPoints="1"/>
            </p:cNvSpPr>
            <p:nvPr userDrawn="1"/>
          </p:nvSpPr>
          <p:spPr bwMode="gray">
            <a:xfrm>
              <a:off x="4774" y="604"/>
              <a:ext cx="32" cy="61"/>
            </a:xfrm>
            <a:custGeom>
              <a:avLst/>
              <a:gdLst>
                <a:gd name="T0" fmla="*/ 0 w 567"/>
                <a:gd name="T1" fmla="*/ 0 h 1087"/>
                <a:gd name="T2" fmla="*/ 0 w 567"/>
                <a:gd name="T3" fmla="*/ 0 h 1087"/>
                <a:gd name="T4" fmla="*/ 0 w 567"/>
                <a:gd name="T5" fmla="*/ 0 h 1087"/>
                <a:gd name="T6" fmla="*/ 0 w 567"/>
                <a:gd name="T7" fmla="*/ 0 h 1087"/>
                <a:gd name="T8" fmla="*/ 0 w 567"/>
                <a:gd name="T9" fmla="*/ 0 h 1087"/>
                <a:gd name="T10" fmla="*/ 0 w 567"/>
                <a:gd name="T11" fmla="*/ 0 h 1087"/>
                <a:gd name="T12" fmla="*/ 0 w 567"/>
                <a:gd name="T13" fmla="*/ 0 h 1087"/>
                <a:gd name="T14" fmla="*/ 0 w 567"/>
                <a:gd name="T15" fmla="*/ 0 h 1087"/>
                <a:gd name="T16" fmla="*/ 0 w 567"/>
                <a:gd name="T17" fmla="*/ 0 h 1087"/>
                <a:gd name="T18" fmla="*/ 0 w 567"/>
                <a:gd name="T19" fmla="*/ 0 h 1087"/>
                <a:gd name="T20" fmla="*/ 0 w 567"/>
                <a:gd name="T21" fmla="*/ 0 h 1087"/>
                <a:gd name="T22" fmla="*/ 0 w 567"/>
                <a:gd name="T23" fmla="*/ 0 h 1087"/>
                <a:gd name="T24" fmla="*/ 0 w 567"/>
                <a:gd name="T25" fmla="*/ 0 h 1087"/>
                <a:gd name="T26" fmla="*/ 0 w 567"/>
                <a:gd name="T27" fmla="*/ 0 h 1087"/>
                <a:gd name="T28" fmla="*/ 0 w 567"/>
                <a:gd name="T29" fmla="*/ 0 h 1087"/>
                <a:gd name="T30" fmla="*/ 0 w 567"/>
                <a:gd name="T31" fmla="*/ 0 h 1087"/>
                <a:gd name="T32" fmla="*/ 0 w 567"/>
                <a:gd name="T33" fmla="*/ 0 h 1087"/>
                <a:gd name="T34" fmla="*/ 0 w 567"/>
                <a:gd name="T35" fmla="*/ 0 h 1087"/>
                <a:gd name="T36" fmla="*/ 0 w 567"/>
                <a:gd name="T37" fmla="*/ 0 h 108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11" name="Freeform 53"/>
            <p:cNvSpPr>
              <a:spLocks noEditPoints="1"/>
            </p:cNvSpPr>
            <p:nvPr userDrawn="1"/>
          </p:nvSpPr>
          <p:spPr bwMode="gray">
            <a:xfrm>
              <a:off x="4815" y="591"/>
              <a:ext cx="9" cy="55"/>
            </a:xfrm>
            <a:custGeom>
              <a:avLst/>
              <a:gdLst>
                <a:gd name="T0" fmla="*/ 0 w 150"/>
                <a:gd name="T1" fmla="*/ 0 h 987"/>
                <a:gd name="T2" fmla="*/ 0 w 150"/>
                <a:gd name="T3" fmla="*/ 0 h 987"/>
                <a:gd name="T4" fmla="*/ 0 w 150"/>
                <a:gd name="T5" fmla="*/ 0 h 987"/>
                <a:gd name="T6" fmla="*/ 0 w 150"/>
                <a:gd name="T7" fmla="*/ 0 h 987"/>
                <a:gd name="T8" fmla="*/ 0 w 150"/>
                <a:gd name="T9" fmla="*/ 0 h 987"/>
                <a:gd name="T10" fmla="*/ 0 w 150"/>
                <a:gd name="T11" fmla="*/ 0 h 987"/>
                <a:gd name="T12" fmla="*/ 0 w 150"/>
                <a:gd name="T13" fmla="*/ 0 h 987"/>
                <a:gd name="T14" fmla="*/ 0 w 150"/>
                <a:gd name="T15" fmla="*/ 0 h 987"/>
                <a:gd name="T16" fmla="*/ 0 w 150"/>
                <a:gd name="T17" fmla="*/ 0 h 987"/>
                <a:gd name="T18" fmla="*/ 0 w 150"/>
                <a:gd name="T19" fmla="*/ 0 h 987"/>
                <a:gd name="T20" fmla="*/ 0 w 150"/>
                <a:gd name="T21" fmla="*/ 0 h 987"/>
                <a:gd name="T22" fmla="*/ 0 w 150"/>
                <a:gd name="T23" fmla="*/ 0 h 987"/>
                <a:gd name="T24" fmla="*/ 0 w 150"/>
                <a:gd name="T25" fmla="*/ 0 h 987"/>
                <a:gd name="T26" fmla="*/ 0 w 150"/>
                <a:gd name="T27" fmla="*/ 0 h 98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12" name="Freeform 54"/>
            <p:cNvSpPr>
              <a:spLocks/>
            </p:cNvSpPr>
            <p:nvPr userDrawn="1"/>
          </p:nvSpPr>
          <p:spPr bwMode="gray">
            <a:xfrm>
              <a:off x="4836" y="604"/>
              <a:ext cx="31" cy="42"/>
            </a:xfrm>
            <a:custGeom>
              <a:avLst/>
              <a:gdLst>
                <a:gd name="T0" fmla="*/ 0 w 548"/>
                <a:gd name="T1" fmla="*/ 0 h 742"/>
                <a:gd name="T2" fmla="*/ 0 w 548"/>
                <a:gd name="T3" fmla="*/ 0 h 742"/>
                <a:gd name="T4" fmla="*/ 0 w 548"/>
                <a:gd name="T5" fmla="*/ 0 h 742"/>
                <a:gd name="T6" fmla="*/ 0 w 548"/>
                <a:gd name="T7" fmla="*/ 0 h 742"/>
                <a:gd name="T8" fmla="*/ 0 w 548"/>
                <a:gd name="T9" fmla="*/ 0 h 742"/>
                <a:gd name="T10" fmla="*/ 0 w 548"/>
                <a:gd name="T11" fmla="*/ 0 h 742"/>
                <a:gd name="T12" fmla="*/ 0 w 548"/>
                <a:gd name="T13" fmla="*/ 0 h 742"/>
                <a:gd name="T14" fmla="*/ 0 w 548"/>
                <a:gd name="T15" fmla="*/ 0 h 742"/>
                <a:gd name="T16" fmla="*/ 0 w 548"/>
                <a:gd name="T17" fmla="*/ 0 h 742"/>
                <a:gd name="T18" fmla="*/ 0 w 548"/>
                <a:gd name="T19" fmla="*/ 0 h 742"/>
                <a:gd name="T20" fmla="*/ 0 w 548"/>
                <a:gd name="T21" fmla="*/ 0 h 742"/>
                <a:gd name="T22" fmla="*/ 0 w 548"/>
                <a:gd name="T23" fmla="*/ 0 h 742"/>
                <a:gd name="T24" fmla="*/ 0 w 548"/>
                <a:gd name="T25" fmla="*/ 0 h 7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13" name="Freeform 55"/>
            <p:cNvSpPr>
              <a:spLocks noEditPoints="1"/>
            </p:cNvSpPr>
            <p:nvPr userDrawn="1"/>
          </p:nvSpPr>
          <p:spPr bwMode="gray">
            <a:xfrm>
              <a:off x="4876" y="604"/>
              <a:ext cx="32" cy="62"/>
            </a:xfrm>
            <a:custGeom>
              <a:avLst/>
              <a:gdLst>
                <a:gd name="T0" fmla="*/ 0 w 569"/>
                <a:gd name="T1" fmla="*/ 0 h 1098"/>
                <a:gd name="T2" fmla="*/ 0 w 569"/>
                <a:gd name="T3" fmla="*/ 0 h 1098"/>
                <a:gd name="T4" fmla="*/ 0 w 569"/>
                <a:gd name="T5" fmla="*/ 0 h 1098"/>
                <a:gd name="T6" fmla="*/ 0 w 569"/>
                <a:gd name="T7" fmla="*/ 0 h 1098"/>
                <a:gd name="T8" fmla="*/ 0 w 569"/>
                <a:gd name="T9" fmla="*/ 0 h 1098"/>
                <a:gd name="T10" fmla="*/ 0 w 569"/>
                <a:gd name="T11" fmla="*/ 0 h 1098"/>
                <a:gd name="T12" fmla="*/ 0 w 569"/>
                <a:gd name="T13" fmla="*/ 0 h 1098"/>
                <a:gd name="T14" fmla="*/ 0 w 569"/>
                <a:gd name="T15" fmla="*/ 0 h 1098"/>
                <a:gd name="T16" fmla="*/ 0 w 569"/>
                <a:gd name="T17" fmla="*/ 0 h 1098"/>
                <a:gd name="T18" fmla="*/ 0 w 569"/>
                <a:gd name="T19" fmla="*/ 0 h 1098"/>
                <a:gd name="T20" fmla="*/ 0 w 569"/>
                <a:gd name="T21" fmla="*/ 0 h 1098"/>
                <a:gd name="T22" fmla="*/ 0 w 569"/>
                <a:gd name="T23" fmla="*/ 0 h 1098"/>
                <a:gd name="T24" fmla="*/ 0 w 569"/>
                <a:gd name="T25" fmla="*/ 0 h 1098"/>
                <a:gd name="T26" fmla="*/ 0 w 569"/>
                <a:gd name="T27" fmla="*/ 0 h 1098"/>
                <a:gd name="T28" fmla="*/ 0 w 569"/>
                <a:gd name="T29" fmla="*/ 0 h 1098"/>
                <a:gd name="T30" fmla="*/ 0 w 569"/>
                <a:gd name="T31" fmla="*/ 0 h 1098"/>
                <a:gd name="T32" fmla="*/ 0 w 569"/>
                <a:gd name="T33" fmla="*/ 0 h 1098"/>
                <a:gd name="T34" fmla="*/ 0 w 569"/>
                <a:gd name="T35" fmla="*/ 0 h 1098"/>
                <a:gd name="T36" fmla="*/ 0 w 569"/>
                <a:gd name="T37" fmla="*/ 0 h 1098"/>
                <a:gd name="T38" fmla="*/ 0 w 569"/>
                <a:gd name="T39" fmla="*/ 0 h 1098"/>
                <a:gd name="T40" fmla="*/ 0 w 569"/>
                <a:gd name="T41" fmla="*/ 0 h 1098"/>
                <a:gd name="T42" fmla="*/ 0 w 569"/>
                <a:gd name="T43" fmla="*/ 0 h 1098"/>
                <a:gd name="T44" fmla="*/ 0 w 569"/>
                <a:gd name="T45" fmla="*/ 0 h 1098"/>
                <a:gd name="T46" fmla="*/ 0 w 569"/>
                <a:gd name="T47" fmla="*/ 0 h 1098"/>
                <a:gd name="T48" fmla="*/ 0 w 569"/>
                <a:gd name="T49" fmla="*/ 0 h 1098"/>
                <a:gd name="T50" fmla="*/ 0 w 569"/>
                <a:gd name="T51" fmla="*/ 0 h 1098"/>
                <a:gd name="T52" fmla="*/ 0 w 569"/>
                <a:gd name="T53" fmla="*/ 0 h 1098"/>
                <a:gd name="T54" fmla="*/ 0 w 569"/>
                <a:gd name="T55" fmla="*/ 0 h 1098"/>
                <a:gd name="T56" fmla="*/ 0 w 569"/>
                <a:gd name="T57" fmla="*/ 0 h 1098"/>
                <a:gd name="T58" fmla="*/ 0 w 569"/>
                <a:gd name="T59" fmla="*/ 0 h 109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14" name="Freeform 56"/>
            <p:cNvSpPr>
              <a:spLocks/>
            </p:cNvSpPr>
            <p:nvPr userDrawn="1"/>
          </p:nvSpPr>
          <p:spPr bwMode="gray">
            <a:xfrm>
              <a:off x="4939" y="595"/>
              <a:ext cx="18" cy="51"/>
            </a:xfrm>
            <a:custGeom>
              <a:avLst/>
              <a:gdLst>
                <a:gd name="T0" fmla="*/ 0 w 318"/>
                <a:gd name="T1" fmla="*/ 0 h 917"/>
                <a:gd name="T2" fmla="*/ 0 w 318"/>
                <a:gd name="T3" fmla="*/ 0 h 917"/>
                <a:gd name="T4" fmla="*/ 0 w 318"/>
                <a:gd name="T5" fmla="*/ 0 h 917"/>
                <a:gd name="T6" fmla="*/ 0 w 318"/>
                <a:gd name="T7" fmla="*/ 0 h 917"/>
                <a:gd name="T8" fmla="*/ 0 w 318"/>
                <a:gd name="T9" fmla="*/ 0 h 917"/>
                <a:gd name="T10" fmla="*/ 0 w 318"/>
                <a:gd name="T11" fmla="*/ 0 h 917"/>
                <a:gd name="T12" fmla="*/ 0 w 318"/>
                <a:gd name="T13" fmla="*/ 0 h 917"/>
                <a:gd name="T14" fmla="*/ 0 w 318"/>
                <a:gd name="T15" fmla="*/ 0 h 917"/>
                <a:gd name="T16" fmla="*/ 0 w 318"/>
                <a:gd name="T17" fmla="*/ 0 h 917"/>
                <a:gd name="T18" fmla="*/ 0 w 318"/>
                <a:gd name="T19" fmla="*/ 0 h 917"/>
                <a:gd name="T20" fmla="*/ 0 w 318"/>
                <a:gd name="T21" fmla="*/ 0 h 917"/>
                <a:gd name="T22" fmla="*/ 0 w 318"/>
                <a:gd name="T23" fmla="*/ 0 h 917"/>
                <a:gd name="T24" fmla="*/ 0 w 318"/>
                <a:gd name="T25" fmla="*/ 0 h 917"/>
                <a:gd name="T26" fmla="*/ 0 w 318"/>
                <a:gd name="T27" fmla="*/ 0 h 917"/>
                <a:gd name="T28" fmla="*/ 0 w 318"/>
                <a:gd name="T29" fmla="*/ 0 h 917"/>
                <a:gd name="T30" fmla="*/ 0 w 318"/>
                <a:gd name="T31" fmla="*/ 0 h 917"/>
                <a:gd name="T32" fmla="*/ 0 w 318"/>
                <a:gd name="T33" fmla="*/ 0 h 9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15" name="Freeform 57"/>
            <p:cNvSpPr>
              <a:spLocks noEditPoints="1"/>
            </p:cNvSpPr>
            <p:nvPr userDrawn="1"/>
          </p:nvSpPr>
          <p:spPr bwMode="gray">
            <a:xfrm>
              <a:off x="4963" y="604"/>
              <a:ext cx="34" cy="43"/>
            </a:xfrm>
            <a:custGeom>
              <a:avLst/>
              <a:gdLst>
                <a:gd name="T0" fmla="*/ 0 w 607"/>
                <a:gd name="T1" fmla="*/ 0 h 762"/>
                <a:gd name="T2" fmla="*/ 0 w 607"/>
                <a:gd name="T3" fmla="*/ 0 h 762"/>
                <a:gd name="T4" fmla="*/ 0 w 607"/>
                <a:gd name="T5" fmla="*/ 0 h 762"/>
                <a:gd name="T6" fmla="*/ 0 w 607"/>
                <a:gd name="T7" fmla="*/ 0 h 762"/>
                <a:gd name="T8" fmla="*/ 0 w 607"/>
                <a:gd name="T9" fmla="*/ 0 h 762"/>
                <a:gd name="T10" fmla="*/ 0 w 607"/>
                <a:gd name="T11" fmla="*/ 0 h 762"/>
                <a:gd name="T12" fmla="*/ 0 w 607"/>
                <a:gd name="T13" fmla="*/ 0 h 762"/>
                <a:gd name="T14" fmla="*/ 0 w 607"/>
                <a:gd name="T15" fmla="*/ 0 h 762"/>
                <a:gd name="T16" fmla="*/ 0 w 607"/>
                <a:gd name="T17" fmla="*/ 0 h 762"/>
                <a:gd name="T18" fmla="*/ 0 w 607"/>
                <a:gd name="T19" fmla="*/ 0 h 762"/>
                <a:gd name="T20" fmla="*/ 0 w 607"/>
                <a:gd name="T21" fmla="*/ 0 h 762"/>
                <a:gd name="T22" fmla="*/ 0 w 607"/>
                <a:gd name="T23" fmla="*/ 0 h 762"/>
                <a:gd name="T24" fmla="*/ 0 w 607"/>
                <a:gd name="T25" fmla="*/ 0 h 762"/>
                <a:gd name="T26" fmla="*/ 0 w 607"/>
                <a:gd name="T27" fmla="*/ 0 h 762"/>
                <a:gd name="T28" fmla="*/ 0 w 607"/>
                <a:gd name="T29" fmla="*/ 0 h 762"/>
                <a:gd name="T30" fmla="*/ 0 w 607"/>
                <a:gd name="T31" fmla="*/ 0 h 762"/>
                <a:gd name="T32" fmla="*/ 0 w 607"/>
                <a:gd name="T33" fmla="*/ 0 h 7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16" name="Freeform 58"/>
            <p:cNvSpPr>
              <a:spLocks/>
            </p:cNvSpPr>
            <p:nvPr userDrawn="1"/>
          </p:nvSpPr>
          <p:spPr bwMode="gray">
            <a:xfrm>
              <a:off x="5007" y="604"/>
              <a:ext cx="52" cy="42"/>
            </a:xfrm>
            <a:custGeom>
              <a:avLst/>
              <a:gdLst>
                <a:gd name="T0" fmla="*/ 0 w 933"/>
                <a:gd name="T1" fmla="*/ 0 h 742"/>
                <a:gd name="T2" fmla="*/ 0 w 933"/>
                <a:gd name="T3" fmla="*/ 0 h 742"/>
                <a:gd name="T4" fmla="*/ 0 w 933"/>
                <a:gd name="T5" fmla="*/ 0 h 742"/>
                <a:gd name="T6" fmla="*/ 0 w 933"/>
                <a:gd name="T7" fmla="*/ 0 h 742"/>
                <a:gd name="T8" fmla="*/ 0 w 933"/>
                <a:gd name="T9" fmla="*/ 0 h 742"/>
                <a:gd name="T10" fmla="*/ 0 w 933"/>
                <a:gd name="T11" fmla="*/ 0 h 742"/>
                <a:gd name="T12" fmla="*/ 0 w 933"/>
                <a:gd name="T13" fmla="*/ 0 h 742"/>
                <a:gd name="T14" fmla="*/ 0 w 933"/>
                <a:gd name="T15" fmla="*/ 0 h 742"/>
                <a:gd name="T16" fmla="*/ 0 w 933"/>
                <a:gd name="T17" fmla="*/ 0 h 742"/>
                <a:gd name="T18" fmla="*/ 0 w 933"/>
                <a:gd name="T19" fmla="*/ 0 h 742"/>
                <a:gd name="T20" fmla="*/ 0 w 933"/>
                <a:gd name="T21" fmla="*/ 0 h 742"/>
                <a:gd name="T22" fmla="*/ 0 w 933"/>
                <a:gd name="T23" fmla="*/ 0 h 742"/>
                <a:gd name="T24" fmla="*/ 0 w 933"/>
                <a:gd name="T25" fmla="*/ 0 h 742"/>
                <a:gd name="T26" fmla="*/ 0 w 933"/>
                <a:gd name="T27" fmla="*/ 0 h 742"/>
                <a:gd name="T28" fmla="*/ 0 w 933"/>
                <a:gd name="T29" fmla="*/ 0 h 742"/>
                <a:gd name="T30" fmla="*/ 0 w 933"/>
                <a:gd name="T31" fmla="*/ 0 h 742"/>
                <a:gd name="T32" fmla="*/ 0 w 933"/>
                <a:gd name="T33" fmla="*/ 0 h 742"/>
                <a:gd name="T34" fmla="*/ 0 w 933"/>
                <a:gd name="T35" fmla="*/ 0 h 742"/>
                <a:gd name="T36" fmla="*/ 0 w 933"/>
                <a:gd name="T37" fmla="*/ 0 h 742"/>
                <a:gd name="T38" fmla="*/ 0 w 933"/>
                <a:gd name="T39" fmla="*/ 0 h 742"/>
                <a:gd name="T40" fmla="*/ 0 w 933"/>
                <a:gd name="T41" fmla="*/ 0 h 7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17" name="Freeform 59"/>
            <p:cNvSpPr>
              <a:spLocks noEditPoints="1"/>
            </p:cNvSpPr>
            <p:nvPr userDrawn="1"/>
          </p:nvSpPr>
          <p:spPr bwMode="gray">
            <a:xfrm>
              <a:off x="5069" y="604"/>
              <a:ext cx="34" cy="43"/>
            </a:xfrm>
            <a:custGeom>
              <a:avLst/>
              <a:gdLst>
                <a:gd name="T0" fmla="*/ 0 w 607"/>
                <a:gd name="T1" fmla="*/ 0 h 762"/>
                <a:gd name="T2" fmla="*/ 0 w 607"/>
                <a:gd name="T3" fmla="*/ 0 h 762"/>
                <a:gd name="T4" fmla="*/ 0 w 607"/>
                <a:gd name="T5" fmla="*/ 0 h 762"/>
                <a:gd name="T6" fmla="*/ 0 w 607"/>
                <a:gd name="T7" fmla="*/ 0 h 762"/>
                <a:gd name="T8" fmla="*/ 0 w 607"/>
                <a:gd name="T9" fmla="*/ 0 h 762"/>
                <a:gd name="T10" fmla="*/ 0 w 607"/>
                <a:gd name="T11" fmla="*/ 0 h 762"/>
                <a:gd name="T12" fmla="*/ 0 w 607"/>
                <a:gd name="T13" fmla="*/ 0 h 762"/>
                <a:gd name="T14" fmla="*/ 0 w 607"/>
                <a:gd name="T15" fmla="*/ 0 h 762"/>
                <a:gd name="T16" fmla="*/ 0 w 607"/>
                <a:gd name="T17" fmla="*/ 0 h 762"/>
                <a:gd name="T18" fmla="*/ 0 w 607"/>
                <a:gd name="T19" fmla="*/ 0 h 762"/>
                <a:gd name="T20" fmla="*/ 0 w 607"/>
                <a:gd name="T21" fmla="*/ 0 h 762"/>
                <a:gd name="T22" fmla="*/ 0 w 607"/>
                <a:gd name="T23" fmla="*/ 0 h 762"/>
                <a:gd name="T24" fmla="*/ 0 w 607"/>
                <a:gd name="T25" fmla="*/ 0 h 762"/>
                <a:gd name="T26" fmla="*/ 0 w 607"/>
                <a:gd name="T27" fmla="*/ 0 h 762"/>
                <a:gd name="T28" fmla="*/ 0 w 607"/>
                <a:gd name="T29" fmla="*/ 0 h 762"/>
                <a:gd name="T30" fmla="*/ 0 w 607"/>
                <a:gd name="T31" fmla="*/ 0 h 762"/>
                <a:gd name="T32" fmla="*/ 0 w 607"/>
                <a:gd name="T33" fmla="*/ 0 h 7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18" name="Freeform 60"/>
            <p:cNvSpPr>
              <a:spLocks/>
            </p:cNvSpPr>
            <p:nvPr userDrawn="1"/>
          </p:nvSpPr>
          <p:spPr bwMode="gray">
            <a:xfrm>
              <a:off x="5113" y="604"/>
              <a:ext cx="17" cy="42"/>
            </a:xfrm>
            <a:custGeom>
              <a:avLst/>
              <a:gdLst>
                <a:gd name="T0" fmla="*/ 0 w 312"/>
                <a:gd name="T1" fmla="*/ 0 h 742"/>
                <a:gd name="T2" fmla="*/ 0 w 312"/>
                <a:gd name="T3" fmla="*/ 0 h 742"/>
                <a:gd name="T4" fmla="*/ 0 w 312"/>
                <a:gd name="T5" fmla="*/ 0 h 742"/>
                <a:gd name="T6" fmla="*/ 0 w 312"/>
                <a:gd name="T7" fmla="*/ 0 h 742"/>
                <a:gd name="T8" fmla="*/ 0 w 312"/>
                <a:gd name="T9" fmla="*/ 0 h 742"/>
                <a:gd name="T10" fmla="*/ 0 w 312"/>
                <a:gd name="T11" fmla="*/ 0 h 742"/>
                <a:gd name="T12" fmla="*/ 0 w 312"/>
                <a:gd name="T13" fmla="*/ 0 h 7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19" name="Freeform 61"/>
            <p:cNvSpPr>
              <a:spLocks/>
            </p:cNvSpPr>
            <p:nvPr userDrawn="1"/>
          </p:nvSpPr>
          <p:spPr bwMode="gray">
            <a:xfrm>
              <a:off x="5138" y="604"/>
              <a:ext cx="17" cy="42"/>
            </a:xfrm>
            <a:custGeom>
              <a:avLst/>
              <a:gdLst>
                <a:gd name="T0" fmla="*/ 0 w 312"/>
                <a:gd name="T1" fmla="*/ 0 h 742"/>
                <a:gd name="T2" fmla="*/ 0 w 312"/>
                <a:gd name="T3" fmla="*/ 0 h 742"/>
                <a:gd name="T4" fmla="*/ 0 w 312"/>
                <a:gd name="T5" fmla="*/ 0 h 742"/>
                <a:gd name="T6" fmla="*/ 0 w 312"/>
                <a:gd name="T7" fmla="*/ 0 h 742"/>
                <a:gd name="T8" fmla="*/ 0 w 312"/>
                <a:gd name="T9" fmla="*/ 0 h 742"/>
                <a:gd name="T10" fmla="*/ 0 w 312"/>
                <a:gd name="T11" fmla="*/ 0 h 742"/>
                <a:gd name="T12" fmla="*/ 0 w 312"/>
                <a:gd name="T13" fmla="*/ 0 h 7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20" name="Freeform 62"/>
            <p:cNvSpPr>
              <a:spLocks noEditPoints="1"/>
            </p:cNvSpPr>
            <p:nvPr userDrawn="1"/>
          </p:nvSpPr>
          <p:spPr bwMode="gray">
            <a:xfrm>
              <a:off x="5160" y="604"/>
              <a:ext cx="34" cy="43"/>
            </a:xfrm>
            <a:custGeom>
              <a:avLst/>
              <a:gdLst>
                <a:gd name="T0" fmla="*/ 0 w 607"/>
                <a:gd name="T1" fmla="*/ 0 h 762"/>
                <a:gd name="T2" fmla="*/ 0 w 607"/>
                <a:gd name="T3" fmla="*/ 0 h 762"/>
                <a:gd name="T4" fmla="*/ 0 w 607"/>
                <a:gd name="T5" fmla="*/ 0 h 762"/>
                <a:gd name="T6" fmla="*/ 0 w 607"/>
                <a:gd name="T7" fmla="*/ 0 h 762"/>
                <a:gd name="T8" fmla="*/ 0 w 607"/>
                <a:gd name="T9" fmla="*/ 0 h 762"/>
                <a:gd name="T10" fmla="*/ 0 w 607"/>
                <a:gd name="T11" fmla="*/ 0 h 762"/>
                <a:gd name="T12" fmla="*/ 0 w 607"/>
                <a:gd name="T13" fmla="*/ 0 h 762"/>
                <a:gd name="T14" fmla="*/ 0 w 607"/>
                <a:gd name="T15" fmla="*/ 0 h 762"/>
                <a:gd name="T16" fmla="*/ 0 w 607"/>
                <a:gd name="T17" fmla="*/ 0 h 762"/>
                <a:gd name="T18" fmla="*/ 0 w 607"/>
                <a:gd name="T19" fmla="*/ 0 h 762"/>
                <a:gd name="T20" fmla="*/ 0 w 607"/>
                <a:gd name="T21" fmla="*/ 0 h 762"/>
                <a:gd name="T22" fmla="*/ 0 w 607"/>
                <a:gd name="T23" fmla="*/ 0 h 762"/>
                <a:gd name="T24" fmla="*/ 0 w 607"/>
                <a:gd name="T25" fmla="*/ 0 h 762"/>
                <a:gd name="T26" fmla="*/ 0 w 607"/>
                <a:gd name="T27" fmla="*/ 0 h 762"/>
                <a:gd name="T28" fmla="*/ 0 w 607"/>
                <a:gd name="T29" fmla="*/ 0 h 762"/>
                <a:gd name="T30" fmla="*/ 0 w 607"/>
                <a:gd name="T31" fmla="*/ 0 h 762"/>
                <a:gd name="T32" fmla="*/ 0 w 607"/>
                <a:gd name="T33" fmla="*/ 0 h 7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21" name="Freeform 63"/>
            <p:cNvSpPr>
              <a:spLocks/>
            </p:cNvSpPr>
            <p:nvPr userDrawn="1"/>
          </p:nvSpPr>
          <p:spPr bwMode="gray">
            <a:xfrm>
              <a:off x="5198" y="605"/>
              <a:ext cx="52" cy="41"/>
            </a:xfrm>
            <a:custGeom>
              <a:avLst/>
              <a:gdLst>
                <a:gd name="T0" fmla="*/ 0 w 929"/>
                <a:gd name="T1" fmla="*/ 0 h 722"/>
                <a:gd name="T2" fmla="*/ 0 w 929"/>
                <a:gd name="T3" fmla="*/ 0 h 722"/>
                <a:gd name="T4" fmla="*/ 0 w 929"/>
                <a:gd name="T5" fmla="*/ 0 h 722"/>
                <a:gd name="T6" fmla="*/ 0 w 929"/>
                <a:gd name="T7" fmla="*/ 0 h 722"/>
                <a:gd name="T8" fmla="*/ 0 w 929"/>
                <a:gd name="T9" fmla="*/ 0 h 722"/>
                <a:gd name="T10" fmla="*/ 0 w 929"/>
                <a:gd name="T11" fmla="*/ 0 h 722"/>
                <a:gd name="T12" fmla="*/ 0 w 929"/>
                <a:gd name="T13" fmla="*/ 0 h 722"/>
                <a:gd name="T14" fmla="*/ 0 w 929"/>
                <a:gd name="T15" fmla="*/ 0 h 722"/>
                <a:gd name="T16" fmla="*/ 0 w 929"/>
                <a:gd name="T17" fmla="*/ 0 h 722"/>
                <a:gd name="T18" fmla="*/ 0 w 929"/>
                <a:gd name="T19" fmla="*/ 0 h 722"/>
                <a:gd name="T20" fmla="*/ 0 w 929"/>
                <a:gd name="T21" fmla="*/ 0 h 722"/>
                <a:gd name="T22" fmla="*/ 0 w 929"/>
                <a:gd name="T23" fmla="*/ 0 h 722"/>
                <a:gd name="T24" fmla="*/ 0 w 929"/>
                <a:gd name="T25" fmla="*/ 0 h 722"/>
                <a:gd name="T26" fmla="*/ 0 w 929"/>
                <a:gd name="T27" fmla="*/ 0 h 722"/>
                <a:gd name="T28" fmla="*/ 0 w 929"/>
                <a:gd name="T29" fmla="*/ 0 h 722"/>
                <a:gd name="T30" fmla="*/ 0 w 929"/>
                <a:gd name="T31" fmla="*/ 0 h 7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22" name="Freeform 64"/>
            <p:cNvSpPr>
              <a:spLocks/>
            </p:cNvSpPr>
            <p:nvPr userDrawn="1"/>
          </p:nvSpPr>
          <p:spPr bwMode="gray">
            <a:xfrm>
              <a:off x="5270" y="605"/>
              <a:ext cx="52" cy="41"/>
            </a:xfrm>
            <a:custGeom>
              <a:avLst/>
              <a:gdLst>
                <a:gd name="T0" fmla="*/ 0 w 930"/>
                <a:gd name="T1" fmla="*/ 0 h 722"/>
                <a:gd name="T2" fmla="*/ 0 w 930"/>
                <a:gd name="T3" fmla="*/ 0 h 722"/>
                <a:gd name="T4" fmla="*/ 0 w 930"/>
                <a:gd name="T5" fmla="*/ 0 h 722"/>
                <a:gd name="T6" fmla="*/ 0 w 930"/>
                <a:gd name="T7" fmla="*/ 0 h 722"/>
                <a:gd name="T8" fmla="*/ 0 w 930"/>
                <a:gd name="T9" fmla="*/ 0 h 722"/>
                <a:gd name="T10" fmla="*/ 0 w 930"/>
                <a:gd name="T11" fmla="*/ 0 h 722"/>
                <a:gd name="T12" fmla="*/ 0 w 930"/>
                <a:gd name="T13" fmla="*/ 0 h 722"/>
                <a:gd name="T14" fmla="*/ 0 w 930"/>
                <a:gd name="T15" fmla="*/ 0 h 722"/>
                <a:gd name="T16" fmla="*/ 0 w 930"/>
                <a:gd name="T17" fmla="*/ 0 h 722"/>
                <a:gd name="T18" fmla="*/ 0 w 930"/>
                <a:gd name="T19" fmla="*/ 0 h 722"/>
                <a:gd name="T20" fmla="*/ 0 w 930"/>
                <a:gd name="T21" fmla="*/ 0 h 722"/>
                <a:gd name="T22" fmla="*/ 0 w 930"/>
                <a:gd name="T23" fmla="*/ 0 h 722"/>
                <a:gd name="T24" fmla="*/ 0 w 930"/>
                <a:gd name="T25" fmla="*/ 0 h 722"/>
                <a:gd name="T26" fmla="*/ 0 w 930"/>
                <a:gd name="T27" fmla="*/ 0 h 722"/>
                <a:gd name="T28" fmla="*/ 0 w 930"/>
                <a:gd name="T29" fmla="*/ 0 h 722"/>
                <a:gd name="T30" fmla="*/ 0 w 930"/>
                <a:gd name="T31" fmla="*/ 0 h 7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23" name="Freeform 65"/>
            <p:cNvSpPr>
              <a:spLocks noEditPoints="1"/>
            </p:cNvSpPr>
            <p:nvPr userDrawn="1"/>
          </p:nvSpPr>
          <p:spPr bwMode="gray">
            <a:xfrm>
              <a:off x="5329" y="591"/>
              <a:ext cx="9" cy="55"/>
            </a:xfrm>
            <a:custGeom>
              <a:avLst/>
              <a:gdLst>
                <a:gd name="T0" fmla="*/ 0 w 151"/>
                <a:gd name="T1" fmla="*/ 0 h 987"/>
                <a:gd name="T2" fmla="*/ 0 w 151"/>
                <a:gd name="T3" fmla="*/ 0 h 987"/>
                <a:gd name="T4" fmla="*/ 0 w 151"/>
                <a:gd name="T5" fmla="*/ 0 h 987"/>
                <a:gd name="T6" fmla="*/ 0 w 151"/>
                <a:gd name="T7" fmla="*/ 0 h 987"/>
                <a:gd name="T8" fmla="*/ 0 w 151"/>
                <a:gd name="T9" fmla="*/ 0 h 987"/>
                <a:gd name="T10" fmla="*/ 0 w 151"/>
                <a:gd name="T11" fmla="*/ 0 h 987"/>
                <a:gd name="T12" fmla="*/ 0 w 151"/>
                <a:gd name="T13" fmla="*/ 0 h 987"/>
                <a:gd name="T14" fmla="*/ 0 w 151"/>
                <a:gd name="T15" fmla="*/ 0 h 987"/>
                <a:gd name="T16" fmla="*/ 0 w 151"/>
                <a:gd name="T17" fmla="*/ 0 h 987"/>
                <a:gd name="T18" fmla="*/ 0 w 151"/>
                <a:gd name="T19" fmla="*/ 0 h 987"/>
                <a:gd name="T20" fmla="*/ 0 w 151"/>
                <a:gd name="T21" fmla="*/ 0 h 987"/>
                <a:gd name="T22" fmla="*/ 0 w 151"/>
                <a:gd name="T23" fmla="*/ 0 h 987"/>
                <a:gd name="T24" fmla="*/ 0 w 151"/>
                <a:gd name="T25" fmla="*/ 0 h 987"/>
                <a:gd name="T26" fmla="*/ 0 w 151"/>
                <a:gd name="T27" fmla="*/ 0 h 98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24" name="Freeform 66"/>
            <p:cNvSpPr>
              <a:spLocks/>
            </p:cNvSpPr>
            <p:nvPr userDrawn="1"/>
          </p:nvSpPr>
          <p:spPr bwMode="gray">
            <a:xfrm>
              <a:off x="5350" y="595"/>
              <a:ext cx="18" cy="51"/>
            </a:xfrm>
            <a:custGeom>
              <a:avLst/>
              <a:gdLst>
                <a:gd name="T0" fmla="*/ 0 w 318"/>
                <a:gd name="T1" fmla="*/ 0 h 917"/>
                <a:gd name="T2" fmla="*/ 0 w 318"/>
                <a:gd name="T3" fmla="*/ 0 h 917"/>
                <a:gd name="T4" fmla="*/ 0 w 318"/>
                <a:gd name="T5" fmla="*/ 0 h 917"/>
                <a:gd name="T6" fmla="*/ 0 w 318"/>
                <a:gd name="T7" fmla="*/ 0 h 917"/>
                <a:gd name="T8" fmla="*/ 0 w 318"/>
                <a:gd name="T9" fmla="*/ 0 h 917"/>
                <a:gd name="T10" fmla="*/ 0 w 318"/>
                <a:gd name="T11" fmla="*/ 0 h 917"/>
                <a:gd name="T12" fmla="*/ 0 w 318"/>
                <a:gd name="T13" fmla="*/ 0 h 917"/>
                <a:gd name="T14" fmla="*/ 0 w 318"/>
                <a:gd name="T15" fmla="*/ 0 h 917"/>
                <a:gd name="T16" fmla="*/ 0 w 318"/>
                <a:gd name="T17" fmla="*/ 0 h 917"/>
                <a:gd name="T18" fmla="*/ 0 w 318"/>
                <a:gd name="T19" fmla="*/ 0 h 917"/>
                <a:gd name="T20" fmla="*/ 0 w 318"/>
                <a:gd name="T21" fmla="*/ 0 h 917"/>
                <a:gd name="T22" fmla="*/ 0 w 318"/>
                <a:gd name="T23" fmla="*/ 0 h 917"/>
                <a:gd name="T24" fmla="*/ 0 w 318"/>
                <a:gd name="T25" fmla="*/ 0 h 917"/>
                <a:gd name="T26" fmla="*/ 0 w 318"/>
                <a:gd name="T27" fmla="*/ 0 h 917"/>
                <a:gd name="T28" fmla="*/ 0 w 318"/>
                <a:gd name="T29" fmla="*/ 0 h 917"/>
                <a:gd name="T30" fmla="*/ 0 w 318"/>
                <a:gd name="T31" fmla="*/ 0 h 917"/>
                <a:gd name="T32" fmla="*/ 0 w 318"/>
                <a:gd name="T33" fmla="*/ 0 h 9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25" name="Freeform 67"/>
            <p:cNvSpPr>
              <a:spLocks/>
            </p:cNvSpPr>
            <p:nvPr userDrawn="1"/>
          </p:nvSpPr>
          <p:spPr bwMode="gray">
            <a:xfrm>
              <a:off x="5376" y="585"/>
              <a:ext cx="31" cy="61"/>
            </a:xfrm>
            <a:custGeom>
              <a:avLst/>
              <a:gdLst>
                <a:gd name="T0" fmla="*/ 0 w 548"/>
                <a:gd name="T1" fmla="*/ 0 h 1087"/>
                <a:gd name="T2" fmla="*/ 0 w 548"/>
                <a:gd name="T3" fmla="*/ 0 h 1087"/>
                <a:gd name="T4" fmla="*/ 0 w 548"/>
                <a:gd name="T5" fmla="*/ 0 h 1087"/>
                <a:gd name="T6" fmla="*/ 0 w 548"/>
                <a:gd name="T7" fmla="*/ 0 h 1087"/>
                <a:gd name="T8" fmla="*/ 0 w 548"/>
                <a:gd name="T9" fmla="*/ 0 h 1087"/>
                <a:gd name="T10" fmla="*/ 0 w 548"/>
                <a:gd name="T11" fmla="*/ 0 h 1087"/>
                <a:gd name="T12" fmla="*/ 0 w 548"/>
                <a:gd name="T13" fmla="*/ 0 h 1087"/>
                <a:gd name="T14" fmla="*/ 0 w 548"/>
                <a:gd name="T15" fmla="*/ 0 h 1087"/>
                <a:gd name="T16" fmla="*/ 0 w 548"/>
                <a:gd name="T17" fmla="*/ 0 h 1087"/>
                <a:gd name="T18" fmla="*/ 0 w 548"/>
                <a:gd name="T19" fmla="*/ 0 h 1087"/>
                <a:gd name="T20" fmla="*/ 0 w 548"/>
                <a:gd name="T21" fmla="*/ 0 h 1087"/>
                <a:gd name="T22" fmla="*/ 0 w 548"/>
                <a:gd name="T23" fmla="*/ 0 h 1087"/>
                <a:gd name="T24" fmla="*/ 0 w 548"/>
                <a:gd name="T25" fmla="*/ 0 h 1087"/>
                <a:gd name="T26" fmla="*/ 0 w 548"/>
                <a:gd name="T27" fmla="*/ 0 h 1087"/>
                <a:gd name="T28" fmla="*/ 0 w 548"/>
                <a:gd name="T29" fmla="*/ 0 h 108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26" name="Freeform 68"/>
            <p:cNvSpPr>
              <a:spLocks/>
            </p:cNvSpPr>
            <p:nvPr userDrawn="1"/>
          </p:nvSpPr>
          <p:spPr bwMode="gray">
            <a:xfrm>
              <a:off x="5432" y="605"/>
              <a:ext cx="34" cy="60"/>
            </a:xfrm>
            <a:custGeom>
              <a:avLst/>
              <a:gdLst>
                <a:gd name="T0" fmla="*/ 15 w 34"/>
                <a:gd name="T1" fmla="*/ 41 h 60"/>
                <a:gd name="T2" fmla="*/ 0 w 34"/>
                <a:gd name="T3" fmla="*/ 0 h 60"/>
                <a:gd name="T4" fmla="*/ 7 w 34"/>
                <a:gd name="T5" fmla="*/ 0 h 60"/>
                <a:gd name="T6" fmla="*/ 18 w 34"/>
                <a:gd name="T7" fmla="*/ 33 h 60"/>
                <a:gd name="T8" fmla="*/ 28 w 34"/>
                <a:gd name="T9" fmla="*/ 0 h 60"/>
                <a:gd name="T10" fmla="*/ 34 w 34"/>
                <a:gd name="T11" fmla="*/ 0 h 60"/>
                <a:gd name="T12" fmla="*/ 14 w 34"/>
                <a:gd name="T13" fmla="*/ 60 h 60"/>
                <a:gd name="T14" fmla="*/ 8 w 34"/>
                <a:gd name="T15" fmla="*/ 60 h 60"/>
                <a:gd name="T16" fmla="*/ 15 w 34"/>
                <a:gd name="T17" fmla="*/ 41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27" name="Freeform 69"/>
            <p:cNvSpPr>
              <a:spLocks noEditPoints="1"/>
            </p:cNvSpPr>
            <p:nvPr userDrawn="1"/>
          </p:nvSpPr>
          <p:spPr bwMode="gray">
            <a:xfrm>
              <a:off x="5470" y="604"/>
              <a:ext cx="34" cy="43"/>
            </a:xfrm>
            <a:custGeom>
              <a:avLst/>
              <a:gdLst>
                <a:gd name="T0" fmla="*/ 0 w 607"/>
                <a:gd name="T1" fmla="*/ 0 h 762"/>
                <a:gd name="T2" fmla="*/ 0 w 607"/>
                <a:gd name="T3" fmla="*/ 0 h 762"/>
                <a:gd name="T4" fmla="*/ 0 w 607"/>
                <a:gd name="T5" fmla="*/ 0 h 762"/>
                <a:gd name="T6" fmla="*/ 0 w 607"/>
                <a:gd name="T7" fmla="*/ 0 h 762"/>
                <a:gd name="T8" fmla="*/ 0 w 607"/>
                <a:gd name="T9" fmla="*/ 0 h 762"/>
                <a:gd name="T10" fmla="*/ 0 w 607"/>
                <a:gd name="T11" fmla="*/ 0 h 762"/>
                <a:gd name="T12" fmla="*/ 0 w 607"/>
                <a:gd name="T13" fmla="*/ 0 h 762"/>
                <a:gd name="T14" fmla="*/ 0 w 607"/>
                <a:gd name="T15" fmla="*/ 0 h 762"/>
                <a:gd name="T16" fmla="*/ 0 w 607"/>
                <a:gd name="T17" fmla="*/ 0 h 762"/>
                <a:gd name="T18" fmla="*/ 0 w 607"/>
                <a:gd name="T19" fmla="*/ 0 h 762"/>
                <a:gd name="T20" fmla="*/ 0 w 607"/>
                <a:gd name="T21" fmla="*/ 0 h 762"/>
                <a:gd name="T22" fmla="*/ 0 w 607"/>
                <a:gd name="T23" fmla="*/ 0 h 762"/>
                <a:gd name="T24" fmla="*/ 0 w 607"/>
                <a:gd name="T25" fmla="*/ 0 h 762"/>
                <a:gd name="T26" fmla="*/ 0 w 607"/>
                <a:gd name="T27" fmla="*/ 0 h 762"/>
                <a:gd name="T28" fmla="*/ 0 w 607"/>
                <a:gd name="T29" fmla="*/ 0 h 762"/>
                <a:gd name="T30" fmla="*/ 0 w 607"/>
                <a:gd name="T31" fmla="*/ 0 h 762"/>
                <a:gd name="T32" fmla="*/ 0 w 607"/>
                <a:gd name="T33" fmla="*/ 0 h 7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28" name="Freeform 70"/>
            <p:cNvSpPr>
              <a:spLocks/>
            </p:cNvSpPr>
            <p:nvPr userDrawn="1"/>
          </p:nvSpPr>
          <p:spPr bwMode="gray">
            <a:xfrm>
              <a:off x="5514" y="605"/>
              <a:ext cx="29" cy="42"/>
            </a:xfrm>
            <a:custGeom>
              <a:avLst/>
              <a:gdLst>
                <a:gd name="T0" fmla="*/ 0 w 527"/>
                <a:gd name="T1" fmla="*/ 0 h 742"/>
                <a:gd name="T2" fmla="*/ 0 w 527"/>
                <a:gd name="T3" fmla="*/ 0 h 742"/>
                <a:gd name="T4" fmla="*/ 0 w 527"/>
                <a:gd name="T5" fmla="*/ 0 h 742"/>
                <a:gd name="T6" fmla="*/ 0 w 527"/>
                <a:gd name="T7" fmla="*/ 0 h 742"/>
                <a:gd name="T8" fmla="*/ 0 w 527"/>
                <a:gd name="T9" fmla="*/ 0 h 742"/>
                <a:gd name="T10" fmla="*/ 0 w 527"/>
                <a:gd name="T11" fmla="*/ 0 h 742"/>
                <a:gd name="T12" fmla="*/ 0 w 527"/>
                <a:gd name="T13" fmla="*/ 0 h 742"/>
                <a:gd name="T14" fmla="*/ 0 w 527"/>
                <a:gd name="T15" fmla="*/ 0 h 742"/>
                <a:gd name="T16" fmla="*/ 0 w 527"/>
                <a:gd name="T17" fmla="*/ 0 h 742"/>
                <a:gd name="T18" fmla="*/ 0 w 527"/>
                <a:gd name="T19" fmla="*/ 0 h 742"/>
                <a:gd name="T20" fmla="*/ 0 w 527"/>
                <a:gd name="T21" fmla="*/ 0 h 742"/>
                <a:gd name="T22" fmla="*/ 0 w 527"/>
                <a:gd name="T23" fmla="*/ 0 h 742"/>
                <a:gd name="T24" fmla="*/ 0 w 527"/>
                <a:gd name="T25" fmla="*/ 0 h 742"/>
                <a:gd name="T26" fmla="*/ 0 w 527"/>
                <a:gd name="T27" fmla="*/ 0 h 742"/>
                <a:gd name="T28" fmla="*/ 0 w 527"/>
                <a:gd name="T29" fmla="*/ 0 h 7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29" name="Freeform 71"/>
            <p:cNvSpPr>
              <a:spLocks/>
            </p:cNvSpPr>
            <p:nvPr userDrawn="1"/>
          </p:nvSpPr>
          <p:spPr bwMode="gray">
            <a:xfrm>
              <a:off x="5115" y="216"/>
              <a:ext cx="132" cy="102"/>
            </a:xfrm>
            <a:custGeom>
              <a:avLst/>
              <a:gdLst>
                <a:gd name="T0" fmla="*/ 0 w 2365"/>
                <a:gd name="T1" fmla="*/ 0 h 1825"/>
                <a:gd name="T2" fmla="*/ 0 w 2365"/>
                <a:gd name="T3" fmla="*/ 0 h 1825"/>
                <a:gd name="T4" fmla="*/ 0 w 2365"/>
                <a:gd name="T5" fmla="*/ 0 h 1825"/>
                <a:gd name="T6" fmla="*/ 0 w 2365"/>
                <a:gd name="T7" fmla="*/ 0 h 1825"/>
                <a:gd name="T8" fmla="*/ 0 w 2365"/>
                <a:gd name="T9" fmla="*/ 0 h 1825"/>
                <a:gd name="T10" fmla="*/ 0 w 2365"/>
                <a:gd name="T11" fmla="*/ 0 h 1825"/>
                <a:gd name="T12" fmla="*/ 0 w 2365"/>
                <a:gd name="T13" fmla="*/ 0 h 1825"/>
                <a:gd name="T14" fmla="*/ 0 w 2365"/>
                <a:gd name="T15" fmla="*/ 0 h 1825"/>
                <a:gd name="T16" fmla="*/ 0 w 2365"/>
                <a:gd name="T17" fmla="*/ 0 h 1825"/>
                <a:gd name="T18" fmla="*/ 0 w 2365"/>
                <a:gd name="T19" fmla="*/ 0 h 1825"/>
                <a:gd name="T20" fmla="*/ 0 w 2365"/>
                <a:gd name="T21" fmla="*/ 0 h 1825"/>
                <a:gd name="T22" fmla="*/ 0 w 2365"/>
                <a:gd name="T23" fmla="*/ 0 h 1825"/>
                <a:gd name="T24" fmla="*/ 0 w 2365"/>
                <a:gd name="T25" fmla="*/ 0 h 1825"/>
                <a:gd name="T26" fmla="*/ 0 w 2365"/>
                <a:gd name="T27" fmla="*/ 0 h 1825"/>
                <a:gd name="T28" fmla="*/ 0 w 2365"/>
                <a:gd name="T29" fmla="*/ 0 h 1825"/>
                <a:gd name="T30" fmla="*/ 0 w 2365"/>
                <a:gd name="T31" fmla="*/ 0 h 1825"/>
                <a:gd name="T32" fmla="*/ 0 w 2365"/>
                <a:gd name="T33" fmla="*/ 0 h 1825"/>
                <a:gd name="T34" fmla="*/ 0 w 2365"/>
                <a:gd name="T35" fmla="*/ 0 h 1825"/>
                <a:gd name="T36" fmla="*/ 0 w 2365"/>
                <a:gd name="T37" fmla="*/ 0 h 1825"/>
                <a:gd name="T38" fmla="*/ 0 w 2365"/>
                <a:gd name="T39" fmla="*/ 0 h 1825"/>
                <a:gd name="T40" fmla="*/ 0 w 2365"/>
                <a:gd name="T41" fmla="*/ 0 h 1825"/>
                <a:gd name="T42" fmla="*/ 0 w 2365"/>
                <a:gd name="T43" fmla="*/ 0 h 18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30" name="Freeform 72"/>
            <p:cNvSpPr>
              <a:spLocks/>
            </p:cNvSpPr>
            <p:nvPr userDrawn="1"/>
          </p:nvSpPr>
          <p:spPr bwMode="gray">
            <a:xfrm>
              <a:off x="4899" y="327"/>
              <a:ext cx="91" cy="148"/>
            </a:xfrm>
            <a:custGeom>
              <a:avLst/>
              <a:gdLst>
                <a:gd name="T0" fmla="*/ 0 w 1624"/>
                <a:gd name="T1" fmla="*/ 0 h 2651"/>
                <a:gd name="T2" fmla="*/ 0 w 1624"/>
                <a:gd name="T3" fmla="*/ 0 h 2651"/>
                <a:gd name="T4" fmla="*/ 0 w 1624"/>
                <a:gd name="T5" fmla="*/ 0 h 2651"/>
                <a:gd name="T6" fmla="*/ 0 w 1624"/>
                <a:gd name="T7" fmla="*/ 0 h 2651"/>
                <a:gd name="T8" fmla="*/ 0 w 1624"/>
                <a:gd name="T9" fmla="*/ 0 h 2651"/>
                <a:gd name="T10" fmla="*/ 0 w 1624"/>
                <a:gd name="T11" fmla="*/ 0 h 2651"/>
                <a:gd name="T12" fmla="*/ 0 w 1624"/>
                <a:gd name="T13" fmla="*/ 0 h 2651"/>
                <a:gd name="T14" fmla="*/ 0 w 1624"/>
                <a:gd name="T15" fmla="*/ 0 h 2651"/>
                <a:gd name="T16" fmla="*/ 0 w 1624"/>
                <a:gd name="T17" fmla="*/ 0 h 2651"/>
                <a:gd name="T18" fmla="*/ 0 w 1624"/>
                <a:gd name="T19" fmla="*/ 0 h 2651"/>
                <a:gd name="T20" fmla="*/ 0 w 1624"/>
                <a:gd name="T21" fmla="*/ 0 h 2651"/>
                <a:gd name="T22" fmla="*/ 0 w 1624"/>
                <a:gd name="T23" fmla="*/ 0 h 2651"/>
                <a:gd name="T24" fmla="*/ 0 w 1624"/>
                <a:gd name="T25" fmla="*/ 0 h 2651"/>
                <a:gd name="T26" fmla="*/ 0 w 1624"/>
                <a:gd name="T27" fmla="*/ 0 h 2651"/>
                <a:gd name="T28" fmla="*/ 0 w 1624"/>
                <a:gd name="T29" fmla="*/ 0 h 2651"/>
                <a:gd name="T30" fmla="*/ 0 w 1624"/>
                <a:gd name="T31" fmla="*/ 0 h 26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31" name="Freeform 73"/>
            <p:cNvSpPr>
              <a:spLocks/>
            </p:cNvSpPr>
            <p:nvPr userDrawn="1"/>
          </p:nvSpPr>
          <p:spPr bwMode="gray">
            <a:xfrm>
              <a:off x="5114" y="327"/>
              <a:ext cx="60" cy="207"/>
            </a:xfrm>
            <a:custGeom>
              <a:avLst/>
              <a:gdLst>
                <a:gd name="T0" fmla="*/ 0 w 1072"/>
                <a:gd name="T1" fmla="*/ 0 h 3696"/>
                <a:gd name="T2" fmla="*/ 0 w 1072"/>
                <a:gd name="T3" fmla="*/ 0 h 3696"/>
                <a:gd name="T4" fmla="*/ 0 w 1072"/>
                <a:gd name="T5" fmla="*/ 0 h 3696"/>
                <a:gd name="T6" fmla="*/ 0 w 1072"/>
                <a:gd name="T7" fmla="*/ 0 h 3696"/>
                <a:gd name="T8" fmla="*/ 0 w 1072"/>
                <a:gd name="T9" fmla="*/ 0 h 3696"/>
                <a:gd name="T10" fmla="*/ 0 w 1072"/>
                <a:gd name="T11" fmla="*/ 0 h 3696"/>
                <a:gd name="T12" fmla="*/ 0 w 1072"/>
                <a:gd name="T13" fmla="*/ 0 h 3696"/>
                <a:gd name="T14" fmla="*/ 0 w 1072"/>
                <a:gd name="T15" fmla="*/ 0 h 369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32" name="Freeform 74"/>
            <p:cNvSpPr>
              <a:spLocks/>
            </p:cNvSpPr>
            <p:nvPr userDrawn="1"/>
          </p:nvSpPr>
          <p:spPr bwMode="gray">
            <a:xfrm>
              <a:off x="5180" y="327"/>
              <a:ext cx="47" cy="148"/>
            </a:xfrm>
            <a:custGeom>
              <a:avLst/>
              <a:gdLst>
                <a:gd name="T0" fmla="*/ 0 w 828"/>
                <a:gd name="T1" fmla="*/ 0 h 2653"/>
                <a:gd name="T2" fmla="*/ 0 w 828"/>
                <a:gd name="T3" fmla="*/ 0 h 2653"/>
                <a:gd name="T4" fmla="*/ 0 w 828"/>
                <a:gd name="T5" fmla="*/ 0 h 2653"/>
                <a:gd name="T6" fmla="*/ 0 w 828"/>
                <a:gd name="T7" fmla="*/ 0 h 2653"/>
                <a:gd name="T8" fmla="*/ 0 w 828"/>
                <a:gd name="T9" fmla="*/ 0 h 2653"/>
                <a:gd name="T10" fmla="*/ 0 w 828"/>
                <a:gd name="T11" fmla="*/ 0 h 2653"/>
                <a:gd name="T12" fmla="*/ 0 w 828"/>
                <a:gd name="T13" fmla="*/ 0 h 2653"/>
                <a:gd name="T14" fmla="*/ 0 w 828"/>
                <a:gd name="T15" fmla="*/ 0 h 2653"/>
                <a:gd name="T16" fmla="*/ 0 w 828"/>
                <a:gd name="T17" fmla="*/ 0 h 26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33" name="Freeform 75"/>
            <p:cNvSpPr>
              <a:spLocks/>
            </p:cNvSpPr>
            <p:nvPr userDrawn="1"/>
          </p:nvSpPr>
          <p:spPr bwMode="gray">
            <a:xfrm>
              <a:off x="5227" y="327"/>
              <a:ext cx="111" cy="148"/>
            </a:xfrm>
            <a:custGeom>
              <a:avLst/>
              <a:gdLst>
                <a:gd name="T0" fmla="*/ 0 w 1984"/>
                <a:gd name="T1" fmla="*/ 0 h 2651"/>
                <a:gd name="T2" fmla="*/ 0 w 1984"/>
                <a:gd name="T3" fmla="*/ 0 h 2651"/>
                <a:gd name="T4" fmla="*/ 0 w 1984"/>
                <a:gd name="T5" fmla="*/ 0 h 2651"/>
                <a:gd name="T6" fmla="*/ 0 w 1984"/>
                <a:gd name="T7" fmla="*/ 0 h 2651"/>
                <a:gd name="T8" fmla="*/ 0 w 1984"/>
                <a:gd name="T9" fmla="*/ 0 h 2651"/>
                <a:gd name="T10" fmla="*/ 0 w 1984"/>
                <a:gd name="T11" fmla="*/ 0 h 2651"/>
                <a:gd name="T12" fmla="*/ 0 w 1984"/>
                <a:gd name="T13" fmla="*/ 0 h 2651"/>
                <a:gd name="T14" fmla="*/ 0 w 1984"/>
                <a:gd name="T15" fmla="*/ 0 h 2651"/>
                <a:gd name="T16" fmla="*/ 0 w 1984"/>
                <a:gd name="T17" fmla="*/ 0 h 2651"/>
                <a:gd name="T18" fmla="*/ 0 w 1984"/>
                <a:gd name="T19" fmla="*/ 0 h 2651"/>
                <a:gd name="T20" fmla="*/ 0 w 1984"/>
                <a:gd name="T21" fmla="*/ 0 h 2651"/>
                <a:gd name="T22" fmla="*/ 0 w 1984"/>
                <a:gd name="T23" fmla="*/ 0 h 2651"/>
                <a:gd name="T24" fmla="*/ 0 w 1984"/>
                <a:gd name="T25" fmla="*/ 0 h 26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34" name="Freeform 76"/>
            <p:cNvSpPr>
              <a:spLocks/>
            </p:cNvSpPr>
            <p:nvPr userDrawn="1"/>
          </p:nvSpPr>
          <p:spPr bwMode="gray">
            <a:xfrm>
              <a:off x="5429" y="327"/>
              <a:ext cx="124" cy="151"/>
            </a:xfrm>
            <a:custGeom>
              <a:avLst/>
              <a:gdLst>
                <a:gd name="T0" fmla="*/ 0 w 2219"/>
                <a:gd name="T1" fmla="*/ 0 h 2693"/>
                <a:gd name="T2" fmla="*/ 0 w 2219"/>
                <a:gd name="T3" fmla="*/ 0 h 2693"/>
                <a:gd name="T4" fmla="*/ 0 w 2219"/>
                <a:gd name="T5" fmla="*/ 0 h 2693"/>
                <a:gd name="T6" fmla="*/ 0 w 2219"/>
                <a:gd name="T7" fmla="*/ 0 h 2693"/>
                <a:gd name="T8" fmla="*/ 0 w 2219"/>
                <a:gd name="T9" fmla="*/ 0 h 2693"/>
                <a:gd name="T10" fmla="*/ 0 w 2219"/>
                <a:gd name="T11" fmla="*/ 0 h 2693"/>
                <a:gd name="T12" fmla="*/ 0 w 2219"/>
                <a:gd name="T13" fmla="*/ 0 h 2693"/>
                <a:gd name="T14" fmla="*/ 0 w 2219"/>
                <a:gd name="T15" fmla="*/ 0 h 2693"/>
                <a:gd name="T16" fmla="*/ 0 w 2219"/>
                <a:gd name="T17" fmla="*/ 0 h 2693"/>
                <a:gd name="T18" fmla="*/ 0 w 2219"/>
                <a:gd name="T19" fmla="*/ 0 h 2693"/>
                <a:gd name="T20" fmla="*/ 0 w 2219"/>
                <a:gd name="T21" fmla="*/ 0 h 2693"/>
                <a:gd name="T22" fmla="*/ 0 w 2219"/>
                <a:gd name="T23" fmla="*/ 0 h 2693"/>
                <a:gd name="T24" fmla="*/ 0 w 2219"/>
                <a:gd name="T25" fmla="*/ 0 h 2693"/>
                <a:gd name="T26" fmla="*/ 0 w 2219"/>
                <a:gd name="T27" fmla="*/ 0 h 2693"/>
                <a:gd name="T28" fmla="*/ 0 w 2219"/>
                <a:gd name="T29" fmla="*/ 0 h 269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35" name="Freeform 77"/>
            <p:cNvSpPr>
              <a:spLocks/>
            </p:cNvSpPr>
            <p:nvPr userDrawn="1"/>
          </p:nvSpPr>
          <p:spPr bwMode="gray">
            <a:xfrm>
              <a:off x="4994" y="327"/>
              <a:ext cx="125" cy="151"/>
            </a:xfrm>
            <a:custGeom>
              <a:avLst/>
              <a:gdLst>
                <a:gd name="T0" fmla="*/ 0 w 2240"/>
                <a:gd name="T1" fmla="*/ 0 h 2700"/>
                <a:gd name="T2" fmla="*/ 0 w 2240"/>
                <a:gd name="T3" fmla="*/ 0 h 2700"/>
                <a:gd name="T4" fmla="*/ 0 w 2240"/>
                <a:gd name="T5" fmla="*/ 0 h 2700"/>
                <a:gd name="T6" fmla="*/ 0 w 2240"/>
                <a:gd name="T7" fmla="*/ 0 h 2700"/>
                <a:gd name="T8" fmla="*/ 0 w 2240"/>
                <a:gd name="T9" fmla="*/ 0 h 2700"/>
                <a:gd name="T10" fmla="*/ 0 w 2240"/>
                <a:gd name="T11" fmla="*/ 0 h 2700"/>
                <a:gd name="T12" fmla="*/ 0 w 2240"/>
                <a:gd name="T13" fmla="*/ 0 h 2700"/>
                <a:gd name="T14" fmla="*/ 0 w 2240"/>
                <a:gd name="T15" fmla="*/ 0 h 2700"/>
                <a:gd name="T16" fmla="*/ 0 w 2240"/>
                <a:gd name="T17" fmla="*/ 0 h 2700"/>
                <a:gd name="T18" fmla="*/ 0 w 2240"/>
                <a:gd name="T19" fmla="*/ 0 h 2700"/>
                <a:gd name="T20" fmla="*/ 0 w 2240"/>
                <a:gd name="T21" fmla="*/ 0 h 2700"/>
                <a:gd name="T22" fmla="*/ 0 w 2240"/>
                <a:gd name="T23" fmla="*/ 0 h 2700"/>
                <a:gd name="T24" fmla="*/ 0 w 2240"/>
                <a:gd name="T25" fmla="*/ 0 h 2700"/>
                <a:gd name="T26" fmla="*/ 0 w 2240"/>
                <a:gd name="T27" fmla="*/ 0 h 2700"/>
                <a:gd name="T28" fmla="*/ 0 w 2240"/>
                <a:gd name="T29" fmla="*/ 0 h 27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sp>
          <p:nvSpPr>
            <p:cNvPr id="36" name="Freeform 78"/>
            <p:cNvSpPr>
              <a:spLocks/>
            </p:cNvSpPr>
            <p:nvPr userDrawn="1"/>
          </p:nvSpPr>
          <p:spPr bwMode="gray">
            <a:xfrm>
              <a:off x="5333" y="324"/>
              <a:ext cx="95" cy="154"/>
            </a:xfrm>
            <a:custGeom>
              <a:avLst/>
              <a:gdLst>
                <a:gd name="T0" fmla="*/ 0 w 1707"/>
                <a:gd name="T1" fmla="*/ 0 h 2755"/>
                <a:gd name="T2" fmla="*/ 0 w 1707"/>
                <a:gd name="T3" fmla="*/ 0 h 2755"/>
                <a:gd name="T4" fmla="*/ 0 w 1707"/>
                <a:gd name="T5" fmla="*/ 0 h 2755"/>
                <a:gd name="T6" fmla="*/ 0 w 1707"/>
                <a:gd name="T7" fmla="*/ 0 h 2755"/>
                <a:gd name="T8" fmla="*/ 0 w 1707"/>
                <a:gd name="T9" fmla="*/ 0 h 2755"/>
                <a:gd name="T10" fmla="*/ 0 w 1707"/>
                <a:gd name="T11" fmla="*/ 0 h 2755"/>
                <a:gd name="T12" fmla="*/ 0 w 1707"/>
                <a:gd name="T13" fmla="*/ 0 h 2755"/>
                <a:gd name="T14" fmla="*/ 0 w 1707"/>
                <a:gd name="T15" fmla="*/ 0 h 2755"/>
                <a:gd name="T16" fmla="*/ 0 w 1707"/>
                <a:gd name="T17" fmla="*/ 0 h 2755"/>
                <a:gd name="T18" fmla="*/ 0 w 1707"/>
                <a:gd name="T19" fmla="*/ 0 h 2755"/>
                <a:gd name="T20" fmla="*/ 0 w 1707"/>
                <a:gd name="T21" fmla="*/ 0 h 2755"/>
                <a:gd name="T22" fmla="*/ 0 w 1707"/>
                <a:gd name="T23" fmla="*/ 0 h 2755"/>
                <a:gd name="T24" fmla="*/ 0 w 1707"/>
                <a:gd name="T25" fmla="*/ 0 h 2755"/>
                <a:gd name="T26" fmla="*/ 0 w 1707"/>
                <a:gd name="T27" fmla="*/ 0 h 27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defTabSz="685800" fontAlgn="ctr">
                <a:spcBef>
                  <a:spcPct val="0"/>
                </a:spcBef>
                <a:spcAft>
                  <a:spcPct val="0"/>
                </a:spcAft>
              </a:pPr>
              <a:endParaRPr kumimoji="1" lang="de-DE" sz="1400">
                <a:solidFill>
                  <a:srgbClr val="000000"/>
                </a:solidFill>
                <a:latin typeface="ＭＳ Ｐゴシック" charset="-128"/>
              </a:endParaRPr>
            </a:p>
          </p:txBody>
        </p:sp>
      </p:grpSp>
      <p:sp>
        <p:nvSpPr>
          <p:cNvPr id="647173" name="Rectangle 5"/>
          <p:cNvSpPr>
            <a:spLocks noGrp="1" noChangeArrowheads="1"/>
          </p:cNvSpPr>
          <p:nvPr>
            <p:ph type="subTitle" idx="1"/>
          </p:nvPr>
        </p:nvSpPr>
        <p:spPr>
          <a:xfrm>
            <a:off x="323851" y="3434953"/>
            <a:ext cx="7920038" cy="1338263"/>
          </a:xfrm>
          <a:prstGeom prst="rect">
            <a:avLst/>
          </a:prstGeom>
        </p:spPr>
        <p:txBody>
          <a:bodyPr lIns="68580" tIns="34290" rIns="68580" bIns="34290"/>
          <a:lstStyle>
            <a:lvl1pPr marL="0" indent="0">
              <a:lnSpc>
                <a:spcPct val="100000"/>
              </a:lnSpc>
              <a:spcBef>
                <a:spcPct val="0"/>
              </a:spcBef>
              <a:spcAft>
                <a:spcPct val="0"/>
              </a:spcAft>
              <a:buFont typeface="Wingdings" pitchFamily="2" charset="2"/>
              <a:buNone/>
              <a:defRPr/>
            </a:lvl1pPr>
          </a:lstStyle>
          <a:p>
            <a:pPr lvl="0"/>
            <a:r>
              <a:rPr lang="en-US" altLang="ja-JP" noProof="0" smtClean="0"/>
              <a:t>Master subtitle</a:t>
            </a:r>
          </a:p>
          <a:p>
            <a:pPr lvl="0"/>
            <a:r>
              <a:rPr lang="en-US" altLang="ja-JP" noProof="0" smtClean="0"/>
              <a:t>Master subtitle</a:t>
            </a:r>
          </a:p>
          <a:p>
            <a:pPr lvl="0"/>
            <a:r>
              <a:rPr lang="en-US" altLang="ja-JP" noProof="0" smtClean="0"/>
              <a:t>Master subtitle</a:t>
            </a:r>
          </a:p>
          <a:p>
            <a:pPr lvl="0"/>
            <a:r>
              <a:rPr lang="en-US" altLang="ja-JP" noProof="0" smtClean="0"/>
              <a:t>Master subtitle</a:t>
            </a:r>
          </a:p>
        </p:txBody>
      </p:sp>
      <p:sp>
        <p:nvSpPr>
          <p:cNvPr id="647174" name="Rectangle 6"/>
          <p:cNvSpPr>
            <a:spLocks noGrp="1" noChangeArrowheads="1"/>
          </p:cNvSpPr>
          <p:nvPr>
            <p:ph type="ctrTitle"/>
          </p:nvPr>
        </p:nvSpPr>
        <p:spPr>
          <a:xfrm>
            <a:off x="323851" y="1303735"/>
            <a:ext cx="7920038" cy="1770459"/>
          </a:xfrm>
          <a:prstGeom prst="rect">
            <a:avLst/>
          </a:prstGeom>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68580" tIns="34290" rIns="68580" bIns="34290" anchor="b"/>
          <a:lstStyle>
            <a:lvl1pPr>
              <a:defRPr sz="3300">
                <a:solidFill>
                  <a:srgbClr val="FFFFFF"/>
                </a:solidFill>
              </a:defRPr>
            </a:lvl1pPr>
          </a:lstStyle>
          <a:p>
            <a:pPr lvl="0"/>
            <a:r>
              <a:rPr lang="en-US" altLang="ja-JP" noProof="0" dirty="0" smtClean="0"/>
              <a:t>Master title</a:t>
            </a:r>
            <a:br>
              <a:rPr lang="en-US" altLang="ja-JP" noProof="0" dirty="0" smtClean="0"/>
            </a:br>
            <a:r>
              <a:rPr lang="en-US" altLang="ja-JP" noProof="0" dirty="0" smtClean="0"/>
              <a:t>Master title</a:t>
            </a:r>
            <a:br>
              <a:rPr lang="en-US" altLang="ja-JP" noProof="0" dirty="0" smtClean="0"/>
            </a:br>
            <a:r>
              <a:rPr lang="en-US" altLang="ja-JP" noProof="0" dirty="0" smtClean="0"/>
              <a:t>Master title</a:t>
            </a:r>
            <a:endParaRPr lang="de-DE" altLang="ja-JP" noProof="0" dirty="0" smtClean="0"/>
          </a:p>
        </p:txBody>
      </p:sp>
      <p:sp>
        <p:nvSpPr>
          <p:cNvPr id="38" name="Rectangle 43"/>
          <p:cNvSpPr>
            <a:spLocks noGrp="1" noChangeArrowheads="1"/>
          </p:cNvSpPr>
          <p:nvPr>
            <p:ph type="ftr" sz="quarter" idx="10"/>
          </p:nvPr>
        </p:nvSpPr>
        <p:spPr/>
        <p:txBody>
          <a:bodyPr lIns="68580" tIns="34290" rIns="68580" bIns="34290"/>
          <a:lstStyle>
            <a:lvl1pPr>
              <a:defRPr/>
            </a:lvl1pPr>
          </a:lstStyle>
          <a:p>
            <a:pPr defTabSz="685800">
              <a:defRPr/>
            </a:pPr>
            <a:r>
              <a:rPr lang="de-DE" altLang="ja-JP" sz="1400" dirty="0" smtClean="0">
                <a:solidFill>
                  <a:srgbClr val="000000"/>
                </a:solidFill>
              </a:rPr>
              <a:t>Copyright 2016 FUJITSU LIMITED</a:t>
            </a:r>
            <a:endParaRPr lang="de-DE" altLang="ja-JP" sz="1400" dirty="0">
              <a:solidFill>
                <a:srgbClr val="000000"/>
              </a:solidFill>
            </a:endParaRPr>
          </a:p>
        </p:txBody>
      </p:sp>
    </p:spTree>
    <p:extLst>
      <p:ext uri="{BB962C8B-B14F-4D97-AF65-F5344CB8AC3E}">
        <p14:creationId xmlns:p14="http://schemas.microsoft.com/office/powerpoint/2010/main" val="2450132241"/>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Inner - Tex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79391" y="627466"/>
            <a:ext cx="8713787" cy="4212431"/>
          </a:xfrm>
          <a:prstGeom prst="rect">
            <a:avLst/>
          </a:prstGeom>
        </p:spPr>
        <p:txBody>
          <a:bodyPr lIns="0" tIns="0" rIns="0" bIns="0"/>
          <a:lstStyle>
            <a:lvl1pPr marL="0" indent="0">
              <a:buNone/>
              <a:defRPr sz="1800">
                <a:latin typeface="Fujitsu Sans" panose="020B0404060202020204" pitchFamily="34" charset="0"/>
              </a:defRPr>
            </a:lvl1pPr>
          </a:lstStyle>
          <a:p>
            <a:pPr lvl="0"/>
            <a:r>
              <a:rPr lang="en-US" dirty="0" smtClean="0"/>
              <a:t>Text here…</a:t>
            </a:r>
            <a:endParaRPr lang="en-GB" dirty="0"/>
          </a:p>
        </p:txBody>
      </p:sp>
      <p:sp>
        <p:nvSpPr>
          <p:cNvPr id="7" name="Title 1"/>
          <p:cNvSpPr>
            <a:spLocks noGrp="1"/>
          </p:cNvSpPr>
          <p:nvPr>
            <p:ph type="title" hasCustomPrompt="1"/>
          </p:nvPr>
        </p:nvSpPr>
        <p:spPr>
          <a:xfrm>
            <a:off x="169865" y="0"/>
            <a:ext cx="7858125" cy="512748"/>
          </a:xfrm>
          <a:prstGeom prst="rect">
            <a:avLst/>
          </a:prstGeom>
        </p:spPr>
        <p:txBody>
          <a:bodyPr lIns="0" tIns="0" rIns="0" bIns="0" anchor="ctr" anchorCtr="0"/>
          <a:lstStyle>
            <a:lvl1pPr algn="l">
              <a:defRPr sz="2400">
                <a:latin typeface="Fujitsu Sans" panose="020B0404060202020204" pitchFamily="34" charset="0"/>
                <a:cs typeface="Arial" pitchFamily="34" charset="0"/>
              </a:defRPr>
            </a:lvl1pPr>
          </a:lstStyle>
          <a:p>
            <a:r>
              <a:rPr lang="en-US" dirty="0" smtClean="0"/>
              <a:t>Click to add title</a:t>
            </a:r>
            <a:endParaRPr lang="en-GB" dirty="0"/>
          </a:p>
        </p:txBody>
      </p:sp>
    </p:spTree>
    <p:extLst>
      <p:ext uri="{BB962C8B-B14F-4D97-AF65-F5344CB8AC3E}">
        <p14:creationId xmlns:p14="http://schemas.microsoft.com/office/powerpoint/2010/main" val="326456494"/>
      </p:ext>
    </p:extLst>
  </p:cSld>
  <p:clrMapOvr>
    <a:masterClrMapping/>
  </p:clrMapOvr>
  <p:transition spd="slow">
    <p:wipe dir="r"/>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End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06040" y="1203598"/>
            <a:ext cx="3931920" cy="2457450"/>
          </a:xfrm>
          <a:prstGeom prst="rect">
            <a:avLst/>
          </a:prstGeom>
        </p:spPr>
      </p:pic>
    </p:spTree>
    <p:extLst>
      <p:ext uri="{BB962C8B-B14F-4D97-AF65-F5344CB8AC3E}">
        <p14:creationId xmlns:p14="http://schemas.microsoft.com/office/powerpoint/2010/main" val="173626734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ubheadline + 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250825" y="1635936"/>
            <a:ext cx="8642350" cy="3167840"/>
          </a:xfrm>
          <a:prstGeom prst="round1Rect">
            <a:avLst>
              <a:gd name="adj" fmla="val 12027"/>
            </a:avLst>
          </a:prstGeom>
          <a:noFill/>
          <a:ln>
            <a:noFill/>
          </a:ln>
        </p:spPr>
        <p:txBody>
          <a:bodyPr/>
          <a:lstStyle/>
          <a:p>
            <a:r>
              <a:rPr lang="de-DE" noProof="0"/>
              <a:t>Bild auf Platzhalter ziehen oder durch Klicken auf Symbol hinzufügen</a:t>
            </a:r>
            <a:endParaRPr lang="en-US" noProof="0"/>
          </a:p>
        </p:txBody>
      </p:sp>
      <p:sp>
        <p:nvSpPr>
          <p:cNvPr id="5"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lIns="68580" tIns="34290" rIns="68580" bIns="34290"/>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250825" y="1058863"/>
            <a:ext cx="8642351" cy="3744912"/>
          </a:xfrm>
          <a:prstGeom prst="round1Rect">
            <a:avLst>
              <a:gd name="adj" fmla="val 10174"/>
            </a:avLst>
          </a:prstGeom>
          <a:noFill/>
          <a:ln>
            <a:noFill/>
          </a:ln>
        </p:spPr>
        <p:txBody>
          <a:bodyPr lIns="68580" tIns="34290" rIns="68580" bIns="34290"/>
          <a:lstStyle/>
          <a:p>
            <a:r>
              <a:rPr lang="de-DE" noProof="0"/>
              <a:t>Bild auf Platzhalter ziehen oder durch Klicken auf Symbol hinzufügen</a:t>
            </a:r>
            <a:endParaRPr lang="en-US" noProof="0"/>
          </a:p>
        </p:txBody>
      </p:sp>
    </p:spTree>
    <p:extLst>
      <p:ext uri="{BB962C8B-B14F-4D97-AF65-F5344CB8AC3E}">
        <p14:creationId xmlns:p14="http://schemas.microsoft.com/office/powerpoint/2010/main" val="2478112751"/>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Only">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lIns="68580" tIns="34290" rIns="68580" bIns="34290"/>
          <a:lstStyle>
            <a:lvl1pPr algn="l">
              <a:defRPr/>
            </a:lvl1pPr>
          </a:lstStyle>
          <a:p>
            <a:r>
              <a:rPr lang="de-DE" noProof="0"/>
              <a:t>Mastertitelformat bearbeiten</a:t>
            </a:r>
            <a:endParaRPr lang="en-US" noProof="0"/>
          </a:p>
        </p:txBody>
      </p:sp>
    </p:spTree>
    <p:extLst>
      <p:ext uri="{BB962C8B-B14F-4D97-AF65-F5344CB8AC3E}">
        <p14:creationId xmlns:p14="http://schemas.microsoft.com/office/powerpoint/2010/main" val="3899444193"/>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lIns="68580" tIns="34290" rIns="68580" bIns="34290"/>
          <a:lstStyle>
            <a:lvl1pPr algn="l">
              <a:defRPr/>
            </a:lvl1pPr>
          </a:lstStyle>
          <a:p>
            <a:r>
              <a:rPr lang="de-DE" noProof="0" dirty="0"/>
              <a:t>Mastertitelformat bearbeiten</a:t>
            </a:r>
            <a:endParaRPr lang="en-US" noProof="0" dirty="0"/>
          </a:p>
        </p:txBody>
      </p:sp>
      <p:sp>
        <p:nvSpPr>
          <p:cNvPr id="10" name="Text Placeholder 9"/>
          <p:cNvSpPr>
            <a:spLocks noGrp="1"/>
          </p:cNvSpPr>
          <p:nvPr>
            <p:ph type="body" sz="quarter" idx="10"/>
          </p:nvPr>
        </p:nvSpPr>
        <p:spPr bwMode="gray">
          <a:xfrm>
            <a:off x="250826" y="987426"/>
            <a:ext cx="8642350" cy="3816350"/>
          </a:xfrm>
        </p:spPr>
        <p:txBody>
          <a:bodyPr lIns="68580" tIns="34290" rIns="68580" bIns="34290"/>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en-US" noProof="0" dirty="0"/>
          </a:p>
        </p:txBody>
      </p:sp>
    </p:spTree>
    <p:extLst>
      <p:ext uri="{BB962C8B-B14F-4D97-AF65-F5344CB8AC3E}">
        <p14:creationId xmlns:p14="http://schemas.microsoft.com/office/powerpoint/2010/main" val="923914981"/>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type="title">
  <p:cSld name="Titelfolie">
    <p:spTree>
      <p:nvGrpSpPr>
        <p:cNvPr id="1" name=""/>
        <p:cNvGrpSpPr/>
        <p:nvPr/>
      </p:nvGrpSpPr>
      <p:grpSpPr>
        <a:xfrm>
          <a:off x="0" y="0"/>
          <a:ext cx="0" cy="0"/>
          <a:chOff x="0" y="0"/>
          <a:chExt cx="0" cy="0"/>
        </a:xfrm>
      </p:grpSpPr>
      <p:sp>
        <p:nvSpPr>
          <p:cNvPr id="4" name="Rectangle 12"/>
          <p:cNvSpPr>
            <a:spLocks noChangeArrowheads="1"/>
          </p:cNvSpPr>
          <p:nvPr/>
        </p:nvSpPr>
        <p:spPr bwMode="auto">
          <a:xfrm>
            <a:off x="0" y="400050"/>
            <a:ext cx="9144000" cy="4000500"/>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80" tIns="34290" rIns="68580" bIns="34290" anchor="ctr"/>
          <a:lstStyle>
            <a:lvl1pPr eaLnBrk="0" hangingPunct="0">
              <a:defRPr sz="2800" b="1">
                <a:solidFill>
                  <a:srgbClr val="144BFF"/>
                </a:solidFill>
                <a:latin typeface="Arial" charset="0"/>
              </a:defRPr>
            </a:lvl1pPr>
            <a:lvl2pPr marL="742950" indent="-285750" eaLnBrk="0" hangingPunct="0">
              <a:defRPr sz="2800" b="1">
                <a:solidFill>
                  <a:srgbClr val="144BFF"/>
                </a:solidFill>
                <a:latin typeface="Arial" charset="0"/>
              </a:defRPr>
            </a:lvl2pPr>
            <a:lvl3pPr marL="1143000" indent="-228600" eaLnBrk="0" hangingPunct="0">
              <a:defRPr sz="2800" b="1">
                <a:solidFill>
                  <a:srgbClr val="144BFF"/>
                </a:solidFill>
                <a:latin typeface="Arial" charset="0"/>
              </a:defRPr>
            </a:lvl3pPr>
            <a:lvl4pPr marL="1600200" indent="-228600" eaLnBrk="0" hangingPunct="0">
              <a:defRPr sz="2800" b="1">
                <a:solidFill>
                  <a:srgbClr val="144BFF"/>
                </a:solidFill>
                <a:latin typeface="Arial" charset="0"/>
              </a:defRPr>
            </a:lvl4pPr>
            <a:lvl5pPr marL="2057400" indent="-228600" eaLnBrk="0" hangingPunct="0">
              <a:defRPr sz="2800" b="1">
                <a:solidFill>
                  <a:srgbClr val="144BFF"/>
                </a:solidFill>
                <a:latin typeface="Arial" charset="0"/>
              </a:defRPr>
            </a:lvl5pPr>
            <a:lvl6pPr marL="25146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6pPr>
            <a:lvl7pPr marL="29718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7pPr>
            <a:lvl8pPr marL="34290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8pPr>
            <a:lvl9pPr marL="38862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9pPr>
          </a:lstStyle>
          <a:p>
            <a:pPr defTabSz="685800" eaLnBrk="1" fontAlgn="base" hangingPunct="1">
              <a:lnSpc>
                <a:spcPct val="120000"/>
              </a:lnSpc>
              <a:spcBef>
                <a:spcPct val="80000"/>
              </a:spcBef>
              <a:spcAft>
                <a:spcPct val="0"/>
              </a:spcAft>
              <a:buClr>
                <a:srgbClr val="E52325"/>
              </a:buClr>
              <a:buFont typeface="Wingdings" pitchFamily="2" charset="2"/>
              <a:buChar char="n"/>
            </a:pPr>
            <a:endParaRPr lang="de-DE" altLang="de-DE" smtClean="0"/>
          </a:p>
        </p:txBody>
      </p:sp>
      <p:sp>
        <p:nvSpPr>
          <p:cNvPr id="5" name="Rectangle 2"/>
          <p:cNvSpPr>
            <a:spLocks noChangeArrowheads="1"/>
          </p:cNvSpPr>
          <p:nvPr/>
        </p:nvSpPr>
        <p:spPr bwMode="auto">
          <a:xfrm>
            <a:off x="0" y="400050"/>
            <a:ext cx="9144000" cy="4000500"/>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80" tIns="34290" rIns="68580" bIns="34290" anchor="ctr"/>
          <a:lstStyle>
            <a:lvl1pPr eaLnBrk="0" hangingPunct="0">
              <a:defRPr sz="2800" b="1">
                <a:solidFill>
                  <a:srgbClr val="144BFF"/>
                </a:solidFill>
                <a:latin typeface="Arial" charset="0"/>
              </a:defRPr>
            </a:lvl1pPr>
            <a:lvl2pPr marL="742950" indent="-285750" eaLnBrk="0" hangingPunct="0">
              <a:defRPr sz="2800" b="1">
                <a:solidFill>
                  <a:srgbClr val="144BFF"/>
                </a:solidFill>
                <a:latin typeface="Arial" charset="0"/>
              </a:defRPr>
            </a:lvl2pPr>
            <a:lvl3pPr marL="1143000" indent="-228600" eaLnBrk="0" hangingPunct="0">
              <a:defRPr sz="2800" b="1">
                <a:solidFill>
                  <a:srgbClr val="144BFF"/>
                </a:solidFill>
                <a:latin typeface="Arial" charset="0"/>
              </a:defRPr>
            </a:lvl3pPr>
            <a:lvl4pPr marL="1600200" indent="-228600" eaLnBrk="0" hangingPunct="0">
              <a:defRPr sz="2800" b="1">
                <a:solidFill>
                  <a:srgbClr val="144BFF"/>
                </a:solidFill>
                <a:latin typeface="Arial" charset="0"/>
              </a:defRPr>
            </a:lvl4pPr>
            <a:lvl5pPr marL="2057400" indent="-228600" eaLnBrk="0" hangingPunct="0">
              <a:defRPr sz="2800" b="1">
                <a:solidFill>
                  <a:srgbClr val="144BFF"/>
                </a:solidFill>
                <a:latin typeface="Arial" charset="0"/>
              </a:defRPr>
            </a:lvl5pPr>
            <a:lvl6pPr marL="25146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6pPr>
            <a:lvl7pPr marL="29718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7pPr>
            <a:lvl8pPr marL="34290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8pPr>
            <a:lvl9pPr marL="38862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9pPr>
          </a:lstStyle>
          <a:p>
            <a:pPr defTabSz="685800" eaLnBrk="1" fontAlgn="base" hangingPunct="1">
              <a:lnSpc>
                <a:spcPct val="120000"/>
              </a:lnSpc>
              <a:spcBef>
                <a:spcPct val="80000"/>
              </a:spcBef>
              <a:spcAft>
                <a:spcPct val="0"/>
              </a:spcAft>
              <a:buClr>
                <a:srgbClr val="E52325"/>
              </a:buClr>
              <a:buFont typeface="Wingdings" pitchFamily="2" charset="2"/>
              <a:buChar char="n"/>
            </a:pPr>
            <a:endParaRPr lang="de-DE" altLang="de-DE" smtClean="0"/>
          </a:p>
        </p:txBody>
      </p:sp>
      <p:sp>
        <p:nvSpPr>
          <p:cNvPr id="6" name="Rectangle 5"/>
          <p:cNvSpPr>
            <a:spLocks noChangeArrowheads="1"/>
          </p:cNvSpPr>
          <p:nvPr/>
        </p:nvSpPr>
        <p:spPr bwMode="auto">
          <a:xfrm>
            <a:off x="0" y="4361261"/>
            <a:ext cx="533400" cy="94059"/>
          </a:xfrm>
          <a:prstGeom prst="rect">
            <a:avLst/>
          </a:prstGeom>
          <a:solidFill>
            <a:srgbClr val="B0E1E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80" tIns="34290" rIns="68580" bIns="34290" anchor="ctr"/>
          <a:lstStyle>
            <a:lvl1pPr eaLnBrk="0" hangingPunct="0">
              <a:defRPr sz="2800" b="1">
                <a:solidFill>
                  <a:srgbClr val="144BFF"/>
                </a:solidFill>
                <a:latin typeface="Arial" charset="0"/>
              </a:defRPr>
            </a:lvl1pPr>
            <a:lvl2pPr marL="742950" indent="-285750" eaLnBrk="0" hangingPunct="0">
              <a:defRPr sz="2800" b="1">
                <a:solidFill>
                  <a:srgbClr val="144BFF"/>
                </a:solidFill>
                <a:latin typeface="Arial" charset="0"/>
              </a:defRPr>
            </a:lvl2pPr>
            <a:lvl3pPr marL="1143000" indent="-228600" eaLnBrk="0" hangingPunct="0">
              <a:defRPr sz="2800" b="1">
                <a:solidFill>
                  <a:srgbClr val="144BFF"/>
                </a:solidFill>
                <a:latin typeface="Arial" charset="0"/>
              </a:defRPr>
            </a:lvl3pPr>
            <a:lvl4pPr marL="1600200" indent="-228600" eaLnBrk="0" hangingPunct="0">
              <a:defRPr sz="2800" b="1">
                <a:solidFill>
                  <a:srgbClr val="144BFF"/>
                </a:solidFill>
                <a:latin typeface="Arial" charset="0"/>
              </a:defRPr>
            </a:lvl4pPr>
            <a:lvl5pPr marL="2057400" indent="-228600" eaLnBrk="0" hangingPunct="0">
              <a:defRPr sz="2800" b="1">
                <a:solidFill>
                  <a:srgbClr val="144BFF"/>
                </a:solidFill>
                <a:latin typeface="Arial" charset="0"/>
              </a:defRPr>
            </a:lvl5pPr>
            <a:lvl6pPr marL="25146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6pPr>
            <a:lvl7pPr marL="29718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7pPr>
            <a:lvl8pPr marL="34290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8pPr>
            <a:lvl9pPr marL="38862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9pPr>
          </a:lstStyle>
          <a:p>
            <a:pPr defTabSz="685800" eaLnBrk="1" fontAlgn="base" hangingPunct="1">
              <a:lnSpc>
                <a:spcPct val="120000"/>
              </a:lnSpc>
              <a:spcBef>
                <a:spcPct val="80000"/>
              </a:spcBef>
              <a:spcAft>
                <a:spcPct val="0"/>
              </a:spcAft>
              <a:buClr>
                <a:srgbClr val="E52325"/>
              </a:buClr>
              <a:buFont typeface="Wingdings" pitchFamily="2" charset="2"/>
              <a:buChar char="n"/>
            </a:pPr>
            <a:endParaRPr lang="de-DE" altLang="de-DE" smtClean="0"/>
          </a:p>
        </p:txBody>
      </p:sp>
      <p:sp>
        <p:nvSpPr>
          <p:cNvPr id="7" name="Rectangle 6"/>
          <p:cNvSpPr>
            <a:spLocks noChangeArrowheads="1"/>
          </p:cNvSpPr>
          <p:nvPr/>
        </p:nvSpPr>
        <p:spPr bwMode="auto">
          <a:xfrm>
            <a:off x="533400" y="4361261"/>
            <a:ext cx="8077200" cy="94059"/>
          </a:xfrm>
          <a:prstGeom prst="rect">
            <a:avLst/>
          </a:prstGeom>
          <a:solidFill>
            <a:srgbClr val="00A8B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80" tIns="34290" rIns="68580" bIns="34290" anchor="ctr"/>
          <a:lstStyle>
            <a:lvl1pPr eaLnBrk="0" hangingPunct="0">
              <a:defRPr sz="2800" b="1">
                <a:solidFill>
                  <a:srgbClr val="144BFF"/>
                </a:solidFill>
                <a:latin typeface="Arial" charset="0"/>
              </a:defRPr>
            </a:lvl1pPr>
            <a:lvl2pPr marL="742950" indent="-285750" eaLnBrk="0" hangingPunct="0">
              <a:defRPr sz="2800" b="1">
                <a:solidFill>
                  <a:srgbClr val="144BFF"/>
                </a:solidFill>
                <a:latin typeface="Arial" charset="0"/>
              </a:defRPr>
            </a:lvl2pPr>
            <a:lvl3pPr marL="1143000" indent="-228600" eaLnBrk="0" hangingPunct="0">
              <a:defRPr sz="2800" b="1">
                <a:solidFill>
                  <a:srgbClr val="144BFF"/>
                </a:solidFill>
                <a:latin typeface="Arial" charset="0"/>
              </a:defRPr>
            </a:lvl3pPr>
            <a:lvl4pPr marL="1600200" indent="-228600" eaLnBrk="0" hangingPunct="0">
              <a:defRPr sz="2800" b="1">
                <a:solidFill>
                  <a:srgbClr val="144BFF"/>
                </a:solidFill>
                <a:latin typeface="Arial" charset="0"/>
              </a:defRPr>
            </a:lvl4pPr>
            <a:lvl5pPr marL="2057400" indent="-228600" eaLnBrk="0" hangingPunct="0">
              <a:defRPr sz="2800" b="1">
                <a:solidFill>
                  <a:srgbClr val="144BFF"/>
                </a:solidFill>
                <a:latin typeface="Arial" charset="0"/>
              </a:defRPr>
            </a:lvl5pPr>
            <a:lvl6pPr marL="25146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6pPr>
            <a:lvl7pPr marL="29718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7pPr>
            <a:lvl8pPr marL="34290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8pPr>
            <a:lvl9pPr marL="38862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9pPr>
          </a:lstStyle>
          <a:p>
            <a:pPr defTabSz="685800" eaLnBrk="1" fontAlgn="base" hangingPunct="1">
              <a:lnSpc>
                <a:spcPct val="120000"/>
              </a:lnSpc>
              <a:spcBef>
                <a:spcPct val="80000"/>
              </a:spcBef>
              <a:spcAft>
                <a:spcPct val="0"/>
              </a:spcAft>
              <a:buClr>
                <a:srgbClr val="E52325"/>
              </a:buClr>
              <a:buFont typeface="Wingdings" pitchFamily="2" charset="2"/>
              <a:buChar char="n"/>
            </a:pPr>
            <a:endParaRPr lang="de-DE" altLang="de-DE" smtClean="0"/>
          </a:p>
        </p:txBody>
      </p:sp>
      <p:sp>
        <p:nvSpPr>
          <p:cNvPr id="8" name="Rectangle 7"/>
          <p:cNvSpPr>
            <a:spLocks noChangeArrowheads="1"/>
          </p:cNvSpPr>
          <p:nvPr/>
        </p:nvSpPr>
        <p:spPr bwMode="auto">
          <a:xfrm>
            <a:off x="0" y="369095"/>
            <a:ext cx="533400" cy="94060"/>
          </a:xfrm>
          <a:prstGeom prst="rect">
            <a:avLst/>
          </a:prstGeom>
          <a:solidFill>
            <a:srgbClr val="F0BAB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80" tIns="34290" rIns="68580" bIns="34290" anchor="ctr"/>
          <a:lstStyle>
            <a:lvl1pPr eaLnBrk="0" hangingPunct="0">
              <a:defRPr sz="2800" b="1">
                <a:solidFill>
                  <a:srgbClr val="144BFF"/>
                </a:solidFill>
                <a:latin typeface="Arial" charset="0"/>
              </a:defRPr>
            </a:lvl1pPr>
            <a:lvl2pPr marL="742950" indent="-285750" eaLnBrk="0" hangingPunct="0">
              <a:defRPr sz="2800" b="1">
                <a:solidFill>
                  <a:srgbClr val="144BFF"/>
                </a:solidFill>
                <a:latin typeface="Arial" charset="0"/>
              </a:defRPr>
            </a:lvl2pPr>
            <a:lvl3pPr marL="1143000" indent="-228600" eaLnBrk="0" hangingPunct="0">
              <a:defRPr sz="2800" b="1">
                <a:solidFill>
                  <a:srgbClr val="144BFF"/>
                </a:solidFill>
                <a:latin typeface="Arial" charset="0"/>
              </a:defRPr>
            </a:lvl3pPr>
            <a:lvl4pPr marL="1600200" indent="-228600" eaLnBrk="0" hangingPunct="0">
              <a:defRPr sz="2800" b="1">
                <a:solidFill>
                  <a:srgbClr val="144BFF"/>
                </a:solidFill>
                <a:latin typeface="Arial" charset="0"/>
              </a:defRPr>
            </a:lvl4pPr>
            <a:lvl5pPr marL="2057400" indent="-228600" eaLnBrk="0" hangingPunct="0">
              <a:defRPr sz="2800" b="1">
                <a:solidFill>
                  <a:srgbClr val="144BFF"/>
                </a:solidFill>
                <a:latin typeface="Arial" charset="0"/>
              </a:defRPr>
            </a:lvl5pPr>
            <a:lvl6pPr marL="25146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6pPr>
            <a:lvl7pPr marL="29718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7pPr>
            <a:lvl8pPr marL="34290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8pPr>
            <a:lvl9pPr marL="38862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9pPr>
          </a:lstStyle>
          <a:p>
            <a:pPr defTabSz="685800" eaLnBrk="1" fontAlgn="base" hangingPunct="1">
              <a:lnSpc>
                <a:spcPct val="120000"/>
              </a:lnSpc>
              <a:spcBef>
                <a:spcPct val="80000"/>
              </a:spcBef>
              <a:spcAft>
                <a:spcPct val="0"/>
              </a:spcAft>
              <a:buClr>
                <a:srgbClr val="E52325"/>
              </a:buClr>
              <a:buFont typeface="Wingdings" pitchFamily="2" charset="2"/>
              <a:buChar char="n"/>
            </a:pPr>
            <a:endParaRPr lang="de-DE" altLang="de-DE" smtClean="0"/>
          </a:p>
        </p:txBody>
      </p:sp>
      <p:sp>
        <p:nvSpPr>
          <p:cNvPr id="9" name="Rectangle 8"/>
          <p:cNvSpPr>
            <a:spLocks noChangeArrowheads="1"/>
          </p:cNvSpPr>
          <p:nvPr/>
        </p:nvSpPr>
        <p:spPr bwMode="auto">
          <a:xfrm>
            <a:off x="533400" y="369095"/>
            <a:ext cx="8077200" cy="94060"/>
          </a:xfrm>
          <a:prstGeom prst="rect">
            <a:avLst/>
          </a:prstGeom>
          <a:solidFill>
            <a:srgbClr val="F51E3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80" tIns="34290" rIns="68580" bIns="34290" anchor="ctr"/>
          <a:lstStyle>
            <a:lvl1pPr eaLnBrk="0" hangingPunct="0">
              <a:defRPr sz="2800" b="1">
                <a:solidFill>
                  <a:srgbClr val="144BFF"/>
                </a:solidFill>
                <a:latin typeface="Arial" charset="0"/>
              </a:defRPr>
            </a:lvl1pPr>
            <a:lvl2pPr marL="742950" indent="-285750" eaLnBrk="0" hangingPunct="0">
              <a:defRPr sz="2800" b="1">
                <a:solidFill>
                  <a:srgbClr val="144BFF"/>
                </a:solidFill>
                <a:latin typeface="Arial" charset="0"/>
              </a:defRPr>
            </a:lvl2pPr>
            <a:lvl3pPr marL="1143000" indent="-228600" eaLnBrk="0" hangingPunct="0">
              <a:defRPr sz="2800" b="1">
                <a:solidFill>
                  <a:srgbClr val="144BFF"/>
                </a:solidFill>
                <a:latin typeface="Arial" charset="0"/>
              </a:defRPr>
            </a:lvl3pPr>
            <a:lvl4pPr marL="1600200" indent="-228600" eaLnBrk="0" hangingPunct="0">
              <a:defRPr sz="2800" b="1">
                <a:solidFill>
                  <a:srgbClr val="144BFF"/>
                </a:solidFill>
                <a:latin typeface="Arial" charset="0"/>
              </a:defRPr>
            </a:lvl4pPr>
            <a:lvl5pPr marL="2057400" indent="-228600" eaLnBrk="0" hangingPunct="0">
              <a:defRPr sz="2800" b="1">
                <a:solidFill>
                  <a:srgbClr val="144BFF"/>
                </a:solidFill>
                <a:latin typeface="Arial" charset="0"/>
              </a:defRPr>
            </a:lvl5pPr>
            <a:lvl6pPr marL="25146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6pPr>
            <a:lvl7pPr marL="29718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7pPr>
            <a:lvl8pPr marL="34290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8pPr>
            <a:lvl9pPr marL="38862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9pPr>
          </a:lstStyle>
          <a:p>
            <a:pPr defTabSz="685800" eaLnBrk="1" fontAlgn="base" hangingPunct="1">
              <a:lnSpc>
                <a:spcPct val="120000"/>
              </a:lnSpc>
              <a:spcBef>
                <a:spcPct val="80000"/>
              </a:spcBef>
              <a:spcAft>
                <a:spcPct val="0"/>
              </a:spcAft>
              <a:buClr>
                <a:srgbClr val="E52325"/>
              </a:buClr>
              <a:buFont typeface="Wingdings" pitchFamily="2" charset="2"/>
              <a:buChar char="n"/>
            </a:pPr>
            <a:endParaRPr lang="de-DE" altLang="de-DE" smtClean="0"/>
          </a:p>
        </p:txBody>
      </p:sp>
      <p:sp>
        <p:nvSpPr>
          <p:cNvPr id="10" name="Rectangle 9"/>
          <p:cNvSpPr>
            <a:spLocks noChangeArrowheads="1"/>
          </p:cNvSpPr>
          <p:nvPr/>
        </p:nvSpPr>
        <p:spPr bwMode="auto">
          <a:xfrm>
            <a:off x="8610600" y="369095"/>
            <a:ext cx="533400" cy="94060"/>
          </a:xfrm>
          <a:prstGeom prst="rect">
            <a:avLst/>
          </a:prstGeom>
          <a:solidFill>
            <a:srgbClr val="F0BAB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80" tIns="34290" rIns="68580" bIns="34290" anchor="ctr"/>
          <a:lstStyle>
            <a:lvl1pPr eaLnBrk="0" hangingPunct="0">
              <a:defRPr sz="2800" b="1">
                <a:solidFill>
                  <a:srgbClr val="144BFF"/>
                </a:solidFill>
                <a:latin typeface="Arial" charset="0"/>
              </a:defRPr>
            </a:lvl1pPr>
            <a:lvl2pPr marL="742950" indent="-285750" eaLnBrk="0" hangingPunct="0">
              <a:defRPr sz="2800" b="1">
                <a:solidFill>
                  <a:srgbClr val="144BFF"/>
                </a:solidFill>
                <a:latin typeface="Arial" charset="0"/>
              </a:defRPr>
            </a:lvl2pPr>
            <a:lvl3pPr marL="1143000" indent="-228600" eaLnBrk="0" hangingPunct="0">
              <a:defRPr sz="2800" b="1">
                <a:solidFill>
                  <a:srgbClr val="144BFF"/>
                </a:solidFill>
                <a:latin typeface="Arial" charset="0"/>
              </a:defRPr>
            </a:lvl3pPr>
            <a:lvl4pPr marL="1600200" indent="-228600" eaLnBrk="0" hangingPunct="0">
              <a:defRPr sz="2800" b="1">
                <a:solidFill>
                  <a:srgbClr val="144BFF"/>
                </a:solidFill>
                <a:latin typeface="Arial" charset="0"/>
              </a:defRPr>
            </a:lvl4pPr>
            <a:lvl5pPr marL="2057400" indent="-228600" eaLnBrk="0" hangingPunct="0">
              <a:defRPr sz="2800" b="1">
                <a:solidFill>
                  <a:srgbClr val="144BFF"/>
                </a:solidFill>
                <a:latin typeface="Arial" charset="0"/>
              </a:defRPr>
            </a:lvl5pPr>
            <a:lvl6pPr marL="25146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6pPr>
            <a:lvl7pPr marL="29718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7pPr>
            <a:lvl8pPr marL="34290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8pPr>
            <a:lvl9pPr marL="38862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9pPr>
          </a:lstStyle>
          <a:p>
            <a:pPr defTabSz="685800" eaLnBrk="1" fontAlgn="base" hangingPunct="1">
              <a:lnSpc>
                <a:spcPct val="120000"/>
              </a:lnSpc>
              <a:spcBef>
                <a:spcPct val="80000"/>
              </a:spcBef>
              <a:spcAft>
                <a:spcPct val="0"/>
              </a:spcAft>
              <a:buClr>
                <a:srgbClr val="E52325"/>
              </a:buClr>
              <a:buFont typeface="Wingdings" pitchFamily="2" charset="2"/>
              <a:buChar char="n"/>
            </a:pPr>
            <a:endParaRPr lang="de-DE" altLang="de-DE" smtClean="0"/>
          </a:p>
        </p:txBody>
      </p:sp>
      <p:sp>
        <p:nvSpPr>
          <p:cNvPr id="11" name="Rectangle 10"/>
          <p:cNvSpPr>
            <a:spLocks noChangeArrowheads="1"/>
          </p:cNvSpPr>
          <p:nvPr/>
        </p:nvSpPr>
        <p:spPr bwMode="auto">
          <a:xfrm>
            <a:off x="8610600" y="4361261"/>
            <a:ext cx="533400" cy="94059"/>
          </a:xfrm>
          <a:prstGeom prst="rect">
            <a:avLst/>
          </a:prstGeom>
          <a:solidFill>
            <a:srgbClr val="B0E1E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80" tIns="34290" rIns="68580" bIns="34290" anchor="ctr"/>
          <a:lstStyle>
            <a:lvl1pPr eaLnBrk="0" hangingPunct="0">
              <a:defRPr sz="2800" b="1">
                <a:solidFill>
                  <a:srgbClr val="144BFF"/>
                </a:solidFill>
                <a:latin typeface="Arial" charset="0"/>
              </a:defRPr>
            </a:lvl1pPr>
            <a:lvl2pPr marL="742950" indent="-285750" eaLnBrk="0" hangingPunct="0">
              <a:defRPr sz="2800" b="1">
                <a:solidFill>
                  <a:srgbClr val="144BFF"/>
                </a:solidFill>
                <a:latin typeface="Arial" charset="0"/>
              </a:defRPr>
            </a:lvl2pPr>
            <a:lvl3pPr marL="1143000" indent="-228600" eaLnBrk="0" hangingPunct="0">
              <a:defRPr sz="2800" b="1">
                <a:solidFill>
                  <a:srgbClr val="144BFF"/>
                </a:solidFill>
                <a:latin typeface="Arial" charset="0"/>
              </a:defRPr>
            </a:lvl3pPr>
            <a:lvl4pPr marL="1600200" indent="-228600" eaLnBrk="0" hangingPunct="0">
              <a:defRPr sz="2800" b="1">
                <a:solidFill>
                  <a:srgbClr val="144BFF"/>
                </a:solidFill>
                <a:latin typeface="Arial" charset="0"/>
              </a:defRPr>
            </a:lvl4pPr>
            <a:lvl5pPr marL="2057400" indent="-228600" eaLnBrk="0" hangingPunct="0">
              <a:defRPr sz="2800" b="1">
                <a:solidFill>
                  <a:srgbClr val="144BFF"/>
                </a:solidFill>
                <a:latin typeface="Arial" charset="0"/>
              </a:defRPr>
            </a:lvl5pPr>
            <a:lvl6pPr marL="25146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6pPr>
            <a:lvl7pPr marL="29718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7pPr>
            <a:lvl8pPr marL="34290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8pPr>
            <a:lvl9pPr marL="38862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9pPr>
          </a:lstStyle>
          <a:p>
            <a:pPr defTabSz="685800" eaLnBrk="1" fontAlgn="base" hangingPunct="1">
              <a:lnSpc>
                <a:spcPct val="120000"/>
              </a:lnSpc>
              <a:spcBef>
                <a:spcPct val="80000"/>
              </a:spcBef>
              <a:spcAft>
                <a:spcPct val="0"/>
              </a:spcAft>
              <a:buClr>
                <a:srgbClr val="E52325"/>
              </a:buClr>
              <a:buFont typeface="Wingdings" pitchFamily="2" charset="2"/>
              <a:buChar char="n"/>
            </a:pPr>
            <a:endParaRPr lang="de-DE" altLang="de-DE" smtClean="0"/>
          </a:p>
        </p:txBody>
      </p:sp>
      <p:sp>
        <p:nvSpPr>
          <p:cNvPr id="12" name="Rectangle 13"/>
          <p:cNvSpPr>
            <a:spLocks noChangeArrowheads="1"/>
          </p:cNvSpPr>
          <p:nvPr/>
        </p:nvSpPr>
        <p:spPr bwMode="auto">
          <a:xfrm>
            <a:off x="0" y="4361261"/>
            <a:ext cx="533400" cy="94059"/>
          </a:xfrm>
          <a:prstGeom prst="rect">
            <a:avLst/>
          </a:prstGeom>
          <a:solidFill>
            <a:srgbClr val="B0E1E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80" tIns="34290" rIns="68580" bIns="34290" anchor="ctr"/>
          <a:lstStyle>
            <a:lvl1pPr eaLnBrk="0" hangingPunct="0">
              <a:defRPr sz="2800" b="1">
                <a:solidFill>
                  <a:srgbClr val="144BFF"/>
                </a:solidFill>
                <a:latin typeface="Arial" charset="0"/>
              </a:defRPr>
            </a:lvl1pPr>
            <a:lvl2pPr marL="742950" indent="-285750" eaLnBrk="0" hangingPunct="0">
              <a:defRPr sz="2800" b="1">
                <a:solidFill>
                  <a:srgbClr val="144BFF"/>
                </a:solidFill>
                <a:latin typeface="Arial" charset="0"/>
              </a:defRPr>
            </a:lvl2pPr>
            <a:lvl3pPr marL="1143000" indent="-228600" eaLnBrk="0" hangingPunct="0">
              <a:defRPr sz="2800" b="1">
                <a:solidFill>
                  <a:srgbClr val="144BFF"/>
                </a:solidFill>
                <a:latin typeface="Arial" charset="0"/>
              </a:defRPr>
            </a:lvl3pPr>
            <a:lvl4pPr marL="1600200" indent="-228600" eaLnBrk="0" hangingPunct="0">
              <a:defRPr sz="2800" b="1">
                <a:solidFill>
                  <a:srgbClr val="144BFF"/>
                </a:solidFill>
                <a:latin typeface="Arial" charset="0"/>
              </a:defRPr>
            </a:lvl4pPr>
            <a:lvl5pPr marL="2057400" indent="-228600" eaLnBrk="0" hangingPunct="0">
              <a:defRPr sz="2800" b="1">
                <a:solidFill>
                  <a:srgbClr val="144BFF"/>
                </a:solidFill>
                <a:latin typeface="Arial" charset="0"/>
              </a:defRPr>
            </a:lvl5pPr>
            <a:lvl6pPr marL="25146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6pPr>
            <a:lvl7pPr marL="29718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7pPr>
            <a:lvl8pPr marL="34290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8pPr>
            <a:lvl9pPr marL="38862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9pPr>
          </a:lstStyle>
          <a:p>
            <a:pPr defTabSz="685800" eaLnBrk="1" fontAlgn="base" hangingPunct="1">
              <a:lnSpc>
                <a:spcPct val="120000"/>
              </a:lnSpc>
              <a:spcBef>
                <a:spcPct val="80000"/>
              </a:spcBef>
              <a:spcAft>
                <a:spcPct val="0"/>
              </a:spcAft>
              <a:buClr>
                <a:srgbClr val="E52325"/>
              </a:buClr>
              <a:buFont typeface="Wingdings" pitchFamily="2" charset="2"/>
              <a:buChar char="n"/>
            </a:pPr>
            <a:endParaRPr lang="de-DE" altLang="de-DE" smtClean="0"/>
          </a:p>
        </p:txBody>
      </p:sp>
      <p:sp>
        <p:nvSpPr>
          <p:cNvPr id="13" name="Rectangle 14"/>
          <p:cNvSpPr>
            <a:spLocks noChangeArrowheads="1"/>
          </p:cNvSpPr>
          <p:nvPr/>
        </p:nvSpPr>
        <p:spPr bwMode="auto">
          <a:xfrm>
            <a:off x="533400" y="4361261"/>
            <a:ext cx="8077200" cy="94059"/>
          </a:xfrm>
          <a:prstGeom prst="rect">
            <a:avLst/>
          </a:prstGeom>
          <a:solidFill>
            <a:srgbClr val="00A8B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80" tIns="34290" rIns="68580" bIns="34290" anchor="ctr"/>
          <a:lstStyle>
            <a:lvl1pPr eaLnBrk="0" hangingPunct="0">
              <a:defRPr sz="2800" b="1">
                <a:solidFill>
                  <a:srgbClr val="144BFF"/>
                </a:solidFill>
                <a:latin typeface="Arial" charset="0"/>
              </a:defRPr>
            </a:lvl1pPr>
            <a:lvl2pPr marL="742950" indent="-285750" eaLnBrk="0" hangingPunct="0">
              <a:defRPr sz="2800" b="1">
                <a:solidFill>
                  <a:srgbClr val="144BFF"/>
                </a:solidFill>
                <a:latin typeface="Arial" charset="0"/>
              </a:defRPr>
            </a:lvl2pPr>
            <a:lvl3pPr marL="1143000" indent="-228600" eaLnBrk="0" hangingPunct="0">
              <a:defRPr sz="2800" b="1">
                <a:solidFill>
                  <a:srgbClr val="144BFF"/>
                </a:solidFill>
                <a:latin typeface="Arial" charset="0"/>
              </a:defRPr>
            </a:lvl3pPr>
            <a:lvl4pPr marL="1600200" indent="-228600" eaLnBrk="0" hangingPunct="0">
              <a:defRPr sz="2800" b="1">
                <a:solidFill>
                  <a:srgbClr val="144BFF"/>
                </a:solidFill>
                <a:latin typeface="Arial" charset="0"/>
              </a:defRPr>
            </a:lvl4pPr>
            <a:lvl5pPr marL="2057400" indent="-228600" eaLnBrk="0" hangingPunct="0">
              <a:defRPr sz="2800" b="1">
                <a:solidFill>
                  <a:srgbClr val="144BFF"/>
                </a:solidFill>
                <a:latin typeface="Arial" charset="0"/>
              </a:defRPr>
            </a:lvl5pPr>
            <a:lvl6pPr marL="25146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6pPr>
            <a:lvl7pPr marL="29718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7pPr>
            <a:lvl8pPr marL="34290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8pPr>
            <a:lvl9pPr marL="38862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9pPr>
          </a:lstStyle>
          <a:p>
            <a:pPr defTabSz="685800" eaLnBrk="1" fontAlgn="base" hangingPunct="1">
              <a:lnSpc>
                <a:spcPct val="120000"/>
              </a:lnSpc>
              <a:spcBef>
                <a:spcPct val="80000"/>
              </a:spcBef>
              <a:spcAft>
                <a:spcPct val="0"/>
              </a:spcAft>
              <a:buClr>
                <a:srgbClr val="E52325"/>
              </a:buClr>
              <a:buFont typeface="Wingdings" pitchFamily="2" charset="2"/>
              <a:buChar char="n"/>
            </a:pPr>
            <a:endParaRPr lang="de-DE" altLang="de-DE" smtClean="0"/>
          </a:p>
        </p:txBody>
      </p:sp>
      <p:sp>
        <p:nvSpPr>
          <p:cNvPr id="14" name="Rectangle 15"/>
          <p:cNvSpPr>
            <a:spLocks noChangeArrowheads="1"/>
          </p:cNvSpPr>
          <p:nvPr/>
        </p:nvSpPr>
        <p:spPr bwMode="auto">
          <a:xfrm>
            <a:off x="0" y="369095"/>
            <a:ext cx="533400" cy="94060"/>
          </a:xfrm>
          <a:prstGeom prst="rect">
            <a:avLst/>
          </a:prstGeom>
          <a:solidFill>
            <a:srgbClr val="F0BAB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80" tIns="34290" rIns="68580" bIns="34290" anchor="ctr"/>
          <a:lstStyle>
            <a:lvl1pPr eaLnBrk="0" hangingPunct="0">
              <a:defRPr sz="2800" b="1">
                <a:solidFill>
                  <a:srgbClr val="144BFF"/>
                </a:solidFill>
                <a:latin typeface="Arial" charset="0"/>
              </a:defRPr>
            </a:lvl1pPr>
            <a:lvl2pPr marL="742950" indent="-285750" eaLnBrk="0" hangingPunct="0">
              <a:defRPr sz="2800" b="1">
                <a:solidFill>
                  <a:srgbClr val="144BFF"/>
                </a:solidFill>
                <a:latin typeface="Arial" charset="0"/>
              </a:defRPr>
            </a:lvl2pPr>
            <a:lvl3pPr marL="1143000" indent="-228600" eaLnBrk="0" hangingPunct="0">
              <a:defRPr sz="2800" b="1">
                <a:solidFill>
                  <a:srgbClr val="144BFF"/>
                </a:solidFill>
                <a:latin typeface="Arial" charset="0"/>
              </a:defRPr>
            </a:lvl3pPr>
            <a:lvl4pPr marL="1600200" indent="-228600" eaLnBrk="0" hangingPunct="0">
              <a:defRPr sz="2800" b="1">
                <a:solidFill>
                  <a:srgbClr val="144BFF"/>
                </a:solidFill>
                <a:latin typeface="Arial" charset="0"/>
              </a:defRPr>
            </a:lvl4pPr>
            <a:lvl5pPr marL="2057400" indent="-228600" eaLnBrk="0" hangingPunct="0">
              <a:defRPr sz="2800" b="1">
                <a:solidFill>
                  <a:srgbClr val="144BFF"/>
                </a:solidFill>
                <a:latin typeface="Arial" charset="0"/>
              </a:defRPr>
            </a:lvl5pPr>
            <a:lvl6pPr marL="25146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6pPr>
            <a:lvl7pPr marL="29718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7pPr>
            <a:lvl8pPr marL="34290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8pPr>
            <a:lvl9pPr marL="38862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9pPr>
          </a:lstStyle>
          <a:p>
            <a:pPr defTabSz="685800" eaLnBrk="1" fontAlgn="base" hangingPunct="1">
              <a:lnSpc>
                <a:spcPct val="120000"/>
              </a:lnSpc>
              <a:spcBef>
                <a:spcPct val="80000"/>
              </a:spcBef>
              <a:spcAft>
                <a:spcPct val="0"/>
              </a:spcAft>
              <a:buClr>
                <a:srgbClr val="E52325"/>
              </a:buClr>
              <a:buFont typeface="Wingdings" pitchFamily="2" charset="2"/>
              <a:buChar char="n"/>
            </a:pPr>
            <a:endParaRPr lang="de-DE" altLang="de-DE" smtClean="0"/>
          </a:p>
        </p:txBody>
      </p:sp>
      <p:sp>
        <p:nvSpPr>
          <p:cNvPr id="15" name="Rectangle 16"/>
          <p:cNvSpPr>
            <a:spLocks noChangeArrowheads="1"/>
          </p:cNvSpPr>
          <p:nvPr/>
        </p:nvSpPr>
        <p:spPr bwMode="auto">
          <a:xfrm>
            <a:off x="533400" y="369095"/>
            <a:ext cx="8077200" cy="94060"/>
          </a:xfrm>
          <a:prstGeom prst="rect">
            <a:avLst/>
          </a:prstGeom>
          <a:solidFill>
            <a:srgbClr val="F51E3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80" tIns="34290" rIns="68580" bIns="34290" anchor="ctr"/>
          <a:lstStyle>
            <a:lvl1pPr eaLnBrk="0" hangingPunct="0">
              <a:defRPr sz="2800" b="1">
                <a:solidFill>
                  <a:srgbClr val="144BFF"/>
                </a:solidFill>
                <a:latin typeface="Arial" charset="0"/>
              </a:defRPr>
            </a:lvl1pPr>
            <a:lvl2pPr marL="742950" indent="-285750" eaLnBrk="0" hangingPunct="0">
              <a:defRPr sz="2800" b="1">
                <a:solidFill>
                  <a:srgbClr val="144BFF"/>
                </a:solidFill>
                <a:latin typeface="Arial" charset="0"/>
              </a:defRPr>
            </a:lvl2pPr>
            <a:lvl3pPr marL="1143000" indent="-228600" eaLnBrk="0" hangingPunct="0">
              <a:defRPr sz="2800" b="1">
                <a:solidFill>
                  <a:srgbClr val="144BFF"/>
                </a:solidFill>
                <a:latin typeface="Arial" charset="0"/>
              </a:defRPr>
            </a:lvl3pPr>
            <a:lvl4pPr marL="1600200" indent="-228600" eaLnBrk="0" hangingPunct="0">
              <a:defRPr sz="2800" b="1">
                <a:solidFill>
                  <a:srgbClr val="144BFF"/>
                </a:solidFill>
                <a:latin typeface="Arial" charset="0"/>
              </a:defRPr>
            </a:lvl4pPr>
            <a:lvl5pPr marL="2057400" indent="-228600" eaLnBrk="0" hangingPunct="0">
              <a:defRPr sz="2800" b="1">
                <a:solidFill>
                  <a:srgbClr val="144BFF"/>
                </a:solidFill>
                <a:latin typeface="Arial" charset="0"/>
              </a:defRPr>
            </a:lvl5pPr>
            <a:lvl6pPr marL="25146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6pPr>
            <a:lvl7pPr marL="29718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7pPr>
            <a:lvl8pPr marL="34290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8pPr>
            <a:lvl9pPr marL="38862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9pPr>
          </a:lstStyle>
          <a:p>
            <a:pPr defTabSz="685800" eaLnBrk="1" fontAlgn="base" hangingPunct="1">
              <a:lnSpc>
                <a:spcPct val="120000"/>
              </a:lnSpc>
              <a:spcBef>
                <a:spcPct val="80000"/>
              </a:spcBef>
              <a:spcAft>
                <a:spcPct val="0"/>
              </a:spcAft>
              <a:buClr>
                <a:srgbClr val="E52325"/>
              </a:buClr>
              <a:buFont typeface="Wingdings" pitchFamily="2" charset="2"/>
              <a:buChar char="n"/>
            </a:pPr>
            <a:endParaRPr lang="de-DE" altLang="de-DE" smtClean="0"/>
          </a:p>
        </p:txBody>
      </p:sp>
      <p:sp>
        <p:nvSpPr>
          <p:cNvPr id="16" name="Rectangle 17"/>
          <p:cNvSpPr>
            <a:spLocks noChangeArrowheads="1"/>
          </p:cNvSpPr>
          <p:nvPr/>
        </p:nvSpPr>
        <p:spPr bwMode="auto">
          <a:xfrm>
            <a:off x="8610600" y="369095"/>
            <a:ext cx="533400" cy="94060"/>
          </a:xfrm>
          <a:prstGeom prst="rect">
            <a:avLst/>
          </a:prstGeom>
          <a:solidFill>
            <a:srgbClr val="F0BAB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80" tIns="34290" rIns="68580" bIns="34290" anchor="ctr"/>
          <a:lstStyle>
            <a:lvl1pPr eaLnBrk="0" hangingPunct="0">
              <a:defRPr sz="2800" b="1">
                <a:solidFill>
                  <a:srgbClr val="144BFF"/>
                </a:solidFill>
                <a:latin typeface="Arial" charset="0"/>
              </a:defRPr>
            </a:lvl1pPr>
            <a:lvl2pPr marL="742950" indent="-285750" eaLnBrk="0" hangingPunct="0">
              <a:defRPr sz="2800" b="1">
                <a:solidFill>
                  <a:srgbClr val="144BFF"/>
                </a:solidFill>
                <a:latin typeface="Arial" charset="0"/>
              </a:defRPr>
            </a:lvl2pPr>
            <a:lvl3pPr marL="1143000" indent="-228600" eaLnBrk="0" hangingPunct="0">
              <a:defRPr sz="2800" b="1">
                <a:solidFill>
                  <a:srgbClr val="144BFF"/>
                </a:solidFill>
                <a:latin typeface="Arial" charset="0"/>
              </a:defRPr>
            </a:lvl3pPr>
            <a:lvl4pPr marL="1600200" indent="-228600" eaLnBrk="0" hangingPunct="0">
              <a:defRPr sz="2800" b="1">
                <a:solidFill>
                  <a:srgbClr val="144BFF"/>
                </a:solidFill>
                <a:latin typeface="Arial" charset="0"/>
              </a:defRPr>
            </a:lvl4pPr>
            <a:lvl5pPr marL="2057400" indent="-228600" eaLnBrk="0" hangingPunct="0">
              <a:defRPr sz="2800" b="1">
                <a:solidFill>
                  <a:srgbClr val="144BFF"/>
                </a:solidFill>
                <a:latin typeface="Arial" charset="0"/>
              </a:defRPr>
            </a:lvl5pPr>
            <a:lvl6pPr marL="25146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6pPr>
            <a:lvl7pPr marL="29718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7pPr>
            <a:lvl8pPr marL="34290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8pPr>
            <a:lvl9pPr marL="38862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9pPr>
          </a:lstStyle>
          <a:p>
            <a:pPr defTabSz="685800" eaLnBrk="1" fontAlgn="base" hangingPunct="1">
              <a:lnSpc>
                <a:spcPct val="120000"/>
              </a:lnSpc>
              <a:spcBef>
                <a:spcPct val="80000"/>
              </a:spcBef>
              <a:spcAft>
                <a:spcPct val="0"/>
              </a:spcAft>
              <a:buClr>
                <a:srgbClr val="E52325"/>
              </a:buClr>
              <a:buFont typeface="Wingdings" pitchFamily="2" charset="2"/>
              <a:buChar char="n"/>
            </a:pPr>
            <a:endParaRPr lang="de-DE" altLang="de-DE" smtClean="0"/>
          </a:p>
        </p:txBody>
      </p:sp>
      <p:sp>
        <p:nvSpPr>
          <p:cNvPr id="17" name="Rectangle 18"/>
          <p:cNvSpPr>
            <a:spLocks noChangeArrowheads="1"/>
          </p:cNvSpPr>
          <p:nvPr/>
        </p:nvSpPr>
        <p:spPr bwMode="auto">
          <a:xfrm>
            <a:off x="8610600" y="4361261"/>
            <a:ext cx="533400" cy="94059"/>
          </a:xfrm>
          <a:prstGeom prst="rect">
            <a:avLst/>
          </a:prstGeom>
          <a:solidFill>
            <a:srgbClr val="B0E1E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8580" tIns="34290" rIns="68580" bIns="34290" anchor="ctr"/>
          <a:lstStyle>
            <a:lvl1pPr eaLnBrk="0" hangingPunct="0">
              <a:defRPr sz="2800" b="1">
                <a:solidFill>
                  <a:srgbClr val="144BFF"/>
                </a:solidFill>
                <a:latin typeface="Arial" charset="0"/>
              </a:defRPr>
            </a:lvl1pPr>
            <a:lvl2pPr marL="742950" indent="-285750" eaLnBrk="0" hangingPunct="0">
              <a:defRPr sz="2800" b="1">
                <a:solidFill>
                  <a:srgbClr val="144BFF"/>
                </a:solidFill>
                <a:latin typeface="Arial" charset="0"/>
              </a:defRPr>
            </a:lvl2pPr>
            <a:lvl3pPr marL="1143000" indent="-228600" eaLnBrk="0" hangingPunct="0">
              <a:defRPr sz="2800" b="1">
                <a:solidFill>
                  <a:srgbClr val="144BFF"/>
                </a:solidFill>
                <a:latin typeface="Arial" charset="0"/>
              </a:defRPr>
            </a:lvl3pPr>
            <a:lvl4pPr marL="1600200" indent="-228600" eaLnBrk="0" hangingPunct="0">
              <a:defRPr sz="2800" b="1">
                <a:solidFill>
                  <a:srgbClr val="144BFF"/>
                </a:solidFill>
                <a:latin typeface="Arial" charset="0"/>
              </a:defRPr>
            </a:lvl4pPr>
            <a:lvl5pPr marL="2057400" indent="-228600" eaLnBrk="0" hangingPunct="0">
              <a:defRPr sz="2800" b="1">
                <a:solidFill>
                  <a:srgbClr val="144BFF"/>
                </a:solidFill>
                <a:latin typeface="Arial" charset="0"/>
              </a:defRPr>
            </a:lvl5pPr>
            <a:lvl6pPr marL="25146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6pPr>
            <a:lvl7pPr marL="29718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7pPr>
            <a:lvl8pPr marL="34290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8pPr>
            <a:lvl9pPr marL="3886200" indent="-228600" eaLnBrk="0" fontAlgn="base" hangingPunct="0">
              <a:lnSpc>
                <a:spcPct val="120000"/>
              </a:lnSpc>
              <a:spcBef>
                <a:spcPct val="80000"/>
              </a:spcBef>
              <a:spcAft>
                <a:spcPct val="0"/>
              </a:spcAft>
              <a:buClr>
                <a:srgbClr val="E52325"/>
              </a:buClr>
              <a:buFont typeface="Wingdings" pitchFamily="2" charset="2"/>
              <a:buChar char="n"/>
              <a:defRPr sz="2800" b="1">
                <a:solidFill>
                  <a:srgbClr val="144BFF"/>
                </a:solidFill>
                <a:latin typeface="Arial" charset="0"/>
              </a:defRPr>
            </a:lvl9pPr>
          </a:lstStyle>
          <a:p>
            <a:pPr defTabSz="685800" eaLnBrk="1" fontAlgn="base" hangingPunct="1">
              <a:lnSpc>
                <a:spcPct val="120000"/>
              </a:lnSpc>
              <a:spcBef>
                <a:spcPct val="80000"/>
              </a:spcBef>
              <a:spcAft>
                <a:spcPct val="0"/>
              </a:spcAft>
              <a:buClr>
                <a:srgbClr val="E52325"/>
              </a:buClr>
              <a:buFont typeface="Wingdings" pitchFamily="2" charset="2"/>
              <a:buChar char="n"/>
            </a:pPr>
            <a:endParaRPr lang="de-DE" altLang="de-DE" smtClean="0"/>
          </a:p>
        </p:txBody>
      </p:sp>
      <p:pic>
        <p:nvPicPr>
          <p:cNvPr id="18" name="Picture 8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19534" y="4569621"/>
            <a:ext cx="1228530" cy="402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7763" name="Rectangle 3"/>
          <p:cNvSpPr>
            <a:spLocks noGrp="1" noChangeArrowheads="1"/>
          </p:cNvSpPr>
          <p:nvPr>
            <p:ph type="subTitle" idx="1"/>
          </p:nvPr>
        </p:nvSpPr>
        <p:spPr>
          <a:xfrm>
            <a:off x="533400" y="4112568"/>
            <a:ext cx="8077200" cy="230832"/>
          </a:xfrm>
        </p:spPr>
        <p:txBody>
          <a:bodyPr lIns="68580" tIns="34290" rIns="68580" bIns="34290" anchor="b">
            <a:spAutoFit/>
          </a:bodyPr>
          <a:lstStyle>
            <a:lvl1pPr marL="0" indent="0" algn="ctr">
              <a:lnSpc>
                <a:spcPts val="1800"/>
              </a:lnSpc>
              <a:spcBef>
                <a:spcPct val="0"/>
              </a:spcBef>
              <a:buFont typeface="Wingdings" pitchFamily="2" charset="2"/>
              <a:buNone/>
              <a:defRPr sz="1600"/>
            </a:lvl1pPr>
          </a:lstStyle>
          <a:p>
            <a:pPr lvl="0"/>
            <a:r>
              <a:rPr lang="de-DE" noProof="0" smtClean="0"/>
              <a:t>Klicken Sie, um das Format des Untertitelmasters zu</a:t>
            </a:r>
          </a:p>
        </p:txBody>
      </p:sp>
      <p:sp>
        <p:nvSpPr>
          <p:cNvPr id="117764" name="Rectangle 4"/>
          <p:cNvSpPr>
            <a:spLocks noGrp="1" noChangeArrowheads="1"/>
          </p:cNvSpPr>
          <p:nvPr>
            <p:ph type="ctrTitle"/>
          </p:nvPr>
        </p:nvSpPr>
        <p:spPr>
          <a:xfrm>
            <a:off x="533400" y="1578246"/>
            <a:ext cx="8077200" cy="1625060"/>
          </a:xfrm>
        </p:spPr>
        <p:txBody>
          <a:bodyPr lIns="68580" tIns="34290" rIns="68580" bIns="34290" anchor="ctr"/>
          <a:lstStyle>
            <a:lvl1pPr algn="ctr">
              <a:lnSpc>
                <a:spcPct val="120000"/>
              </a:lnSpc>
              <a:defRPr sz="4400">
                <a:solidFill>
                  <a:srgbClr val="E52325"/>
                </a:solidFill>
              </a:defRPr>
            </a:lvl1pPr>
          </a:lstStyle>
          <a:p>
            <a:pPr lvl="0"/>
            <a:r>
              <a:rPr lang="de-DE" noProof="0" smtClean="0"/>
              <a:t>Klicken Sie, um das Titelformat zu bearbeiten</a:t>
            </a:r>
          </a:p>
        </p:txBody>
      </p:sp>
    </p:spTree>
    <p:extLst>
      <p:ext uri="{BB962C8B-B14F-4D97-AF65-F5344CB8AC3E}">
        <p14:creationId xmlns:p14="http://schemas.microsoft.com/office/powerpoint/2010/main" val="4029192705"/>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type="txAndClipArt">
  <p:cSld name="Titel, Text und ClipArt">
    <p:spTree>
      <p:nvGrpSpPr>
        <p:cNvPr id="1" name=""/>
        <p:cNvGrpSpPr/>
        <p:nvPr/>
      </p:nvGrpSpPr>
      <p:grpSpPr>
        <a:xfrm>
          <a:off x="0" y="0"/>
          <a:ext cx="0" cy="0"/>
          <a:chOff x="0" y="0"/>
          <a:chExt cx="0" cy="0"/>
        </a:xfrm>
      </p:grpSpPr>
      <p:sp>
        <p:nvSpPr>
          <p:cNvPr id="2" name="Titel 1"/>
          <p:cNvSpPr>
            <a:spLocks noGrp="1"/>
          </p:cNvSpPr>
          <p:nvPr>
            <p:ph type="title"/>
          </p:nvPr>
        </p:nvSpPr>
        <p:spPr>
          <a:xfrm>
            <a:off x="533400" y="514350"/>
            <a:ext cx="8077200" cy="333425"/>
          </a:xfrm>
        </p:spPr>
        <p:txBody>
          <a:bodyPr lIns="68580" tIns="34290" rIns="68580" bIns="34290"/>
          <a:lstStyle/>
          <a:p>
            <a:r>
              <a:rPr lang="de-DE" smtClean="0"/>
              <a:t>Titelmasterformat durch Klicken bearbeiten</a:t>
            </a:r>
            <a:endParaRPr lang="de-DE"/>
          </a:p>
        </p:txBody>
      </p:sp>
      <p:sp>
        <p:nvSpPr>
          <p:cNvPr id="3" name="Textplatzhalter 2"/>
          <p:cNvSpPr>
            <a:spLocks noGrp="1"/>
          </p:cNvSpPr>
          <p:nvPr>
            <p:ph type="body" sz="half" idx="1"/>
          </p:nvPr>
        </p:nvSpPr>
        <p:spPr>
          <a:xfrm>
            <a:off x="533400" y="1028700"/>
            <a:ext cx="3962400" cy="3257550"/>
          </a:xfrm>
        </p:spPr>
        <p:txBody>
          <a:bodyPr lIns="68580" tIns="34290" rIns="68580" bIns="3429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ClipArt-Platzhalter 3"/>
          <p:cNvSpPr>
            <a:spLocks noGrp="1"/>
          </p:cNvSpPr>
          <p:nvPr>
            <p:ph type="clipArt" sz="half" idx="2"/>
          </p:nvPr>
        </p:nvSpPr>
        <p:spPr>
          <a:xfrm>
            <a:off x="4648200" y="1028700"/>
            <a:ext cx="3962400" cy="3257550"/>
          </a:xfrm>
        </p:spPr>
        <p:txBody>
          <a:bodyPr lIns="68580" tIns="34290" rIns="68580" bIns="34290"/>
          <a:lstStyle/>
          <a:p>
            <a:pPr lvl="0"/>
            <a:endParaRPr lang="de-DE" noProof="0" smtClean="0"/>
          </a:p>
        </p:txBody>
      </p:sp>
    </p:spTree>
    <p:extLst>
      <p:ext uri="{BB962C8B-B14F-4D97-AF65-F5344CB8AC3E}">
        <p14:creationId xmlns:p14="http://schemas.microsoft.com/office/powerpoint/2010/main" val="455455633"/>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lIns="68580" tIns="34290" rIns="68580" bIns="34290"/>
          <a:lstStyle>
            <a:lvl1pPr algn="l">
              <a:defRPr/>
            </a:lvl1pPr>
          </a:lstStyle>
          <a:p>
            <a:r>
              <a:rPr lang="de-DE" noProof="0"/>
              <a:t>Mastertitelformat bearbeiten</a:t>
            </a:r>
            <a:endParaRPr lang="en-US" noProof="0"/>
          </a:p>
        </p:txBody>
      </p:sp>
      <p:sp>
        <p:nvSpPr>
          <p:cNvPr id="15" name="Text Placeholder 12"/>
          <p:cNvSpPr>
            <a:spLocks noGrp="1"/>
          </p:cNvSpPr>
          <p:nvPr>
            <p:ph type="body" sz="quarter" idx="15"/>
          </p:nvPr>
        </p:nvSpPr>
        <p:spPr bwMode="gray">
          <a:xfrm>
            <a:off x="250825" y="987425"/>
            <a:ext cx="4177159" cy="3816351"/>
          </a:xfrm>
        </p:spPr>
        <p:txBody>
          <a:bodyPr lIns="68580" tIns="34290" rIns="68580" bIns="34290"/>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12"/>
          <p:cNvSpPr>
            <a:spLocks noGrp="1"/>
          </p:cNvSpPr>
          <p:nvPr>
            <p:ph type="body" sz="quarter" idx="16"/>
          </p:nvPr>
        </p:nvSpPr>
        <p:spPr bwMode="gray">
          <a:xfrm>
            <a:off x="4644010" y="987426"/>
            <a:ext cx="4249166" cy="3816350"/>
          </a:xfrm>
        </p:spPr>
        <p:txBody>
          <a:bodyPr lIns="68580" tIns="34290" rIns="68580" bIns="34290"/>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993909272"/>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Title Master">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398" t="16833" r="-398" b="19311"/>
          <a:stretch/>
        </p:blipFill>
        <p:spPr bwMode="auto">
          <a:xfrm>
            <a:off x="28575" y="0"/>
            <a:ext cx="9170977" cy="36290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VCT_Marker_ID_7" hidden="1"/>
          <p:cNvSpPr/>
          <p:nvPr userDrawn="1">
            <p:custDataLst>
              <p:tags r:id="rId1"/>
            </p:custDataLst>
          </p:nvPr>
        </p:nvSpPr>
        <p:spPr>
          <a:xfrm>
            <a:off x="1270001"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de-DE" dirty="0">
              <a:solidFill>
                <a:srgbClr val="FFFFFF"/>
              </a:solidFill>
            </a:endParaRPr>
          </a:p>
        </p:txBody>
      </p:sp>
      <p:sp>
        <p:nvSpPr>
          <p:cNvPr id="44" name="VCT_Backup_ID_44" hidden="1"/>
          <p:cNvSpPr txBox="1"/>
          <p:nvPr userDrawn="1">
            <p:custDataLst>
              <p:tags r:id="rId2"/>
            </p:custDataLst>
          </p:nvPr>
        </p:nvSpPr>
        <p:spPr bwMode="auto">
          <a:xfrm>
            <a:off x="324003" y="1304101"/>
            <a:ext cx="8496149" cy="1102519"/>
          </a:xfrm>
          <a:prstGeom prst="rect">
            <a:avLst/>
          </a:prstGeom>
          <a:noFill/>
          <a:ln w="0">
            <a:noFill/>
          </a:ln>
        </p:spPr>
        <p:txBody>
          <a:bodyPr vert="horz" wrap="square" lIns="0" tIns="0" rIns="0" bIns="0" rtlCol="0" anchor="b" anchorCtr="0">
            <a:noAutofit/>
          </a:bodyPr>
          <a:lstStyle/>
          <a:p>
            <a:pPr defTabSz="685800">
              <a:spcBef>
                <a:spcPct val="0"/>
              </a:spcBef>
              <a:spcAft>
                <a:spcPct val="0"/>
              </a:spcAft>
              <a:tabLst>
                <a:tab pos="3676558" algn="l"/>
              </a:tabLst>
              <a:defRPr/>
            </a:pPr>
            <a:r>
              <a:rPr lang="en-GB" sz="4400" dirty="0" smtClean="0">
                <a:solidFill>
                  <a:srgbClr val="FFFFFF"/>
                </a:solidFill>
              </a:rPr>
              <a:t>Titelmasterformat durch Klicken </a:t>
            </a:r>
            <a:r>
              <a:rPr lang="en-GB" sz="4400" dirty="0" err="1" smtClean="0">
                <a:solidFill>
                  <a:srgbClr val="FFFFFF"/>
                </a:solidFill>
              </a:rPr>
              <a:t>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4000" y="3434401"/>
            <a:ext cx="8496151" cy="1339199"/>
          </a:xfrm>
          <a:prstGeom prst="rect">
            <a:avLst/>
          </a:prstGeom>
          <a:noFill/>
          <a:ln w="0">
            <a:noFill/>
          </a:ln>
        </p:spPr>
        <p:txBody>
          <a:bodyPr vert="horz" wrap="square" lIns="0" tIns="0" rIns="0" bIns="0" rtlCol="0" anchor="t" anchorCtr="0">
            <a:noAutofit/>
          </a:bodyPr>
          <a:lstStyle/>
          <a:p>
            <a:pPr defTabSz="457189">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1" name="Rechteck 40"/>
          <p:cNvSpPr/>
          <p:nvPr userDrawn="1"/>
        </p:nvSpPr>
        <p:spPr bwMode="gray">
          <a:xfrm>
            <a:off x="4427985" y="4991100"/>
            <a:ext cx="360040" cy="1524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nchorCtr="0"/>
          <a:lstStyle/>
          <a:p>
            <a:pPr algn="ctr" defTabSz="685800"/>
            <a:endParaRPr lang="en-GB" smtClean="0">
              <a:solidFill>
                <a:srgbClr val="000000"/>
              </a:solidFill>
            </a:endParaRPr>
          </a:p>
        </p:txBody>
      </p:sp>
      <p:sp>
        <p:nvSpPr>
          <p:cNvPr id="48" name="Title 47"/>
          <p:cNvSpPr>
            <a:spLocks noGrp="1"/>
          </p:cNvSpPr>
          <p:nvPr>
            <p:ph type="title"/>
          </p:nvPr>
        </p:nvSpPr>
        <p:spPr bwMode="gray">
          <a:xfrm>
            <a:off x="250826" y="2427730"/>
            <a:ext cx="8642356" cy="64809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378" rtl="0" eaLnBrk="1" fontAlgn="base" latinLnBrk="0" hangingPunct="1">
              <a:spcBef>
                <a:spcPct val="0"/>
              </a:spcBef>
              <a:spcAft>
                <a:spcPct val="0"/>
              </a:spcAft>
              <a:buNone/>
              <a:tabLst>
                <a:tab pos="3676558" algn="l"/>
              </a:tabLst>
              <a:defRPr kumimoji="1" lang="en-US" altLang="ja-JP" sz="3200" kern="1200" noProof="0" smtClean="0">
                <a:solidFill>
                  <a:schemeClr val="bg1"/>
                </a:solidFill>
                <a:latin typeface="+mj-lt"/>
                <a:ea typeface="+mj-ea"/>
                <a:cs typeface="+mj-cs"/>
              </a:defRPr>
            </a:lvl1pPr>
          </a:lstStyle>
          <a:p>
            <a:r>
              <a:rPr lang="de-DE" noProof="0" dirty="0" smtClean="0"/>
              <a:t>Titelmasterformat durch Klicken bearbeiten</a:t>
            </a:r>
            <a:endParaRPr lang="en-GB" noProof="0" dirty="0"/>
          </a:p>
        </p:txBody>
      </p:sp>
      <p:sp>
        <p:nvSpPr>
          <p:cNvPr id="59" name="Subtitle 2"/>
          <p:cNvSpPr>
            <a:spLocks noGrp="1"/>
          </p:cNvSpPr>
          <p:nvPr>
            <p:ph type="subTitle" idx="1"/>
          </p:nvPr>
        </p:nvSpPr>
        <p:spPr bwMode="gray">
          <a:xfrm>
            <a:off x="250251" y="2067681"/>
            <a:ext cx="8642926" cy="43206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189" rtl="0" eaLnBrk="1" fontAlgn="base" latinLnBrk="0" hangingPunct="1">
              <a:lnSpc>
                <a:spcPct val="110000"/>
              </a:lnSpc>
              <a:spcBef>
                <a:spcPts val="500"/>
              </a:spcBef>
              <a:spcAft>
                <a:spcPts val="200"/>
              </a:spcAft>
              <a:buClr>
                <a:srgbClr val="A30B1A"/>
              </a:buClr>
              <a:buFont typeface="Wingdings" pitchFamily="2" charset="2"/>
              <a:buNone/>
              <a:defRPr kumimoji="1" lang="en-US" altLang="ja-JP" sz="2000" b="0" kern="1200" noProof="0" dirty="0" smtClean="0">
                <a:solidFill>
                  <a:schemeClr val="bg1"/>
                </a:solidFill>
                <a:latin typeface="+mn-lt"/>
                <a:ea typeface="+mn-ea"/>
                <a:cs typeface="+mn-c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de-DE" noProof="0" smtClean="0"/>
              <a:t>Formatvorlage des Untertitelmasters durch Klicken bearbeiten</a:t>
            </a:r>
            <a:endParaRPr lang="en-GB" noProof="0" dirty="0"/>
          </a:p>
        </p:txBody>
      </p:sp>
      <p:sp>
        <p:nvSpPr>
          <p:cNvPr id="43" name="Eine Ecke des Rechtecks abrunden 42"/>
          <p:cNvSpPr/>
          <p:nvPr userDrawn="1"/>
        </p:nvSpPr>
        <p:spPr>
          <a:xfrm>
            <a:off x="0" y="3235500"/>
            <a:ext cx="9144000" cy="1908000"/>
          </a:xfrm>
          <a:prstGeom prst="round1Rect">
            <a:avLst>
              <a:gd name="adj" fmla="val 2526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nchorCtr="0"/>
          <a:lstStyle/>
          <a:p>
            <a:pPr algn="ctr" defTabSz="685800"/>
            <a:endParaRPr lang="de-DE" dirty="0" smtClean="0">
              <a:solidFill>
                <a:srgbClr val="000000"/>
              </a:solidFill>
            </a:endParaRPr>
          </a:p>
        </p:txBody>
      </p:sp>
      <p:grpSp>
        <p:nvGrpSpPr>
          <p:cNvPr id="50" name="Group 49"/>
          <p:cNvGrpSpPr>
            <a:grpSpLocks noChangeAspect="1"/>
          </p:cNvGrpSpPr>
          <p:nvPr userDrawn="1"/>
        </p:nvGrpSpPr>
        <p:grpSpPr bwMode="gray">
          <a:xfrm>
            <a:off x="7606538" y="114301"/>
            <a:ext cx="1418400" cy="792555"/>
            <a:chOff x="7324408" y="0"/>
            <a:chExt cx="1647825" cy="920750"/>
          </a:xfrm>
        </p:grpSpPr>
        <p:sp>
          <p:nvSpPr>
            <p:cNvPr id="51" name="AutoShape 48"/>
            <p:cNvSpPr>
              <a:spLocks noChangeAspect="1" noChangeArrowheads="1" noTextEdit="1"/>
            </p:cNvSpPr>
            <p:nvPr userDrawn="1"/>
          </p:nvSpPr>
          <p:spPr bwMode="gray">
            <a:xfrm>
              <a:off x="7324408" y="0"/>
              <a:ext cx="1647825" cy="920750"/>
            </a:xfrm>
            <a:prstGeom prst="rect">
              <a:avLst/>
            </a:prstGeom>
            <a:noFill/>
            <a:ln w="9525">
              <a:noFill/>
              <a:miter lim="800000"/>
              <a:headEnd/>
              <a:tailEnd/>
            </a:ln>
          </p:spPr>
          <p:txBody>
            <a:bodyPr/>
            <a:lstStyle/>
            <a:p>
              <a:pPr defTabSz="685800"/>
              <a:endParaRPr lang="en-GB" dirty="0">
                <a:solidFill>
                  <a:srgbClr val="000000"/>
                </a:solidFill>
              </a:endParaRPr>
            </a:p>
          </p:txBody>
        </p:sp>
        <p:sp>
          <p:nvSpPr>
            <p:cNvPr id="52" name="Freeform 49"/>
            <p:cNvSpPr>
              <a:spLocks/>
            </p:cNvSpPr>
            <p:nvPr userDrawn="1"/>
          </p:nvSpPr>
          <p:spPr bwMode="gray">
            <a:xfrm>
              <a:off x="7405371" y="773113"/>
              <a:ext cx="41275" cy="6826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53" name="Freeform 50"/>
            <p:cNvSpPr>
              <a:spLocks/>
            </p:cNvSpPr>
            <p:nvPr userDrawn="1"/>
          </p:nvSpPr>
          <p:spPr bwMode="gray">
            <a:xfrm>
              <a:off x="7462521" y="742950"/>
              <a:ext cx="47625"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54" name="Freeform 51"/>
            <p:cNvSpPr>
              <a:spLocks noEditPoints="1"/>
            </p:cNvSpPr>
            <p:nvPr userDrawn="1"/>
          </p:nvSpPr>
          <p:spPr bwMode="gray">
            <a:xfrm>
              <a:off x="7524433" y="773113"/>
              <a:ext cx="50800" cy="6826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55" name="Freeform 52"/>
            <p:cNvSpPr>
              <a:spLocks noEditPoints="1"/>
            </p:cNvSpPr>
            <p:nvPr userDrawn="1"/>
          </p:nvSpPr>
          <p:spPr bwMode="gray">
            <a:xfrm>
              <a:off x="7594283" y="773113"/>
              <a:ext cx="50800" cy="96838"/>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56" name="Freeform 53"/>
            <p:cNvSpPr>
              <a:spLocks noEditPoints="1"/>
            </p:cNvSpPr>
            <p:nvPr userDrawn="1"/>
          </p:nvSpPr>
          <p:spPr bwMode="gray">
            <a:xfrm>
              <a:off x="7659371" y="752475"/>
              <a:ext cx="14288" cy="87313"/>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57" name="Freeform 54"/>
            <p:cNvSpPr>
              <a:spLocks/>
            </p:cNvSpPr>
            <p:nvPr userDrawn="1"/>
          </p:nvSpPr>
          <p:spPr bwMode="gray">
            <a:xfrm>
              <a:off x="7692708" y="773113"/>
              <a:ext cx="49213" cy="66675"/>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58" name="Freeform 55"/>
            <p:cNvSpPr>
              <a:spLocks noEditPoints="1"/>
            </p:cNvSpPr>
            <p:nvPr userDrawn="1"/>
          </p:nvSpPr>
          <p:spPr bwMode="gray">
            <a:xfrm>
              <a:off x="7756208" y="773113"/>
              <a:ext cx="50800" cy="98425"/>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60" name="Freeform 56"/>
            <p:cNvSpPr>
              <a:spLocks/>
            </p:cNvSpPr>
            <p:nvPr userDrawn="1"/>
          </p:nvSpPr>
          <p:spPr bwMode="gray">
            <a:xfrm>
              <a:off x="7856221"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61" name="Freeform 57"/>
            <p:cNvSpPr>
              <a:spLocks noEditPoints="1"/>
            </p:cNvSpPr>
            <p:nvPr userDrawn="1"/>
          </p:nvSpPr>
          <p:spPr bwMode="gray">
            <a:xfrm>
              <a:off x="7894321"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62" name="Freeform 58"/>
            <p:cNvSpPr>
              <a:spLocks/>
            </p:cNvSpPr>
            <p:nvPr userDrawn="1"/>
          </p:nvSpPr>
          <p:spPr bwMode="gray">
            <a:xfrm>
              <a:off x="7964171" y="773113"/>
              <a:ext cx="82550" cy="66675"/>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63" name="Freeform 62"/>
            <p:cNvSpPr>
              <a:spLocks noEditPoints="1"/>
            </p:cNvSpPr>
            <p:nvPr userDrawn="1"/>
          </p:nvSpPr>
          <p:spPr bwMode="gray">
            <a:xfrm>
              <a:off x="8062596"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64" name="Freeform 63"/>
            <p:cNvSpPr>
              <a:spLocks/>
            </p:cNvSpPr>
            <p:nvPr userDrawn="1"/>
          </p:nvSpPr>
          <p:spPr bwMode="gray">
            <a:xfrm>
              <a:off x="8132446"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65" name="Freeform 64"/>
            <p:cNvSpPr>
              <a:spLocks/>
            </p:cNvSpPr>
            <p:nvPr userDrawn="1"/>
          </p:nvSpPr>
          <p:spPr bwMode="gray">
            <a:xfrm>
              <a:off x="8172133" y="773113"/>
              <a:ext cx="26988" cy="66675"/>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66" name="Freeform 65"/>
            <p:cNvSpPr>
              <a:spLocks noEditPoints="1"/>
            </p:cNvSpPr>
            <p:nvPr userDrawn="1"/>
          </p:nvSpPr>
          <p:spPr bwMode="gray">
            <a:xfrm>
              <a:off x="8207058" y="773113"/>
              <a:ext cx="53975" cy="6826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67" name="Freeform 66"/>
            <p:cNvSpPr>
              <a:spLocks/>
            </p:cNvSpPr>
            <p:nvPr userDrawn="1"/>
          </p:nvSpPr>
          <p:spPr bwMode="gray">
            <a:xfrm>
              <a:off x="8267383" y="774700"/>
              <a:ext cx="82550" cy="65088"/>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68" name="Freeform 67"/>
            <p:cNvSpPr>
              <a:spLocks/>
            </p:cNvSpPr>
            <p:nvPr userDrawn="1"/>
          </p:nvSpPr>
          <p:spPr bwMode="gray">
            <a:xfrm>
              <a:off x="8381683" y="774700"/>
              <a:ext cx="82550" cy="65088"/>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69" name="Freeform 68"/>
            <p:cNvSpPr>
              <a:spLocks noEditPoints="1"/>
            </p:cNvSpPr>
            <p:nvPr userDrawn="1"/>
          </p:nvSpPr>
          <p:spPr bwMode="gray">
            <a:xfrm>
              <a:off x="8475346" y="752475"/>
              <a:ext cx="14288" cy="87313"/>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70" name="Freeform 69"/>
            <p:cNvSpPr>
              <a:spLocks/>
            </p:cNvSpPr>
            <p:nvPr userDrawn="1"/>
          </p:nvSpPr>
          <p:spPr bwMode="gray">
            <a:xfrm>
              <a:off x="8508683" y="758825"/>
              <a:ext cx="28575" cy="80963"/>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71" name="Freeform 70"/>
            <p:cNvSpPr>
              <a:spLocks/>
            </p:cNvSpPr>
            <p:nvPr userDrawn="1"/>
          </p:nvSpPr>
          <p:spPr bwMode="gray">
            <a:xfrm>
              <a:off x="8549958" y="742950"/>
              <a:ext cx="49213" cy="96838"/>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72" name="Freeform 71"/>
            <p:cNvSpPr>
              <a:spLocks/>
            </p:cNvSpPr>
            <p:nvPr userDrawn="1"/>
          </p:nvSpPr>
          <p:spPr bwMode="gray">
            <a:xfrm>
              <a:off x="8638858" y="774700"/>
              <a:ext cx="53975" cy="9525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73" name="Freeform 72"/>
            <p:cNvSpPr>
              <a:spLocks noEditPoints="1"/>
            </p:cNvSpPr>
            <p:nvPr userDrawn="1"/>
          </p:nvSpPr>
          <p:spPr bwMode="gray">
            <a:xfrm>
              <a:off x="8699183" y="773113"/>
              <a:ext cx="53975" cy="6826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74" name="Freeform 73"/>
            <p:cNvSpPr>
              <a:spLocks/>
            </p:cNvSpPr>
            <p:nvPr userDrawn="1"/>
          </p:nvSpPr>
          <p:spPr bwMode="gray">
            <a:xfrm>
              <a:off x="8769033" y="774700"/>
              <a:ext cx="46038" cy="66675"/>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pPr defTabSz="685800"/>
              <a:endParaRPr lang="en-GB" dirty="0">
                <a:solidFill>
                  <a:srgbClr val="000000"/>
                </a:solidFill>
              </a:endParaRPr>
            </a:p>
          </p:txBody>
        </p:sp>
        <p:grpSp>
          <p:nvGrpSpPr>
            <p:cNvPr id="75" name="Group 129"/>
            <p:cNvGrpSpPr/>
            <p:nvPr userDrawn="1"/>
          </p:nvGrpSpPr>
          <p:grpSpPr bwMode="gray">
            <a:xfrm>
              <a:off x="7792721" y="157163"/>
              <a:ext cx="1038225" cy="504825"/>
              <a:chOff x="7792721" y="157163"/>
              <a:chExt cx="1038225" cy="504825"/>
            </a:xfrm>
          </p:grpSpPr>
          <p:sp>
            <p:nvSpPr>
              <p:cNvPr id="76" name="Freeform 71"/>
              <p:cNvSpPr>
                <a:spLocks/>
              </p:cNvSpPr>
              <p:nvPr userDrawn="1"/>
            </p:nvSpPr>
            <p:spPr bwMode="gray">
              <a:xfrm>
                <a:off x="8135621" y="157163"/>
                <a:ext cx="209550" cy="161925"/>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77" name="Freeform 72"/>
              <p:cNvSpPr>
                <a:spLocks/>
              </p:cNvSpPr>
              <p:nvPr userDrawn="1"/>
            </p:nvSpPr>
            <p:spPr bwMode="gray">
              <a:xfrm>
                <a:off x="7792721" y="333375"/>
                <a:ext cx="144463" cy="234950"/>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78" name="Freeform 73"/>
              <p:cNvSpPr>
                <a:spLocks/>
              </p:cNvSpPr>
              <p:nvPr userDrawn="1"/>
            </p:nvSpPr>
            <p:spPr bwMode="gray">
              <a:xfrm>
                <a:off x="8134033" y="333375"/>
                <a:ext cx="95250" cy="328613"/>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79" name="Freeform 74"/>
              <p:cNvSpPr>
                <a:spLocks/>
              </p:cNvSpPr>
              <p:nvPr userDrawn="1"/>
            </p:nvSpPr>
            <p:spPr bwMode="gray">
              <a:xfrm>
                <a:off x="8238808" y="333375"/>
                <a:ext cx="74613" cy="234950"/>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80" name="Freeform 75"/>
              <p:cNvSpPr>
                <a:spLocks/>
              </p:cNvSpPr>
              <p:nvPr userDrawn="1"/>
            </p:nvSpPr>
            <p:spPr bwMode="gray">
              <a:xfrm>
                <a:off x="8313421" y="333375"/>
                <a:ext cx="176213" cy="234950"/>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81" name="Freeform 76"/>
              <p:cNvSpPr>
                <a:spLocks/>
              </p:cNvSpPr>
              <p:nvPr userDrawn="1"/>
            </p:nvSpPr>
            <p:spPr bwMode="gray">
              <a:xfrm>
                <a:off x="8634096" y="333375"/>
                <a:ext cx="196850" cy="239713"/>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82" name="Freeform 77"/>
              <p:cNvSpPr>
                <a:spLocks/>
              </p:cNvSpPr>
              <p:nvPr userDrawn="1"/>
            </p:nvSpPr>
            <p:spPr bwMode="gray">
              <a:xfrm>
                <a:off x="7943533" y="333375"/>
                <a:ext cx="198438" cy="239713"/>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pPr defTabSz="685800"/>
                <a:endParaRPr lang="en-GB" dirty="0">
                  <a:solidFill>
                    <a:srgbClr val="000000"/>
                  </a:solidFill>
                </a:endParaRPr>
              </a:p>
            </p:txBody>
          </p:sp>
          <p:sp>
            <p:nvSpPr>
              <p:cNvPr id="83" name="Freeform 78"/>
              <p:cNvSpPr>
                <a:spLocks/>
              </p:cNvSpPr>
              <p:nvPr userDrawn="1"/>
            </p:nvSpPr>
            <p:spPr bwMode="gray">
              <a:xfrm>
                <a:off x="8481696" y="328613"/>
                <a:ext cx="150813" cy="244475"/>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pPr defTabSz="685800"/>
                <a:endParaRPr lang="en-GB" dirty="0">
                  <a:solidFill>
                    <a:srgbClr val="000000"/>
                  </a:solidFill>
                </a:endParaRPr>
              </a:p>
            </p:txBody>
          </p:sp>
        </p:grpSp>
      </p:grpSp>
    </p:spTree>
    <p:extLst>
      <p:ext uri="{BB962C8B-B14F-4D97-AF65-F5344CB8AC3E}">
        <p14:creationId xmlns:p14="http://schemas.microsoft.com/office/powerpoint/2010/main" val="1104784961"/>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47650"/>
            <a:ext cx="8229600" cy="609600"/>
          </a:xfrm>
        </p:spPr>
        <p:txBody>
          <a:bodyPr lIns="68580" tIns="34290" rIns="68580" bIns="34290"/>
          <a:lstStyle/>
          <a:p>
            <a:r>
              <a:rPr lang="en-US" smtClean="0"/>
              <a:t>Click to edit Master title style</a:t>
            </a:r>
            <a:endParaRPr lang="en-US"/>
          </a:p>
        </p:txBody>
      </p:sp>
      <p:sp>
        <p:nvSpPr>
          <p:cNvPr id="3" name="Content Placeholder 2"/>
          <p:cNvSpPr>
            <a:spLocks noGrp="1"/>
          </p:cNvSpPr>
          <p:nvPr>
            <p:ph idx="1"/>
          </p:nvPr>
        </p:nvSpPr>
        <p:spPr/>
        <p:txBody>
          <a:bodyPr lIns="68580" tIns="34290" rIns="68580" bIns="3429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05800" y="5162552"/>
            <a:ext cx="838200" cy="100013"/>
          </a:xfrm>
          <a:prstGeom prst="rect">
            <a:avLst/>
          </a:prstGeom>
        </p:spPr>
        <p:txBody>
          <a:bodyPr lIns="68580" tIns="34290" rIns="68580" bIns="34290"/>
          <a:lstStyle/>
          <a:p>
            <a:pPr defTabSz="685800"/>
            <a:endParaRPr lang="en-US" sz="1400">
              <a:solidFill>
                <a:srgbClr val="000000"/>
              </a:solidFill>
            </a:endParaRPr>
          </a:p>
        </p:txBody>
      </p:sp>
      <p:sp>
        <p:nvSpPr>
          <p:cNvPr id="5" name="Footer Placeholder 4"/>
          <p:cNvSpPr>
            <a:spLocks noGrp="1"/>
          </p:cNvSpPr>
          <p:nvPr>
            <p:ph type="ftr" sz="quarter" idx="11"/>
          </p:nvPr>
        </p:nvSpPr>
        <p:spPr>
          <a:xfrm>
            <a:off x="5910138" y="4856957"/>
            <a:ext cx="3086100" cy="274637"/>
          </a:xfrm>
          <a:prstGeom prst="rect">
            <a:avLst/>
          </a:prstGeom>
        </p:spPr>
        <p:txBody>
          <a:bodyPr lIns="68580" tIns="34290" rIns="68580" bIns="34290"/>
          <a:lstStyle/>
          <a:p>
            <a:pPr defTabSz="685800"/>
            <a:endParaRPr lang="en-US" sz="1400">
              <a:solidFill>
                <a:srgbClr val="000000"/>
              </a:solidFill>
            </a:endParaRPr>
          </a:p>
        </p:txBody>
      </p:sp>
      <p:sp>
        <p:nvSpPr>
          <p:cNvPr id="6" name="Slide Number Placeholder 5"/>
          <p:cNvSpPr>
            <a:spLocks noGrp="1"/>
          </p:cNvSpPr>
          <p:nvPr>
            <p:ph type="sldNum" sz="quarter" idx="12"/>
          </p:nvPr>
        </p:nvSpPr>
        <p:spPr>
          <a:xfrm>
            <a:off x="8700261" y="4848226"/>
            <a:ext cx="338138" cy="111918"/>
          </a:xfrm>
          <a:prstGeom prst="rect">
            <a:avLst/>
          </a:prstGeom>
        </p:spPr>
        <p:txBody>
          <a:bodyPr lIns="68580" tIns="34290" rIns="68580" bIns="34290"/>
          <a:lstStyle/>
          <a:p>
            <a:pPr defTabSz="685800"/>
            <a:fld id="{6EA6D8CF-3CDE-4807-BCD2-C9F2B831AAA5}" type="slidenum">
              <a:rPr lang="en-US" sz="1400" smtClean="0">
                <a:solidFill>
                  <a:srgbClr val="000000"/>
                </a:solidFill>
              </a:rPr>
              <a:pPr defTabSz="685800"/>
              <a:t>‹#›</a:t>
            </a:fld>
            <a:endParaRPr lang="en-US" sz="1400">
              <a:solidFill>
                <a:srgbClr val="000000"/>
              </a:solidFill>
            </a:endParaRPr>
          </a:p>
        </p:txBody>
      </p:sp>
      <p:sp>
        <p:nvSpPr>
          <p:cNvPr id="8" name="Picture Placeholder 7"/>
          <p:cNvSpPr>
            <a:spLocks noGrp="1"/>
          </p:cNvSpPr>
          <p:nvPr>
            <p:ph type="pic" sz="quarter" idx="13" hasCustomPrompt="1"/>
          </p:nvPr>
        </p:nvSpPr>
        <p:spPr>
          <a:xfrm>
            <a:off x="6948489" y="357187"/>
            <a:ext cx="1727200" cy="486966"/>
          </a:xfrm>
        </p:spPr>
        <p:txBody>
          <a:bodyPr lIns="68580" tIns="34290" rIns="68580" bIns="34290"/>
          <a:lstStyle>
            <a:lvl1pPr>
              <a:defRPr/>
            </a:lvl1pPr>
          </a:lstStyle>
          <a:p>
            <a:r>
              <a:rPr lang="ru-RU" dirty="0" smtClean="0"/>
              <a:t>лдж</a:t>
            </a:r>
            <a:endParaRPr lang="en-US" dirty="0"/>
          </a:p>
        </p:txBody>
      </p:sp>
    </p:spTree>
    <p:extLst>
      <p:ext uri="{BB962C8B-B14F-4D97-AF65-F5344CB8AC3E}">
        <p14:creationId xmlns:p14="http://schemas.microsoft.com/office/powerpoint/2010/main" val="297040400"/>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blank">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lIns="68580" tIns="34290" rIns="68580" bIns="34290" anchor="ctr"/>
          <a:lstStyle/>
          <a:p>
            <a:pPr defTabSz="685800"/>
            <a:endParaRPr lang="en-US">
              <a:solidFill>
                <a:srgbClr val="000000"/>
              </a:solidFill>
            </a:endParaRPr>
          </a:p>
        </p:txBody>
      </p:sp>
      <p:pic>
        <p:nvPicPr>
          <p:cNvPr id="41" name="Picture 2" descr="Fujitsu_Logo"/>
          <p:cNvPicPr>
            <a:picLocks noChangeAspect="1" noChangeArrowheads="1"/>
          </p:cNvPicPr>
          <p:nvPr userDrawn="1"/>
        </p:nvPicPr>
        <p:blipFill>
          <a:blip r:embed="rId2" cstate="print"/>
          <a:srcRect/>
          <a:stretch>
            <a:fillRect/>
          </a:stretch>
        </p:blipFill>
        <p:spPr bwMode="auto">
          <a:xfrm>
            <a:off x="2455511" y="1357200"/>
            <a:ext cx="4202009" cy="2100264"/>
          </a:xfrm>
          <a:prstGeom prst="rect">
            <a:avLst/>
          </a:prstGeom>
          <a:noFill/>
        </p:spPr>
      </p:pic>
    </p:spTree>
    <p:extLst>
      <p:ext uri="{BB962C8B-B14F-4D97-AF65-F5344CB8AC3E}">
        <p14:creationId xmlns:p14="http://schemas.microsoft.com/office/powerpoint/2010/main" val="2938718694"/>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2" name="Bild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762"/>
            <a:ext cx="9144000" cy="5145024"/>
          </a:xfrm>
          <a:prstGeom prst="rect">
            <a:avLst/>
          </a:prstGeom>
        </p:spPr>
      </p:pic>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a:t>
            </a:r>
            <a:r>
              <a:rPr lang="en-GB" sz="4400" dirty="0" err="1" smtClean="0">
                <a:solidFill>
                  <a:srgbClr val="FFFFFF"/>
                </a:solidFill>
              </a:rPr>
              <a:t>durch</a:t>
            </a:r>
            <a:r>
              <a:rPr lang="en-GB" sz="4400" dirty="0" smtClean="0">
                <a:solidFill>
                  <a:srgbClr val="FFFFFF"/>
                </a:solidFill>
              </a:rPr>
              <a:t> </a:t>
            </a:r>
            <a:r>
              <a:rPr lang="en-GB" sz="4400" dirty="0" err="1" smtClean="0">
                <a:solidFill>
                  <a:srgbClr val="FFFFFF"/>
                </a:solidFill>
              </a:rPr>
              <a:t>Klicken</a:t>
            </a:r>
            <a:r>
              <a:rPr lang="en-GB" sz="4400" dirty="0" smtClean="0">
                <a:solidFill>
                  <a:srgbClr val="FFFFFF"/>
                </a:solidFill>
              </a:rPr>
              <a:t> </a:t>
            </a:r>
            <a:r>
              <a:rPr lang="en-GB" sz="4400" dirty="0" err="1" smtClean="0">
                <a:solidFill>
                  <a:srgbClr val="FFFFFF"/>
                </a:solidFill>
              </a:rPr>
              <a:t>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8" name="Title 47"/>
          <p:cNvSpPr>
            <a:spLocks noGrp="1"/>
          </p:cNvSpPr>
          <p:nvPr>
            <p:ph type="title"/>
          </p:nvPr>
        </p:nvSpPr>
        <p:spPr bwMode="gray">
          <a:xfrm>
            <a:off x="611450" y="411450"/>
            <a:ext cx="2664370" cy="1368190"/>
          </a:xfrm>
          <a:noFill/>
          <a:ln w="9525">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2800" kern="1200" noProof="0" smtClean="0">
                <a:solidFill>
                  <a:schemeClr val="bg1"/>
                </a:solidFill>
                <a:latin typeface="Fujitsu Sans"/>
                <a:ea typeface="+mj-ea"/>
                <a:cs typeface="Fujitsu Sans"/>
              </a:defRPr>
            </a:lvl1pPr>
          </a:lstStyle>
          <a:p>
            <a:r>
              <a:rPr lang="de-DE" noProof="0" dirty="0" smtClean="0"/>
              <a:t>Mastertitelformat bearbeiten</a:t>
            </a:r>
            <a:endParaRPr lang="en-US" noProof="0" dirty="0"/>
          </a:p>
        </p:txBody>
      </p:sp>
      <p:sp>
        <p:nvSpPr>
          <p:cNvPr id="59" name="Subtitle 2"/>
          <p:cNvSpPr>
            <a:spLocks noGrp="1"/>
          </p:cNvSpPr>
          <p:nvPr>
            <p:ph type="subTitle" idx="1"/>
          </p:nvPr>
        </p:nvSpPr>
        <p:spPr bwMode="gray">
          <a:xfrm>
            <a:off x="611450" y="2427730"/>
            <a:ext cx="2744079" cy="7201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1600" b="0" kern="1200" noProof="0" dirty="0" smtClean="0">
                <a:solidFill>
                  <a:schemeClr val="bg1"/>
                </a:solidFill>
                <a:latin typeface="Fujitsu Sans"/>
                <a:ea typeface="+mn-ea"/>
                <a:cs typeface="Fujitsu San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smtClean="0"/>
              <a:t>Master-Untertitelformat bearbeiten</a:t>
            </a:r>
            <a:endParaRPr lang="en-US" noProof="0" dirty="0"/>
          </a:p>
        </p:txBody>
      </p:sp>
      <p:pic>
        <p:nvPicPr>
          <p:cNvPr id="1026" name="Picture 2" descr="Fujitsu_Logo_white"/>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7664185" y="243040"/>
            <a:ext cx="1252800" cy="626179"/>
          </a:xfrm>
          <a:prstGeom prst="rect">
            <a:avLst/>
          </a:prstGeom>
          <a:noFill/>
        </p:spPr>
      </p:pic>
      <p:sp>
        <p:nvSpPr>
          <p:cNvPr id="14" name="Title 47"/>
          <p:cNvSpPr txBox="1">
            <a:spLocks/>
          </p:cNvSpPr>
          <p:nvPr userDrawn="1"/>
        </p:nvSpPr>
        <p:spPr bwMode="gray">
          <a:xfrm>
            <a:off x="4608640" y="1553026"/>
            <a:ext cx="4572000" cy="1378774"/>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lnSpc>
                <a:spcPct val="90000"/>
              </a:lnSpc>
              <a:spcBef>
                <a:spcPct val="0"/>
              </a:spcBef>
              <a:spcAft>
                <a:spcPct val="0"/>
              </a:spcAft>
              <a:buNone/>
              <a:tabLst>
                <a:tab pos="3676650" algn="l"/>
              </a:tabLst>
              <a:defRPr kumimoji="1" lang="en-US" altLang="ja-JP" sz="2800" kern="1200" noProof="0" smtClean="0">
                <a:solidFill>
                  <a:schemeClr val="bg1"/>
                </a:solidFill>
                <a:latin typeface="Fujitsu Sans"/>
                <a:ea typeface="+mj-ea"/>
                <a:cs typeface="Fujitsu Sans"/>
              </a:defRPr>
            </a:lvl1pPr>
          </a:lstStyle>
          <a:p>
            <a:r>
              <a:rPr lang="de-DE" sz="2700" dirty="0">
                <a:solidFill>
                  <a:srgbClr val="FFFFFF"/>
                </a:solidFill>
              </a:rPr>
              <a:t>Human Centric Innovation</a:t>
            </a:r>
          </a:p>
          <a:p>
            <a:pPr>
              <a:lnSpc>
                <a:spcPct val="110000"/>
              </a:lnSpc>
            </a:pPr>
            <a:r>
              <a:rPr lang="de-DE" sz="3200" dirty="0">
                <a:solidFill>
                  <a:srgbClr val="FFFFFF"/>
                </a:solidFill>
              </a:rPr>
              <a:t>                          in Action</a:t>
            </a:r>
          </a:p>
        </p:txBody>
      </p:sp>
    </p:spTree>
    <p:extLst>
      <p:ext uri="{BB962C8B-B14F-4D97-AF65-F5344CB8AC3E}">
        <p14:creationId xmlns:p14="http://schemas.microsoft.com/office/powerpoint/2010/main" val="225505986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ubheadline + 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4716016" y="1635936"/>
            <a:ext cx="4177159" cy="3167840"/>
          </a:xfrm>
          <a:prstGeom prst="round1Rect">
            <a:avLst>
              <a:gd name="adj" fmla="val 12027"/>
            </a:avLst>
          </a:prstGeom>
          <a:noFill/>
          <a:ln>
            <a:noFill/>
          </a:ln>
        </p:spPr>
        <p:txBody>
          <a:bodyPr/>
          <a:lstStyle/>
          <a:p>
            <a:r>
              <a:rPr lang="de-DE" noProof="0"/>
              <a:t>Bild auf Platzhalter ziehen oder durch Klicken auf Symbol hinzufügen</a:t>
            </a:r>
            <a:endParaRPr lang="en-US" noProof="0"/>
          </a:p>
        </p:txBody>
      </p:sp>
      <p:sp>
        <p:nvSpPr>
          <p:cNvPr id="10" name="Picture Placeholder 10"/>
          <p:cNvSpPr>
            <a:spLocks noGrp="1"/>
          </p:cNvSpPr>
          <p:nvPr>
            <p:ph type="pic" sz="quarter" idx="16"/>
            <p:custDataLst>
              <p:tags r:id="rId2"/>
            </p:custDataLst>
          </p:nvPr>
        </p:nvSpPr>
        <p:spPr bwMode="gray">
          <a:xfrm>
            <a:off x="250825" y="1635936"/>
            <a:ext cx="4177160" cy="3167840"/>
          </a:xfrm>
          <a:prstGeom prst="rect">
            <a:avLst/>
          </a:prstGeom>
          <a:noFill/>
          <a:ln>
            <a:noFill/>
          </a:ln>
        </p:spPr>
        <p:txBody>
          <a:bodyPr/>
          <a:lstStyle/>
          <a:p>
            <a:r>
              <a:rPr lang="de-DE" noProof="0"/>
              <a:t>Bild auf Platzhalter ziehen oder durch Klicken auf Symbol hinzufügen</a:t>
            </a:r>
            <a:endParaRPr lang="en-US" noProof="0"/>
          </a:p>
        </p:txBody>
      </p:sp>
      <p:sp>
        <p:nvSpPr>
          <p:cNvPr id="6" name="Textplatzhalter 14"/>
          <p:cNvSpPr>
            <a:spLocks noGrp="1"/>
          </p:cNvSpPr>
          <p:nvPr>
            <p:ph type="body" sz="quarter" idx="17"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cSld>
  <p:clrMapOvr>
    <a:masterClrMapping/>
  </p:clrMapOvr>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Intermediate Cover">
    <p:spTree>
      <p:nvGrpSpPr>
        <p:cNvPr id="1" name=""/>
        <p:cNvGrpSpPr/>
        <p:nvPr/>
      </p:nvGrpSpPr>
      <p:grpSpPr>
        <a:xfrm>
          <a:off x="0" y="0"/>
          <a:ext cx="0" cy="0"/>
          <a:chOff x="0" y="0"/>
          <a:chExt cx="0" cy="0"/>
        </a:xfrm>
      </p:grpSpPr>
      <p:pic>
        <p:nvPicPr>
          <p:cNvPr id="3" name="Bild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62"/>
            <a:ext cx="9144000" cy="5145024"/>
          </a:xfrm>
          <a:prstGeom prst="rect">
            <a:avLst/>
          </a:prstGeom>
        </p:spPr>
      </p:pic>
      <p:sp>
        <p:nvSpPr>
          <p:cNvPr id="16" name="Title 15"/>
          <p:cNvSpPr>
            <a:spLocks noGrp="1"/>
          </p:cNvSpPr>
          <p:nvPr>
            <p:ph type="title"/>
          </p:nvPr>
        </p:nvSpPr>
        <p:spPr bwMode="gray">
          <a:xfrm>
            <a:off x="252000" y="72000"/>
            <a:ext cx="7560000" cy="770400"/>
          </a:xfrm>
          <a:noFill/>
          <a:ln w="9525">
            <a:noFill/>
            <a:miter lim="800000"/>
            <a:headEnd/>
            <a:tailEnd/>
          </a:ln>
          <a:effectLst/>
        </p:spPr>
        <p:txBody>
          <a:bodyPr vert="horz" wrap="square" lIns="0" tIns="0" rIns="0" bIns="0" numCol="1" anchor="ctr"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bg1"/>
                </a:solidFill>
                <a:latin typeface="Fujitsu Sans"/>
                <a:ea typeface="+mj-ea"/>
                <a:cs typeface="Fujitsu Sans"/>
              </a:defRPr>
            </a:lvl1pPr>
          </a:lstStyle>
          <a:p>
            <a:r>
              <a:rPr lang="de-DE" noProof="0" dirty="0" smtClean="0"/>
              <a:t>Mastertitelformat bearbeiten</a:t>
            </a:r>
            <a:endParaRPr lang="en-US" noProof="0" dirty="0"/>
          </a:p>
        </p:txBody>
      </p:sp>
      <p:pic>
        <p:nvPicPr>
          <p:cNvPr id="7" name="Picture 2" descr="Fujitsu_Logo_white"/>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7664185" y="243040"/>
            <a:ext cx="1252800" cy="476627"/>
          </a:xfrm>
          <a:prstGeom prst="rect">
            <a:avLst/>
          </a:prstGeom>
          <a:noFill/>
        </p:spPr>
      </p:pic>
    </p:spTree>
    <p:extLst>
      <p:ext uri="{BB962C8B-B14F-4D97-AF65-F5344CB8AC3E}">
        <p14:creationId xmlns:p14="http://schemas.microsoft.com/office/powerpoint/2010/main" val="524696931"/>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Intermediate Cover">
    <p:spTree>
      <p:nvGrpSpPr>
        <p:cNvPr id="1" name=""/>
        <p:cNvGrpSpPr/>
        <p:nvPr/>
      </p:nvGrpSpPr>
      <p:grpSpPr>
        <a:xfrm>
          <a:off x="0" y="0"/>
          <a:ext cx="0" cy="0"/>
          <a:chOff x="0" y="0"/>
          <a:chExt cx="0" cy="0"/>
        </a:xfrm>
      </p:grpSpPr>
      <p:pic>
        <p:nvPicPr>
          <p:cNvPr id="3" name="Bild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62"/>
            <a:ext cx="9144000" cy="5145024"/>
          </a:xfrm>
          <a:prstGeom prst="rect">
            <a:avLst/>
          </a:prstGeom>
        </p:spPr>
      </p:pic>
      <p:sp>
        <p:nvSpPr>
          <p:cNvPr id="16" name="Title 15"/>
          <p:cNvSpPr>
            <a:spLocks noGrp="1"/>
          </p:cNvSpPr>
          <p:nvPr>
            <p:ph type="title"/>
          </p:nvPr>
        </p:nvSpPr>
        <p:spPr bwMode="gray">
          <a:xfrm>
            <a:off x="252000" y="72000"/>
            <a:ext cx="7560000" cy="770400"/>
          </a:xfrm>
          <a:noFill/>
          <a:ln w="9525">
            <a:noFill/>
            <a:miter lim="800000"/>
            <a:headEnd/>
            <a:tailEnd/>
          </a:ln>
          <a:effectLst/>
        </p:spPr>
        <p:txBody>
          <a:bodyPr vert="horz" wrap="square" lIns="0" tIns="0" rIns="0" bIns="0" numCol="1" anchor="ctr"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bg1"/>
                </a:solidFill>
                <a:latin typeface="Fujitsu Sans"/>
                <a:ea typeface="+mj-ea"/>
                <a:cs typeface="Fujitsu Sans"/>
              </a:defRPr>
            </a:lvl1pPr>
          </a:lstStyle>
          <a:p>
            <a:r>
              <a:rPr lang="de-DE" noProof="0" dirty="0" smtClean="0"/>
              <a:t>Mastertitelformat bearbeiten</a:t>
            </a:r>
            <a:endParaRPr lang="en-US" noProof="0" dirty="0"/>
          </a:p>
        </p:txBody>
      </p:sp>
      <p:pic>
        <p:nvPicPr>
          <p:cNvPr id="7" name="Picture 2" descr="Fujitsu_Logo_white"/>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7664185" y="243040"/>
            <a:ext cx="1252800" cy="476627"/>
          </a:xfrm>
          <a:prstGeom prst="rect">
            <a:avLst/>
          </a:prstGeom>
          <a:noFill/>
        </p:spPr>
      </p:pic>
    </p:spTree>
    <p:extLst>
      <p:ext uri="{BB962C8B-B14F-4D97-AF65-F5344CB8AC3E}">
        <p14:creationId xmlns:p14="http://schemas.microsoft.com/office/powerpoint/2010/main" val="4144442647"/>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dirty="0"/>
              <a:t>Mastertitelformat bearbeiten</a:t>
            </a:r>
            <a:endParaRPr lang="en-US" noProof="0" dirty="0"/>
          </a:p>
        </p:txBody>
      </p:sp>
      <p:sp>
        <p:nvSpPr>
          <p:cNvPr id="10" name="Text Placeholder 9"/>
          <p:cNvSpPr>
            <a:spLocks noGrp="1"/>
          </p:cNvSpPr>
          <p:nvPr>
            <p:ph type="body" sz="quarter" idx="10"/>
          </p:nvPr>
        </p:nvSpPr>
        <p:spPr bwMode="gray">
          <a:xfrm>
            <a:off x="250825" y="987425"/>
            <a:ext cx="8642350" cy="3816350"/>
          </a:xfrm>
        </p:spPr>
        <p:txBody>
          <a:body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en-US" noProof="0" dirty="0"/>
          </a:p>
        </p:txBody>
      </p:sp>
    </p:spTree>
    <p:extLst>
      <p:ext uri="{BB962C8B-B14F-4D97-AF65-F5344CB8AC3E}">
        <p14:creationId xmlns:p14="http://schemas.microsoft.com/office/powerpoint/2010/main" val="1031696562"/>
      </p:ext>
    </p:extLst>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5" name="Text Placeholder 12"/>
          <p:cNvSpPr>
            <a:spLocks noGrp="1"/>
          </p:cNvSpPr>
          <p:nvPr>
            <p:ph type="body" sz="quarter" idx="15"/>
          </p:nvPr>
        </p:nvSpPr>
        <p:spPr bwMode="gray">
          <a:xfrm>
            <a:off x="250824" y="987424"/>
            <a:ext cx="4177159" cy="3816351"/>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12"/>
          <p:cNvSpPr>
            <a:spLocks noGrp="1"/>
          </p:cNvSpPr>
          <p:nvPr>
            <p:ph type="body" sz="quarter" idx="16"/>
          </p:nvPr>
        </p:nvSpPr>
        <p:spPr bwMode="gray">
          <a:xfrm>
            <a:off x="4644009" y="987425"/>
            <a:ext cx="4249166"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576688046"/>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Text Placeholder 9"/>
          <p:cNvSpPr>
            <a:spLocks noGrp="1"/>
          </p:cNvSpPr>
          <p:nvPr>
            <p:ph type="body" sz="quarter" idx="18"/>
          </p:nvPr>
        </p:nvSpPr>
        <p:spPr bwMode="gray">
          <a:xfrm>
            <a:off x="250824" y="987026"/>
            <a:ext cx="2736999"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9"/>
          <p:cNvSpPr>
            <a:spLocks noGrp="1"/>
          </p:cNvSpPr>
          <p:nvPr>
            <p:ph type="body" sz="quarter" idx="19"/>
          </p:nvPr>
        </p:nvSpPr>
        <p:spPr bwMode="gray">
          <a:xfrm>
            <a:off x="3203848" y="987067"/>
            <a:ext cx="2808312" cy="3816713"/>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8" name="Text Placeholder 9"/>
          <p:cNvSpPr>
            <a:spLocks noGrp="1"/>
          </p:cNvSpPr>
          <p:nvPr>
            <p:ph type="body" sz="quarter" idx="20"/>
          </p:nvPr>
        </p:nvSpPr>
        <p:spPr bwMode="gray">
          <a:xfrm>
            <a:off x="6228185" y="987425"/>
            <a:ext cx="2664990"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623972420"/>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Tree>
    <p:extLst>
      <p:ext uri="{BB962C8B-B14F-4D97-AF65-F5344CB8AC3E}">
        <p14:creationId xmlns:p14="http://schemas.microsoft.com/office/powerpoint/2010/main" val="2565221473"/>
      </p:ext>
    </p:extLst>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250824" y="1058863"/>
            <a:ext cx="8642351" cy="3744912"/>
          </a:xfrm>
          <a:prstGeom prst="round1Rect">
            <a:avLst>
              <a:gd name="adj" fmla="val 10174"/>
            </a:avLst>
          </a:prstGeom>
          <a:noFill/>
          <a:ln>
            <a:noFill/>
          </a:ln>
        </p:spPr>
        <p:txBody>
          <a:bodyPr/>
          <a:lstStyle/>
          <a:p>
            <a:r>
              <a:rPr lang="de-DE" noProof="0"/>
              <a:t>Bild auf Platzhalter ziehen oder durch Klicken auf Symbol hinzufügen</a:t>
            </a:r>
            <a:endParaRPr lang="en-US" noProof="0"/>
          </a:p>
        </p:txBody>
      </p:sp>
    </p:spTree>
    <p:extLst>
      <p:ext uri="{BB962C8B-B14F-4D97-AF65-F5344CB8AC3E}">
        <p14:creationId xmlns:p14="http://schemas.microsoft.com/office/powerpoint/2010/main" val="3396798340"/>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4716016" y="1058863"/>
            <a:ext cx="4177159" cy="3744912"/>
          </a:xfrm>
          <a:prstGeom prst="round1Rect">
            <a:avLst>
              <a:gd name="adj" fmla="val 10174"/>
            </a:avLst>
          </a:prstGeom>
          <a:noFill/>
          <a:ln>
            <a:noFill/>
          </a:ln>
        </p:spPr>
        <p:txBody>
          <a:bodyPr/>
          <a:lstStyle/>
          <a:p>
            <a:r>
              <a:rPr lang="de-DE" noProof="0"/>
              <a:t>Bild auf Platzhalter ziehen oder durch Klicken auf Symbol hinzufügen</a:t>
            </a:r>
            <a:endParaRPr lang="en-US" noProof="0"/>
          </a:p>
        </p:txBody>
      </p:sp>
      <p:sp>
        <p:nvSpPr>
          <p:cNvPr id="10" name="Picture Placeholder 10"/>
          <p:cNvSpPr>
            <a:spLocks noGrp="1"/>
          </p:cNvSpPr>
          <p:nvPr>
            <p:ph type="pic" sz="quarter" idx="16"/>
            <p:custDataLst>
              <p:tags r:id="rId2"/>
            </p:custDataLst>
          </p:nvPr>
        </p:nvSpPr>
        <p:spPr bwMode="gray">
          <a:xfrm>
            <a:off x="250824" y="1058863"/>
            <a:ext cx="4177159" cy="3744912"/>
          </a:xfrm>
          <a:prstGeom prst="rect">
            <a:avLst/>
          </a:prstGeom>
          <a:noFill/>
          <a:ln>
            <a:noFill/>
          </a:ln>
        </p:spPr>
        <p:txBody>
          <a:bodyPr/>
          <a:lstStyle/>
          <a:p>
            <a:r>
              <a:rPr lang="de-DE" noProof="0"/>
              <a:t>Bild auf Platzhalter ziehen oder durch Klicken auf Symbol hinzufügen</a:t>
            </a:r>
            <a:endParaRPr lang="en-US" noProof="0"/>
          </a:p>
        </p:txBody>
      </p:sp>
    </p:spTree>
    <p:extLst>
      <p:ext uri="{BB962C8B-B14F-4D97-AF65-F5344CB8AC3E}">
        <p14:creationId xmlns:p14="http://schemas.microsoft.com/office/powerpoint/2010/main" val="2841127669"/>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4716016" y="1058863"/>
            <a:ext cx="4177159" cy="3744912"/>
          </a:xfrm>
          <a:prstGeom prst="round1Rect">
            <a:avLst>
              <a:gd name="adj" fmla="val 10174"/>
            </a:avLst>
          </a:prstGeom>
        </p:spPr>
        <p:txBody>
          <a:bodyPr/>
          <a:lstStyle/>
          <a:p>
            <a:r>
              <a:rPr lang="de-DE" noProof="0"/>
              <a:t>Bild auf Platzhalter ziehen oder durch Klicken auf Symbol hinzufügen</a:t>
            </a:r>
            <a:endParaRPr lang="en-US" noProof="0"/>
          </a:p>
        </p:txBody>
      </p:sp>
      <p:sp>
        <p:nvSpPr>
          <p:cNvPr id="11" name="Text Placeholder 8"/>
          <p:cNvSpPr>
            <a:spLocks noGrp="1"/>
          </p:cNvSpPr>
          <p:nvPr>
            <p:ph type="body" sz="quarter" idx="16"/>
          </p:nvPr>
        </p:nvSpPr>
        <p:spPr bwMode="gray">
          <a:xfrm>
            <a:off x="250824" y="987425"/>
            <a:ext cx="4177159"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120772909"/>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250824" y="1058863"/>
            <a:ext cx="4177159" cy="3744912"/>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6"/>
          </p:nvPr>
        </p:nvSpPr>
        <p:spPr bwMode="gray">
          <a:xfrm>
            <a:off x="4644009" y="987425"/>
            <a:ext cx="4249166"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298687263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ubheadline + 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4716016" y="1635936"/>
            <a:ext cx="4177159" cy="3167840"/>
          </a:xfrm>
          <a:prstGeom prst="round1Rect">
            <a:avLst>
              <a:gd name="adj" fmla="val 12027"/>
            </a:avLst>
          </a:prstGeom>
        </p:spPr>
        <p:txBody>
          <a:bodyPr/>
          <a:lstStyle/>
          <a:p>
            <a:r>
              <a:rPr lang="de-DE" noProof="0"/>
              <a:t>Bild auf Platzhalter ziehen oder durch Klicken auf Symbol hinzufügen</a:t>
            </a:r>
            <a:endParaRPr lang="en-US" noProof="0"/>
          </a:p>
        </p:txBody>
      </p:sp>
      <p:sp>
        <p:nvSpPr>
          <p:cNvPr id="11" name="Text Placeholder 8"/>
          <p:cNvSpPr>
            <a:spLocks noGrp="1"/>
          </p:cNvSpPr>
          <p:nvPr>
            <p:ph type="body" sz="quarter" idx="17"/>
          </p:nvPr>
        </p:nvSpPr>
        <p:spPr bwMode="gray">
          <a:xfrm>
            <a:off x="250824" y="1563928"/>
            <a:ext cx="417715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cSld>
  <p:clrMapOvr>
    <a:masterClrMapping/>
  </p:clrMapOvr>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6228184" y="1058863"/>
            <a:ext cx="2664991" cy="3744912"/>
          </a:xfrm>
          <a:prstGeom prst="round1Rect">
            <a:avLst>
              <a:gd name="adj" fmla="val 14296"/>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7"/>
          </p:nvPr>
        </p:nvSpPr>
        <p:spPr bwMode="gray">
          <a:xfrm>
            <a:off x="250824" y="987425"/>
            <a:ext cx="5761335"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874010439"/>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058863"/>
            <a:ext cx="2664992" cy="3744912"/>
          </a:xfrm>
          <a:prstGeom prst="rect">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7"/>
          </p:nvPr>
        </p:nvSpPr>
        <p:spPr bwMode="gray">
          <a:xfrm>
            <a:off x="3131840" y="987425"/>
            <a:ext cx="5761335"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2439154560"/>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3132139" y="1058862"/>
            <a:ext cx="5761036" cy="3744913"/>
          </a:xfrm>
          <a:prstGeom prst="round1Rect">
            <a:avLst>
              <a:gd name="adj" fmla="val 10174"/>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5" y="987425"/>
            <a:ext cx="2665414"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2839129967"/>
      </p:ext>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058862"/>
            <a:ext cx="5761038" cy="3744913"/>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6227763" y="987425"/>
            <a:ext cx="2665412"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2954691555"/>
      </p:ext>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ext top – Picture bottom">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8"/>
          </p:nvPr>
        </p:nvSpPr>
        <p:spPr bwMode="gray">
          <a:xfrm>
            <a:off x="250825" y="3003809"/>
            <a:ext cx="8642349" cy="1799965"/>
          </a:xfrm>
          <a:prstGeom prst="rect">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9"/>
          </p:nvPr>
        </p:nvSpPr>
        <p:spPr bwMode="gray">
          <a:xfrm>
            <a:off x="250825" y="987426"/>
            <a:ext cx="8642350" cy="187236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4159138735"/>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5" y="1058862"/>
            <a:ext cx="8642351" cy="1800928"/>
          </a:xfrm>
          <a:prstGeom prst="round1Rect">
            <a:avLst>
              <a:gd name="adj" fmla="val 21156"/>
            </a:avLst>
          </a:prstGeom>
        </p:spPr>
        <p:txBody>
          <a:bodyPr/>
          <a:lstStyle/>
          <a:p>
            <a:r>
              <a:rPr lang="de-DE" noProof="0"/>
              <a:t>Bild auf Platzhalter ziehen oder durch Klicken auf Symbol hinzufügen</a:t>
            </a:r>
            <a:endParaRPr lang="en-US" noProof="0"/>
          </a:p>
        </p:txBody>
      </p:sp>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Text Placeholder 9"/>
          <p:cNvSpPr>
            <a:spLocks noGrp="1"/>
          </p:cNvSpPr>
          <p:nvPr>
            <p:ph type="body" sz="quarter" idx="19"/>
          </p:nvPr>
        </p:nvSpPr>
        <p:spPr bwMode="gray">
          <a:xfrm>
            <a:off x="250825" y="3003810"/>
            <a:ext cx="8642350" cy="179996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1041839453"/>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0" name="Text Placeholder 7"/>
          <p:cNvSpPr>
            <a:spLocks noGrp="1"/>
          </p:cNvSpPr>
          <p:nvPr>
            <p:ph type="body" sz="quarter" idx="15"/>
          </p:nvPr>
        </p:nvSpPr>
        <p:spPr bwMode="gray">
          <a:xfrm>
            <a:off x="250826" y="1563927"/>
            <a:ext cx="8642350"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6" y="987267"/>
            <a:ext cx="8642349"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738936135"/>
      </p:ext>
    </p:extLst>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5" name="Text Placeholder 10"/>
          <p:cNvSpPr>
            <a:spLocks noGrp="1"/>
          </p:cNvSpPr>
          <p:nvPr>
            <p:ph type="body" sz="quarter" idx="16"/>
          </p:nvPr>
        </p:nvSpPr>
        <p:spPr bwMode="gray">
          <a:xfrm>
            <a:off x="250824" y="1563928"/>
            <a:ext cx="417715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10"/>
          <p:cNvSpPr>
            <a:spLocks noGrp="1"/>
          </p:cNvSpPr>
          <p:nvPr>
            <p:ph type="body" sz="quarter" idx="17"/>
          </p:nvPr>
        </p:nvSpPr>
        <p:spPr bwMode="gray">
          <a:xfrm>
            <a:off x="4644009" y="1563928"/>
            <a:ext cx="4249166"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8"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377504731"/>
      </p:ext>
    </p:extLst>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8" name="Text Placeholder 9"/>
          <p:cNvSpPr>
            <a:spLocks noGrp="1"/>
          </p:cNvSpPr>
          <p:nvPr>
            <p:ph type="body" sz="quarter" idx="19"/>
          </p:nvPr>
        </p:nvSpPr>
        <p:spPr bwMode="gray">
          <a:xfrm>
            <a:off x="250825" y="1563928"/>
            <a:ext cx="273699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9" name="Text Placeholder 9"/>
          <p:cNvSpPr>
            <a:spLocks noGrp="1"/>
          </p:cNvSpPr>
          <p:nvPr>
            <p:ph type="body" sz="quarter" idx="20"/>
          </p:nvPr>
        </p:nvSpPr>
        <p:spPr bwMode="gray">
          <a:xfrm>
            <a:off x="3203848" y="1563928"/>
            <a:ext cx="2808312"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20" name="Text Placeholder 9"/>
          <p:cNvSpPr>
            <a:spLocks noGrp="1"/>
          </p:cNvSpPr>
          <p:nvPr>
            <p:ph type="body" sz="quarter" idx="21"/>
          </p:nvPr>
        </p:nvSpPr>
        <p:spPr bwMode="gray">
          <a:xfrm>
            <a:off x="6228184" y="1563928"/>
            <a:ext cx="2664991" cy="3239848"/>
          </a:xfrm>
        </p:spPr>
        <p:txBody>
          <a:bodyPr/>
          <a:lstStyle>
            <a:lvl5pPr>
              <a:defRPr/>
            </a:lvl5p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7"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258228776"/>
      </p:ext>
    </p:extLst>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4" name="Textplatzhalter 14"/>
          <p:cNvSpPr>
            <a:spLocks noGrp="1"/>
          </p:cNvSpPr>
          <p:nvPr>
            <p:ph type="body" sz="quarter" idx="16" hasCustomPrompt="1"/>
          </p:nvPr>
        </p:nvSpPr>
        <p:spPr bwMode="gray">
          <a:xfrm>
            <a:off x="250825" y="987546"/>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412758631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250824" y="1635936"/>
            <a:ext cx="4177159"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7"/>
          </p:nvPr>
        </p:nvSpPr>
        <p:spPr bwMode="gray">
          <a:xfrm>
            <a:off x="4644008" y="1563928"/>
            <a:ext cx="4249167"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ubheadline + 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250825" y="1635936"/>
            <a:ext cx="8642350" cy="3167840"/>
          </a:xfrm>
          <a:prstGeom prst="round1Rect">
            <a:avLst>
              <a:gd name="adj" fmla="val 12027"/>
            </a:avLst>
          </a:prstGeom>
          <a:noFill/>
          <a:ln>
            <a:noFill/>
          </a:ln>
        </p:spPr>
        <p:txBody>
          <a:bodyPr/>
          <a:lstStyle/>
          <a:p>
            <a:r>
              <a:rPr lang="de-DE" noProof="0"/>
              <a:t>Bild auf Platzhalter ziehen oder durch Klicken auf Symbol hinzufügen</a:t>
            </a:r>
            <a:endParaRPr lang="en-US" noProof="0"/>
          </a:p>
        </p:txBody>
      </p:sp>
      <p:sp>
        <p:nvSpPr>
          <p:cNvPr id="5"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456737817"/>
      </p:ext>
    </p:extLst>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ubheadline + 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4716016" y="1635936"/>
            <a:ext cx="4177159" cy="3167840"/>
          </a:xfrm>
          <a:prstGeom prst="round1Rect">
            <a:avLst>
              <a:gd name="adj" fmla="val 12027"/>
            </a:avLst>
          </a:prstGeom>
          <a:noFill/>
          <a:ln>
            <a:noFill/>
          </a:ln>
        </p:spPr>
        <p:txBody>
          <a:bodyPr/>
          <a:lstStyle/>
          <a:p>
            <a:r>
              <a:rPr lang="de-DE" noProof="0"/>
              <a:t>Bild auf Platzhalter ziehen oder durch Klicken auf Symbol hinzufügen</a:t>
            </a:r>
            <a:endParaRPr lang="en-US" noProof="0"/>
          </a:p>
        </p:txBody>
      </p:sp>
      <p:sp>
        <p:nvSpPr>
          <p:cNvPr id="10" name="Picture Placeholder 10"/>
          <p:cNvSpPr>
            <a:spLocks noGrp="1"/>
          </p:cNvSpPr>
          <p:nvPr>
            <p:ph type="pic" sz="quarter" idx="16"/>
            <p:custDataLst>
              <p:tags r:id="rId2"/>
            </p:custDataLst>
          </p:nvPr>
        </p:nvSpPr>
        <p:spPr bwMode="gray">
          <a:xfrm>
            <a:off x="250825" y="1635936"/>
            <a:ext cx="4177160" cy="3167840"/>
          </a:xfrm>
          <a:prstGeom prst="rect">
            <a:avLst/>
          </a:prstGeom>
          <a:noFill/>
          <a:ln>
            <a:noFill/>
          </a:ln>
        </p:spPr>
        <p:txBody>
          <a:bodyPr/>
          <a:lstStyle/>
          <a:p>
            <a:r>
              <a:rPr lang="de-DE" noProof="0"/>
              <a:t>Bild auf Platzhalter ziehen oder durch Klicken auf Symbol hinzufügen</a:t>
            </a:r>
            <a:endParaRPr lang="en-US" noProof="0"/>
          </a:p>
        </p:txBody>
      </p:sp>
      <p:sp>
        <p:nvSpPr>
          <p:cNvPr id="6" name="Textplatzhalter 14"/>
          <p:cNvSpPr>
            <a:spLocks noGrp="1"/>
          </p:cNvSpPr>
          <p:nvPr>
            <p:ph type="body" sz="quarter" idx="17"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467932943"/>
      </p:ext>
    </p:extLst>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ubheadline + 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4716016" y="1635936"/>
            <a:ext cx="4177159" cy="3167840"/>
          </a:xfrm>
          <a:prstGeom prst="round1Rect">
            <a:avLst>
              <a:gd name="adj" fmla="val 12027"/>
            </a:avLst>
          </a:prstGeom>
        </p:spPr>
        <p:txBody>
          <a:bodyPr/>
          <a:lstStyle/>
          <a:p>
            <a:r>
              <a:rPr lang="de-DE" noProof="0"/>
              <a:t>Bild auf Platzhalter ziehen oder durch Klicken auf Symbol hinzufügen</a:t>
            </a:r>
            <a:endParaRPr lang="en-US" noProof="0"/>
          </a:p>
        </p:txBody>
      </p:sp>
      <p:sp>
        <p:nvSpPr>
          <p:cNvPr id="11" name="Text Placeholder 8"/>
          <p:cNvSpPr>
            <a:spLocks noGrp="1"/>
          </p:cNvSpPr>
          <p:nvPr>
            <p:ph type="body" sz="quarter" idx="17"/>
          </p:nvPr>
        </p:nvSpPr>
        <p:spPr bwMode="gray">
          <a:xfrm>
            <a:off x="250824" y="1563928"/>
            <a:ext cx="417715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810061907"/>
      </p:ext>
    </p:extLst>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250824" y="1635936"/>
            <a:ext cx="4177159"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7"/>
          </p:nvPr>
        </p:nvSpPr>
        <p:spPr bwMode="gray">
          <a:xfrm>
            <a:off x="4644008" y="1563928"/>
            <a:ext cx="4249167"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926472878"/>
      </p:ext>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ubheadline + 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6228184" y="1635936"/>
            <a:ext cx="2664991" cy="3167840"/>
          </a:xfrm>
          <a:prstGeom prst="round1Rect">
            <a:avLst>
              <a:gd name="adj" fmla="val 14296"/>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4" y="1563928"/>
            <a:ext cx="5761335"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476540766"/>
      </p:ext>
    </p:extLst>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635936"/>
            <a:ext cx="2664991"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3131840" y="1563928"/>
            <a:ext cx="5761335"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4202829398"/>
      </p:ext>
    </p:extLst>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ubheadline + 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3132139" y="1635936"/>
            <a:ext cx="5761036" cy="3167840"/>
          </a:xfrm>
          <a:prstGeom prst="round1Rect">
            <a:avLst>
              <a:gd name="adj" fmla="val 12027"/>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5" y="1563928"/>
            <a:ext cx="2665414"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039603922"/>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635936"/>
            <a:ext cx="5761038"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6227763" y="1563928"/>
            <a:ext cx="2665412"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616569901"/>
      </p:ext>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8"/>
          </p:nvPr>
        </p:nvSpPr>
        <p:spPr bwMode="gray">
          <a:xfrm>
            <a:off x="250826" y="3291851"/>
            <a:ext cx="8642350" cy="1511924"/>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9"/>
          </p:nvPr>
        </p:nvSpPr>
        <p:spPr bwMode="gray">
          <a:xfrm>
            <a:off x="250828" y="1563927"/>
            <a:ext cx="8642348" cy="158390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7" y="987268"/>
            <a:ext cx="8642348"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402316200"/>
      </p:ext>
    </p:extLst>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ubheadline + 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9" y="1635935"/>
            <a:ext cx="8642346" cy="1511896"/>
          </a:xfrm>
          <a:prstGeom prst="round1Rect">
            <a:avLst>
              <a:gd name="adj" fmla="val 25200"/>
            </a:avLst>
          </a:prstGeom>
        </p:spPr>
        <p:txBody>
          <a:bodyPr/>
          <a:lstStyle/>
          <a:p>
            <a:r>
              <a:rPr lang="de-DE" noProof="0"/>
              <a:t>Bild auf Platzhalter ziehen oder durch Klicken auf Symbol hinzufügen</a:t>
            </a:r>
            <a:endParaRPr lang="en-US" noProof="0"/>
          </a:p>
        </p:txBody>
      </p:sp>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0" name="Text Placeholder 8"/>
          <p:cNvSpPr>
            <a:spLocks noGrp="1"/>
          </p:cNvSpPr>
          <p:nvPr>
            <p:ph type="body" sz="quarter" idx="19"/>
          </p:nvPr>
        </p:nvSpPr>
        <p:spPr bwMode="gray">
          <a:xfrm>
            <a:off x="250829" y="3291851"/>
            <a:ext cx="8642346" cy="151192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8" y="987268"/>
            <a:ext cx="8642346"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85055856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ubheadline + 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6228184" y="1635936"/>
            <a:ext cx="2664991" cy="3167840"/>
          </a:xfrm>
          <a:prstGeom prst="round1Rect">
            <a:avLst>
              <a:gd name="adj" fmla="val 14296"/>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4" y="1563928"/>
            <a:ext cx="5761335"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Leer">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045451"/>
      </p:ext>
    </p:extLst>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anchor="ctr"/>
          <a:lstStyle/>
          <a:p>
            <a:endParaRPr lang="en-US">
              <a:solidFill>
                <a:srgbClr val="000000"/>
              </a:solidFill>
            </a:endParaRPr>
          </a:p>
        </p:txBody>
      </p:sp>
      <p:pic>
        <p:nvPicPr>
          <p:cNvPr id="41" name="Picture 2" descr="Fujitsu_Logo"/>
          <p:cNvPicPr>
            <a:picLocks noChangeAspect="1" noChangeArrowheads="1"/>
          </p:cNvPicPr>
          <p:nvPr userDrawn="1"/>
        </p:nvPicPr>
        <p:blipFill>
          <a:blip r:embed="rId2" cstate="print"/>
          <a:srcRect/>
          <a:stretch>
            <a:fillRect/>
          </a:stretch>
        </p:blipFill>
        <p:spPr bwMode="auto">
          <a:xfrm>
            <a:off x="2455510" y="1357200"/>
            <a:ext cx="4202009" cy="2100264"/>
          </a:xfrm>
          <a:prstGeom prst="rect">
            <a:avLst/>
          </a:prstGeom>
          <a:noFill/>
        </p:spPr>
      </p:pic>
    </p:spTree>
    <p:extLst>
      <p:ext uri="{BB962C8B-B14F-4D97-AF65-F5344CB8AC3E}">
        <p14:creationId xmlns:p14="http://schemas.microsoft.com/office/powerpoint/2010/main" val="4056202966"/>
      </p:ext>
    </p:extLst>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userDrawn="1">
  <p:cSld name="10_Title Master">
    <p:bg>
      <p:bgPr>
        <a:blipFill dpi="0" rotWithShape="1">
          <a:blip r:embed="rId5" cstate="screen">
            <a:lum/>
          </a:blip>
          <a:srcRect/>
          <a:stretch>
            <a:fillRect/>
          </a:stretch>
        </a:blipFill>
        <a:effectLst/>
      </p:bgPr>
    </p:bg>
    <p:spTree>
      <p:nvGrpSpPr>
        <p:cNvPr id="1" name=""/>
        <p:cNvGrpSpPr/>
        <p:nvPr/>
      </p:nvGrpSpPr>
      <p:grpSpPr>
        <a:xfrm>
          <a:off x="0" y="0"/>
          <a:ext cx="0" cy="0"/>
          <a:chOff x="0" y="0"/>
          <a:chExt cx="0" cy="0"/>
        </a:xfrm>
      </p:grpSpPr>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durch Klicken 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dirty="0" smtClean="0">
                <a:solidFill>
                  <a:srgbClr val="000000"/>
                </a:solidFill>
              </a:rPr>
              <a:t>Formatvorlage des Untertitelmasters durch Klicken bearbeiten</a:t>
            </a:r>
            <a:endParaRPr lang="en-GB" sz="2400" dirty="0">
              <a:solidFill>
                <a:srgbClr val="000000"/>
              </a:solidFill>
            </a:endParaRPr>
          </a:p>
        </p:txBody>
      </p:sp>
      <p:sp>
        <p:nvSpPr>
          <p:cNvPr id="48" name="Title 47"/>
          <p:cNvSpPr>
            <a:spLocks noGrp="1"/>
          </p:cNvSpPr>
          <p:nvPr>
            <p:ph type="title"/>
          </p:nvPr>
        </p:nvSpPr>
        <p:spPr bwMode="gray">
          <a:xfrm>
            <a:off x="661728" y="2715766"/>
            <a:ext cx="4897363" cy="64809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4000" kern="1200" noProof="0" smtClean="0">
                <a:solidFill>
                  <a:schemeClr val="bg1"/>
                </a:solidFill>
                <a:latin typeface="+mj-lt"/>
                <a:ea typeface="+mj-ea"/>
                <a:cs typeface="+mj-cs"/>
              </a:defRPr>
            </a:lvl1pPr>
          </a:lstStyle>
          <a:p>
            <a:r>
              <a:rPr lang="en-US" noProof="0" dirty="0" smtClean="0"/>
              <a:t>Mastertitelformat bearbeiten</a:t>
            </a:r>
            <a:endParaRPr lang="en-US" noProof="0" dirty="0"/>
          </a:p>
        </p:txBody>
      </p:sp>
      <p:sp>
        <p:nvSpPr>
          <p:cNvPr id="59" name="Subtitle 2"/>
          <p:cNvSpPr>
            <a:spLocks noGrp="1"/>
          </p:cNvSpPr>
          <p:nvPr>
            <p:ph type="subTitle" idx="1"/>
          </p:nvPr>
        </p:nvSpPr>
        <p:spPr bwMode="gray">
          <a:xfrm>
            <a:off x="661728" y="3616476"/>
            <a:ext cx="4897363" cy="43206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indent="0" algn="l" defTabSz="457200" rtl="0" eaLnBrk="1" fontAlgn="base" latinLnBrk="0" hangingPunct="1">
              <a:lnSpc>
                <a:spcPct val="100000"/>
              </a:lnSpc>
              <a:spcBef>
                <a:spcPts val="0"/>
              </a:spcBef>
              <a:spcAft>
                <a:spcPts val="0"/>
              </a:spcAft>
              <a:buClr>
                <a:srgbClr val="A30B1A"/>
              </a:buClr>
              <a:buFont typeface="Wingdings" pitchFamily="2" charset="2"/>
              <a:buNone/>
              <a:defRPr kumimoji="1" lang="en-US" altLang="ja-JP" sz="2400" b="0" kern="1200" noProof="0" dirty="0">
                <a:solidFill>
                  <a:schemeClr val="bg1"/>
                </a:solidFill>
                <a:latin typeface="+mj-lt"/>
                <a:ea typeface="+mn-ea"/>
                <a:cs typeface="+mn-c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Master-Untertitelformat bearbeiten</a:t>
            </a:r>
            <a:endParaRPr lang="en-US" noProof="0" dirty="0"/>
          </a:p>
        </p:txBody>
      </p:sp>
      <p:grpSp>
        <p:nvGrpSpPr>
          <p:cNvPr id="55" name="Group 47" descr="Fujitsu - shaping tomorrow with you"/>
          <p:cNvGrpSpPr>
            <a:grpSpLocks noChangeAspect="1"/>
          </p:cNvGrpSpPr>
          <p:nvPr userDrawn="1"/>
        </p:nvGrpSpPr>
        <p:grpSpPr bwMode="auto">
          <a:xfrm>
            <a:off x="7604107" y="112408"/>
            <a:ext cx="1421294" cy="794172"/>
            <a:chOff x="4604" y="117"/>
            <a:chExt cx="1038" cy="580"/>
          </a:xfrm>
        </p:grpSpPr>
        <p:sp>
          <p:nvSpPr>
            <p:cNvPr id="57" name="AutoShape 48"/>
            <p:cNvSpPr>
              <a:spLocks noChangeAspect="1" noChangeArrowheads="1" noTextEdit="1"/>
            </p:cNvSpPr>
            <p:nvPr userDrawn="1"/>
          </p:nvSpPr>
          <p:spPr bwMode="gray">
            <a:xfrm>
              <a:off x="4604" y="117"/>
              <a:ext cx="1038" cy="580"/>
            </a:xfrm>
            <a:prstGeom prst="rect">
              <a:avLst/>
            </a:prstGeom>
            <a:noFill/>
            <a:ln w="9525">
              <a:noFill/>
              <a:miter lim="800000"/>
              <a:headEnd/>
              <a:tailEnd/>
            </a:ln>
          </p:spPr>
          <p:txBody>
            <a:bodyPr/>
            <a:lstStyle/>
            <a:p>
              <a:endParaRPr lang="en-GB">
                <a:solidFill>
                  <a:srgbClr val="000000"/>
                </a:solidFill>
              </a:endParaRPr>
            </a:p>
          </p:txBody>
        </p:sp>
        <p:sp>
          <p:nvSpPr>
            <p:cNvPr id="58" name="Freeform 49"/>
            <p:cNvSpPr>
              <a:spLocks/>
            </p:cNvSpPr>
            <p:nvPr userDrawn="1"/>
          </p:nvSpPr>
          <p:spPr bwMode="gray">
            <a:xfrm>
              <a:off x="4655" y="604"/>
              <a:ext cx="26" cy="4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endParaRPr lang="en-GB">
                <a:solidFill>
                  <a:srgbClr val="000000"/>
                </a:solidFill>
              </a:endParaRPr>
            </a:p>
          </p:txBody>
        </p:sp>
        <p:sp>
          <p:nvSpPr>
            <p:cNvPr id="60" name="Freeform 50"/>
            <p:cNvSpPr>
              <a:spLocks/>
            </p:cNvSpPr>
            <p:nvPr userDrawn="1"/>
          </p:nvSpPr>
          <p:spPr bwMode="gray">
            <a:xfrm>
              <a:off x="4691" y="585"/>
              <a:ext cx="30"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a:solidFill>
                  <a:srgbClr val="000000"/>
                </a:solidFill>
              </a:endParaRPr>
            </a:p>
          </p:txBody>
        </p:sp>
        <p:sp>
          <p:nvSpPr>
            <p:cNvPr id="61" name="Freeform 51"/>
            <p:cNvSpPr>
              <a:spLocks noEditPoints="1"/>
            </p:cNvSpPr>
            <p:nvPr userDrawn="1"/>
          </p:nvSpPr>
          <p:spPr bwMode="gray">
            <a:xfrm>
              <a:off x="4730" y="604"/>
              <a:ext cx="32" cy="4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endParaRPr lang="en-GB">
                <a:solidFill>
                  <a:srgbClr val="000000"/>
                </a:solidFill>
              </a:endParaRPr>
            </a:p>
          </p:txBody>
        </p:sp>
        <p:sp>
          <p:nvSpPr>
            <p:cNvPr id="62" name="Freeform 52"/>
            <p:cNvSpPr>
              <a:spLocks noEditPoints="1"/>
            </p:cNvSpPr>
            <p:nvPr userDrawn="1"/>
          </p:nvSpPr>
          <p:spPr bwMode="gray">
            <a:xfrm>
              <a:off x="4774" y="604"/>
              <a:ext cx="32" cy="61"/>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endParaRPr lang="en-GB">
                <a:solidFill>
                  <a:srgbClr val="000000"/>
                </a:solidFill>
              </a:endParaRPr>
            </a:p>
          </p:txBody>
        </p:sp>
        <p:sp>
          <p:nvSpPr>
            <p:cNvPr id="63" name="Freeform 53"/>
            <p:cNvSpPr>
              <a:spLocks noEditPoints="1"/>
            </p:cNvSpPr>
            <p:nvPr userDrawn="1"/>
          </p:nvSpPr>
          <p:spPr bwMode="gray">
            <a:xfrm>
              <a:off x="4815" y="591"/>
              <a:ext cx="9" cy="55"/>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endParaRPr lang="en-GB">
                <a:solidFill>
                  <a:srgbClr val="000000"/>
                </a:solidFill>
              </a:endParaRPr>
            </a:p>
          </p:txBody>
        </p:sp>
        <p:sp>
          <p:nvSpPr>
            <p:cNvPr id="64" name="Freeform 54"/>
            <p:cNvSpPr>
              <a:spLocks/>
            </p:cNvSpPr>
            <p:nvPr userDrawn="1"/>
          </p:nvSpPr>
          <p:spPr bwMode="gray">
            <a:xfrm>
              <a:off x="4836" y="604"/>
              <a:ext cx="31" cy="42"/>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endParaRPr lang="en-GB">
                <a:solidFill>
                  <a:srgbClr val="000000"/>
                </a:solidFill>
              </a:endParaRPr>
            </a:p>
          </p:txBody>
        </p:sp>
        <p:sp>
          <p:nvSpPr>
            <p:cNvPr id="65" name="Freeform 55"/>
            <p:cNvSpPr>
              <a:spLocks noEditPoints="1"/>
            </p:cNvSpPr>
            <p:nvPr userDrawn="1"/>
          </p:nvSpPr>
          <p:spPr bwMode="gray">
            <a:xfrm>
              <a:off x="4876" y="604"/>
              <a:ext cx="32" cy="62"/>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endParaRPr lang="en-GB">
                <a:solidFill>
                  <a:srgbClr val="000000"/>
                </a:solidFill>
              </a:endParaRPr>
            </a:p>
          </p:txBody>
        </p:sp>
        <p:sp>
          <p:nvSpPr>
            <p:cNvPr id="66" name="Freeform 56"/>
            <p:cNvSpPr>
              <a:spLocks/>
            </p:cNvSpPr>
            <p:nvPr userDrawn="1"/>
          </p:nvSpPr>
          <p:spPr bwMode="gray">
            <a:xfrm>
              <a:off x="4939"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a:solidFill>
                  <a:srgbClr val="000000"/>
                </a:solidFill>
              </a:endParaRPr>
            </a:p>
          </p:txBody>
        </p:sp>
        <p:sp>
          <p:nvSpPr>
            <p:cNvPr id="67" name="Freeform 57"/>
            <p:cNvSpPr>
              <a:spLocks noEditPoints="1"/>
            </p:cNvSpPr>
            <p:nvPr userDrawn="1"/>
          </p:nvSpPr>
          <p:spPr bwMode="gray">
            <a:xfrm>
              <a:off x="4963"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a:solidFill>
                  <a:srgbClr val="000000"/>
                </a:solidFill>
              </a:endParaRPr>
            </a:p>
          </p:txBody>
        </p:sp>
        <p:sp>
          <p:nvSpPr>
            <p:cNvPr id="68" name="Freeform 58"/>
            <p:cNvSpPr>
              <a:spLocks/>
            </p:cNvSpPr>
            <p:nvPr userDrawn="1"/>
          </p:nvSpPr>
          <p:spPr bwMode="gray">
            <a:xfrm>
              <a:off x="5007" y="604"/>
              <a:ext cx="52" cy="42"/>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a:solidFill>
                  <a:srgbClr val="000000"/>
                </a:solidFill>
              </a:endParaRPr>
            </a:p>
          </p:txBody>
        </p:sp>
        <p:sp>
          <p:nvSpPr>
            <p:cNvPr id="69" name="Freeform 59"/>
            <p:cNvSpPr>
              <a:spLocks noEditPoints="1"/>
            </p:cNvSpPr>
            <p:nvPr userDrawn="1"/>
          </p:nvSpPr>
          <p:spPr bwMode="gray">
            <a:xfrm>
              <a:off x="5069"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a:solidFill>
                  <a:srgbClr val="000000"/>
                </a:solidFill>
              </a:endParaRPr>
            </a:p>
          </p:txBody>
        </p:sp>
        <p:sp>
          <p:nvSpPr>
            <p:cNvPr id="70" name="Freeform 60"/>
            <p:cNvSpPr>
              <a:spLocks/>
            </p:cNvSpPr>
            <p:nvPr userDrawn="1"/>
          </p:nvSpPr>
          <p:spPr bwMode="gray">
            <a:xfrm>
              <a:off x="5113"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a:solidFill>
                  <a:srgbClr val="000000"/>
                </a:solidFill>
              </a:endParaRPr>
            </a:p>
          </p:txBody>
        </p:sp>
        <p:sp>
          <p:nvSpPr>
            <p:cNvPr id="71" name="Freeform 61"/>
            <p:cNvSpPr>
              <a:spLocks/>
            </p:cNvSpPr>
            <p:nvPr userDrawn="1"/>
          </p:nvSpPr>
          <p:spPr bwMode="gray">
            <a:xfrm>
              <a:off x="5138"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a:solidFill>
                  <a:srgbClr val="000000"/>
                </a:solidFill>
              </a:endParaRPr>
            </a:p>
          </p:txBody>
        </p:sp>
        <p:sp>
          <p:nvSpPr>
            <p:cNvPr id="72" name="Freeform 62"/>
            <p:cNvSpPr>
              <a:spLocks noEditPoints="1"/>
            </p:cNvSpPr>
            <p:nvPr userDrawn="1"/>
          </p:nvSpPr>
          <p:spPr bwMode="gray">
            <a:xfrm>
              <a:off x="5160" y="604"/>
              <a:ext cx="34" cy="4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a:solidFill>
                  <a:srgbClr val="000000"/>
                </a:solidFill>
              </a:endParaRPr>
            </a:p>
          </p:txBody>
        </p:sp>
        <p:sp>
          <p:nvSpPr>
            <p:cNvPr id="73" name="Freeform 63"/>
            <p:cNvSpPr>
              <a:spLocks/>
            </p:cNvSpPr>
            <p:nvPr userDrawn="1"/>
          </p:nvSpPr>
          <p:spPr bwMode="gray">
            <a:xfrm>
              <a:off x="5198" y="605"/>
              <a:ext cx="52" cy="41"/>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a:solidFill>
                  <a:srgbClr val="000000"/>
                </a:solidFill>
              </a:endParaRPr>
            </a:p>
          </p:txBody>
        </p:sp>
        <p:sp>
          <p:nvSpPr>
            <p:cNvPr id="74" name="Freeform 64"/>
            <p:cNvSpPr>
              <a:spLocks/>
            </p:cNvSpPr>
            <p:nvPr userDrawn="1"/>
          </p:nvSpPr>
          <p:spPr bwMode="gray">
            <a:xfrm>
              <a:off x="5270" y="605"/>
              <a:ext cx="52" cy="41"/>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a:solidFill>
                  <a:srgbClr val="000000"/>
                </a:solidFill>
              </a:endParaRPr>
            </a:p>
          </p:txBody>
        </p:sp>
        <p:sp>
          <p:nvSpPr>
            <p:cNvPr id="75" name="Freeform 65"/>
            <p:cNvSpPr>
              <a:spLocks noEditPoints="1"/>
            </p:cNvSpPr>
            <p:nvPr userDrawn="1"/>
          </p:nvSpPr>
          <p:spPr bwMode="gray">
            <a:xfrm>
              <a:off x="5329" y="591"/>
              <a:ext cx="9" cy="55"/>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endParaRPr lang="en-GB">
                <a:solidFill>
                  <a:srgbClr val="000000"/>
                </a:solidFill>
              </a:endParaRPr>
            </a:p>
          </p:txBody>
        </p:sp>
        <p:sp>
          <p:nvSpPr>
            <p:cNvPr id="76" name="Freeform 66"/>
            <p:cNvSpPr>
              <a:spLocks/>
            </p:cNvSpPr>
            <p:nvPr userDrawn="1"/>
          </p:nvSpPr>
          <p:spPr bwMode="gray">
            <a:xfrm>
              <a:off x="5350"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a:solidFill>
                  <a:srgbClr val="000000"/>
                </a:solidFill>
              </a:endParaRPr>
            </a:p>
          </p:txBody>
        </p:sp>
        <p:sp>
          <p:nvSpPr>
            <p:cNvPr id="77" name="Freeform 67"/>
            <p:cNvSpPr>
              <a:spLocks/>
            </p:cNvSpPr>
            <p:nvPr userDrawn="1"/>
          </p:nvSpPr>
          <p:spPr bwMode="gray">
            <a:xfrm>
              <a:off x="5376" y="585"/>
              <a:ext cx="31"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a:solidFill>
                  <a:srgbClr val="000000"/>
                </a:solidFill>
              </a:endParaRPr>
            </a:p>
          </p:txBody>
        </p:sp>
        <p:sp>
          <p:nvSpPr>
            <p:cNvPr id="78" name="Freeform 68"/>
            <p:cNvSpPr>
              <a:spLocks/>
            </p:cNvSpPr>
            <p:nvPr userDrawn="1"/>
          </p:nvSpPr>
          <p:spPr bwMode="gray">
            <a:xfrm>
              <a:off x="5432" y="605"/>
              <a:ext cx="34" cy="6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endParaRPr lang="en-GB">
                <a:solidFill>
                  <a:srgbClr val="000000"/>
                </a:solidFill>
              </a:endParaRPr>
            </a:p>
          </p:txBody>
        </p:sp>
        <p:sp>
          <p:nvSpPr>
            <p:cNvPr id="79" name="Freeform 69"/>
            <p:cNvSpPr>
              <a:spLocks noEditPoints="1"/>
            </p:cNvSpPr>
            <p:nvPr userDrawn="1"/>
          </p:nvSpPr>
          <p:spPr bwMode="gray">
            <a:xfrm>
              <a:off x="5470"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a:solidFill>
                  <a:srgbClr val="000000"/>
                </a:solidFill>
              </a:endParaRPr>
            </a:p>
          </p:txBody>
        </p:sp>
        <p:sp>
          <p:nvSpPr>
            <p:cNvPr id="80" name="Freeform 70"/>
            <p:cNvSpPr>
              <a:spLocks/>
            </p:cNvSpPr>
            <p:nvPr userDrawn="1"/>
          </p:nvSpPr>
          <p:spPr bwMode="gray">
            <a:xfrm>
              <a:off x="5514" y="605"/>
              <a:ext cx="29" cy="42"/>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endParaRPr lang="en-GB">
                <a:solidFill>
                  <a:srgbClr val="000000"/>
                </a:solidFill>
              </a:endParaRPr>
            </a:p>
          </p:txBody>
        </p:sp>
        <p:sp>
          <p:nvSpPr>
            <p:cNvPr id="81" name="Freeform 71"/>
            <p:cNvSpPr>
              <a:spLocks/>
            </p:cNvSpPr>
            <p:nvPr userDrawn="1"/>
          </p:nvSpPr>
          <p:spPr bwMode="gray">
            <a:xfrm>
              <a:off x="5115" y="216"/>
              <a:ext cx="132" cy="10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endParaRPr lang="en-GB">
                <a:solidFill>
                  <a:srgbClr val="000000"/>
                </a:solidFill>
              </a:endParaRPr>
            </a:p>
          </p:txBody>
        </p:sp>
        <p:sp>
          <p:nvSpPr>
            <p:cNvPr id="82" name="Freeform 72"/>
            <p:cNvSpPr>
              <a:spLocks/>
            </p:cNvSpPr>
            <p:nvPr userDrawn="1"/>
          </p:nvSpPr>
          <p:spPr bwMode="gray">
            <a:xfrm>
              <a:off x="4899" y="327"/>
              <a:ext cx="91" cy="148"/>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83" name="Freeform 73"/>
            <p:cNvSpPr>
              <a:spLocks/>
            </p:cNvSpPr>
            <p:nvPr userDrawn="1"/>
          </p:nvSpPr>
          <p:spPr bwMode="gray">
            <a:xfrm>
              <a:off x="5114" y="327"/>
              <a:ext cx="60" cy="207"/>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84" name="Freeform 74"/>
            <p:cNvSpPr>
              <a:spLocks/>
            </p:cNvSpPr>
            <p:nvPr userDrawn="1"/>
          </p:nvSpPr>
          <p:spPr bwMode="gray">
            <a:xfrm>
              <a:off x="5180" y="327"/>
              <a:ext cx="47" cy="148"/>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85" name="Freeform 75"/>
            <p:cNvSpPr>
              <a:spLocks/>
            </p:cNvSpPr>
            <p:nvPr userDrawn="1"/>
          </p:nvSpPr>
          <p:spPr bwMode="gray">
            <a:xfrm>
              <a:off x="5227" y="327"/>
              <a:ext cx="111" cy="148"/>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endParaRPr lang="en-GB">
                <a:solidFill>
                  <a:srgbClr val="000000"/>
                </a:solidFill>
              </a:endParaRPr>
            </a:p>
          </p:txBody>
        </p:sp>
        <p:sp>
          <p:nvSpPr>
            <p:cNvPr id="86" name="Freeform 76"/>
            <p:cNvSpPr>
              <a:spLocks/>
            </p:cNvSpPr>
            <p:nvPr userDrawn="1"/>
          </p:nvSpPr>
          <p:spPr bwMode="gray">
            <a:xfrm>
              <a:off x="5429" y="327"/>
              <a:ext cx="124" cy="151"/>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87" name="Freeform 77"/>
            <p:cNvSpPr>
              <a:spLocks/>
            </p:cNvSpPr>
            <p:nvPr userDrawn="1"/>
          </p:nvSpPr>
          <p:spPr bwMode="gray">
            <a:xfrm>
              <a:off x="4994" y="327"/>
              <a:ext cx="125" cy="151"/>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88" name="Freeform 78"/>
            <p:cNvSpPr>
              <a:spLocks/>
            </p:cNvSpPr>
            <p:nvPr userDrawn="1"/>
          </p:nvSpPr>
          <p:spPr bwMode="gray">
            <a:xfrm>
              <a:off x="5333" y="324"/>
              <a:ext cx="95" cy="154"/>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endParaRPr lang="en-GB">
                <a:solidFill>
                  <a:srgbClr val="000000"/>
                </a:solidFill>
              </a:endParaRPr>
            </a:p>
          </p:txBody>
        </p:sp>
      </p:grpSp>
    </p:spTree>
    <p:extLst>
      <p:ext uri="{BB962C8B-B14F-4D97-AF65-F5344CB8AC3E}">
        <p14:creationId xmlns:p14="http://schemas.microsoft.com/office/powerpoint/2010/main" val="3695912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 xmlns:p15="http://schemas.microsoft.com/office/powerpoint/2012/main">
        <p15:guide id="1" pos="431">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47650"/>
            <a:ext cx="8229600" cy="609600"/>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05800" y="5162551"/>
            <a:ext cx="838200" cy="100013"/>
          </a:xfrm>
          <a:prstGeom prst="rect">
            <a:avLst/>
          </a:prstGeom>
        </p:spPr>
        <p:txBody>
          <a:bodyPr/>
          <a:lstStyle/>
          <a:p>
            <a:endParaRPr lang="en-US">
              <a:solidFill>
                <a:srgbClr val="000000"/>
              </a:solidFill>
            </a:endParaRPr>
          </a:p>
        </p:txBody>
      </p:sp>
      <p:sp>
        <p:nvSpPr>
          <p:cNvPr id="5" name="Footer Placeholder 4"/>
          <p:cNvSpPr>
            <a:spLocks noGrp="1"/>
          </p:cNvSpPr>
          <p:nvPr>
            <p:ph type="ftr" sz="quarter" idx="11"/>
          </p:nvPr>
        </p:nvSpPr>
        <p:spPr>
          <a:xfrm>
            <a:off x="5910138" y="4856956"/>
            <a:ext cx="3086100" cy="274637"/>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8700260" y="4848226"/>
            <a:ext cx="338138" cy="111918"/>
          </a:xfrm>
          <a:prstGeom prst="rect">
            <a:avLst/>
          </a:prstGeom>
        </p:spPr>
        <p:txBody>
          <a:bodyPr/>
          <a:lstStyle/>
          <a:p>
            <a:fld id="{6EA6D8CF-3CDE-4807-BCD2-C9F2B831AAA5}" type="slidenum">
              <a:rPr lang="en-US" smtClean="0">
                <a:solidFill>
                  <a:srgbClr val="000000"/>
                </a:solidFill>
              </a:rPr>
              <a:pPr/>
              <a:t>‹#›</a:t>
            </a:fld>
            <a:endParaRPr lang="en-US">
              <a:solidFill>
                <a:srgbClr val="000000"/>
              </a:solidFill>
            </a:endParaRPr>
          </a:p>
        </p:txBody>
      </p:sp>
      <p:sp>
        <p:nvSpPr>
          <p:cNvPr id="8" name="Picture Placeholder 7"/>
          <p:cNvSpPr>
            <a:spLocks noGrp="1"/>
          </p:cNvSpPr>
          <p:nvPr>
            <p:ph type="pic" sz="quarter" idx="13" hasCustomPrompt="1"/>
          </p:nvPr>
        </p:nvSpPr>
        <p:spPr>
          <a:xfrm>
            <a:off x="6948488" y="357187"/>
            <a:ext cx="1727200" cy="486966"/>
          </a:xfrm>
        </p:spPr>
        <p:txBody>
          <a:bodyPr/>
          <a:lstStyle>
            <a:lvl1pPr>
              <a:defRPr/>
            </a:lvl1pPr>
          </a:lstStyle>
          <a:p>
            <a:r>
              <a:rPr lang="ru-RU" dirty="0" smtClean="0"/>
              <a:t>лдж</a:t>
            </a:r>
            <a:endParaRPr lang="en-US" dirty="0"/>
          </a:p>
        </p:txBody>
      </p:sp>
    </p:spTree>
    <p:extLst>
      <p:ext uri="{BB962C8B-B14F-4D97-AF65-F5344CB8AC3E}">
        <p14:creationId xmlns:p14="http://schemas.microsoft.com/office/powerpoint/2010/main" val="2907985451"/>
      </p:ext>
    </p:extLst>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6"/>
          <p:cNvSpPr>
            <a:spLocks noGrp="1" noChangeArrowheads="1"/>
          </p:cNvSpPr>
          <p:nvPr>
            <p:ph type="sldNum" sz="quarter" idx="10"/>
          </p:nvPr>
        </p:nvSpPr>
        <p:spPr>
          <a:xfrm>
            <a:off x="4265614" y="5007769"/>
            <a:ext cx="611187" cy="135731"/>
          </a:xfrm>
          <a:prstGeom prst="rect">
            <a:avLst/>
          </a:prstGeom>
          <a:ln/>
        </p:spPr>
        <p:txBody>
          <a:bodyPr/>
          <a:lstStyle>
            <a:lvl1pPr>
              <a:defRPr/>
            </a:lvl1pPr>
          </a:lstStyle>
          <a:p>
            <a:pPr>
              <a:defRPr/>
            </a:pPr>
            <a:fld id="{43A41CED-1C45-471A-8AC9-F8071C0AC18B}" type="slidenum">
              <a:rPr lang="de-DE">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312693718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Inner - Bullets">
    <p:spTree>
      <p:nvGrpSpPr>
        <p:cNvPr id="1" name=""/>
        <p:cNvGrpSpPr/>
        <p:nvPr/>
      </p:nvGrpSpPr>
      <p:grpSpPr>
        <a:xfrm>
          <a:off x="0" y="0"/>
          <a:ext cx="0" cy="0"/>
          <a:chOff x="0" y="0"/>
          <a:chExt cx="0" cy="0"/>
        </a:xfrm>
      </p:grpSpPr>
    </p:spTree>
    <p:extLst>
      <p:ext uri="{BB962C8B-B14F-4D97-AF65-F5344CB8AC3E}">
        <p14:creationId xmlns:p14="http://schemas.microsoft.com/office/powerpoint/2010/main" val="854417849"/>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Inner - Cust Ref">
    <p:spTree>
      <p:nvGrpSpPr>
        <p:cNvPr id="1" name=""/>
        <p:cNvGrpSpPr/>
        <p:nvPr/>
      </p:nvGrpSpPr>
      <p:grpSpPr>
        <a:xfrm>
          <a:off x="0" y="0"/>
          <a:ext cx="0" cy="0"/>
          <a:chOff x="0" y="0"/>
          <a:chExt cx="0" cy="0"/>
        </a:xfrm>
      </p:grpSpPr>
      <p:pic>
        <p:nvPicPr>
          <p:cNvPr id="2" name="Picture 2"/>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124825" y="252413"/>
            <a:ext cx="777875"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50800"/>
            <a:ext cx="1138238" cy="522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32985642"/>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2" name="Bild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29" y="762"/>
            <a:ext cx="9144000" cy="5143500"/>
          </a:xfrm>
          <a:prstGeom prst="rect">
            <a:avLst/>
          </a:prstGeom>
        </p:spPr>
      </p:pic>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a:t>
            </a:r>
            <a:r>
              <a:rPr lang="en-GB" sz="4400" dirty="0" err="1" smtClean="0">
                <a:solidFill>
                  <a:srgbClr val="FFFFFF"/>
                </a:solidFill>
              </a:rPr>
              <a:t>durch</a:t>
            </a:r>
            <a:r>
              <a:rPr lang="en-GB" sz="4400" dirty="0" smtClean="0">
                <a:solidFill>
                  <a:srgbClr val="FFFFFF"/>
                </a:solidFill>
              </a:rPr>
              <a:t> </a:t>
            </a:r>
            <a:r>
              <a:rPr lang="en-GB" sz="4400" dirty="0" err="1" smtClean="0">
                <a:solidFill>
                  <a:srgbClr val="FFFFFF"/>
                </a:solidFill>
              </a:rPr>
              <a:t>Klicken</a:t>
            </a:r>
            <a:r>
              <a:rPr lang="en-GB" sz="4400" dirty="0" smtClean="0">
                <a:solidFill>
                  <a:srgbClr val="FFFFFF"/>
                </a:solidFill>
              </a:rPr>
              <a:t> </a:t>
            </a:r>
            <a:r>
              <a:rPr lang="en-GB" sz="4400" dirty="0" err="1" smtClean="0">
                <a:solidFill>
                  <a:srgbClr val="FFFFFF"/>
                </a:solidFill>
              </a:rPr>
              <a:t>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8" name="Title 47"/>
          <p:cNvSpPr>
            <a:spLocks noGrp="1"/>
          </p:cNvSpPr>
          <p:nvPr>
            <p:ph type="title"/>
          </p:nvPr>
        </p:nvSpPr>
        <p:spPr bwMode="gray">
          <a:xfrm>
            <a:off x="395420" y="411450"/>
            <a:ext cx="2088291" cy="1368190"/>
          </a:xfrm>
          <a:noFill/>
          <a:ln w="9525">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2200" kern="1200" noProof="0" smtClean="0">
                <a:solidFill>
                  <a:schemeClr val="bg1"/>
                </a:solidFill>
                <a:latin typeface="Fujitsu Sans"/>
                <a:ea typeface="+mj-ea"/>
                <a:cs typeface="Fujitsu Sans"/>
              </a:defRPr>
            </a:lvl1pPr>
          </a:lstStyle>
          <a:p>
            <a:r>
              <a:rPr lang="de-DE" noProof="0" dirty="0" smtClean="0"/>
              <a:t>Mastertitelformat bearbeiten</a:t>
            </a:r>
            <a:endParaRPr lang="en-US" noProof="0" dirty="0"/>
          </a:p>
        </p:txBody>
      </p:sp>
      <p:sp>
        <p:nvSpPr>
          <p:cNvPr id="59" name="Subtitle 2"/>
          <p:cNvSpPr>
            <a:spLocks noGrp="1"/>
          </p:cNvSpPr>
          <p:nvPr>
            <p:ph type="subTitle" idx="1"/>
          </p:nvPr>
        </p:nvSpPr>
        <p:spPr bwMode="gray">
          <a:xfrm>
            <a:off x="395421" y="1801012"/>
            <a:ext cx="2088290" cy="69872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1400" b="0" kern="1200" noProof="0" dirty="0" smtClean="0">
                <a:solidFill>
                  <a:schemeClr val="bg1"/>
                </a:solidFill>
                <a:latin typeface="Fujitsu Sans"/>
                <a:ea typeface="+mn-ea"/>
                <a:cs typeface="Fujitsu San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smtClean="0"/>
              <a:t>Master-Untertitelformat bearbeiten</a:t>
            </a:r>
            <a:endParaRPr lang="en-US" noProof="0" dirty="0"/>
          </a:p>
        </p:txBody>
      </p:sp>
      <p:pic>
        <p:nvPicPr>
          <p:cNvPr id="1026" name="Picture 2" descr="Fujitsu_Logo_white"/>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7664185" y="243040"/>
            <a:ext cx="1252800" cy="626179"/>
          </a:xfrm>
          <a:prstGeom prst="rect">
            <a:avLst/>
          </a:prstGeom>
          <a:noFill/>
        </p:spPr>
      </p:pic>
    </p:spTree>
    <p:extLst>
      <p:ext uri="{BB962C8B-B14F-4D97-AF65-F5344CB8AC3E}">
        <p14:creationId xmlns:p14="http://schemas.microsoft.com/office/powerpoint/2010/main" val="449767165"/>
      </p:ext>
    </p:extLst>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Intermediate Cover">
    <p:spTree>
      <p:nvGrpSpPr>
        <p:cNvPr id="1" name=""/>
        <p:cNvGrpSpPr/>
        <p:nvPr/>
      </p:nvGrpSpPr>
      <p:grpSpPr>
        <a:xfrm>
          <a:off x="0" y="0"/>
          <a:ext cx="0" cy="0"/>
          <a:chOff x="0" y="0"/>
          <a:chExt cx="0" cy="0"/>
        </a:xfrm>
      </p:grpSpPr>
      <p:pic>
        <p:nvPicPr>
          <p:cNvPr id="8" name="Bild 1"/>
          <p:cNvPicPr>
            <a:picLocks noChangeAspect="1"/>
          </p:cNvPicPr>
          <p:nvPr userDrawn="1"/>
        </p:nvPicPr>
        <p:blipFill rotWithShape="1">
          <a:blip r:embed="rId2">
            <a:extLst>
              <a:ext uri="{28A0092B-C50C-407E-A947-70E740481C1C}">
                <a14:useLocalDpi xmlns:a14="http://schemas.microsoft.com/office/drawing/2010/main" val="0"/>
              </a:ext>
            </a:extLst>
          </a:blip>
          <a:srcRect b="41615"/>
          <a:stretch/>
        </p:blipFill>
        <p:spPr>
          <a:xfrm>
            <a:off x="-829" y="762"/>
            <a:ext cx="9144000" cy="3003048"/>
          </a:xfrm>
          <a:prstGeom prst="rect">
            <a:avLst/>
          </a:prstGeom>
        </p:spPr>
      </p:pic>
      <p:sp>
        <p:nvSpPr>
          <p:cNvPr id="6" name="Title 15"/>
          <p:cNvSpPr>
            <a:spLocks noGrp="1"/>
          </p:cNvSpPr>
          <p:nvPr>
            <p:ph type="title"/>
          </p:nvPr>
        </p:nvSpPr>
        <p:spPr bwMode="gray">
          <a:xfrm>
            <a:off x="250825" y="1563638"/>
            <a:ext cx="8642350" cy="86409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tx1"/>
                </a:solidFill>
                <a:latin typeface="Fujitsu Sans" charset="0"/>
                <a:ea typeface="Fujitsu Sans" charset="0"/>
                <a:cs typeface="Fujitsu Sans" charset="0"/>
              </a:defRPr>
            </a:lvl1pPr>
          </a:lstStyle>
          <a:p>
            <a:r>
              <a:rPr lang="en-US" noProof="0" dirty="0" smtClean="0"/>
              <a:t>Click to edit Master title style</a:t>
            </a:r>
            <a:endParaRPr lang="en-US" noProof="0" dirty="0"/>
          </a:p>
        </p:txBody>
      </p:sp>
      <p:sp>
        <p:nvSpPr>
          <p:cNvPr id="7" name="Text Placeholder 19"/>
          <p:cNvSpPr>
            <a:spLocks noGrp="1"/>
          </p:cNvSpPr>
          <p:nvPr>
            <p:ph type="body" sz="quarter" idx="10"/>
          </p:nvPr>
        </p:nvSpPr>
        <p:spPr bwMode="gray">
          <a:xfrm>
            <a:off x="250824" y="2787780"/>
            <a:ext cx="8642351" cy="2015995"/>
          </a:xfrm>
        </p:spPr>
        <p:txBody>
          <a:bodyPr/>
          <a:lstStyle>
            <a:lvl1pPr>
              <a:spcAft>
                <a:spcPts val="300"/>
              </a:spcAft>
              <a:buClr>
                <a:schemeClr val="tx2"/>
              </a:buClr>
              <a:buFont typeface="Wingdings" pitchFamily="2" charset="2"/>
              <a:buChar char="n"/>
              <a:defRPr sz="2200">
                <a:latin typeface="Fujitsu Sans" charset="0"/>
                <a:ea typeface="Fujitsu Sans" charset="0"/>
                <a:cs typeface="Fujitsu Sans" charset="0"/>
              </a:defRPr>
            </a:lvl1pPr>
            <a:lvl2pPr marL="266700" indent="-266700">
              <a:spcBef>
                <a:spcPts val="516"/>
              </a:spcBef>
              <a:buFont typeface="Wingdings" pitchFamily="2" charset="2"/>
              <a:buChar char="n"/>
              <a:defRPr sz="2400"/>
            </a:lvl2pPr>
            <a:lvl3pPr marL="266700" indent="-266700">
              <a:spcBef>
                <a:spcPts val="516"/>
              </a:spcBef>
              <a:spcAft>
                <a:spcPts val="288"/>
              </a:spcAft>
              <a:buFont typeface="Wingdings" pitchFamily="2" charset="2"/>
              <a:buChar char="n"/>
              <a:defRPr sz="2400"/>
            </a:lvl3pPr>
            <a:lvl4pPr marL="266700" indent="-266700">
              <a:spcBef>
                <a:spcPts val="516"/>
              </a:spcBef>
              <a:spcAft>
                <a:spcPts val="288"/>
              </a:spcAft>
              <a:buFont typeface="Wingdings" pitchFamily="2" charset="2"/>
              <a:buChar char="n"/>
              <a:defRPr sz="2400"/>
            </a:lvl4pPr>
            <a:lvl5pPr marL="266700" indent="-266700">
              <a:spcBef>
                <a:spcPts val="516"/>
              </a:spcBef>
              <a:spcAft>
                <a:spcPts val="288"/>
              </a:spcAft>
              <a:buFont typeface="Wingdings" pitchFamily="2" charset="2"/>
              <a:buChar char="n"/>
              <a:defRPr sz="2400"/>
            </a:lvl5pPr>
          </a:lstStyle>
          <a:p>
            <a:pPr lvl="0"/>
            <a:r>
              <a:rPr lang="en-US" noProof="0" dirty="0" smtClean="0"/>
              <a:t>Click to edit Master text styles</a:t>
            </a:r>
          </a:p>
        </p:txBody>
      </p:sp>
      <p:pic>
        <p:nvPicPr>
          <p:cNvPr id="9" name="Picture 3" descr="Fujitsu_Logo"/>
          <p:cNvPicPr>
            <a:picLocks noChangeAspect="1" noChangeArrowheads="1"/>
          </p:cNvPicPr>
          <p:nvPr userDrawn="1"/>
        </p:nvPicPr>
        <p:blipFill>
          <a:blip r:embed="rId3" cstate="print"/>
          <a:srcRect b="20259"/>
          <a:stretch>
            <a:fillRect/>
          </a:stretch>
        </p:blipFill>
        <p:spPr bwMode="auto">
          <a:xfrm>
            <a:off x="7664790" y="243040"/>
            <a:ext cx="1252195" cy="499082"/>
          </a:xfrm>
          <a:prstGeom prst="rect">
            <a:avLst/>
          </a:prstGeom>
          <a:noFill/>
        </p:spPr>
      </p:pic>
    </p:spTree>
    <p:extLst>
      <p:ext uri="{BB962C8B-B14F-4D97-AF65-F5344CB8AC3E}">
        <p14:creationId xmlns:p14="http://schemas.microsoft.com/office/powerpoint/2010/main" val="2897755695"/>
      </p:ext>
    </p:extLst>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dirty="0"/>
              <a:t>Mastertitelformat bearbeiten</a:t>
            </a:r>
            <a:endParaRPr lang="en-US" noProof="0" dirty="0"/>
          </a:p>
        </p:txBody>
      </p:sp>
      <p:sp>
        <p:nvSpPr>
          <p:cNvPr id="10" name="Text Placeholder 9"/>
          <p:cNvSpPr>
            <a:spLocks noGrp="1"/>
          </p:cNvSpPr>
          <p:nvPr>
            <p:ph type="body" sz="quarter" idx="10"/>
          </p:nvPr>
        </p:nvSpPr>
        <p:spPr bwMode="gray">
          <a:xfrm>
            <a:off x="250825" y="987425"/>
            <a:ext cx="8642350" cy="3816350"/>
          </a:xfrm>
        </p:spPr>
        <p:txBody>
          <a:body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en-US" noProof="0" dirty="0"/>
          </a:p>
        </p:txBody>
      </p:sp>
    </p:spTree>
    <p:extLst>
      <p:ext uri="{BB962C8B-B14F-4D97-AF65-F5344CB8AC3E}">
        <p14:creationId xmlns:p14="http://schemas.microsoft.com/office/powerpoint/2010/main" val="8441267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635936"/>
            <a:ext cx="2664991"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3131840" y="1563928"/>
            <a:ext cx="5761335"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cSld>
  <p:clrMapOvr>
    <a:masterClrMapping/>
  </p:clrMapOvr>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5" name="Text Placeholder 12"/>
          <p:cNvSpPr>
            <a:spLocks noGrp="1"/>
          </p:cNvSpPr>
          <p:nvPr>
            <p:ph type="body" sz="quarter" idx="15"/>
          </p:nvPr>
        </p:nvSpPr>
        <p:spPr bwMode="gray">
          <a:xfrm>
            <a:off x="250824" y="987424"/>
            <a:ext cx="4177159" cy="3816351"/>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12"/>
          <p:cNvSpPr>
            <a:spLocks noGrp="1"/>
          </p:cNvSpPr>
          <p:nvPr>
            <p:ph type="body" sz="quarter" idx="16"/>
          </p:nvPr>
        </p:nvSpPr>
        <p:spPr bwMode="gray">
          <a:xfrm>
            <a:off x="4644009" y="987425"/>
            <a:ext cx="4249166"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1624683299"/>
      </p:ext>
    </p:extLst>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Text Placeholder 9"/>
          <p:cNvSpPr>
            <a:spLocks noGrp="1"/>
          </p:cNvSpPr>
          <p:nvPr>
            <p:ph type="body" sz="quarter" idx="18"/>
          </p:nvPr>
        </p:nvSpPr>
        <p:spPr bwMode="gray">
          <a:xfrm>
            <a:off x="250824" y="987026"/>
            <a:ext cx="2736999"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9"/>
          <p:cNvSpPr>
            <a:spLocks noGrp="1"/>
          </p:cNvSpPr>
          <p:nvPr>
            <p:ph type="body" sz="quarter" idx="19"/>
          </p:nvPr>
        </p:nvSpPr>
        <p:spPr bwMode="gray">
          <a:xfrm>
            <a:off x="3203848" y="987067"/>
            <a:ext cx="2808312" cy="3816713"/>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8" name="Text Placeholder 9"/>
          <p:cNvSpPr>
            <a:spLocks noGrp="1"/>
          </p:cNvSpPr>
          <p:nvPr>
            <p:ph type="body" sz="quarter" idx="20"/>
          </p:nvPr>
        </p:nvSpPr>
        <p:spPr bwMode="gray">
          <a:xfrm>
            <a:off x="6228185" y="987425"/>
            <a:ext cx="2664990"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1980971228"/>
      </p:ext>
    </p:extLst>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Tree>
    <p:extLst>
      <p:ext uri="{BB962C8B-B14F-4D97-AF65-F5344CB8AC3E}">
        <p14:creationId xmlns:p14="http://schemas.microsoft.com/office/powerpoint/2010/main" val="583213851"/>
      </p:ext>
    </p:extLst>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250824" y="1058863"/>
            <a:ext cx="8642351" cy="3744912"/>
          </a:xfrm>
          <a:prstGeom prst="round1Rect">
            <a:avLst>
              <a:gd name="adj" fmla="val 10174"/>
            </a:avLst>
          </a:prstGeom>
          <a:noFill/>
          <a:ln>
            <a:noFill/>
          </a:ln>
        </p:spPr>
        <p:txBody>
          <a:bodyPr/>
          <a:lstStyle/>
          <a:p>
            <a:r>
              <a:rPr lang="de-DE" noProof="0"/>
              <a:t>Bild auf Platzhalter ziehen oder durch Klicken auf Symbol hinzufügen</a:t>
            </a:r>
            <a:endParaRPr lang="en-US" noProof="0"/>
          </a:p>
        </p:txBody>
      </p:sp>
    </p:spTree>
    <p:extLst>
      <p:ext uri="{BB962C8B-B14F-4D97-AF65-F5344CB8AC3E}">
        <p14:creationId xmlns:p14="http://schemas.microsoft.com/office/powerpoint/2010/main" val="1097681645"/>
      </p:ext>
    </p:extLst>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4716016" y="1058863"/>
            <a:ext cx="4177159" cy="3744912"/>
          </a:xfrm>
          <a:prstGeom prst="round1Rect">
            <a:avLst>
              <a:gd name="adj" fmla="val 10174"/>
            </a:avLst>
          </a:prstGeom>
          <a:noFill/>
          <a:ln>
            <a:noFill/>
          </a:ln>
        </p:spPr>
        <p:txBody>
          <a:bodyPr/>
          <a:lstStyle/>
          <a:p>
            <a:r>
              <a:rPr lang="de-DE" noProof="0"/>
              <a:t>Bild auf Platzhalter ziehen oder durch Klicken auf Symbol hinzufügen</a:t>
            </a:r>
            <a:endParaRPr lang="en-US" noProof="0"/>
          </a:p>
        </p:txBody>
      </p:sp>
      <p:sp>
        <p:nvSpPr>
          <p:cNvPr id="10" name="Picture Placeholder 10"/>
          <p:cNvSpPr>
            <a:spLocks noGrp="1"/>
          </p:cNvSpPr>
          <p:nvPr>
            <p:ph type="pic" sz="quarter" idx="16"/>
            <p:custDataLst>
              <p:tags r:id="rId2"/>
            </p:custDataLst>
          </p:nvPr>
        </p:nvSpPr>
        <p:spPr bwMode="gray">
          <a:xfrm>
            <a:off x="250824" y="1058863"/>
            <a:ext cx="4177159" cy="3744912"/>
          </a:xfrm>
          <a:prstGeom prst="rect">
            <a:avLst/>
          </a:prstGeom>
          <a:noFill/>
          <a:ln>
            <a:noFill/>
          </a:ln>
        </p:spPr>
        <p:txBody>
          <a:bodyPr/>
          <a:lstStyle/>
          <a:p>
            <a:r>
              <a:rPr lang="de-DE" noProof="0"/>
              <a:t>Bild auf Platzhalter ziehen oder durch Klicken auf Symbol hinzufügen</a:t>
            </a:r>
            <a:endParaRPr lang="en-US" noProof="0"/>
          </a:p>
        </p:txBody>
      </p:sp>
    </p:spTree>
    <p:extLst>
      <p:ext uri="{BB962C8B-B14F-4D97-AF65-F5344CB8AC3E}">
        <p14:creationId xmlns:p14="http://schemas.microsoft.com/office/powerpoint/2010/main" val="3202855542"/>
      </p:ext>
    </p:extLst>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4716016" y="1058863"/>
            <a:ext cx="4177159" cy="3744912"/>
          </a:xfrm>
          <a:prstGeom prst="round1Rect">
            <a:avLst>
              <a:gd name="adj" fmla="val 10174"/>
            </a:avLst>
          </a:prstGeom>
        </p:spPr>
        <p:txBody>
          <a:bodyPr/>
          <a:lstStyle/>
          <a:p>
            <a:r>
              <a:rPr lang="de-DE" noProof="0"/>
              <a:t>Bild auf Platzhalter ziehen oder durch Klicken auf Symbol hinzufügen</a:t>
            </a:r>
            <a:endParaRPr lang="en-US" noProof="0"/>
          </a:p>
        </p:txBody>
      </p:sp>
      <p:sp>
        <p:nvSpPr>
          <p:cNvPr id="11" name="Text Placeholder 8"/>
          <p:cNvSpPr>
            <a:spLocks noGrp="1"/>
          </p:cNvSpPr>
          <p:nvPr>
            <p:ph type="body" sz="quarter" idx="16"/>
          </p:nvPr>
        </p:nvSpPr>
        <p:spPr bwMode="gray">
          <a:xfrm>
            <a:off x="250824" y="987425"/>
            <a:ext cx="4177159"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449657972"/>
      </p:ext>
    </p:extLst>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250824" y="1058863"/>
            <a:ext cx="4177159" cy="3744912"/>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6"/>
          </p:nvPr>
        </p:nvSpPr>
        <p:spPr bwMode="gray">
          <a:xfrm>
            <a:off x="4644009" y="987425"/>
            <a:ext cx="4249166"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052499618"/>
      </p:ext>
    </p:extLst>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6228184" y="1058863"/>
            <a:ext cx="2664991" cy="3744912"/>
          </a:xfrm>
          <a:prstGeom prst="round1Rect">
            <a:avLst>
              <a:gd name="adj" fmla="val 14296"/>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7"/>
          </p:nvPr>
        </p:nvSpPr>
        <p:spPr bwMode="gray">
          <a:xfrm>
            <a:off x="250824" y="987425"/>
            <a:ext cx="5761335"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109250351"/>
      </p:ext>
    </p:extLst>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058863"/>
            <a:ext cx="2664992" cy="3744912"/>
          </a:xfrm>
          <a:prstGeom prst="rect">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7"/>
          </p:nvPr>
        </p:nvSpPr>
        <p:spPr bwMode="gray">
          <a:xfrm>
            <a:off x="3131840" y="987425"/>
            <a:ext cx="5761335"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2619524259"/>
      </p:ext>
    </p:extLst>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3132139" y="1058862"/>
            <a:ext cx="5761036" cy="3744913"/>
          </a:xfrm>
          <a:prstGeom prst="round1Rect">
            <a:avLst>
              <a:gd name="adj" fmla="val 10174"/>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5" y="987425"/>
            <a:ext cx="2665414"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215484553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ubheadline + 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3132139" y="1635936"/>
            <a:ext cx="5761036" cy="3167840"/>
          </a:xfrm>
          <a:prstGeom prst="round1Rect">
            <a:avLst>
              <a:gd name="adj" fmla="val 12027"/>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5" y="1563928"/>
            <a:ext cx="2665414"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cSld>
  <p:clrMapOvr>
    <a:masterClrMapping/>
  </p:clrMapOvr>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058862"/>
            <a:ext cx="5761038" cy="3744913"/>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6227763" y="987425"/>
            <a:ext cx="2665412"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1773477981"/>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ext top – Picture bottom">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8"/>
          </p:nvPr>
        </p:nvSpPr>
        <p:spPr bwMode="gray">
          <a:xfrm>
            <a:off x="250825" y="3003809"/>
            <a:ext cx="8642349" cy="1799965"/>
          </a:xfrm>
          <a:prstGeom prst="rect">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9"/>
          </p:nvPr>
        </p:nvSpPr>
        <p:spPr bwMode="gray">
          <a:xfrm>
            <a:off x="250825" y="987426"/>
            <a:ext cx="8642350" cy="187236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2691352974"/>
      </p:ext>
    </p:extLst>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5" y="1058862"/>
            <a:ext cx="8642351" cy="1800928"/>
          </a:xfrm>
          <a:prstGeom prst="round1Rect">
            <a:avLst>
              <a:gd name="adj" fmla="val 21156"/>
            </a:avLst>
          </a:prstGeom>
        </p:spPr>
        <p:txBody>
          <a:bodyPr/>
          <a:lstStyle/>
          <a:p>
            <a:r>
              <a:rPr lang="de-DE" noProof="0"/>
              <a:t>Bild auf Platzhalter ziehen oder durch Klicken auf Symbol hinzufügen</a:t>
            </a:r>
            <a:endParaRPr lang="en-US" noProof="0"/>
          </a:p>
        </p:txBody>
      </p:sp>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Text Placeholder 9"/>
          <p:cNvSpPr>
            <a:spLocks noGrp="1"/>
          </p:cNvSpPr>
          <p:nvPr>
            <p:ph type="body" sz="quarter" idx="19"/>
          </p:nvPr>
        </p:nvSpPr>
        <p:spPr bwMode="gray">
          <a:xfrm>
            <a:off x="250825" y="3003810"/>
            <a:ext cx="8642350" cy="179996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2683404138"/>
      </p:ext>
    </p:extLst>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0" name="Text Placeholder 7"/>
          <p:cNvSpPr>
            <a:spLocks noGrp="1"/>
          </p:cNvSpPr>
          <p:nvPr>
            <p:ph type="body" sz="quarter" idx="15"/>
          </p:nvPr>
        </p:nvSpPr>
        <p:spPr bwMode="gray">
          <a:xfrm>
            <a:off x="250826" y="1563927"/>
            <a:ext cx="8642350"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6" y="987267"/>
            <a:ext cx="8642349"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484276981"/>
      </p:ext>
    </p:extLst>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5" name="Text Placeholder 10"/>
          <p:cNvSpPr>
            <a:spLocks noGrp="1"/>
          </p:cNvSpPr>
          <p:nvPr>
            <p:ph type="body" sz="quarter" idx="16"/>
          </p:nvPr>
        </p:nvSpPr>
        <p:spPr bwMode="gray">
          <a:xfrm>
            <a:off x="250824" y="1563928"/>
            <a:ext cx="417715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10"/>
          <p:cNvSpPr>
            <a:spLocks noGrp="1"/>
          </p:cNvSpPr>
          <p:nvPr>
            <p:ph type="body" sz="quarter" idx="17"/>
          </p:nvPr>
        </p:nvSpPr>
        <p:spPr bwMode="gray">
          <a:xfrm>
            <a:off x="4644009" y="1563928"/>
            <a:ext cx="4249166"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8"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940976329"/>
      </p:ext>
    </p:extLst>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8" name="Text Placeholder 9"/>
          <p:cNvSpPr>
            <a:spLocks noGrp="1"/>
          </p:cNvSpPr>
          <p:nvPr>
            <p:ph type="body" sz="quarter" idx="19"/>
          </p:nvPr>
        </p:nvSpPr>
        <p:spPr bwMode="gray">
          <a:xfrm>
            <a:off x="250825" y="1563928"/>
            <a:ext cx="273699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9" name="Text Placeholder 9"/>
          <p:cNvSpPr>
            <a:spLocks noGrp="1"/>
          </p:cNvSpPr>
          <p:nvPr>
            <p:ph type="body" sz="quarter" idx="20"/>
          </p:nvPr>
        </p:nvSpPr>
        <p:spPr bwMode="gray">
          <a:xfrm>
            <a:off x="3203848" y="1563928"/>
            <a:ext cx="2808312"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20" name="Text Placeholder 9"/>
          <p:cNvSpPr>
            <a:spLocks noGrp="1"/>
          </p:cNvSpPr>
          <p:nvPr>
            <p:ph type="body" sz="quarter" idx="21"/>
          </p:nvPr>
        </p:nvSpPr>
        <p:spPr bwMode="gray">
          <a:xfrm>
            <a:off x="6228184" y="1563928"/>
            <a:ext cx="2664991" cy="3239848"/>
          </a:xfrm>
        </p:spPr>
        <p:txBody>
          <a:bodyPr/>
          <a:lstStyle>
            <a:lvl5pPr>
              <a:defRPr/>
            </a:lvl5p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7"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983974225"/>
      </p:ext>
    </p:extLst>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4" name="Textplatzhalter 14"/>
          <p:cNvSpPr>
            <a:spLocks noGrp="1"/>
          </p:cNvSpPr>
          <p:nvPr>
            <p:ph type="body" sz="quarter" idx="16" hasCustomPrompt="1"/>
          </p:nvPr>
        </p:nvSpPr>
        <p:spPr bwMode="gray">
          <a:xfrm>
            <a:off x="250825" y="987546"/>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002113906"/>
      </p:ext>
    </p:extLst>
  </p:cSld>
  <p:clrMapOvr>
    <a:masterClrMapping/>
  </p:clrMapOvr>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ubheadline + 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250825" y="1635936"/>
            <a:ext cx="8642350" cy="3167840"/>
          </a:xfrm>
          <a:prstGeom prst="round1Rect">
            <a:avLst>
              <a:gd name="adj" fmla="val 12027"/>
            </a:avLst>
          </a:prstGeom>
          <a:noFill/>
          <a:ln>
            <a:noFill/>
          </a:ln>
        </p:spPr>
        <p:txBody>
          <a:bodyPr/>
          <a:lstStyle/>
          <a:p>
            <a:r>
              <a:rPr lang="de-DE" noProof="0"/>
              <a:t>Bild auf Platzhalter ziehen oder durch Klicken auf Symbol hinzufügen</a:t>
            </a:r>
            <a:endParaRPr lang="en-US" noProof="0"/>
          </a:p>
        </p:txBody>
      </p:sp>
      <p:sp>
        <p:nvSpPr>
          <p:cNvPr id="5"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120269197"/>
      </p:ext>
    </p:extLst>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ubheadline + 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4716016" y="1635936"/>
            <a:ext cx="4177159" cy="3167840"/>
          </a:xfrm>
          <a:prstGeom prst="round1Rect">
            <a:avLst>
              <a:gd name="adj" fmla="val 12027"/>
            </a:avLst>
          </a:prstGeom>
          <a:noFill/>
          <a:ln>
            <a:noFill/>
          </a:ln>
        </p:spPr>
        <p:txBody>
          <a:bodyPr/>
          <a:lstStyle/>
          <a:p>
            <a:r>
              <a:rPr lang="de-DE" noProof="0"/>
              <a:t>Bild auf Platzhalter ziehen oder durch Klicken auf Symbol hinzufügen</a:t>
            </a:r>
            <a:endParaRPr lang="en-US" noProof="0"/>
          </a:p>
        </p:txBody>
      </p:sp>
      <p:sp>
        <p:nvSpPr>
          <p:cNvPr id="10" name="Picture Placeholder 10"/>
          <p:cNvSpPr>
            <a:spLocks noGrp="1"/>
          </p:cNvSpPr>
          <p:nvPr>
            <p:ph type="pic" sz="quarter" idx="16"/>
            <p:custDataLst>
              <p:tags r:id="rId2"/>
            </p:custDataLst>
          </p:nvPr>
        </p:nvSpPr>
        <p:spPr bwMode="gray">
          <a:xfrm>
            <a:off x="250825" y="1635936"/>
            <a:ext cx="4177160" cy="3167840"/>
          </a:xfrm>
          <a:prstGeom prst="rect">
            <a:avLst/>
          </a:prstGeom>
          <a:noFill/>
          <a:ln>
            <a:noFill/>
          </a:ln>
        </p:spPr>
        <p:txBody>
          <a:bodyPr/>
          <a:lstStyle/>
          <a:p>
            <a:r>
              <a:rPr lang="de-DE" noProof="0"/>
              <a:t>Bild auf Platzhalter ziehen oder durch Klicken auf Symbol hinzufügen</a:t>
            </a:r>
            <a:endParaRPr lang="en-US" noProof="0"/>
          </a:p>
        </p:txBody>
      </p:sp>
      <p:sp>
        <p:nvSpPr>
          <p:cNvPr id="6" name="Textplatzhalter 14"/>
          <p:cNvSpPr>
            <a:spLocks noGrp="1"/>
          </p:cNvSpPr>
          <p:nvPr>
            <p:ph type="body" sz="quarter" idx="17"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805485573"/>
      </p:ext>
    </p:extLst>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ubheadline + 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4716016" y="1635936"/>
            <a:ext cx="4177159" cy="3167840"/>
          </a:xfrm>
          <a:prstGeom prst="round1Rect">
            <a:avLst>
              <a:gd name="adj" fmla="val 12027"/>
            </a:avLst>
          </a:prstGeom>
        </p:spPr>
        <p:txBody>
          <a:bodyPr/>
          <a:lstStyle/>
          <a:p>
            <a:r>
              <a:rPr lang="de-DE" noProof="0"/>
              <a:t>Bild auf Platzhalter ziehen oder durch Klicken auf Symbol hinzufügen</a:t>
            </a:r>
            <a:endParaRPr lang="en-US" noProof="0"/>
          </a:p>
        </p:txBody>
      </p:sp>
      <p:sp>
        <p:nvSpPr>
          <p:cNvPr id="11" name="Text Placeholder 8"/>
          <p:cNvSpPr>
            <a:spLocks noGrp="1"/>
          </p:cNvSpPr>
          <p:nvPr>
            <p:ph type="body" sz="quarter" idx="17"/>
          </p:nvPr>
        </p:nvSpPr>
        <p:spPr bwMode="gray">
          <a:xfrm>
            <a:off x="250824" y="1563928"/>
            <a:ext cx="417715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49977725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635936"/>
            <a:ext cx="5761038"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6227763" y="1563928"/>
            <a:ext cx="2665412"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cSld>
  <p:clrMapOvr>
    <a:masterClrMapping/>
  </p:clrMapOvr>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250824" y="1635936"/>
            <a:ext cx="4177159"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7"/>
          </p:nvPr>
        </p:nvSpPr>
        <p:spPr bwMode="gray">
          <a:xfrm>
            <a:off x="4644008" y="1563928"/>
            <a:ext cx="4249167"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481087152"/>
      </p:ext>
    </p:extLst>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ubheadline + 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6228184" y="1635936"/>
            <a:ext cx="2664991" cy="3167840"/>
          </a:xfrm>
          <a:prstGeom prst="round1Rect">
            <a:avLst>
              <a:gd name="adj" fmla="val 14296"/>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4" y="1563928"/>
            <a:ext cx="5761335"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833484569"/>
      </p:ext>
    </p:extLst>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635936"/>
            <a:ext cx="2664991"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3131840" y="1563928"/>
            <a:ext cx="5761335"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723627295"/>
      </p:ext>
    </p:extLst>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ubheadline + 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3132139" y="1635936"/>
            <a:ext cx="5761036" cy="3167840"/>
          </a:xfrm>
          <a:prstGeom prst="round1Rect">
            <a:avLst>
              <a:gd name="adj" fmla="val 12027"/>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5" y="1563928"/>
            <a:ext cx="2665414"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591521006"/>
      </p:ext>
    </p:extLst>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635936"/>
            <a:ext cx="5761038"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6227763" y="1563928"/>
            <a:ext cx="2665412"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298878529"/>
      </p:ext>
    </p:extLst>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8"/>
          </p:nvPr>
        </p:nvSpPr>
        <p:spPr bwMode="gray">
          <a:xfrm>
            <a:off x="250826" y="3291851"/>
            <a:ext cx="8642350" cy="1511924"/>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9"/>
          </p:nvPr>
        </p:nvSpPr>
        <p:spPr bwMode="gray">
          <a:xfrm>
            <a:off x="250828" y="1563927"/>
            <a:ext cx="8642348" cy="158390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7" y="987268"/>
            <a:ext cx="8642348"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410695295"/>
      </p:ext>
    </p:extLst>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Subheadline + 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9" y="1635935"/>
            <a:ext cx="8642346" cy="1511896"/>
          </a:xfrm>
          <a:prstGeom prst="round1Rect">
            <a:avLst>
              <a:gd name="adj" fmla="val 25200"/>
            </a:avLst>
          </a:prstGeom>
        </p:spPr>
        <p:txBody>
          <a:bodyPr/>
          <a:lstStyle/>
          <a:p>
            <a:r>
              <a:rPr lang="de-DE" noProof="0"/>
              <a:t>Bild auf Platzhalter ziehen oder durch Klicken auf Symbol hinzufügen</a:t>
            </a:r>
            <a:endParaRPr lang="en-US" noProof="0"/>
          </a:p>
        </p:txBody>
      </p:sp>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0" name="Text Placeholder 8"/>
          <p:cNvSpPr>
            <a:spLocks noGrp="1"/>
          </p:cNvSpPr>
          <p:nvPr>
            <p:ph type="body" sz="quarter" idx="19"/>
          </p:nvPr>
        </p:nvSpPr>
        <p:spPr bwMode="gray">
          <a:xfrm>
            <a:off x="250829" y="3291851"/>
            <a:ext cx="8642346" cy="151192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8" y="987268"/>
            <a:ext cx="8642346"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918265821"/>
      </p:ext>
    </p:extLst>
  </p:cSld>
  <p:clrMapOvr>
    <a:masterClrMapping/>
  </p:clrMapOvr>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type="blank" preserve="1">
  <p:cSld name="Leer">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3148688"/>
      </p:ext>
    </p:extLst>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anchor="ctr"/>
          <a:lstStyle/>
          <a:p>
            <a:endParaRPr lang="en-US">
              <a:solidFill>
                <a:srgbClr val="000000"/>
              </a:solidFill>
            </a:endParaRPr>
          </a:p>
        </p:txBody>
      </p:sp>
      <p:pic>
        <p:nvPicPr>
          <p:cNvPr id="41" name="Picture 2" descr="Fujitsu_Logo"/>
          <p:cNvPicPr>
            <a:picLocks noChangeAspect="1" noChangeArrowheads="1"/>
          </p:cNvPicPr>
          <p:nvPr userDrawn="1"/>
        </p:nvPicPr>
        <p:blipFill>
          <a:blip r:embed="rId2" cstate="print"/>
          <a:srcRect/>
          <a:stretch>
            <a:fillRect/>
          </a:stretch>
        </p:blipFill>
        <p:spPr bwMode="auto">
          <a:xfrm>
            <a:off x="2455510" y="1357200"/>
            <a:ext cx="4202009" cy="2100264"/>
          </a:xfrm>
          <a:prstGeom prst="rect">
            <a:avLst/>
          </a:prstGeom>
          <a:noFill/>
        </p:spPr>
      </p:pic>
    </p:spTree>
    <p:extLst>
      <p:ext uri="{BB962C8B-B14F-4D97-AF65-F5344CB8AC3E}">
        <p14:creationId xmlns:p14="http://schemas.microsoft.com/office/powerpoint/2010/main" val="264308054"/>
      </p:ext>
    </p:extLst>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ru-RU" smtClean="0"/>
              <a:t>Образец заголовка</a:t>
            </a:r>
            <a:endParaRPr lang="de-DE"/>
          </a:p>
        </p:txBody>
      </p:sp>
      <p:sp>
        <p:nvSpPr>
          <p:cNvPr id="3" name="Inhaltsplatzhalter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de-DE" dirty="0"/>
          </a:p>
        </p:txBody>
      </p:sp>
      <p:sp>
        <p:nvSpPr>
          <p:cNvPr id="4" name="Datumsplatzhalter 3"/>
          <p:cNvSpPr>
            <a:spLocks noGrp="1"/>
          </p:cNvSpPr>
          <p:nvPr>
            <p:ph type="dt" sz="half" idx="10"/>
          </p:nvPr>
        </p:nvSpPr>
        <p:spPr>
          <a:xfrm>
            <a:off x="457200" y="4767264"/>
            <a:ext cx="2133600" cy="273844"/>
          </a:xfrm>
          <a:prstGeom prst="rect">
            <a:avLst/>
          </a:prstGeom>
        </p:spPr>
        <p:txBody>
          <a:bodyPr/>
          <a:lstStyle/>
          <a:p>
            <a:endParaRPr lang="de-DE">
              <a:solidFill>
                <a:srgbClr val="000000"/>
              </a:solidFill>
            </a:endParaRPr>
          </a:p>
        </p:txBody>
      </p:sp>
      <p:sp>
        <p:nvSpPr>
          <p:cNvPr id="5" name="Fußzeilenplatzhalter 4"/>
          <p:cNvSpPr>
            <a:spLocks noGrp="1"/>
          </p:cNvSpPr>
          <p:nvPr>
            <p:ph type="ftr" sz="quarter" idx="11"/>
          </p:nvPr>
        </p:nvSpPr>
        <p:spPr>
          <a:xfrm>
            <a:off x="4929575" y="4937125"/>
            <a:ext cx="3963600" cy="201600"/>
          </a:xfrm>
          <a:prstGeom prst="rect">
            <a:avLst/>
          </a:prstGeom>
        </p:spPr>
        <p:txBody>
          <a:bodyPr/>
          <a:lstStyle/>
          <a:p>
            <a:r>
              <a:rPr>
                <a:solidFill>
                  <a:srgbClr val="000000">
                    <a:tint val="75000"/>
                  </a:srgbClr>
                </a:solidFill>
              </a:rPr>
              <a:t>2017</a:t>
            </a:r>
          </a:p>
        </p:txBody>
      </p:sp>
      <p:sp>
        <p:nvSpPr>
          <p:cNvPr id="6" name="Foliennummernplatzhalter 5"/>
          <p:cNvSpPr>
            <a:spLocks noGrp="1"/>
          </p:cNvSpPr>
          <p:nvPr>
            <p:ph type="sldNum" sz="quarter" idx="12"/>
          </p:nvPr>
        </p:nvSpPr>
        <p:spPr>
          <a:xfrm>
            <a:off x="4044114" y="4856957"/>
            <a:ext cx="1055772" cy="274637"/>
          </a:xfrm>
          <a:prstGeom prst="rect">
            <a:avLst/>
          </a:prstGeom>
        </p:spPr>
        <p:txBody>
          <a:bodyPr/>
          <a:lstStyle/>
          <a:p>
            <a:fld id="{E0FB0A61-C40D-4672-9AD2-638BA04E9065}" type="slidenum">
              <a:rPr lang="de-DE" smtClean="0">
                <a:solidFill>
                  <a:srgbClr val="000000">
                    <a:tint val="75000"/>
                  </a:srgbClr>
                </a:solidFill>
              </a:rPr>
              <a:pPr/>
              <a:t>‹#›</a:t>
            </a:fld>
            <a:endParaRPr lang="de-DE">
              <a:solidFill>
                <a:srgbClr val="000000">
                  <a:tint val="75000"/>
                </a:srgbClr>
              </a:solidFill>
            </a:endParaRPr>
          </a:p>
        </p:txBody>
      </p:sp>
    </p:spTree>
    <p:extLst>
      <p:ext uri="{BB962C8B-B14F-4D97-AF65-F5344CB8AC3E}">
        <p14:creationId xmlns:p14="http://schemas.microsoft.com/office/powerpoint/2010/main" val="16364915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8"/>
          </p:nvPr>
        </p:nvSpPr>
        <p:spPr bwMode="gray">
          <a:xfrm>
            <a:off x="250826" y="3291851"/>
            <a:ext cx="8642350" cy="1511924"/>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9"/>
          </p:nvPr>
        </p:nvSpPr>
        <p:spPr bwMode="gray">
          <a:xfrm>
            <a:off x="250828" y="1563927"/>
            <a:ext cx="8642348" cy="158390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7" y="987268"/>
            <a:ext cx="8642348"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dirty="0"/>
              <a:t>Mastertitelformat bearbeiten</a:t>
            </a:r>
            <a:endParaRPr lang="en-US" noProof="0" dirty="0"/>
          </a:p>
        </p:txBody>
      </p:sp>
      <p:sp>
        <p:nvSpPr>
          <p:cNvPr id="10" name="Text Placeholder 9"/>
          <p:cNvSpPr>
            <a:spLocks noGrp="1"/>
          </p:cNvSpPr>
          <p:nvPr>
            <p:ph type="body" sz="quarter" idx="10"/>
          </p:nvPr>
        </p:nvSpPr>
        <p:spPr bwMode="gray">
          <a:xfrm>
            <a:off x="250825" y="987425"/>
            <a:ext cx="8642350" cy="3816350"/>
          </a:xfrm>
        </p:spPr>
        <p:txBody>
          <a:body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en-US" noProof="0" dirty="0"/>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ubheadline + 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9" y="1635935"/>
            <a:ext cx="8642346" cy="1511896"/>
          </a:xfrm>
          <a:prstGeom prst="round1Rect">
            <a:avLst>
              <a:gd name="adj" fmla="val 25200"/>
            </a:avLst>
          </a:prstGeom>
        </p:spPr>
        <p:txBody>
          <a:bodyPr/>
          <a:lstStyle/>
          <a:p>
            <a:r>
              <a:rPr lang="de-DE" noProof="0"/>
              <a:t>Bild auf Platzhalter ziehen oder durch Klicken auf Symbol hinzufügen</a:t>
            </a:r>
            <a:endParaRPr lang="en-US" noProof="0"/>
          </a:p>
        </p:txBody>
      </p:sp>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0" name="Text Placeholder 8"/>
          <p:cNvSpPr>
            <a:spLocks noGrp="1"/>
          </p:cNvSpPr>
          <p:nvPr>
            <p:ph type="body" sz="quarter" idx="19"/>
          </p:nvPr>
        </p:nvSpPr>
        <p:spPr bwMode="gray">
          <a:xfrm>
            <a:off x="250829" y="3291851"/>
            <a:ext cx="8642346" cy="151192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8" y="987268"/>
            <a:ext cx="8642346"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Leer">
    <p:bg bwMode="gray">
      <p:bgRef idx="1001">
        <a:schemeClr val="bg1"/>
      </p:bgRef>
    </p:bg>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anchor="ctr"/>
          <a:lstStyle/>
          <a:p>
            <a:endParaRPr lang="en-US" noProof="0"/>
          </a:p>
        </p:txBody>
      </p:sp>
      <p:pic>
        <p:nvPicPr>
          <p:cNvPr id="41" name="Picture 2" descr="Fujitsu_Logo"/>
          <p:cNvPicPr>
            <a:picLocks noChangeAspect="1" noChangeArrowheads="1"/>
          </p:cNvPicPr>
          <p:nvPr userDrawn="1"/>
        </p:nvPicPr>
        <p:blipFill>
          <a:blip r:embed="rId2" cstate="print"/>
          <a:srcRect/>
          <a:stretch>
            <a:fillRect/>
          </a:stretch>
        </p:blipFill>
        <p:spPr bwMode="auto">
          <a:xfrm>
            <a:off x="2455510" y="1357200"/>
            <a:ext cx="4202009" cy="2100264"/>
          </a:xfrm>
          <a:prstGeom prst="rect">
            <a:avLst/>
          </a:prstGeom>
          <a:noFill/>
        </p:spPr>
      </p:pic>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ner - Bullets">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634347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Inner - Cust Ref">
    <p:spTree>
      <p:nvGrpSpPr>
        <p:cNvPr id="1" name=""/>
        <p:cNvGrpSpPr/>
        <p:nvPr/>
      </p:nvGrpSpPr>
      <p:grpSpPr>
        <a:xfrm>
          <a:off x="0" y="0"/>
          <a:ext cx="0" cy="0"/>
          <a:chOff x="0" y="0"/>
          <a:chExt cx="0" cy="0"/>
        </a:xfrm>
      </p:grpSpPr>
      <p:pic>
        <p:nvPicPr>
          <p:cNvPr id="2" name="Picture 2"/>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124825" y="252413"/>
            <a:ext cx="777875"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7788" y="-50800"/>
            <a:ext cx="1138238" cy="522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6414897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2" name="Bild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762"/>
            <a:ext cx="9144000" cy="5145024"/>
          </a:xfrm>
          <a:prstGeom prst="rect">
            <a:avLst/>
          </a:prstGeom>
        </p:spPr>
      </p:pic>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a:t>
            </a:r>
            <a:r>
              <a:rPr lang="en-GB" sz="4400" dirty="0" err="1" smtClean="0">
                <a:solidFill>
                  <a:srgbClr val="FFFFFF"/>
                </a:solidFill>
              </a:rPr>
              <a:t>durch</a:t>
            </a:r>
            <a:r>
              <a:rPr lang="en-GB" sz="4400" dirty="0" smtClean="0">
                <a:solidFill>
                  <a:srgbClr val="FFFFFF"/>
                </a:solidFill>
              </a:rPr>
              <a:t> </a:t>
            </a:r>
            <a:r>
              <a:rPr lang="en-GB" sz="4400" dirty="0" err="1" smtClean="0">
                <a:solidFill>
                  <a:srgbClr val="FFFFFF"/>
                </a:solidFill>
              </a:rPr>
              <a:t>Klicken</a:t>
            </a:r>
            <a:r>
              <a:rPr lang="en-GB" sz="4400" dirty="0" smtClean="0">
                <a:solidFill>
                  <a:srgbClr val="FFFFFF"/>
                </a:solidFill>
              </a:rPr>
              <a:t> </a:t>
            </a:r>
            <a:r>
              <a:rPr lang="en-GB" sz="4400" dirty="0" err="1" smtClean="0">
                <a:solidFill>
                  <a:srgbClr val="FFFFFF"/>
                </a:solidFill>
              </a:rPr>
              <a:t>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8" name="Title 47"/>
          <p:cNvSpPr>
            <a:spLocks noGrp="1"/>
          </p:cNvSpPr>
          <p:nvPr>
            <p:ph type="title"/>
          </p:nvPr>
        </p:nvSpPr>
        <p:spPr bwMode="gray">
          <a:xfrm>
            <a:off x="611450" y="411450"/>
            <a:ext cx="2664370" cy="1368190"/>
          </a:xfrm>
          <a:noFill/>
          <a:ln w="9525">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2800" kern="1200" noProof="0" smtClean="0">
                <a:solidFill>
                  <a:schemeClr val="bg1"/>
                </a:solidFill>
                <a:latin typeface="Fujitsu Sans"/>
                <a:ea typeface="+mj-ea"/>
                <a:cs typeface="Fujitsu Sans"/>
              </a:defRPr>
            </a:lvl1pPr>
          </a:lstStyle>
          <a:p>
            <a:r>
              <a:rPr lang="de-DE" noProof="0" dirty="0" smtClean="0"/>
              <a:t>Mastertitelformat bearbeiten</a:t>
            </a:r>
            <a:endParaRPr lang="en-US" noProof="0" dirty="0"/>
          </a:p>
        </p:txBody>
      </p:sp>
      <p:sp>
        <p:nvSpPr>
          <p:cNvPr id="59" name="Subtitle 2"/>
          <p:cNvSpPr>
            <a:spLocks noGrp="1"/>
          </p:cNvSpPr>
          <p:nvPr>
            <p:ph type="subTitle" idx="1"/>
          </p:nvPr>
        </p:nvSpPr>
        <p:spPr bwMode="gray">
          <a:xfrm>
            <a:off x="611450" y="2427730"/>
            <a:ext cx="2744079" cy="7201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1600" b="0" kern="1200" noProof="0" dirty="0" smtClean="0">
                <a:solidFill>
                  <a:schemeClr val="bg1"/>
                </a:solidFill>
                <a:latin typeface="Fujitsu Sans"/>
                <a:ea typeface="+mn-ea"/>
                <a:cs typeface="Fujitsu San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smtClean="0"/>
              <a:t>Master-Untertitelformat bearbeiten</a:t>
            </a:r>
            <a:endParaRPr lang="en-US" noProof="0" dirty="0"/>
          </a:p>
        </p:txBody>
      </p:sp>
      <p:pic>
        <p:nvPicPr>
          <p:cNvPr id="1026" name="Picture 2" descr="Fujitsu_Logo_white"/>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7664185" y="243040"/>
            <a:ext cx="1252800" cy="626179"/>
          </a:xfrm>
          <a:prstGeom prst="rect">
            <a:avLst/>
          </a:prstGeom>
          <a:noFill/>
        </p:spPr>
      </p:pic>
      <p:sp>
        <p:nvSpPr>
          <p:cNvPr id="14" name="Title 47"/>
          <p:cNvSpPr txBox="1">
            <a:spLocks/>
          </p:cNvSpPr>
          <p:nvPr userDrawn="1"/>
        </p:nvSpPr>
        <p:spPr bwMode="gray">
          <a:xfrm>
            <a:off x="4608640" y="1553026"/>
            <a:ext cx="4572000" cy="1378774"/>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lnSpc>
                <a:spcPct val="90000"/>
              </a:lnSpc>
              <a:spcBef>
                <a:spcPct val="0"/>
              </a:spcBef>
              <a:spcAft>
                <a:spcPct val="0"/>
              </a:spcAft>
              <a:buNone/>
              <a:tabLst>
                <a:tab pos="3676650" algn="l"/>
              </a:tabLst>
              <a:defRPr kumimoji="1" lang="en-US" altLang="ja-JP" sz="2800" kern="1200" noProof="0" smtClean="0">
                <a:solidFill>
                  <a:schemeClr val="bg1"/>
                </a:solidFill>
                <a:latin typeface="Fujitsu Sans"/>
                <a:ea typeface="+mj-ea"/>
                <a:cs typeface="Fujitsu Sans"/>
              </a:defRPr>
            </a:lvl1pPr>
          </a:lstStyle>
          <a:p>
            <a:r>
              <a:rPr lang="de-DE" sz="2700" dirty="0">
                <a:solidFill>
                  <a:srgbClr val="FFFFFF"/>
                </a:solidFill>
              </a:rPr>
              <a:t>Human Centric Innovation</a:t>
            </a:r>
          </a:p>
          <a:p>
            <a:pPr>
              <a:lnSpc>
                <a:spcPct val="110000"/>
              </a:lnSpc>
            </a:pPr>
            <a:r>
              <a:rPr lang="de-DE" sz="3200" dirty="0">
                <a:solidFill>
                  <a:srgbClr val="FFFFFF"/>
                </a:solidFill>
              </a:rPr>
              <a:t>                          in Action</a:t>
            </a:r>
          </a:p>
        </p:txBody>
      </p:sp>
    </p:spTree>
    <p:extLst>
      <p:ext uri="{BB962C8B-B14F-4D97-AF65-F5344CB8AC3E}">
        <p14:creationId xmlns:p14="http://schemas.microsoft.com/office/powerpoint/2010/main" val="3944085962"/>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termediate Cover">
    <p:spTree>
      <p:nvGrpSpPr>
        <p:cNvPr id="1" name=""/>
        <p:cNvGrpSpPr/>
        <p:nvPr/>
      </p:nvGrpSpPr>
      <p:grpSpPr>
        <a:xfrm>
          <a:off x="0" y="0"/>
          <a:ext cx="0" cy="0"/>
          <a:chOff x="0" y="0"/>
          <a:chExt cx="0" cy="0"/>
        </a:xfrm>
      </p:grpSpPr>
      <p:pic>
        <p:nvPicPr>
          <p:cNvPr id="3" name="Bild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62"/>
            <a:ext cx="9144000" cy="5145024"/>
          </a:xfrm>
          <a:prstGeom prst="rect">
            <a:avLst/>
          </a:prstGeom>
        </p:spPr>
      </p:pic>
      <p:sp>
        <p:nvSpPr>
          <p:cNvPr id="16" name="Title 15"/>
          <p:cNvSpPr>
            <a:spLocks noGrp="1"/>
          </p:cNvSpPr>
          <p:nvPr>
            <p:ph type="title"/>
          </p:nvPr>
        </p:nvSpPr>
        <p:spPr bwMode="gray">
          <a:xfrm>
            <a:off x="252000" y="72000"/>
            <a:ext cx="7560000" cy="770400"/>
          </a:xfrm>
          <a:noFill/>
          <a:ln w="9525">
            <a:noFill/>
            <a:miter lim="800000"/>
            <a:headEnd/>
            <a:tailEnd/>
          </a:ln>
          <a:effectLst/>
        </p:spPr>
        <p:txBody>
          <a:bodyPr vert="horz" wrap="square" lIns="0" tIns="0" rIns="0" bIns="0" numCol="1" anchor="ctr"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bg1"/>
                </a:solidFill>
                <a:latin typeface="Fujitsu Sans"/>
                <a:ea typeface="+mj-ea"/>
                <a:cs typeface="Fujitsu Sans"/>
              </a:defRPr>
            </a:lvl1pPr>
          </a:lstStyle>
          <a:p>
            <a:r>
              <a:rPr lang="de-DE" noProof="0" dirty="0" smtClean="0"/>
              <a:t>Mastertitelformat bearbeiten</a:t>
            </a:r>
            <a:endParaRPr lang="en-US" noProof="0" dirty="0"/>
          </a:p>
        </p:txBody>
      </p:sp>
      <p:pic>
        <p:nvPicPr>
          <p:cNvPr id="7" name="Picture 2" descr="Fujitsu_Logo_white"/>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7664185" y="243040"/>
            <a:ext cx="1252800" cy="476627"/>
          </a:xfrm>
          <a:prstGeom prst="rect">
            <a:avLst/>
          </a:prstGeom>
          <a:noFill/>
        </p:spPr>
      </p:pic>
    </p:spTree>
    <p:extLst>
      <p:ext uri="{BB962C8B-B14F-4D97-AF65-F5344CB8AC3E}">
        <p14:creationId xmlns:p14="http://schemas.microsoft.com/office/powerpoint/2010/main" val="182516064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Intermediate Cover">
    <p:spTree>
      <p:nvGrpSpPr>
        <p:cNvPr id="1" name=""/>
        <p:cNvGrpSpPr/>
        <p:nvPr/>
      </p:nvGrpSpPr>
      <p:grpSpPr>
        <a:xfrm>
          <a:off x="0" y="0"/>
          <a:ext cx="0" cy="0"/>
          <a:chOff x="0" y="0"/>
          <a:chExt cx="0" cy="0"/>
        </a:xfrm>
      </p:grpSpPr>
      <p:pic>
        <p:nvPicPr>
          <p:cNvPr id="3" name="Bild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62"/>
            <a:ext cx="9144000" cy="5145024"/>
          </a:xfrm>
          <a:prstGeom prst="rect">
            <a:avLst/>
          </a:prstGeom>
        </p:spPr>
      </p:pic>
      <p:sp>
        <p:nvSpPr>
          <p:cNvPr id="16" name="Title 15"/>
          <p:cNvSpPr>
            <a:spLocks noGrp="1"/>
          </p:cNvSpPr>
          <p:nvPr>
            <p:ph type="title"/>
          </p:nvPr>
        </p:nvSpPr>
        <p:spPr bwMode="gray">
          <a:xfrm>
            <a:off x="252000" y="72000"/>
            <a:ext cx="7560000" cy="770400"/>
          </a:xfrm>
          <a:noFill/>
          <a:ln w="9525">
            <a:noFill/>
            <a:miter lim="800000"/>
            <a:headEnd/>
            <a:tailEnd/>
          </a:ln>
          <a:effectLst/>
        </p:spPr>
        <p:txBody>
          <a:bodyPr vert="horz" wrap="square" lIns="0" tIns="0" rIns="0" bIns="0" numCol="1" anchor="ctr"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bg1"/>
                </a:solidFill>
                <a:latin typeface="Fujitsu Sans"/>
                <a:ea typeface="+mj-ea"/>
                <a:cs typeface="Fujitsu Sans"/>
              </a:defRPr>
            </a:lvl1pPr>
          </a:lstStyle>
          <a:p>
            <a:r>
              <a:rPr lang="de-DE" noProof="0" dirty="0" smtClean="0"/>
              <a:t>Mastertitelformat bearbeiten</a:t>
            </a:r>
            <a:endParaRPr lang="en-US" noProof="0" dirty="0"/>
          </a:p>
        </p:txBody>
      </p:sp>
      <p:pic>
        <p:nvPicPr>
          <p:cNvPr id="7" name="Picture 2" descr="Fujitsu_Logo_white"/>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7664185" y="243040"/>
            <a:ext cx="1252800" cy="476627"/>
          </a:xfrm>
          <a:prstGeom prst="rect">
            <a:avLst/>
          </a:prstGeom>
          <a:noFill/>
        </p:spPr>
      </p:pic>
    </p:spTree>
    <p:extLst>
      <p:ext uri="{BB962C8B-B14F-4D97-AF65-F5344CB8AC3E}">
        <p14:creationId xmlns:p14="http://schemas.microsoft.com/office/powerpoint/2010/main" val="94881086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dirty="0"/>
              <a:t>Mastertitelformat bearbeiten</a:t>
            </a:r>
            <a:endParaRPr lang="en-US" noProof="0" dirty="0"/>
          </a:p>
        </p:txBody>
      </p:sp>
      <p:sp>
        <p:nvSpPr>
          <p:cNvPr id="10" name="Text Placeholder 9"/>
          <p:cNvSpPr>
            <a:spLocks noGrp="1"/>
          </p:cNvSpPr>
          <p:nvPr>
            <p:ph type="body" sz="quarter" idx="10"/>
          </p:nvPr>
        </p:nvSpPr>
        <p:spPr bwMode="gray">
          <a:xfrm>
            <a:off x="250825" y="987425"/>
            <a:ext cx="8642350" cy="3816350"/>
          </a:xfrm>
        </p:spPr>
        <p:txBody>
          <a:body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en-US" noProof="0" dirty="0"/>
          </a:p>
        </p:txBody>
      </p:sp>
    </p:spTree>
    <p:extLst>
      <p:ext uri="{BB962C8B-B14F-4D97-AF65-F5344CB8AC3E}">
        <p14:creationId xmlns:p14="http://schemas.microsoft.com/office/powerpoint/2010/main" val="1175654744"/>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5" name="Text Placeholder 12"/>
          <p:cNvSpPr>
            <a:spLocks noGrp="1"/>
          </p:cNvSpPr>
          <p:nvPr>
            <p:ph type="body" sz="quarter" idx="15"/>
          </p:nvPr>
        </p:nvSpPr>
        <p:spPr bwMode="gray">
          <a:xfrm>
            <a:off x="250824" y="987424"/>
            <a:ext cx="4177159" cy="3816351"/>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12"/>
          <p:cNvSpPr>
            <a:spLocks noGrp="1"/>
          </p:cNvSpPr>
          <p:nvPr>
            <p:ph type="body" sz="quarter" idx="16"/>
          </p:nvPr>
        </p:nvSpPr>
        <p:spPr bwMode="gray">
          <a:xfrm>
            <a:off x="4644009" y="987425"/>
            <a:ext cx="4249166"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118231927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5" name="Text Placeholder 12"/>
          <p:cNvSpPr>
            <a:spLocks noGrp="1"/>
          </p:cNvSpPr>
          <p:nvPr>
            <p:ph type="body" sz="quarter" idx="15"/>
          </p:nvPr>
        </p:nvSpPr>
        <p:spPr bwMode="gray">
          <a:xfrm>
            <a:off x="250824" y="987424"/>
            <a:ext cx="4177159" cy="3816351"/>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12"/>
          <p:cNvSpPr>
            <a:spLocks noGrp="1"/>
          </p:cNvSpPr>
          <p:nvPr>
            <p:ph type="body" sz="quarter" idx="16"/>
          </p:nvPr>
        </p:nvSpPr>
        <p:spPr bwMode="gray">
          <a:xfrm>
            <a:off x="4644009" y="987425"/>
            <a:ext cx="4249166"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Text Placeholder 9"/>
          <p:cNvSpPr>
            <a:spLocks noGrp="1"/>
          </p:cNvSpPr>
          <p:nvPr>
            <p:ph type="body" sz="quarter" idx="18"/>
          </p:nvPr>
        </p:nvSpPr>
        <p:spPr bwMode="gray">
          <a:xfrm>
            <a:off x="250824" y="987026"/>
            <a:ext cx="2736999"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9"/>
          <p:cNvSpPr>
            <a:spLocks noGrp="1"/>
          </p:cNvSpPr>
          <p:nvPr>
            <p:ph type="body" sz="quarter" idx="19"/>
          </p:nvPr>
        </p:nvSpPr>
        <p:spPr bwMode="gray">
          <a:xfrm>
            <a:off x="3203848" y="987067"/>
            <a:ext cx="2808312" cy="3816713"/>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8" name="Text Placeholder 9"/>
          <p:cNvSpPr>
            <a:spLocks noGrp="1"/>
          </p:cNvSpPr>
          <p:nvPr>
            <p:ph type="body" sz="quarter" idx="20"/>
          </p:nvPr>
        </p:nvSpPr>
        <p:spPr bwMode="gray">
          <a:xfrm>
            <a:off x="6228185" y="987425"/>
            <a:ext cx="2664990"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596635838"/>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Tree>
    <p:extLst>
      <p:ext uri="{BB962C8B-B14F-4D97-AF65-F5344CB8AC3E}">
        <p14:creationId xmlns:p14="http://schemas.microsoft.com/office/powerpoint/2010/main" val="2630033597"/>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250824" y="1058863"/>
            <a:ext cx="8642351" cy="3744912"/>
          </a:xfrm>
          <a:prstGeom prst="round1Rect">
            <a:avLst>
              <a:gd name="adj" fmla="val 10174"/>
            </a:avLst>
          </a:prstGeom>
          <a:noFill/>
          <a:ln>
            <a:noFill/>
          </a:ln>
        </p:spPr>
        <p:txBody>
          <a:bodyPr/>
          <a:lstStyle/>
          <a:p>
            <a:r>
              <a:rPr lang="de-DE" noProof="0"/>
              <a:t>Bild auf Platzhalter ziehen oder durch Klicken auf Symbol hinzufügen</a:t>
            </a:r>
            <a:endParaRPr lang="en-US" noProof="0"/>
          </a:p>
        </p:txBody>
      </p:sp>
    </p:spTree>
    <p:extLst>
      <p:ext uri="{BB962C8B-B14F-4D97-AF65-F5344CB8AC3E}">
        <p14:creationId xmlns:p14="http://schemas.microsoft.com/office/powerpoint/2010/main" val="156603727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4716016" y="1058863"/>
            <a:ext cx="4177159" cy="3744912"/>
          </a:xfrm>
          <a:prstGeom prst="round1Rect">
            <a:avLst>
              <a:gd name="adj" fmla="val 10174"/>
            </a:avLst>
          </a:prstGeom>
          <a:noFill/>
          <a:ln>
            <a:noFill/>
          </a:ln>
        </p:spPr>
        <p:txBody>
          <a:bodyPr/>
          <a:lstStyle/>
          <a:p>
            <a:r>
              <a:rPr lang="de-DE" noProof="0"/>
              <a:t>Bild auf Platzhalter ziehen oder durch Klicken auf Symbol hinzufügen</a:t>
            </a:r>
            <a:endParaRPr lang="en-US" noProof="0"/>
          </a:p>
        </p:txBody>
      </p:sp>
      <p:sp>
        <p:nvSpPr>
          <p:cNvPr id="10" name="Picture Placeholder 10"/>
          <p:cNvSpPr>
            <a:spLocks noGrp="1"/>
          </p:cNvSpPr>
          <p:nvPr>
            <p:ph type="pic" sz="quarter" idx="16"/>
            <p:custDataLst>
              <p:tags r:id="rId2"/>
            </p:custDataLst>
          </p:nvPr>
        </p:nvSpPr>
        <p:spPr bwMode="gray">
          <a:xfrm>
            <a:off x="250824" y="1058863"/>
            <a:ext cx="4177159" cy="3744912"/>
          </a:xfrm>
          <a:prstGeom prst="rect">
            <a:avLst/>
          </a:prstGeom>
          <a:noFill/>
          <a:ln>
            <a:noFill/>
          </a:ln>
        </p:spPr>
        <p:txBody>
          <a:bodyPr/>
          <a:lstStyle/>
          <a:p>
            <a:r>
              <a:rPr lang="de-DE" noProof="0"/>
              <a:t>Bild auf Platzhalter ziehen oder durch Klicken auf Symbol hinzufügen</a:t>
            </a:r>
            <a:endParaRPr lang="en-US" noProof="0"/>
          </a:p>
        </p:txBody>
      </p:sp>
    </p:spTree>
    <p:extLst>
      <p:ext uri="{BB962C8B-B14F-4D97-AF65-F5344CB8AC3E}">
        <p14:creationId xmlns:p14="http://schemas.microsoft.com/office/powerpoint/2010/main" val="248177009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4716016" y="1058863"/>
            <a:ext cx="4177159" cy="3744912"/>
          </a:xfrm>
          <a:prstGeom prst="round1Rect">
            <a:avLst>
              <a:gd name="adj" fmla="val 10174"/>
            </a:avLst>
          </a:prstGeom>
        </p:spPr>
        <p:txBody>
          <a:bodyPr/>
          <a:lstStyle/>
          <a:p>
            <a:r>
              <a:rPr lang="de-DE" noProof="0"/>
              <a:t>Bild auf Platzhalter ziehen oder durch Klicken auf Symbol hinzufügen</a:t>
            </a:r>
            <a:endParaRPr lang="en-US" noProof="0"/>
          </a:p>
        </p:txBody>
      </p:sp>
      <p:sp>
        <p:nvSpPr>
          <p:cNvPr id="11" name="Text Placeholder 8"/>
          <p:cNvSpPr>
            <a:spLocks noGrp="1"/>
          </p:cNvSpPr>
          <p:nvPr>
            <p:ph type="body" sz="quarter" idx="16"/>
          </p:nvPr>
        </p:nvSpPr>
        <p:spPr bwMode="gray">
          <a:xfrm>
            <a:off x="250824" y="987425"/>
            <a:ext cx="4177159"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4192063648"/>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250824" y="1058863"/>
            <a:ext cx="4177159" cy="3744912"/>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6"/>
          </p:nvPr>
        </p:nvSpPr>
        <p:spPr bwMode="gray">
          <a:xfrm>
            <a:off x="4644009" y="987425"/>
            <a:ext cx="4249166"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098385681"/>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6228184" y="1058863"/>
            <a:ext cx="2664991" cy="3744912"/>
          </a:xfrm>
          <a:prstGeom prst="round1Rect">
            <a:avLst>
              <a:gd name="adj" fmla="val 14296"/>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7"/>
          </p:nvPr>
        </p:nvSpPr>
        <p:spPr bwMode="gray">
          <a:xfrm>
            <a:off x="250824" y="987425"/>
            <a:ext cx="5761335"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957767076"/>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058863"/>
            <a:ext cx="2664992" cy="3744912"/>
          </a:xfrm>
          <a:prstGeom prst="rect">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7"/>
          </p:nvPr>
        </p:nvSpPr>
        <p:spPr bwMode="gray">
          <a:xfrm>
            <a:off x="3131840" y="987425"/>
            <a:ext cx="5761335"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1842886519"/>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3132139" y="1058862"/>
            <a:ext cx="5761036" cy="3744913"/>
          </a:xfrm>
          <a:prstGeom prst="round1Rect">
            <a:avLst>
              <a:gd name="adj" fmla="val 10174"/>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5" y="987425"/>
            <a:ext cx="2665414"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87197571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058862"/>
            <a:ext cx="5761038" cy="3744913"/>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6227763" y="987425"/>
            <a:ext cx="2665412"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56001032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Text Placeholder 9"/>
          <p:cNvSpPr>
            <a:spLocks noGrp="1"/>
          </p:cNvSpPr>
          <p:nvPr>
            <p:ph type="body" sz="quarter" idx="18"/>
          </p:nvPr>
        </p:nvSpPr>
        <p:spPr bwMode="gray">
          <a:xfrm>
            <a:off x="250824" y="987026"/>
            <a:ext cx="2736999"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9"/>
          <p:cNvSpPr>
            <a:spLocks noGrp="1"/>
          </p:cNvSpPr>
          <p:nvPr>
            <p:ph type="body" sz="quarter" idx="19"/>
          </p:nvPr>
        </p:nvSpPr>
        <p:spPr bwMode="gray">
          <a:xfrm>
            <a:off x="3203848" y="987067"/>
            <a:ext cx="2808312" cy="3816713"/>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8" name="Text Placeholder 9"/>
          <p:cNvSpPr>
            <a:spLocks noGrp="1"/>
          </p:cNvSpPr>
          <p:nvPr>
            <p:ph type="body" sz="quarter" idx="20"/>
          </p:nvPr>
        </p:nvSpPr>
        <p:spPr bwMode="gray">
          <a:xfrm>
            <a:off x="6228185" y="987425"/>
            <a:ext cx="2664990"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top – Picture bottom">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8"/>
          </p:nvPr>
        </p:nvSpPr>
        <p:spPr bwMode="gray">
          <a:xfrm>
            <a:off x="250825" y="3003809"/>
            <a:ext cx="8642349" cy="1799965"/>
          </a:xfrm>
          <a:prstGeom prst="rect">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9"/>
          </p:nvPr>
        </p:nvSpPr>
        <p:spPr bwMode="gray">
          <a:xfrm>
            <a:off x="250825" y="987426"/>
            <a:ext cx="8642350" cy="187236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109199624"/>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5" y="1058862"/>
            <a:ext cx="8642351" cy="1800928"/>
          </a:xfrm>
          <a:prstGeom prst="round1Rect">
            <a:avLst>
              <a:gd name="adj" fmla="val 21156"/>
            </a:avLst>
          </a:prstGeom>
        </p:spPr>
        <p:txBody>
          <a:bodyPr/>
          <a:lstStyle/>
          <a:p>
            <a:r>
              <a:rPr lang="de-DE" noProof="0"/>
              <a:t>Bild auf Platzhalter ziehen oder durch Klicken auf Symbol hinzufügen</a:t>
            </a:r>
            <a:endParaRPr lang="en-US" noProof="0"/>
          </a:p>
        </p:txBody>
      </p:sp>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Text Placeholder 9"/>
          <p:cNvSpPr>
            <a:spLocks noGrp="1"/>
          </p:cNvSpPr>
          <p:nvPr>
            <p:ph type="body" sz="quarter" idx="19"/>
          </p:nvPr>
        </p:nvSpPr>
        <p:spPr bwMode="gray">
          <a:xfrm>
            <a:off x="250825" y="3003810"/>
            <a:ext cx="8642350" cy="179996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488808940"/>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0" name="Text Placeholder 7"/>
          <p:cNvSpPr>
            <a:spLocks noGrp="1"/>
          </p:cNvSpPr>
          <p:nvPr>
            <p:ph type="body" sz="quarter" idx="15"/>
          </p:nvPr>
        </p:nvSpPr>
        <p:spPr bwMode="gray">
          <a:xfrm>
            <a:off x="250826" y="1563927"/>
            <a:ext cx="8642350"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6" y="987267"/>
            <a:ext cx="8642349"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494213930"/>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5" name="Text Placeholder 10"/>
          <p:cNvSpPr>
            <a:spLocks noGrp="1"/>
          </p:cNvSpPr>
          <p:nvPr>
            <p:ph type="body" sz="quarter" idx="16"/>
          </p:nvPr>
        </p:nvSpPr>
        <p:spPr bwMode="gray">
          <a:xfrm>
            <a:off x="250824" y="1563928"/>
            <a:ext cx="417715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10"/>
          <p:cNvSpPr>
            <a:spLocks noGrp="1"/>
          </p:cNvSpPr>
          <p:nvPr>
            <p:ph type="body" sz="quarter" idx="17"/>
          </p:nvPr>
        </p:nvSpPr>
        <p:spPr bwMode="gray">
          <a:xfrm>
            <a:off x="4644009" y="1563928"/>
            <a:ext cx="4249166"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8"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340625639"/>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8" name="Text Placeholder 9"/>
          <p:cNvSpPr>
            <a:spLocks noGrp="1"/>
          </p:cNvSpPr>
          <p:nvPr>
            <p:ph type="body" sz="quarter" idx="19"/>
          </p:nvPr>
        </p:nvSpPr>
        <p:spPr bwMode="gray">
          <a:xfrm>
            <a:off x="250825" y="1563928"/>
            <a:ext cx="273699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9" name="Text Placeholder 9"/>
          <p:cNvSpPr>
            <a:spLocks noGrp="1"/>
          </p:cNvSpPr>
          <p:nvPr>
            <p:ph type="body" sz="quarter" idx="20"/>
          </p:nvPr>
        </p:nvSpPr>
        <p:spPr bwMode="gray">
          <a:xfrm>
            <a:off x="3203848" y="1563928"/>
            <a:ext cx="2808312"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20" name="Text Placeholder 9"/>
          <p:cNvSpPr>
            <a:spLocks noGrp="1"/>
          </p:cNvSpPr>
          <p:nvPr>
            <p:ph type="body" sz="quarter" idx="21"/>
          </p:nvPr>
        </p:nvSpPr>
        <p:spPr bwMode="gray">
          <a:xfrm>
            <a:off x="6228184" y="1563928"/>
            <a:ext cx="2664991" cy="3239848"/>
          </a:xfrm>
        </p:spPr>
        <p:txBody>
          <a:bodyPr/>
          <a:lstStyle>
            <a:lvl5pPr>
              <a:defRPr/>
            </a:lvl5p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7"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4292957970"/>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4" name="Textplatzhalter 14"/>
          <p:cNvSpPr>
            <a:spLocks noGrp="1"/>
          </p:cNvSpPr>
          <p:nvPr>
            <p:ph type="body" sz="quarter" idx="16" hasCustomPrompt="1"/>
          </p:nvPr>
        </p:nvSpPr>
        <p:spPr bwMode="gray">
          <a:xfrm>
            <a:off x="250825" y="987546"/>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736063190"/>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ubheadline + 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250825" y="1635936"/>
            <a:ext cx="8642350" cy="3167840"/>
          </a:xfrm>
          <a:prstGeom prst="round1Rect">
            <a:avLst>
              <a:gd name="adj" fmla="val 12027"/>
            </a:avLst>
          </a:prstGeom>
          <a:noFill/>
          <a:ln>
            <a:noFill/>
          </a:ln>
        </p:spPr>
        <p:txBody>
          <a:bodyPr/>
          <a:lstStyle/>
          <a:p>
            <a:r>
              <a:rPr lang="de-DE" noProof="0"/>
              <a:t>Bild auf Platzhalter ziehen oder durch Klicken auf Symbol hinzufügen</a:t>
            </a:r>
            <a:endParaRPr lang="en-US" noProof="0"/>
          </a:p>
        </p:txBody>
      </p:sp>
      <p:sp>
        <p:nvSpPr>
          <p:cNvPr id="5"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160520821"/>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ubheadline + 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4716016" y="1635936"/>
            <a:ext cx="4177159" cy="3167840"/>
          </a:xfrm>
          <a:prstGeom prst="round1Rect">
            <a:avLst>
              <a:gd name="adj" fmla="val 12027"/>
            </a:avLst>
          </a:prstGeom>
          <a:noFill/>
          <a:ln>
            <a:noFill/>
          </a:ln>
        </p:spPr>
        <p:txBody>
          <a:bodyPr/>
          <a:lstStyle/>
          <a:p>
            <a:r>
              <a:rPr lang="de-DE" noProof="0"/>
              <a:t>Bild auf Platzhalter ziehen oder durch Klicken auf Symbol hinzufügen</a:t>
            </a:r>
            <a:endParaRPr lang="en-US" noProof="0"/>
          </a:p>
        </p:txBody>
      </p:sp>
      <p:sp>
        <p:nvSpPr>
          <p:cNvPr id="10" name="Picture Placeholder 10"/>
          <p:cNvSpPr>
            <a:spLocks noGrp="1"/>
          </p:cNvSpPr>
          <p:nvPr>
            <p:ph type="pic" sz="quarter" idx="16"/>
            <p:custDataLst>
              <p:tags r:id="rId2"/>
            </p:custDataLst>
          </p:nvPr>
        </p:nvSpPr>
        <p:spPr bwMode="gray">
          <a:xfrm>
            <a:off x="250825" y="1635936"/>
            <a:ext cx="4177160" cy="3167840"/>
          </a:xfrm>
          <a:prstGeom prst="rect">
            <a:avLst/>
          </a:prstGeom>
          <a:noFill/>
          <a:ln>
            <a:noFill/>
          </a:ln>
        </p:spPr>
        <p:txBody>
          <a:bodyPr/>
          <a:lstStyle/>
          <a:p>
            <a:r>
              <a:rPr lang="de-DE" noProof="0"/>
              <a:t>Bild auf Platzhalter ziehen oder durch Klicken auf Symbol hinzufügen</a:t>
            </a:r>
            <a:endParaRPr lang="en-US" noProof="0"/>
          </a:p>
        </p:txBody>
      </p:sp>
      <p:sp>
        <p:nvSpPr>
          <p:cNvPr id="6" name="Textplatzhalter 14"/>
          <p:cNvSpPr>
            <a:spLocks noGrp="1"/>
          </p:cNvSpPr>
          <p:nvPr>
            <p:ph type="body" sz="quarter" idx="17"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969071453"/>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ubheadline + 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4716016" y="1635936"/>
            <a:ext cx="4177159" cy="3167840"/>
          </a:xfrm>
          <a:prstGeom prst="round1Rect">
            <a:avLst>
              <a:gd name="adj" fmla="val 12027"/>
            </a:avLst>
          </a:prstGeom>
        </p:spPr>
        <p:txBody>
          <a:bodyPr/>
          <a:lstStyle/>
          <a:p>
            <a:r>
              <a:rPr lang="de-DE" noProof="0"/>
              <a:t>Bild auf Platzhalter ziehen oder durch Klicken auf Symbol hinzufügen</a:t>
            </a:r>
            <a:endParaRPr lang="en-US" noProof="0"/>
          </a:p>
        </p:txBody>
      </p:sp>
      <p:sp>
        <p:nvSpPr>
          <p:cNvPr id="11" name="Text Placeholder 8"/>
          <p:cNvSpPr>
            <a:spLocks noGrp="1"/>
          </p:cNvSpPr>
          <p:nvPr>
            <p:ph type="body" sz="quarter" idx="17"/>
          </p:nvPr>
        </p:nvSpPr>
        <p:spPr bwMode="gray">
          <a:xfrm>
            <a:off x="250824" y="1563928"/>
            <a:ext cx="417715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607867462"/>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250824" y="1635936"/>
            <a:ext cx="4177159"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7"/>
          </p:nvPr>
        </p:nvSpPr>
        <p:spPr bwMode="gray">
          <a:xfrm>
            <a:off x="4644008" y="1563928"/>
            <a:ext cx="4249167"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93074139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ubheadline + 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6228184" y="1635936"/>
            <a:ext cx="2664991" cy="3167840"/>
          </a:xfrm>
          <a:prstGeom prst="round1Rect">
            <a:avLst>
              <a:gd name="adj" fmla="val 14296"/>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4" y="1563928"/>
            <a:ext cx="5761335"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625196939"/>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635936"/>
            <a:ext cx="2664991"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3131840" y="1563928"/>
            <a:ext cx="5761335"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334517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ubheadline + 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3132139" y="1635936"/>
            <a:ext cx="5761036" cy="3167840"/>
          </a:xfrm>
          <a:prstGeom prst="round1Rect">
            <a:avLst>
              <a:gd name="adj" fmla="val 12027"/>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5" y="1563928"/>
            <a:ext cx="2665414"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924802586"/>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635936"/>
            <a:ext cx="5761038"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6227763" y="1563928"/>
            <a:ext cx="2665412"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411257249"/>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8"/>
          </p:nvPr>
        </p:nvSpPr>
        <p:spPr bwMode="gray">
          <a:xfrm>
            <a:off x="250826" y="3291851"/>
            <a:ext cx="8642350" cy="1511924"/>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9"/>
          </p:nvPr>
        </p:nvSpPr>
        <p:spPr bwMode="gray">
          <a:xfrm>
            <a:off x="250828" y="1563927"/>
            <a:ext cx="8642348" cy="158390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7" y="987268"/>
            <a:ext cx="8642348"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497254195"/>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ubheadline + 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9" y="1635935"/>
            <a:ext cx="8642346" cy="1511896"/>
          </a:xfrm>
          <a:prstGeom prst="round1Rect">
            <a:avLst>
              <a:gd name="adj" fmla="val 25200"/>
            </a:avLst>
          </a:prstGeom>
        </p:spPr>
        <p:txBody>
          <a:bodyPr/>
          <a:lstStyle/>
          <a:p>
            <a:r>
              <a:rPr lang="de-DE" noProof="0"/>
              <a:t>Bild auf Platzhalter ziehen oder durch Klicken auf Symbol hinzufügen</a:t>
            </a:r>
            <a:endParaRPr lang="en-US" noProof="0"/>
          </a:p>
        </p:txBody>
      </p:sp>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0" name="Text Placeholder 8"/>
          <p:cNvSpPr>
            <a:spLocks noGrp="1"/>
          </p:cNvSpPr>
          <p:nvPr>
            <p:ph type="body" sz="quarter" idx="19"/>
          </p:nvPr>
        </p:nvSpPr>
        <p:spPr bwMode="gray">
          <a:xfrm>
            <a:off x="250829" y="3291851"/>
            <a:ext cx="8642346" cy="151192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8" y="987268"/>
            <a:ext cx="8642346"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242133615"/>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Leer">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0712540"/>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9144000" cy="5143500"/>
          </a:xfrm>
          <a:prstGeom prst="rect">
            <a:avLst/>
          </a:prstGeom>
          <a:solidFill>
            <a:srgbClr val="FFFFFF"/>
          </a:solidFill>
          <a:ln w="9525" algn="ctr">
            <a:noFill/>
            <a:miter lim="800000"/>
            <a:headEnd/>
            <a:tailEnd/>
          </a:ln>
          <a:effectLst/>
        </p:spPr>
        <p:txBody>
          <a:bodyPr wrap="none" anchor="ctr"/>
          <a:lstStyle/>
          <a:p>
            <a:endParaRPr lang="en-US">
              <a:solidFill>
                <a:srgbClr val="000000"/>
              </a:solidFill>
            </a:endParaRPr>
          </a:p>
        </p:txBody>
      </p:sp>
      <p:pic>
        <p:nvPicPr>
          <p:cNvPr id="41" name="Picture 2" descr="Fujitsu_Logo"/>
          <p:cNvPicPr>
            <a:picLocks noChangeAspect="1" noChangeArrowheads="1"/>
          </p:cNvPicPr>
          <p:nvPr userDrawn="1"/>
        </p:nvPicPr>
        <p:blipFill>
          <a:blip r:embed="rId2" cstate="print"/>
          <a:srcRect/>
          <a:stretch>
            <a:fillRect/>
          </a:stretch>
        </p:blipFill>
        <p:spPr bwMode="auto">
          <a:xfrm>
            <a:off x="2455510" y="1357200"/>
            <a:ext cx="4202009" cy="2100264"/>
          </a:xfrm>
          <a:prstGeom prst="rect">
            <a:avLst/>
          </a:prstGeom>
          <a:noFill/>
        </p:spPr>
      </p:pic>
    </p:spTree>
    <p:extLst>
      <p:ext uri="{BB962C8B-B14F-4D97-AF65-F5344CB8AC3E}">
        <p14:creationId xmlns:p14="http://schemas.microsoft.com/office/powerpoint/2010/main" val="3975666665"/>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10_Title Master">
    <p:bg>
      <p:bgPr>
        <a:blipFill dpi="0" rotWithShape="1">
          <a:blip r:embed="rId5" cstate="screen">
            <a:lum/>
          </a:blip>
          <a:srcRect/>
          <a:stretch>
            <a:fillRect/>
          </a:stretch>
        </a:blipFill>
        <a:effectLst/>
      </p:bgPr>
    </p:bg>
    <p:spTree>
      <p:nvGrpSpPr>
        <p:cNvPr id="1" name=""/>
        <p:cNvGrpSpPr/>
        <p:nvPr/>
      </p:nvGrpSpPr>
      <p:grpSpPr>
        <a:xfrm>
          <a:off x="0" y="0"/>
          <a:ext cx="0" cy="0"/>
          <a:chOff x="0" y="0"/>
          <a:chExt cx="0" cy="0"/>
        </a:xfrm>
      </p:grpSpPr>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durch Klicken 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dirty="0" smtClean="0">
                <a:solidFill>
                  <a:srgbClr val="000000"/>
                </a:solidFill>
              </a:rPr>
              <a:t>Formatvorlage des Untertitelmasters durch Klicken bearbeiten</a:t>
            </a:r>
            <a:endParaRPr lang="en-GB" sz="2400" dirty="0">
              <a:solidFill>
                <a:srgbClr val="000000"/>
              </a:solidFill>
            </a:endParaRPr>
          </a:p>
        </p:txBody>
      </p:sp>
      <p:sp>
        <p:nvSpPr>
          <p:cNvPr id="48" name="Title 47"/>
          <p:cNvSpPr>
            <a:spLocks noGrp="1"/>
          </p:cNvSpPr>
          <p:nvPr>
            <p:ph type="title"/>
          </p:nvPr>
        </p:nvSpPr>
        <p:spPr bwMode="gray">
          <a:xfrm>
            <a:off x="661728" y="2715766"/>
            <a:ext cx="4897363" cy="64809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4000" kern="1200" noProof="0" smtClean="0">
                <a:solidFill>
                  <a:schemeClr val="bg1"/>
                </a:solidFill>
                <a:latin typeface="+mj-lt"/>
                <a:ea typeface="+mj-ea"/>
                <a:cs typeface="+mj-cs"/>
              </a:defRPr>
            </a:lvl1pPr>
          </a:lstStyle>
          <a:p>
            <a:r>
              <a:rPr lang="en-US" noProof="0" dirty="0" smtClean="0"/>
              <a:t>Mastertitelformat bearbeiten</a:t>
            </a:r>
            <a:endParaRPr lang="en-US" noProof="0" dirty="0"/>
          </a:p>
        </p:txBody>
      </p:sp>
      <p:sp>
        <p:nvSpPr>
          <p:cNvPr id="59" name="Subtitle 2"/>
          <p:cNvSpPr>
            <a:spLocks noGrp="1"/>
          </p:cNvSpPr>
          <p:nvPr>
            <p:ph type="subTitle" idx="1"/>
          </p:nvPr>
        </p:nvSpPr>
        <p:spPr bwMode="gray">
          <a:xfrm>
            <a:off x="661728" y="3616476"/>
            <a:ext cx="4897363" cy="43206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indent="0" algn="l" defTabSz="457200" rtl="0" eaLnBrk="1" fontAlgn="base" latinLnBrk="0" hangingPunct="1">
              <a:lnSpc>
                <a:spcPct val="100000"/>
              </a:lnSpc>
              <a:spcBef>
                <a:spcPts val="0"/>
              </a:spcBef>
              <a:spcAft>
                <a:spcPts val="0"/>
              </a:spcAft>
              <a:buClr>
                <a:srgbClr val="A30B1A"/>
              </a:buClr>
              <a:buFont typeface="Wingdings" pitchFamily="2" charset="2"/>
              <a:buNone/>
              <a:defRPr kumimoji="1" lang="en-US" altLang="ja-JP" sz="2400" b="0" kern="1200" noProof="0" dirty="0">
                <a:solidFill>
                  <a:schemeClr val="bg1"/>
                </a:solidFill>
                <a:latin typeface="+mj-lt"/>
                <a:ea typeface="+mn-ea"/>
                <a:cs typeface="+mn-c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Master-Untertitelformat bearbeiten</a:t>
            </a:r>
            <a:endParaRPr lang="en-US" noProof="0" dirty="0"/>
          </a:p>
        </p:txBody>
      </p:sp>
      <p:grpSp>
        <p:nvGrpSpPr>
          <p:cNvPr id="55" name="Group 47" descr="Fujitsu - shaping tomorrow with you"/>
          <p:cNvGrpSpPr>
            <a:grpSpLocks noChangeAspect="1"/>
          </p:cNvGrpSpPr>
          <p:nvPr userDrawn="1"/>
        </p:nvGrpSpPr>
        <p:grpSpPr bwMode="auto">
          <a:xfrm>
            <a:off x="7604107" y="112408"/>
            <a:ext cx="1421294" cy="794172"/>
            <a:chOff x="4604" y="117"/>
            <a:chExt cx="1038" cy="580"/>
          </a:xfrm>
        </p:grpSpPr>
        <p:sp>
          <p:nvSpPr>
            <p:cNvPr id="57" name="AutoShape 48"/>
            <p:cNvSpPr>
              <a:spLocks noChangeAspect="1" noChangeArrowheads="1" noTextEdit="1"/>
            </p:cNvSpPr>
            <p:nvPr userDrawn="1"/>
          </p:nvSpPr>
          <p:spPr bwMode="gray">
            <a:xfrm>
              <a:off x="4604" y="117"/>
              <a:ext cx="1038" cy="580"/>
            </a:xfrm>
            <a:prstGeom prst="rect">
              <a:avLst/>
            </a:prstGeom>
            <a:noFill/>
            <a:ln w="9525">
              <a:noFill/>
              <a:miter lim="800000"/>
              <a:headEnd/>
              <a:tailEnd/>
            </a:ln>
          </p:spPr>
          <p:txBody>
            <a:bodyPr/>
            <a:lstStyle/>
            <a:p>
              <a:endParaRPr lang="en-GB">
                <a:solidFill>
                  <a:srgbClr val="000000"/>
                </a:solidFill>
              </a:endParaRPr>
            </a:p>
          </p:txBody>
        </p:sp>
        <p:sp>
          <p:nvSpPr>
            <p:cNvPr id="58" name="Freeform 49"/>
            <p:cNvSpPr>
              <a:spLocks/>
            </p:cNvSpPr>
            <p:nvPr userDrawn="1"/>
          </p:nvSpPr>
          <p:spPr bwMode="gray">
            <a:xfrm>
              <a:off x="4655" y="604"/>
              <a:ext cx="26" cy="4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endParaRPr lang="en-GB">
                <a:solidFill>
                  <a:srgbClr val="000000"/>
                </a:solidFill>
              </a:endParaRPr>
            </a:p>
          </p:txBody>
        </p:sp>
        <p:sp>
          <p:nvSpPr>
            <p:cNvPr id="60" name="Freeform 50"/>
            <p:cNvSpPr>
              <a:spLocks/>
            </p:cNvSpPr>
            <p:nvPr userDrawn="1"/>
          </p:nvSpPr>
          <p:spPr bwMode="gray">
            <a:xfrm>
              <a:off x="4691" y="585"/>
              <a:ext cx="30"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a:solidFill>
                  <a:srgbClr val="000000"/>
                </a:solidFill>
              </a:endParaRPr>
            </a:p>
          </p:txBody>
        </p:sp>
        <p:sp>
          <p:nvSpPr>
            <p:cNvPr id="61" name="Freeform 51"/>
            <p:cNvSpPr>
              <a:spLocks noEditPoints="1"/>
            </p:cNvSpPr>
            <p:nvPr userDrawn="1"/>
          </p:nvSpPr>
          <p:spPr bwMode="gray">
            <a:xfrm>
              <a:off x="4730" y="604"/>
              <a:ext cx="32" cy="4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endParaRPr lang="en-GB">
                <a:solidFill>
                  <a:srgbClr val="000000"/>
                </a:solidFill>
              </a:endParaRPr>
            </a:p>
          </p:txBody>
        </p:sp>
        <p:sp>
          <p:nvSpPr>
            <p:cNvPr id="62" name="Freeform 52"/>
            <p:cNvSpPr>
              <a:spLocks noEditPoints="1"/>
            </p:cNvSpPr>
            <p:nvPr userDrawn="1"/>
          </p:nvSpPr>
          <p:spPr bwMode="gray">
            <a:xfrm>
              <a:off x="4774" y="604"/>
              <a:ext cx="32" cy="61"/>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endParaRPr lang="en-GB">
                <a:solidFill>
                  <a:srgbClr val="000000"/>
                </a:solidFill>
              </a:endParaRPr>
            </a:p>
          </p:txBody>
        </p:sp>
        <p:sp>
          <p:nvSpPr>
            <p:cNvPr id="63" name="Freeform 53"/>
            <p:cNvSpPr>
              <a:spLocks noEditPoints="1"/>
            </p:cNvSpPr>
            <p:nvPr userDrawn="1"/>
          </p:nvSpPr>
          <p:spPr bwMode="gray">
            <a:xfrm>
              <a:off x="4815" y="591"/>
              <a:ext cx="9" cy="55"/>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endParaRPr lang="en-GB">
                <a:solidFill>
                  <a:srgbClr val="000000"/>
                </a:solidFill>
              </a:endParaRPr>
            </a:p>
          </p:txBody>
        </p:sp>
        <p:sp>
          <p:nvSpPr>
            <p:cNvPr id="64" name="Freeform 54"/>
            <p:cNvSpPr>
              <a:spLocks/>
            </p:cNvSpPr>
            <p:nvPr userDrawn="1"/>
          </p:nvSpPr>
          <p:spPr bwMode="gray">
            <a:xfrm>
              <a:off x="4836" y="604"/>
              <a:ext cx="31" cy="42"/>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endParaRPr lang="en-GB">
                <a:solidFill>
                  <a:srgbClr val="000000"/>
                </a:solidFill>
              </a:endParaRPr>
            </a:p>
          </p:txBody>
        </p:sp>
        <p:sp>
          <p:nvSpPr>
            <p:cNvPr id="65" name="Freeform 55"/>
            <p:cNvSpPr>
              <a:spLocks noEditPoints="1"/>
            </p:cNvSpPr>
            <p:nvPr userDrawn="1"/>
          </p:nvSpPr>
          <p:spPr bwMode="gray">
            <a:xfrm>
              <a:off x="4876" y="604"/>
              <a:ext cx="32" cy="62"/>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endParaRPr lang="en-GB">
                <a:solidFill>
                  <a:srgbClr val="000000"/>
                </a:solidFill>
              </a:endParaRPr>
            </a:p>
          </p:txBody>
        </p:sp>
        <p:sp>
          <p:nvSpPr>
            <p:cNvPr id="66" name="Freeform 56"/>
            <p:cNvSpPr>
              <a:spLocks/>
            </p:cNvSpPr>
            <p:nvPr userDrawn="1"/>
          </p:nvSpPr>
          <p:spPr bwMode="gray">
            <a:xfrm>
              <a:off x="4939"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a:solidFill>
                  <a:srgbClr val="000000"/>
                </a:solidFill>
              </a:endParaRPr>
            </a:p>
          </p:txBody>
        </p:sp>
        <p:sp>
          <p:nvSpPr>
            <p:cNvPr id="67" name="Freeform 57"/>
            <p:cNvSpPr>
              <a:spLocks noEditPoints="1"/>
            </p:cNvSpPr>
            <p:nvPr userDrawn="1"/>
          </p:nvSpPr>
          <p:spPr bwMode="gray">
            <a:xfrm>
              <a:off x="4963"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a:solidFill>
                  <a:srgbClr val="000000"/>
                </a:solidFill>
              </a:endParaRPr>
            </a:p>
          </p:txBody>
        </p:sp>
        <p:sp>
          <p:nvSpPr>
            <p:cNvPr id="68" name="Freeform 58"/>
            <p:cNvSpPr>
              <a:spLocks/>
            </p:cNvSpPr>
            <p:nvPr userDrawn="1"/>
          </p:nvSpPr>
          <p:spPr bwMode="gray">
            <a:xfrm>
              <a:off x="5007" y="604"/>
              <a:ext cx="52" cy="42"/>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a:solidFill>
                  <a:srgbClr val="000000"/>
                </a:solidFill>
              </a:endParaRPr>
            </a:p>
          </p:txBody>
        </p:sp>
        <p:sp>
          <p:nvSpPr>
            <p:cNvPr id="69" name="Freeform 59"/>
            <p:cNvSpPr>
              <a:spLocks noEditPoints="1"/>
            </p:cNvSpPr>
            <p:nvPr userDrawn="1"/>
          </p:nvSpPr>
          <p:spPr bwMode="gray">
            <a:xfrm>
              <a:off x="5069"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a:solidFill>
                  <a:srgbClr val="000000"/>
                </a:solidFill>
              </a:endParaRPr>
            </a:p>
          </p:txBody>
        </p:sp>
        <p:sp>
          <p:nvSpPr>
            <p:cNvPr id="70" name="Freeform 60"/>
            <p:cNvSpPr>
              <a:spLocks/>
            </p:cNvSpPr>
            <p:nvPr userDrawn="1"/>
          </p:nvSpPr>
          <p:spPr bwMode="gray">
            <a:xfrm>
              <a:off x="5113"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a:solidFill>
                  <a:srgbClr val="000000"/>
                </a:solidFill>
              </a:endParaRPr>
            </a:p>
          </p:txBody>
        </p:sp>
        <p:sp>
          <p:nvSpPr>
            <p:cNvPr id="71" name="Freeform 61"/>
            <p:cNvSpPr>
              <a:spLocks/>
            </p:cNvSpPr>
            <p:nvPr userDrawn="1"/>
          </p:nvSpPr>
          <p:spPr bwMode="gray">
            <a:xfrm>
              <a:off x="5138"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a:solidFill>
                  <a:srgbClr val="000000"/>
                </a:solidFill>
              </a:endParaRPr>
            </a:p>
          </p:txBody>
        </p:sp>
        <p:sp>
          <p:nvSpPr>
            <p:cNvPr id="72" name="Freeform 62"/>
            <p:cNvSpPr>
              <a:spLocks noEditPoints="1"/>
            </p:cNvSpPr>
            <p:nvPr userDrawn="1"/>
          </p:nvSpPr>
          <p:spPr bwMode="gray">
            <a:xfrm>
              <a:off x="5160" y="604"/>
              <a:ext cx="34" cy="4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a:solidFill>
                  <a:srgbClr val="000000"/>
                </a:solidFill>
              </a:endParaRPr>
            </a:p>
          </p:txBody>
        </p:sp>
        <p:sp>
          <p:nvSpPr>
            <p:cNvPr id="73" name="Freeform 63"/>
            <p:cNvSpPr>
              <a:spLocks/>
            </p:cNvSpPr>
            <p:nvPr userDrawn="1"/>
          </p:nvSpPr>
          <p:spPr bwMode="gray">
            <a:xfrm>
              <a:off x="5198" y="605"/>
              <a:ext cx="52" cy="41"/>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a:solidFill>
                  <a:srgbClr val="000000"/>
                </a:solidFill>
              </a:endParaRPr>
            </a:p>
          </p:txBody>
        </p:sp>
        <p:sp>
          <p:nvSpPr>
            <p:cNvPr id="74" name="Freeform 64"/>
            <p:cNvSpPr>
              <a:spLocks/>
            </p:cNvSpPr>
            <p:nvPr userDrawn="1"/>
          </p:nvSpPr>
          <p:spPr bwMode="gray">
            <a:xfrm>
              <a:off x="5270" y="605"/>
              <a:ext cx="52" cy="41"/>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a:solidFill>
                  <a:srgbClr val="000000"/>
                </a:solidFill>
              </a:endParaRPr>
            </a:p>
          </p:txBody>
        </p:sp>
        <p:sp>
          <p:nvSpPr>
            <p:cNvPr id="75" name="Freeform 65"/>
            <p:cNvSpPr>
              <a:spLocks noEditPoints="1"/>
            </p:cNvSpPr>
            <p:nvPr userDrawn="1"/>
          </p:nvSpPr>
          <p:spPr bwMode="gray">
            <a:xfrm>
              <a:off x="5329" y="591"/>
              <a:ext cx="9" cy="55"/>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endParaRPr lang="en-GB">
                <a:solidFill>
                  <a:srgbClr val="000000"/>
                </a:solidFill>
              </a:endParaRPr>
            </a:p>
          </p:txBody>
        </p:sp>
        <p:sp>
          <p:nvSpPr>
            <p:cNvPr id="76" name="Freeform 66"/>
            <p:cNvSpPr>
              <a:spLocks/>
            </p:cNvSpPr>
            <p:nvPr userDrawn="1"/>
          </p:nvSpPr>
          <p:spPr bwMode="gray">
            <a:xfrm>
              <a:off x="5350"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a:solidFill>
                  <a:srgbClr val="000000"/>
                </a:solidFill>
              </a:endParaRPr>
            </a:p>
          </p:txBody>
        </p:sp>
        <p:sp>
          <p:nvSpPr>
            <p:cNvPr id="77" name="Freeform 67"/>
            <p:cNvSpPr>
              <a:spLocks/>
            </p:cNvSpPr>
            <p:nvPr userDrawn="1"/>
          </p:nvSpPr>
          <p:spPr bwMode="gray">
            <a:xfrm>
              <a:off x="5376" y="585"/>
              <a:ext cx="31"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a:solidFill>
                  <a:srgbClr val="000000"/>
                </a:solidFill>
              </a:endParaRPr>
            </a:p>
          </p:txBody>
        </p:sp>
        <p:sp>
          <p:nvSpPr>
            <p:cNvPr id="78" name="Freeform 68"/>
            <p:cNvSpPr>
              <a:spLocks/>
            </p:cNvSpPr>
            <p:nvPr userDrawn="1"/>
          </p:nvSpPr>
          <p:spPr bwMode="gray">
            <a:xfrm>
              <a:off x="5432" y="605"/>
              <a:ext cx="34" cy="6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endParaRPr lang="en-GB">
                <a:solidFill>
                  <a:srgbClr val="000000"/>
                </a:solidFill>
              </a:endParaRPr>
            </a:p>
          </p:txBody>
        </p:sp>
        <p:sp>
          <p:nvSpPr>
            <p:cNvPr id="79" name="Freeform 69"/>
            <p:cNvSpPr>
              <a:spLocks noEditPoints="1"/>
            </p:cNvSpPr>
            <p:nvPr userDrawn="1"/>
          </p:nvSpPr>
          <p:spPr bwMode="gray">
            <a:xfrm>
              <a:off x="5470"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a:solidFill>
                  <a:srgbClr val="000000"/>
                </a:solidFill>
              </a:endParaRPr>
            </a:p>
          </p:txBody>
        </p:sp>
        <p:sp>
          <p:nvSpPr>
            <p:cNvPr id="80" name="Freeform 70"/>
            <p:cNvSpPr>
              <a:spLocks/>
            </p:cNvSpPr>
            <p:nvPr userDrawn="1"/>
          </p:nvSpPr>
          <p:spPr bwMode="gray">
            <a:xfrm>
              <a:off x="5514" y="605"/>
              <a:ext cx="29" cy="42"/>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endParaRPr lang="en-GB">
                <a:solidFill>
                  <a:srgbClr val="000000"/>
                </a:solidFill>
              </a:endParaRPr>
            </a:p>
          </p:txBody>
        </p:sp>
        <p:sp>
          <p:nvSpPr>
            <p:cNvPr id="81" name="Freeform 71"/>
            <p:cNvSpPr>
              <a:spLocks/>
            </p:cNvSpPr>
            <p:nvPr userDrawn="1"/>
          </p:nvSpPr>
          <p:spPr bwMode="gray">
            <a:xfrm>
              <a:off x="5115" y="216"/>
              <a:ext cx="132" cy="10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endParaRPr lang="en-GB">
                <a:solidFill>
                  <a:srgbClr val="000000"/>
                </a:solidFill>
              </a:endParaRPr>
            </a:p>
          </p:txBody>
        </p:sp>
        <p:sp>
          <p:nvSpPr>
            <p:cNvPr id="82" name="Freeform 72"/>
            <p:cNvSpPr>
              <a:spLocks/>
            </p:cNvSpPr>
            <p:nvPr userDrawn="1"/>
          </p:nvSpPr>
          <p:spPr bwMode="gray">
            <a:xfrm>
              <a:off x="4899" y="327"/>
              <a:ext cx="91" cy="148"/>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83" name="Freeform 73"/>
            <p:cNvSpPr>
              <a:spLocks/>
            </p:cNvSpPr>
            <p:nvPr userDrawn="1"/>
          </p:nvSpPr>
          <p:spPr bwMode="gray">
            <a:xfrm>
              <a:off x="5114" y="327"/>
              <a:ext cx="60" cy="207"/>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84" name="Freeform 74"/>
            <p:cNvSpPr>
              <a:spLocks/>
            </p:cNvSpPr>
            <p:nvPr userDrawn="1"/>
          </p:nvSpPr>
          <p:spPr bwMode="gray">
            <a:xfrm>
              <a:off x="5180" y="327"/>
              <a:ext cx="47" cy="148"/>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85" name="Freeform 75"/>
            <p:cNvSpPr>
              <a:spLocks/>
            </p:cNvSpPr>
            <p:nvPr userDrawn="1"/>
          </p:nvSpPr>
          <p:spPr bwMode="gray">
            <a:xfrm>
              <a:off x="5227" y="327"/>
              <a:ext cx="111" cy="148"/>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endParaRPr lang="en-GB">
                <a:solidFill>
                  <a:srgbClr val="000000"/>
                </a:solidFill>
              </a:endParaRPr>
            </a:p>
          </p:txBody>
        </p:sp>
        <p:sp>
          <p:nvSpPr>
            <p:cNvPr id="86" name="Freeform 76"/>
            <p:cNvSpPr>
              <a:spLocks/>
            </p:cNvSpPr>
            <p:nvPr userDrawn="1"/>
          </p:nvSpPr>
          <p:spPr bwMode="gray">
            <a:xfrm>
              <a:off x="5429" y="327"/>
              <a:ext cx="124" cy="151"/>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87" name="Freeform 77"/>
            <p:cNvSpPr>
              <a:spLocks/>
            </p:cNvSpPr>
            <p:nvPr userDrawn="1"/>
          </p:nvSpPr>
          <p:spPr bwMode="gray">
            <a:xfrm>
              <a:off x="4994" y="327"/>
              <a:ext cx="125" cy="151"/>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88" name="Freeform 78"/>
            <p:cNvSpPr>
              <a:spLocks/>
            </p:cNvSpPr>
            <p:nvPr userDrawn="1"/>
          </p:nvSpPr>
          <p:spPr bwMode="gray">
            <a:xfrm>
              <a:off x="5333" y="324"/>
              <a:ext cx="95" cy="154"/>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endParaRPr lang="en-GB">
                <a:solidFill>
                  <a:srgbClr val="000000"/>
                </a:solidFill>
              </a:endParaRPr>
            </a:p>
          </p:txBody>
        </p:sp>
      </p:grpSp>
    </p:spTree>
    <p:extLst>
      <p:ext uri="{BB962C8B-B14F-4D97-AF65-F5344CB8AC3E}">
        <p14:creationId xmlns:p14="http://schemas.microsoft.com/office/powerpoint/2010/main" val="834951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 xmlns:p15="http://schemas.microsoft.com/office/powerpoint/2012/main">
        <p15:guide id="1" pos="43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2" name="Bild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762"/>
            <a:ext cx="9144000" cy="5145024"/>
          </a:xfrm>
          <a:prstGeom prst="rect">
            <a:avLst/>
          </a:prstGeom>
        </p:spPr>
      </p:pic>
      <p:sp>
        <p:nvSpPr>
          <p:cNvPr id="7" name="VCT_Marker_ID_7" hidden="1"/>
          <p:cNvSpPr/>
          <p:nvPr userDrawn="1">
            <p:custDataLst>
              <p:tags r:id="rId1"/>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rgbClr val="FFFFFF"/>
              </a:solidFill>
            </a:endParaRPr>
          </a:p>
        </p:txBody>
      </p:sp>
      <p:sp>
        <p:nvSpPr>
          <p:cNvPr id="44" name="VCT_Backup_ID_44" hidden="1"/>
          <p:cNvSpPr txBox="1"/>
          <p:nvPr userDrawn="1">
            <p:custDataLst>
              <p:tags r:id="rId2"/>
            </p:custDataLst>
          </p:nvPr>
        </p:nvSpPr>
        <p:spPr bwMode="auto">
          <a:xfrm>
            <a:off x="324002" y="1304100"/>
            <a:ext cx="8496149" cy="1102519"/>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dirty="0" smtClean="0">
                <a:solidFill>
                  <a:srgbClr val="FFFFFF"/>
                </a:solidFill>
              </a:rPr>
              <a:t>Titelmasterformat </a:t>
            </a:r>
            <a:r>
              <a:rPr lang="en-GB" sz="4400" dirty="0" err="1" smtClean="0">
                <a:solidFill>
                  <a:srgbClr val="FFFFFF"/>
                </a:solidFill>
              </a:rPr>
              <a:t>durch</a:t>
            </a:r>
            <a:r>
              <a:rPr lang="en-GB" sz="4400" dirty="0" smtClean="0">
                <a:solidFill>
                  <a:srgbClr val="FFFFFF"/>
                </a:solidFill>
              </a:rPr>
              <a:t> </a:t>
            </a:r>
            <a:r>
              <a:rPr lang="en-GB" sz="4400" dirty="0" err="1" smtClean="0">
                <a:solidFill>
                  <a:srgbClr val="FFFFFF"/>
                </a:solidFill>
              </a:rPr>
              <a:t>Klicken</a:t>
            </a:r>
            <a:r>
              <a:rPr lang="en-GB" sz="4400" dirty="0" smtClean="0">
                <a:solidFill>
                  <a:srgbClr val="FFFFFF"/>
                </a:solidFill>
              </a:rPr>
              <a:t> </a:t>
            </a:r>
            <a:r>
              <a:rPr lang="en-GB" sz="4400" dirty="0" err="1" smtClean="0">
                <a:solidFill>
                  <a:srgbClr val="FFFFFF"/>
                </a:solidFill>
              </a:rPr>
              <a:t>bearbeiten</a:t>
            </a:r>
            <a:endParaRPr lang="en-GB" sz="4400" dirty="0">
              <a:solidFill>
                <a:srgbClr val="FFFFFF"/>
              </a:solidFill>
            </a:endParaRPr>
          </a:p>
        </p:txBody>
      </p:sp>
      <p:sp>
        <p:nvSpPr>
          <p:cNvPr id="45" name="VCT_Backup_ID_45" hidden="1"/>
          <p:cNvSpPr txBox="1"/>
          <p:nvPr userDrawn="1">
            <p:custDataLst>
              <p:tags r:id="rId3"/>
            </p:custDataLst>
          </p:nvPr>
        </p:nvSpPr>
        <p:spPr bwMode="auto">
          <a:xfrm>
            <a:off x="323999" y="3434400"/>
            <a:ext cx="8496151" cy="13391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8" name="Title 47"/>
          <p:cNvSpPr>
            <a:spLocks noGrp="1"/>
          </p:cNvSpPr>
          <p:nvPr>
            <p:ph type="title"/>
          </p:nvPr>
        </p:nvSpPr>
        <p:spPr bwMode="gray">
          <a:xfrm>
            <a:off x="611450" y="411450"/>
            <a:ext cx="2664370" cy="1368190"/>
          </a:xfrm>
          <a:noFill/>
          <a:ln w="9525">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2800" kern="1200" noProof="0" smtClean="0">
                <a:solidFill>
                  <a:schemeClr val="bg1"/>
                </a:solidFill>
                <a:latin typeface="Fujitsu Sans"/>
                <a:ea typeface="+mj-ea"/>
                <a:cs typeface="Fujitsu Sans"/>
              </a:defRPr>
            </a:lvl1pPr>
          </a:lstStyle>
          <a:p>
            <a:r>
              <a:rPr lang="de-DE" noProof="0" dirty="0" smtClean="0"/>
              <a:t>Mastertitelformat bearbeiten</a:t>
            </a:r>
            <a:endParaRPr lang="en-US" noProof="0" dirty="0"/>
          </a:p>
        </p:txBody>
      </p:sp>
      <p:sp>
        <p:nvSpPr>
          <p:cNvPr id="59" name="Subtitle 2"/>
          <p:cNvSpPr>
            <a:spLocks noGrp="1"/>
          </p:cNvSpPr>
          <p:nvPr>
            <p:ph type="subTitle" idx="1"/>
          </p:nvPr>
        </p:nvSpPr>
        <p:spPr bwMode="gray">
          <a:xfrm>
            <a:off x="611450" y="2427730"/>
            <a:ext cx="2744079" cy="7201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1600" b="0" kern="1200" noProof="0" dirty="0" smtClean="0">
                <a:solidFill>
                  <a:schemeClr val="bg1"/>
                </a:solidFill>
                <a:latin typeface="Fujitsu Sans"/>
                <a:ea typeface="+mn-ea"/>
                <a:cs typeface="Fujitsu Sans"/>
              </a:defRPr>
            </a:lvl1pPr>
            <a:lvl2pPr marL="0" indent="0" algn="l">
              <a:spcBef>
                <a:spcPts val="0"/>
              </a:spcBef>
              <a:spcAft>
                <a:spcPts val="0"/>
              </a:spcAft>
              <a:buNone/>
              <a:defRPr sz="2400">
                <a:solidFill>
                  <a:schemeClr val="tx1"/>
                </a:solidFill>
              </a:defRPr>
            </a:lvl2pPr>
            <a:lvl3pPr marL="0" indent="0" algn="l">
              <a:spcBef>
                <a:spcPts val="0"/>
              </a:spcBef>
              <a:spcAft>
                <a:spcPts val="0"/>
              </a:spcAft>
              <a:buNone/>
              <a:defRPr sz="2400">
                <a:solidFill>
                  <a:schemeClr val="tx1"/>
                </a:solidFill>
              </a:defRPr>
            </a:lvl3pPr>
            <a:lvl4pPr marL="0" indent="0" algn="l">
              <a:spcBef>
                <a:spcPts val="0"/>
              </a:spcBef>
              <a:spcAft>
                <a:spcPts val="0"/>
              </a:spcAft>
              <a:buNone/>
              <a:defRPr sz="2400">
                <a:solidFill>
                  <a:schemeClr val="tx1"/>
                </a:solidFill>
              </a:defRPr>
            </a:lvl4pPr>
            <a:lvl5pPr marL="0" indent="0" algn="l">
              <a:spcBef>
                <a:spcPts val="0"/>
              </a:spcBef>
              <a:spcAft>
                <a:spcPts val="0"/>
              </a:spcAft>
              <a:buNone/>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dirty="0" smtClean="0"/>
              <a:t>Master-Untertitelformat bearbeiten</a:t>
            </a:r>
            <a:endParaRPr lang="en-US" noProof="0" dirty="0"/>
          </a:p>
        </p:txBody>
      </p:sp>
      <p:pic>
        <p:nvPicPr>
          <p:cNvPr id="1026" name="Picture 2" descr="Fujitsu_Logo_white"/>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7664185" y="243040"/>
            <a:ext cx="1252800" cy="626179"/>
          </a:xfrm>
          <a:prstGeom prst="rect">
            <a:avLst/>
          </a:prstGeom>
          <a:noFill/>
        </p:spPr>
      </p:pic>
      <p:sp>
        <p:nvSpPr>
          <p:cNvPr id="14" name="Title 47"/>
          <p:cNvSpPr txBox="1">
            <a:spLocks/>
          </p:cNvSpPr>
          <p:nvPr userDrawn="1"/>
        </p:nvSpPr>
        <p:spPr bwMode="gray">
          <a:xfrm>
            <a:off x="4608640" y="1553026"/>
            <a:ext cx="4572000" cy="1378774"/>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lnSpc>
                <a:spcPct val="90000"/>
              </a:lnSpc>
              <a:spcBef>
                <a:spcPct val="0"/>
              </a:spcBef>
              <a:spcAft>
                <a:spcPct val="0"/>
              </a:spcAft>
              <a:buNone/>
              <a:tabLst>
                <a:tab pos="3676650" algn="l"/>
              </a:tabLst>
              <a:defRPr kumimoji="1" lang="en-US" altLang="ja-JP" sz="2800" kern="1200" noProof="0" smtClean="0">
                <a:solidFill>
                  <a:schemeClr val="bg1"/>
                </a:solidFill>
                <a:latin typeface="Fujitsu Sans"/>
                <a:ea typeface="+mj-ea"/>
                <a:cs typeface="Fujitsu Sans"/>
              </a:defRPr>
            </a:lvl1pPr>
          </a:lstStyle>
          <a:p>
            <a:r>
              <a:rPr lang="de-DE" sz="2700" dirty="0">
                <a:solidFill>
                  <a:srgbClr val="FFFFFF"/>
                </a:solidFill>
              </a:rPr>
              <a:t>Human Centric Innovation</a:t>
            </a:r>
          </a:p>
          <a:p>
            <a:pPr>
              <a:lnSpc>
                <a:spcPct val="110000"/>
              </a:lnSpc>
            </a:pPr>
            <a:r>
              <a:rPr lang="de-DE" sz="3200" dirty="0">
                <a:solidFill>
                  <a:srgbClr val="FFFFFF"/>
                </a:solidFill>
              </a:rPr>
              <a:t>                          in Action</a:t>
            </a:r>
          </a:p>
        </p:txBody>
      </p:sp>
    </p:spTree>
    <p:extLst>
      <p:ext uri="{BB962C8B-B14F-4D97-AF65-F5344CB8AC3E}">
        <p14:creationId xmlns:p14="http://schemas.microsoft.com/office/powerpoint/2010/main" val="157205553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250824" y="1058863"/>
            <a:ext cx="8642351" cy="3744912"/>
          </a:xfrm>
          <a:prstGeom prst="round1Rect">
            <a:avLst>
              <a:gd name="adj" fmla="val 10174"/>
            </a:avLst>
          </a:prstGeom>
          <a:noFill/>
          <a:ln>
            <a:noFill/>
          </a:ln>
        </p:spPr>
        <p:txBody>
          <a:bodyPr/>
          <a:lstStyle/>
          <a:p>
            <a:r>
              <a:rPr lang="de-DE" noProof="0"/>
              <a:t>Bild auf Platzhalter ziehen oder durch Klicken auf Symbol hinzufügen</a:t>
            </a:r>
            <a:endParaRPr lang="en-US" noProof="0"/>
          </a:p>
        </p:txBody>
      </p:sp>
    </p:spTree>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ntermediate Cover">
    <p:spTree>
      <p:nvGrpSpPr>
        <p:cNvPr id="1" name=""/>
        <p:cNvGrpSpPr/>
        <p:nvPr/>
      </p:nvGrpSpPr>
      <p:grpSpPr>
        <a:xfrm>
          <a:off x="0" y="0"/>
          <a:ext cx="0" cy="0"/>
          <a:chOff x="0" y="0"/>
          <a:chExt cx="0" cy="0"/>
        </a:xfrm>
      </p:grpSpPr>
      <p:pic>
        <p:nvPicPr>
          <p:cNvPr id="3" name="Bild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62"/>
            <a:ext cx="9144000" cy="5145024"/>
          </a:xfrm>
          <a:prstGeom prst="rect">
            <a:avLst/>
          </a:prstGeom>
        </p:spPr>
      </p:pic>
      <p:sp>
        <p:nvSpPr>
          <p:cNvPr id="16" name="Title 15"/>
          <p:cNvSpPr>
            <a:spLocks noGrp="1"/>
          </p:cNvSpPr>
          <p:nvPr>
            <p:ph type="title"/>
          </p:nvPr>
        </p:nvSpPr>
        <p:spPr bwMode="gray">
          <a:xfrm>
            <a:off x="252000" y="72000"/>
            <a:ext cx="7560000" cy="770400"/>
          </a:xfrm>
          <a:noFill/>
          <a:ln w="9525">
            <a:noFill/>
            <a:miter lim="800000"/>
            <a:headEnd/>
            <a:tailEnd/>
          </a:ln>
          <a:effectLst/>
        </p:spPr>
        <p:txBody>
          <a:bodyPr vert="horz" wrap="square" lIns="0" tIns="0" rIns="0" bIns="0" numCol="1" anchor="ctr"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bg1"/>
                </a:solidFill>
                <a:latin typeface="Fujitsu Sans"/>
                <a:ea typeface="+mj-ea"/>
                <a:cs typeface="Fujitsu Sans"/>
              </a:defRPr>
            </a:lvl1pPr>
          </a:lstStyle>
          <a:p>
            <a:r>
              <a:rPr lang="de-DE" noProof="0" dirty="0" smtClean="0"/>
              <a:t>Mastertitelformat bearbeiten</a:t>
            </a:r>
            <a:endParaRPr lang="en-US" noProof="0" dirty="0"/>
          </a:p>
        </p:txBody>
      </p:sp>
      <p:pic>
        <p:nvPicPr>
          <p:cNvPr id="7" name="Picture 2" descr="Fujitsu_Logo_white"/>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7664185" y="243040"/>
            <a:ext cx="1252800" cy="476627"/>
          </a:xfrm>
          <a:prstGeom prst="rect">
            <a:avLst/>
          </a:prstGeom>
          <a:noFill/>
        </p:spPr>
      </p:pic>
    </p:spTree>
    <p:extLst>
      <p:ext uri="{BB962C8B-B14F-4D97-AF65-F5344CB8AC3E}">
        <p14:creationId xmlns:p14="http://schemas.microsoft.com/office/powerpoint/2010/main" val="210443213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Intermediate Cover">
    <p:spTree>
      <p:nvGrpSpPr>
        <p:cNvPr id="1" name=""/>
        <p:cNvGrpSpPr/>
        <p:nvPr/>
      </p:nvGrpSpPr>
      <p:grpSpPr>
        <a:xfrm>
          <a:off x="0" y="0"/>
          <a:ext cx="0" cy="0"/>
          <a:chOff x="0" y="0"/>
          <a:chExt cx="0" cy="0"/>
        </a:xfrm>
      </p:grpSpPr>
      <p:pic>
        <p:nvPicPr>
          <p:cNvPr id="3" name="Bild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62"/>
            <a:ext cx="9144000" cy="5145024"/>
          </a:xfrm>
          <a:prstGeom prst="rect">
            <a:avLst/>
          </a:prstGeom>
        </p:spPr>
      </p:pic>
      <p:sp>
        <p:nvSpPr>
          <p:cNvPr id="16" name="Title 15"/>
          <p:cNvSpPr>
            <a:spLocks noGrp="1"/>
          </p:cNvSpPr>
          <p:nvPr>
            <p:ph type="title"/>
          </p:nvPr>
        </p:nvSpPr>
        <p:spPr bwMode="gray">
          <a:xfrm>
            <a:off x="252000" y="72000"/>
            <a:ext cx="7560000" cy="770400"/>
          </a:xfrm>
          <a:noFill/>
          <a:ln w="9525">
            <a:noFill/>
            <a:miter lim="800000"/>
            <a:headEnd/>
            <a:tailEnd/>
          </a:ln>
          <a:effectLst/>
        </p:spPr>
        <p:txBody>
          <a:bodyPr vert="horz" wrap="square" lIns="0" tIns="0" rIns="0" bIns="0" numCol="1" anchor="ctr"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bg1"/>
                </a:solidFill>
                <a:latin typeface="Fujitsu Sans"/>
                <a:ea typeface="+mj-ea"/>
                <a:cs typeface="Fujitsu Sans"/>
              </a:defRPr>
            </a:lvl1pPr>
          </a:lstStyle>
          <a:p>
            <a:r>
              <a:rPr lang="de-DE" noProof="0" dirty="0" smtClean="0"/>
              <a:t>Mastertitelformat bearbeiten</a:t>
            </a:r>
            <a:endParaRPr lang="en-US" noProof="0" dirty="0"/>
          </a:p>
        </p:txBody>
      </p:sp>
      <p:pic>
        <p:nvPicPr>
          <p:cNvPr id="7" name="Picture 2" descr="Fujitsu_Logo_white"/>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7664185" y="243040"/>
            <a:ext cx="1252800" cy="476627"/>
          </a:xfrm>
          <a:prstGeom prst="rect">
            <a:avLst/>
          </a:prstGeom>
          <a:noFill/>
        </p:spPr>
      </p:pic>
    </p:spTree>
    <p:extLst>
      <p:ext uri="{BB962C8B-B14F-4D97-AF65-F5344CB8AC3E}">
        <p14:creationId xmlns:p14="http://schemas.microsoft.com/office/powerpoint/2010/main" val="342059299"/>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dirty="0"/>
              <a:t>Mastertitelformat bearbeiten</a:t>
            </a:r>
            <a:endParaRPr lang="en-US" noProof="0" dirty="0"/>
          </a:p>
        </p:txBody>
      </p:sp>
      <p:sp>
        <p:nvSpPr>
          <p:cNvPr id="10" name="Text Placeholder 9"/>
          <p:cNvSpPr>
            <a:spLocks noGrp="1"/>
          </p:cNvSpPr>
          <p:nvPr>
            <p:ph type="body" sz="quarter" idx="10"/>
          </p:nvPr>
        </p:nvSpPr>
        <p:spPr bwMode="gray">
          <a:xfrm>
            <a:off x="250825" y="987425"/>
            <a:ext cx="8642350" cy="3816350"/>
          </a:xfrm>
        </p:spPr>
        <p:txBody>
          <a:body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en-US" noProof="0" dirty="0"/>
          </a:p>
        </p:txBody>
      </p:sp>
    </p:spTree>
    <p:extLst>
      <p:ext uri="{BB962C8B-B14F-4D97-AF65-F5344CB8AC3E}">
        <p14:creationId xmlns:p14="http://schemas.microsoft.com/office/powerpoint/2010/main" val="147546164"/>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5" name="Text Placeholder 12"/>
          <p:cNvSpPr>
            <a:spLocks noGrp="1"/>
          </p:cNvSpPr>
          <p:nvPr>
            <p:ph type="body" sz="quarter" idx="15"/>
          </p:nvPr>
        </p:nvSpPr>
        <p:spPr bwMode="gray">
          <a:xfrm>
            <a:off x="250824" y="987424"/>
            <a:ext cx="4177159" cy="3816351"/>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12"/>
          <p:cNvSpPr>
            <a:spLocks noGrp="1"/>
          </p:cNvSpPr>
          <p:nvPr>
            <p:ph type="body" sz="quarter" idx="16"/>
          </p:nvPr>
        </p:nvSpPr>
        <p:spPr bwMode="gray">
          <a:xfrm>
            <a:off x="4644009" y="987425"/>
            <a:ext cx="4249166"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004906737"/>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Text Placeholder 9"/>
          <p:cNvSpPr>
            <a:spLocks noGrp="1"/>
          </p:cNvSpPr>
          <p:nvPr>
            <p:ph type="body" sz="quarter" idx="18"/>
          </p:nvPr>
        </p:nvSpPr>
        <p:spPr bwMode="gray">
          <a:xfrm>
            <a:off x="250824" y="987026"/>
            <a:ext cx="2736999"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9"/>
          <p:cNvSpPr>
            <a:spLocks noGrp="1"/>
          </p:cNvSpPr>
          <p:nvPr>
            <p:ph type="body" sz="quarter" idx="19"/>
          </p:nvPr>
        </p:nvSpPr>
        <p:spPr bwMode="gray">
          <a:xfrm>
            <a:off x="3203848" y="987067"/>
            <a:ext cx="2808312" cy="3816713"/>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8" name="Text Placeholder 9"/>
          <p:cNvSpPr>
            <a:spLocks noGrp="1"/>
          </p:cNvSpPr>
          <p:nvPr>
            <p:ph type="body" sz="quarter" idx="20"/>
          </p:nvPr>
        </p:nvSpPr>
        <p:spPr bwMode="gray">
          <a:xfrm>
            <a:off x="6228185" y="987425"/>
            <a:ext cx="2664990"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401973455"/>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Tree>
    <p:extLst>
      <p:ext uri="{BB962C8B-B14F-4D97-AF65-F5344CB8AC3E}">
        <p14:creationId xmlns:p14="http://schemas.microsoft.com/office/powerpoint/2010/main" val="854335781"/>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250824" y="1058863"/>
            <a:ext cx="8642351" cy="3744912"/>
          </a:xfrm>
          <a:prstGeom prst="round1Rect">
            <a:avLst>
              <a:gd name="adj" fmla="val 10174"/>
            </a:avLst>
          </a:prstGeom>
          <a:noFill/>
          <a:ln>
            <a:noFill/>
          </a:ln>
        </p:spPr>
        <p:txBody>
          <a:bodyPr/>
          <a:lstStyle/>
          <a:p>
            <a:r>
              <a:rPr lang="de-DE" noProof="0"/>
              <a:t>Bild auf Platzhalter ziehen oder durch Klicken auf Symbol hinzufügen</a:t>
            </a:r>
            <a:endParaRPr lang="en-US" noProof="0"/>
          </a:p>
        </p:txBody>
      </p:sp>
    </p:spTree>
    <p:extLst>
      <p:ext uri="{BB962C8B-B14F-4D97-AF65-F5344CB8AC3E}">
        <p14:creationId xmlns:p14="http://schemas.microsoft.com/office/powerpoint/2010/main" val="3128523163"/>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4716016" y="1058863"/>
            <a:ext cx="4177159" cy="3744912"/>
          </a:xfrm>
          <a:prstGeom prst="round1Rect">
            <a:avLst>
              <a:gd name="adj" fmla="val 10174"/>
            </a:avLst>
          </a:prstGeom>
          <a:noFill/>
          <a:ln>
            <a:noFill/>
          </a:ln>
        </p:spPr>
        <p:txBody>
          <a:bodyPr/>
          <a:lstStyle/>
          <a:p>
            <a:r>
              <a:rPr lang="de-DE" noProof="0"/>
              <a:t>Bild auf Platzhalter ziehen oder durch Klicken auf Symbol hinzufügen</a:t>
            </a:r>
            <a:endParaRPr lang="en-US" noProof="0"/>
          </a:p>
        </p:txBody>
      </p:sp>
      <p:sp>
        <p:nvSpPr>
          <p:cNvPr id="10" name="Picture Placeholder 10"/>
          <p:cNvSpPr>
            <a:spLocks noGrp="1"/>
          </p:cNvSpPr>
          <p:nvPr>
            <p:ph type="pic" sz="quarter" idx="16"/>
            <p:custDataLst>
              <p:tags r:id="rId2"/>
            </p:custDataLst>
          </p:nvPr>
        </p:nvSpPr>
        <p:spPr bwMode="gray">
          <a:xfrm>
            <a:off x="250824" y="1058863"/>
            <a:ext cx="4177159" cy="3744912"/>
          </a:xfrm>
          <a:prstGeom prst="rect">
            <a:avLst/>
          </a:prstGeom>
          <a:noFill/>
          <a:ln>
            <a:noFill/>
          </a:ln>
        </p:spPr>
        <p:txBody>
          <a:bodyPr/>
          <a:lstStyle/>
          <a:p>
            <a:r>
              <a:rPr lang="de-DE" noProof="0"/>
              <a:t>Bild auf Platzhalter ziehen oder durch Klicken auf Symbol hinzufügen</a:t>
            </a:r>
            <a:endParaRPr lang="en-US" noProof="0"/>
          </a:p>
        </p:txBody>
      </p:sp>
    </p:spTree>
    <p:extLst>
      <p:ext uri="{BB962C8B-B14F-4D97-AF65-F5344CB8AC3E}">
        <p14:creationId xmlns:p14="http://schemas.microsoft.com/office/powerpoint/2010/main" val="90332059"/>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4716016" y="1058863"/>
            <a:ext cx="4177159" cy="3744912"/>
          </a:xfrm>
          <a:prstGeom prst="round1Rect">
            <a:avLst>
              <a:gd name="adj" fmla="val 10174"/>
            </a:avLst>
          </a:prstGeom>
        </p:spPr>
        <p:txBody>
          <a:bodyPr/>
          <a:lstStyle/>
          <a:p>
            <a:r>
              <a:rPr lang="de-DE" noProof="0"/>
              <a:t>Bild auf Platzhalter ziehen oder durch Klicken auf Symbol hinzufügen</a:t>
            </a:r>
            <a:endParaRPr lang="en-US" noProof="0"/>
          </a:p>
        </p:txBody>
      </p:sp>
      <p:sp>
        <p:nvSpPr>
          <p:cNvPr id="11" name="Text Placeholder 8"/>
          <p:cNvSpPr>
            <a:spLocks noGrp="1"/>
          </p:cNvSpPr>
          <p:nvPr>
            <p:ph type="body" sz="quarter" idx="16"/>
          </p:nvPr>
        </p:nvSpPr>
        <p:spPr bwMode="gray">
          <a:xfrm>
            <a:off x="250824" y="987425"/>
            <a:ext cx="4177159"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1342810884"/>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250824" y="1058863"/>
            <a:ext cx="4177159" cy="3744912"/>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6"/>
          </p:nvPr>
        </p:nvSpPr>
        <p:spPr bwMode="gray">
          <a:xfrm>
            <a:off x="4644009" y="987425"/>
            <a:ext cx="4249166"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21096541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4716016" y="1058863"/>
            <a:ext cx="4177159" cy="3744912"/>
          </a:xfrm>
          <a:prstGeom prst="round1Rect">
            <a:avLst>
              <a:gd name="adj" fmla="val 10174"/>
            </a:avLst>
          </a:prstGeom>
          <a:noFill/>
          <a:ln>
            <a:noFill/>
          </a:ln>
        </p:spPr>
        <p:txBody>
          <a:bodyPr/>
          <a:lstStyle/>
          <a:p>
            <a:r>
              <a:rPr lang="de-DE" noProof="0"/>
              <a:t>Bild auf Platzhalter ziehen oder durch Klicken auf Symbol hinzufügen</a:t>
            </a:r>
            <a:endParaRPr lang="en-US" noProof="0"/>
          </a:p>
        </p:txBody>
      </p:sp>
      <p:sp>
        <p:nvSpPr>
          <p:cNvPr id="10" name="Picture Placeholder 10"/>
          <p:cNvSpPr>
            <a:spLocks noGrp="1"/>
          </p:cNvSpPr>
          <p:nvPr>
            <p:ph type="pic" sz="quarter" idx="16"/>
            <p:custDataLst>
              <p:tags r:id="rId2"/>
            </p:custDataLst>
          </p:nvPr>
        </p:nvSpPr>
        <p:spPr bwMode="gray">
          <a:xfrm>
            <a:off x="250824" y="1058863"/>
            <a:ext cx="4177159" cy="3744912"/>
          </a:xfrm>
          <a:prstGeom prst="rect">
            <a:avLst/>
          </a:prstGeom>
          <a:noFill/>
          <a:ln>
            <a:noFill/>
          </a:ln>
        </p:spPr>
        <p:txBody>
          <a:bodyPr/>
          <a:lstStyle/>
          <a:p>
            <a:r>
              <a:rPr lang="de-DE" noProof="0"/>
              <a:t>Bild auf Platzhalter ziehen oder durch Klicken auf Symbol hinzufügen</a:t>
            </a:r>
            <a:endParaRPr lang="en-US" noProof="0"/>
          </a:p>
        </p:txBody>
      </p:sp>
    </p:spTree>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6228184" y="1058863"/>
            <a:ext cx="2664991" cy="3744912"/>
          </a:xfrm>
          <a:prstGeom prst="round1Rect">
            <a:avLst>
              <a:gd name="adj" fmla="val 14296"/>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7"/>
          </p:nvPr>
        </p:nvSpPr>
        <p:spPr bwMode="gray">
          <a:xfrm>
            <a:off x="250824" y="987425"/>
            <a:ext cx="5761335"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4289184509"/>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058863"/>
            <a:ext cx="2664992" cy="3744912"/>
          </a:xfrm>
          <a:prstGeom prst="rect">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7"/>
          </p:nvPr>
        </p:nvSpPr>
        <p:spPr bwMode="gray">
          <a:xfrm>
            <a:off x="3131840" y="987425"/>
            <a:ext cx="5761335"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588682155"/>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3132139" y="1058862"/>
            <a:ext cx="5761036" cy="3744913"/>
          </a:xfrm>
          <a:prstGeom prst="round1Rect">
            <a:avLst>
              <a:gd name="adj" fmla="val 10174"/>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5" y="987425"/>
            <a:ext cx="2665414"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3043471455"/>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058862"/>
            <a:ext cx="5761038" cy="3744913"/>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6227763" y="987425"/>
            <a:ext cx="2665412" cy="3816349"/>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4074678144"/>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top – Picture bottom">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8"/>
          </p:nvPr>
        </p:nvSpPr>
        <p:spPr bwMode="gray">
          <a:xfrm>
            <a:off x="250825" y="3003809"/>
            <a:ext cx="8642349" cy="1799965"/>
          </a:xfrm>
          <a:prstGeom prst="rect">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9"/>
          </p:nvPr>
        </p:nvSpPr>
        <p:spPr bwMode="gray">
          <a:xfrm>
            <a:off x="250825" y="987426"/>
            <a:ext cx="8642350" cy="187236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952120903"/>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5" y="1058862"/>
            <a:ext cx="8642351" cy="1800928"/>
          </a:xfrm>
          <a:prstGeom prst="round1Rect">
            <a:avLst>
              <a:gd name="adj" fmla="val 21156"/>
            </a:avLst>
          </a:prstGeom>
        </p:spPr>
        <p:txBody>
          <a:bodyPr/>
          <a:lstStyle/>
          <a:p>
            <a:r>
              <a:rPr lang="de-DE" noProof="0"/>
              <a:t>Bild auf Platzhalter ziehen oder durch Klicken auf Symbol hinzufügen</a:t>
            </a:r>
            <a:endParaRPr lang="en-US" noProof="0"/>
          </a:p>
        </p:txBody>
      </p:sp>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Text Placeholder 9"/>
          <p:cNvSpPr>
            <a:spLocks noGrp="1"/>
          </p:cNvSpPr>
          <p:nvPr>
            <p:ph type="body" sz="quarter" idx="19"/>
          </p:nvPr>
        </p:nvSpPr>
        <p:spPr bwMode="gray">
          <a:xfrm>
            <a:off x="250825" y="3003810"/>
            <a:ext cx="8642350" cy="179996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extLst>
      <p:ext uri="{BB962C8B-B14F-4D97-AF65-F5344CB8AC3E}">
        <p14:creationId xmlns:p14="http://schemas.microsoft.com/office/powerpoint/2010/main" val="2279056720"/>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0" name="Text Placeholder 7"/>
          <p:cNvSpPr>
            <a:spLocks noGrp="1"/>
          </p:cNvSpPr>
          <p:nvPr>
            <p:ph type="body" sz="quarter" idx="15"/>
          </p:nvPr>
        </p:nvSpPr>
        <p:spPr bwMode="gray">
          <a:xfrm>
            <a:off x="250826" y="1563927"/>
            <a:ext cx="8642350"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6" y="987267"/>
            <a:ext cx="8642349"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895806009"/>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5" name="Text Placeholder 10"/>
          <p:cNvSpPr>
            <a:spLocks noGrp="1"/>
          </p:cNvSpPr>
          <p:nvPr>
            <p:ph type="body" sz="quarter" idx="16"/>
          </p:nvPr>
        </p:nvSpPr>
        <p:spPr bwMode="gray">
          <a:xfrm>
            <a:off x="250824" y="1563928"/>
            <a:ext cx="417715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6" name="Text Placeholder 10"/>
          <p:cNvSpPr>
            <a:spLocks noGrp="1"/>
          </p:cNvSpPr>
          <p:nvPr>
            <p:ph type="body" sz="quarter" idx="17"/>
          </p:nvPr>
        </p:nvSpPr>
        <p:spPr bwMode="gray">
          <a:xfrm>
            <a:off x="4644009" y="1563928"/>
            <a:ext cx="4249166"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8"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779915928"/>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8" name="Text Placeholder 9"/>
          <p:cNvSpPr>
            <a:spLocks noGrp="1"/>
          </p:cNvSpPr>
          <p:nvPr>
            <p:ph type="body" sz="quarter" idx="19"/>
          </p:nvPr>
        </p:nvSpPr>
        <p:spPr bwMode="gray">
          <a:xfrm>
            <a:off x="250825" y="1563928"/>
            <a:ext cx="273699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9" name="Text Placeholder 9"/>
          <p:cNvSpPr>
            <a:spLocks noGrp="1"/>
          </p:cNvSpPr>
          <p:nvPr>
            <p:ph type="body" sz="quarter" idx="20"/>
          </p:nvPr>
        </p:nvSpPr>
        <p:spPr bwMode="gray">
          <a:xfrm>
            <a:off x="3203848" y="1563928"/>
            <a:ext cx="2808312"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20" name="Text Placeholder 9"/>
          <p:cNvSpPr>
            <a:spLocks noGrp="1"/>
          </p:cNvSpPr>
          <p:nvPr>
            <p:ph type="body" sz="quarter" idx="21"/>
          </p:nvPr>
        </p:nvSpPr>
        <p:spPr bwMode="gray">
          <a:xfrm>
            <a:off x="6228184" y="1563928"/>
            <a:ext cx="2664991" cy="3239848"/>
          </a:xfrm>
        </p:spPr>
        <p:txBody>
          <a:bodyPr/>
          <a:lstStyle>
            <a:lvl5pPr>
              <a:defRPr/>
            </a:lvl5p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7"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771943021"/>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4" name="Textplatzhalter 14"/>
          <p:cNvSpPr>
            <a:spLocks noGrp="1"/>
          </p:cNvSpPr>
          <p:nvPr>
            <p:ph type="body" sz="quarter" idx="16" hasCustomPrompt="1"/>
          </p:nvPr>
        </p:nvSpPr>
        <p:spPr bwMode="gray">
          <a:xfrm>
            <a:off x="250825" y="987546"/>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67601663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4716016" y="1058863"/>
            <a:ext cx="4177159" cy="3744912"/>
          </a:xfrm>
          <a:prstGeom prst="round1Rect">
            <a:avLst>
              <a:gd name="adj" fmla="val 10174"/>
            </a:avLst>
          </a:prstGeom>
        </p:spPr>
        <p:txBody>
          <a:bodyPr/>
          <a:lstStyle/>
          <a:p>
            <a:r>
              <a:rPr lang="de-DE" noProof="0"/>
              <a:t>Bild auf Platzhalter ziehen oder durch Klicken auf Symbol hinzufügen</a:t>
            </a:r>
            <a:endParaRPr lang="en-US" noProof="0"/>
          </a:p>
        </p:txBody>
      </p:sp>
      <p:sp>
        <p:nvSpPr>
          <p:cNvPr id="11" name="Text Placeholder 8"/>
          <p:cNvSpPr>
            <a:spLocks noGrp="1"/>
          </p:cNvSpPr>
          <p:nvPr>
            <p:ph type="body" sz="quarter" idx="16"/>
          </p:nvPr>
        </p:nvSpPr>
        <p:spPr bwMode="gray">
          <a:xfrm>
            <a:off x="250824" y="987425"/>
            <a:ext cx="4177159" cy="3816350"/>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ubheadline + 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250825" y="1635936"/>
            <a:ext cx="8642350" cy="3167840"/>
          </a:xfrm>
          <a:prstGeom prst="round1Rect">
            <a:avLst>
              <a:gd name="adj" fmla="val 12027"/>
            </a:avLst>
          </a:prstGeom>
          <a:noFill/>
          <a:ln>
            <a:noFill/>
          </a:ln>
        </p:spPr>
        <p:txBody>
          <a:bodyPr/>
          <a:lstStyle/>
          <a:p>
            <a:r>
              <a:rPr lang="de-DE" noProof="0"/>
              <a:t>Bild auf Platzhalter ziehen oder durch Klicken auf Symbol hinzufügen</a:t>
            </a:r>
            <a:endParaRPr lang="en-US" noProof="0"/>
          </a:p>
        </p:txBody>
      </p:sp>
      <p:sp>
        <p:nvSpPr>
          <p:cNvPr id="5"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992649725"/>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ubheadline + 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4716016" y="1635936"/>
            <a:ext cx="4177159" cy="3167840"/>
          </a:xfrm>
          <a:prstGeom prst="round1Rect">
            <a:avLst>
              <a:gd name="adj" fmla="val 12027"/>
            </a:avLst>
          </a:prstGeom>
          <a:noFill/>
          <a:ln>
            <a:noFill/>
          </a:ln>
        </p:spPr>
        <p:txBody>
          <a:bodyPr/>
          <a:lstStyle/>
          <a:p>
            <a:r>
              <a:rPr lang="de-DE" noProof="0"/>
              <a:t>Bild auf Platzhalter ziehen oder durch Klicken auf Symbol hinzufügen</a:t>
            </a:r>
            <a:endParaRPr lang="en-US" noProof="0"/>
          </a:p>
        </p:txBody>
      </p:sp>
      <p:sp>
        <p:nvSpPr>
          <p:cNvPr id="10" name="Picture Placeholder 10"/>
          <p:cNvSpPr>
            <a:spLocks noGrp="1"/>
          </p:cNvSpPr>
          <p:nvPr>
            <p:ph type="pic" sz="quarter" idx="16"/>
            <p:custDataLst>
              <p:tags r:id="rId2"/>
            </p:custDataLst>
          </p:nvPr>
        </p:nvSpPr>
        <p:spPr bwMode="gray">
          <a:xfrm>
            <a:off x="250825" y="1635936"/>
            <a:ext cx="4177160" cy="3167840"/>
          </a:xfrm>
          <a:prstGeom prst="rect">
            <a:avLst/>
          </a:prstGeom>
          <a:noFill/>
          <a:ln>
            <a:noFill/>
          </a:ln>
        </p:spPr>
        <p:txBody>
          <a:bodyPr/>
          <a:lstStyle/>
          <a:p>
            <a:r>
              <a:rPr lang="de-DE" noProof="0"/>
              <a:t>Bild auf Platzhalter ziehen oder durch Klicken auf Symbol hinzufügen</a:t>
            </a:r>
            <a:endParaRPr lang="en-US" noProof="0"/>
          </a:p>
        </p:txBody>
      </p:sp>
      <p:sp>
        <p:nvSpPr>
          <p:cNvPr id="6" name="Textplatzhalter 14"/>
          <p:cNvSpPr>
            <a:spLocks noGrp="1"/>
          </p:cNvSpPr>
          <p:nvPr>
            <p:ph type="body" sz="quarter" idx="17"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384761128"/>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ubheadline + 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4716016" y="1635936"/>
            <a:ext cx="4177159" cy="3167840"/>
          </a:xfrm>
          <a:prstGeom prst="round1Rect">
            <a:avLst>
              <a:gd name="adj" fmla="val 12027"/>
            </a:avLst>
          </a:prstGeom>
        </p:spPr>
        <p:txBody>
          <a:bodyPr/>
          <a:lstStyle/>
          <a:p>
            <a:r>
              <a:rPr lang="de-DE" noProof="0"/>
              <a:t>Bild auf Platzhalter ziehen oder durch Klicken auf Symbol hinzufügen</a:t>
            </a:r>
            <a:endParaRPr lang="en-US" noProof="0"/>
          </a:p>
        </p:txBody>
      </p:sp>
      <p:sp>
        <p:nvSpPr>
          <p:cNvPr id="11" name="Text Placeholder 8"/>
          <p:cNvSpPr>
            <a:spLocks noGrp="1"/>
          </p:cNvSpPr>
          <p:nvPr>
            <p:ph type="body" sz="quarter" idx="17"/>
          </p:nvPr>
        </p:nvSpPr>
        <p:spPr bwMode="gray">
          <a:xfrm>
            <a:off x="250824" y="1563928"/>
            <a:ext cx="4177159"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617156804"/>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250824" y="1635936"/>
            <a:ext cx="4177159"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7"/>
          </p:nvPr>
        </p:nvSpPr>
        <p:spPr bwMode="gray">
          <a:xfrm>
            <a:off x="4644008" y="1563928"/>
            <a:ext cx="4249167"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767627757"/>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ubheadline + 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6228184" y="1635936"/>
            <a:ext cx="2664991" cy="3167840"/>
          </a:xfrm>
          <a:prstGeom prst="round1Rect">
            <a:avLst>
              <a:gd name="adj" fmla="val 14296"/>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4" y="1563928"/>
            <a:ext cx="5761335"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752438696"/>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635936"/>
            <a:ext cx="2664991"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3131840" y="1563928"/>
            <a:ext cx="5761335"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1475560202"/>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ubheadline + 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3132139" y="1635936"/>
            <a:ext cx="5761036" cy="3167840"/>
          </a:xfrm>
          <a:prstGeom prst="round1Rect">
            <a:avLst>
              <a:gd name="adj" fmla="val 12027"/>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250825" y="1563928"/>
            <a:ext cx="2665414"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173797102"/>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250825" y="1635936"/>
            <a:ext cx="5761038" cy="3167840"/>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6227763" y="1563928"/>
            <a:ext cx="2665412" cy="3239848"/>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9" hasCustomPrompt="1"/>
          </p:nvPr>
        </p:nvSpPr>
        <p:spPr bwMode="gray">
          <a:xfrm>
            <a:off x="250825" y="987268"/>
            <a:ext cx="8642350"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217553108"/>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8"/>
          </p:nvPr>
        </p:nvSpPr>
        <p:spPr bwMode="gray">
          <a:xfrm>
            <a:off x="250826" y="3291851"/>
            <a:ext cx="8642350" cy="1511924"/>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9"/>
          </p:nvPr>
        </p:nvSpPr>
        <p:spPr bwMode="gray">
          <a:xfrm>
            <a:off x="250828" y="1563927"/>
            <a:ext cx="8642348" cy="158390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7" y="987268"/>
            <a:ext cx="8642348"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3437658437"/>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ubheadline + 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250829" y="1635935"/>
            <a:ext cx="8642346" cy="1511896"/>
          </a:xfrm>
          <a:prstGeom prst="round1Rect">
            <a:avLst>
              <a:gd name="adj" fmla="val 25200"/>
            </a:avLst>
          </a:prstGeom>
        </p:spPr>
        <p:txBody>
          <a:bodyPr/>
          <a:lstStyle/>
          <a:p>
            <a:r>
              <a:rPr lang="de-DE" noProof="0"/>
              <a:t>Bild auf Platzhalter ziehen oder durch Klicken auf Symbol hinzufügen</a:t>
            </a:r>
            <a:endParaRPr lang="en-US" noProof="0"/>
          </a:p>
        </p:txBody>
      </p:sp>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0" name="Text Placeholder 8"/>
          <p:cNvSpPr>
            <a:spLocks noGrp="1"/>
          </p:cNvSpPr>
          <p:nvPr>
            <p:ph type="body" sz="quarter" idx="19"/>
          </p:nvPr>
        </p:nvSpPr>
        <p:spPr bwMode="gray">
          <a:xfrm>
            <a:off x="250829" y="3291851"/>
            <a:ext cx="8642346" cy="1511924"/>
          </a:xfrm>
        </p:spPr>
        <p:txBody>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6" name="Textplatzhalter 14"/>
          <p:cNvSpPr>
            <a:spLocks noGrp="1"/>
          </p:cNvSpPr>
          <p:nvPr>
            <p:ph type="body" sz="quarter" idx="16" hasCustomPrompt="1"/>
          </p:nvPr>
        </p:nvSpPr>
        <p:spPr bwMode="gray">
          <a:xfrm>
            <a:off x="250828" y="987268"/>
            <a:ext cx="8642346" cy="576064"/>
          </a:xfrm>
          <a:prstGeom prst="rect">
            <a:avLst/>
          </a:prstGeom>
        </p:spPr>
        <p:txBody>
          <a:bodyPr/>
          <a:lstStyle>
            <a:lvl1pPr marL="0" indent="0">
              <a:spcBef>
                <a:spcPts val="0"/>
              </a:spcBef>
              <a:spcAft>
                <a:spcPts val="0"/>
              </a:spcAft>
              <a:buFont typeface="Arial" pitchFamily="34" charset="0"/>
              <a:buNone/>
              <a:defRPr sz="2000" b="1"/>
            </a:lvl1pPr>
            <a:lvl2pPr marL="0" indent="0">
              <a:spcAft>
                <a:spcPts val="0"/>
              </a:spcAft>
              <a:buNone/>
              <a:defRPr sz="2000" b="1"/>
            </a:lvl2pPr>
            <a:lvl3pPr marL="0" indent="0">
              <a:spcBef>
                <a:spcPts val="0"/>
              </a:spcBef>
              <a:spcAft>
                <a:spcPts val="0"/>
              </a:spcAft>
              <a:buNone/>
              <a:defRPr sz="2000" b="1"/>
            </a:lvl3pPr>
            <a:lvl4pPr marL="0" indent="0">
              <a:spcBef>
                <a:spcPts val="0"/>
              </a:spcBef>
              <a:spcAft>
                <a:spcPts val="0"/>
              </a:spcAft>
              <a:buNone/>
              <a:defRPr sz="2000" b="1"/>
            </a:lvl4pPr>
            <a:lvl5pPr marL="0" indent="0">
              <a:spcBef>
                <a:spcPts val="0"/>
              </a:spcBef>
              <a:spcAft>
                <a:spcPts val="0"/>
              </a:spcAft>
              <a:buNone/>
              <a:defRPr sz="2000" b="1"/>
            </a:lvl5pPr>
          </a:lstStyle>
          <a:p>
            <a:pPr lvl="0"/>
            <a:r>
              <a:rPr lang="en-US" noProof="0" smtClean="0"/>
              <a:t>Subheadline</a:t>
            </a:r>
            <a:endParaRPr lang="en-US" noProof="0"/>
          </a:p>
        </p:txBody>
      </p:sp>
    </p:spTree>
    <p:extLst>
      <p:ext uri="{BB962C8B-B14F-4D97-AF65-F5344CB8AC3E}">
        <p14:creationId xmlns:p14="http://schemas.microsoft.com/office/powerpoint/2010/main" val="240137222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jp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6.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26" Type="http://schemas.openxmlformats.org/officeDocument/2006/relationships/slideLayout" Target="../slideLayouts/slideLayout244.xml"/><Relationship Id="rId39" Type="http://schemas.openxmlformats.org/officeDocument/2006/relationships/tags" Target="../tags/tag165.xml"/><Relationship Id="rId3" Type="http://schemas.openxmlformats.org/officeDocument/2006/relationships/slideLayout" Target="../slideLayouts/slideLayout221.xml"/><Relationship Id="rId21" Type="http://schemas.openxmlformats.org/officeDocument/2006/relationships/slideLayout" Target="../slideLayouts/slideLayout239.xml"/><Relationship Id="rId34" Type="http://schemas.openxmlformats.org/officeDocument/2006/relationships/slideLayout" Target="../slideLayouts/slideLayout252.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slideLayout" Target="../slideLayouts/slideLayout243.xml"/><Relationship Id="rId33" Type="http://schemas.openxmlformats.org/officeDocument/2006/relationships/slideLayout" Target="../slideLayouts/slideLayout251.xml"/><Relationship Id="rId38" Type="http://schemas.openxmlformats.org/officeDocument/2006/relationships/tags" Target="../tags/tag164.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0" Type="http://schemas.openxmlformats.org/officeDocument/2006/relationships/slideLayout" Target="../slideLayouts/slideLayout238.xml"/><Relationship Id="rId29" Type="http://schemas.openxmlformats.org/officeDocument/2006/relationships/slideLayout" Target="../slideLayouts/slideLayout247.xml"/><Relationship Id="rId41" Type="http://schemas.openxmlformats.org/officeDocument/2006/relationships/image" Target="../media/image2.png"/><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24" Type="http://schemas.openxmlformats.org/officeDocument/2006/relationships/slideLayout" Target="../slideLayouts/slideLayout242.xml"/><Relationship Id="rId32" Type="http://schemas.openxmlformats.org/officeDocument/2006/relationships/slideLayout" Target="../slideLayouts/slideLayout250.xml"/><Relationship Id="rId37" Type="http://schemas.openxmlformats.org/officeDocument/2006/relationships/theme" Target="../theme/theme10.xml"/><Relationship Id="rId40" Type="http://schemas.openxmlformats.org/officeDocument/2006/relationships/image" Target="../media/image12.png"/><Relationship Id="rId5" Type="http://schemas.openxmlformats.org/officeDocument/2006/relationships/slideLayout" Target="../slideLayouts/slideLayout223.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28" Type="http://schemas.openxmlformats.org/officeDocument/2006/relationships/slideLayout" Target="../slideLayouts/slideLayout246.xml"/><Relationship Id="rId36" Type="http://schemas.openxmlformats.org/officeDocument/2006/relationships/slideLayout" Target="../slideLayouts/slideLayout254.xml"/><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31" Type="http://schemas.openxmlformats.org/officeDocument/2006/relationships/slideLayout" Target="../slideLayouts/slideLayout249.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 Id="rId22" Type="http://schemas.openxmlformats.org/officeDocument/2006/relationships/slideLayout" Target="../slideLayouts/slideLayout240.xml"/><Relationship Id="rId27" Type="http://schemas.openxmlformats.org/officeDocument/2006/relationships/slideLayout" Target="../slideLayouts/slideLayout245.xml"/><Relationship Id="rId30" Type="http://schemas.openxmlformats.org/officeDocument/2006/relationships/slideLayout" Target="../slideLayouts/slideLayout248.xml"/><Relationship Id="rId35" Type="http://schemas.openxmlformats.org/officeDocument/2006/relationships/slideLayout" Target="../slideLayouts/slideLayout253.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256.xml"/><Relationship Id="rId1" Type="http://schemas.openxmlformats.org/officeDocument/2006/relationships/slideLayout" Target="../slideLayouts/slideLayout255.xml"/><Relationship Id="rId5" Type="http://schemas.openxmlformats.org/officeDocument/2006/relationships/image" Target="../media/image9.png"/><Relationship Id="rId4" Type="http://schemas.openxmlformats.org/officeDocument/2006/relationships/image" Target="../media/image8.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slideLayout" Target="../slideLayouts/slideLayout269.xml"/><Relationship Id="rId18" Type="http://schemas.openxmlformats.org/officeDocument/2006/relationships/slideLayout" Target="../slideLayouts/slideLayout274.xml"/><Relationship Id="rId26" Type="http://schemas.openxmlformats.org/officeDocument/2006/relationships/slideLayout" Target="../slideLayouts/slideLayout282.xml"/><Relationship Id="rId3" Type="http://schemas.openxmlformats.org/officeDocument/2006/relationships/slideLayout" Target="../slideLayouts/slideLayout259.xml"/><Relationship Id="rId21" Type="http://schemas.openxmlformats.org/officeDocument/2006/relationships/slideLayout" Target="../slideLayouts/slideLayout277.xml"/><Relationship Id="rId34" Type="http://schemas.openxmlformats.org/officeDocument/2006/relationships/theme" Target="../theme/theme12.xml"/><Relationship Id="rId7" Type="http://schemas.openxmlformats.org/officeDocument/2006/relationships/slideLayout" Target="../slideLayouts/slideLayout263.xml"/><Relationship Id="rId12" Type="http://schemas.openxmlformats.org/officeDocument/2006/relationships/slideLayout" Target="../slideLayouts/slideLayout268.xml"/><Relationship Id="rId17" Type="http://schemas.openxmlformats.org/officeDocument/2006/relationships/slideLayout" Target="../slideLayouts/slideLayout273.xml"/><Relationship Id="rId25" Type="http://schemas.openxmlformats.org/officeDocument/2006/relationships/slideLayout" Target="../slideLayouts/slideLayout281.xml"/><Relationship Id="rId33" Type="http://schemas.openxmlformats.org/officeDocument/2006/relationships/slideLayout" Target="../slideLayouts/slideLayout289.xml"/><Relationship Id="rId38" Type="http://schemas.openxmlformats.org/officeDocument/2006/relationships/image" Target="../media/image2.png"/><Relationship Id="rId2" Type="http://schemas.openxmlformats.org/officeDocument/2006/relationships/slideLayout" Target="../slideLayouts/slideLayout258.xml"/><Relationship Id="rId16" Type="http://schemas.openxmlformats.org/officeDocument/2006/relationships/slideLayout" Target="../slideLayouts/slideLayout272.xml"/><Relationship Id="rId20" Type="http://schemas.openxmlformats.org/officeDocument/2006/relationships/slideLayout" Target="../slideLayouts/slideLayout276.xml"/><Relationship Id="rId29" Type="http://schemas.openxmlformats.org/officeDocument/2006/relationships/slideLayout" Target="../slideLayouts/slideLayout285.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slideLayout" Target="../slideLayouts/slideLayout267.xml"/><Relationship Id="rId24" Type="http://schemas.openxmlformats.org/officeDocument/2006/relationships/slideLayout" Target="../slideLayouts/slideLayout280.xml"/><Relationship Id="rId32" Type="http://schemas.openxmlformats.org/officeDocument/2006/relationships/slideLayout" Target="../slideLayouts/slideLayout288.xml"/><Relationship Id="rId37" Type="http://schemas.openxmlformats.org/officeDocument/2006/relationships/image" Target="../media/image1.jpg"/><Relationship Id="rId5" Type="http://schemas.openxmlformats.org/officeDocument/2006/relationships/slideLayout" Target="../slideLayouts/slideLayout261.xml"/><Relationship Id="rId15" Type="http://schemas.openxmlformats.org/officeDocument/2006/relationships/slideLayout" Target="../slideLayouts/slideLayout271.xml"/><Relationship Id="rId23" Type="http://schemas.openxmlformats.org/officeDocument/2006/relationships/slideLayout" Target="../slideLayouts/slideLayout279.xml"/><Relationship Id="rId28" Type="http://schemas.openxmlformats.org/officeDocument/2006/relationships/slideLayout" Target="../slideLayouts/slideLayout284.xml"/><Relationship Id="rId36" Type="http://schemas.openxmlformats.org/officeDocument/2006/relationships/tags" Target="../tags/tag193.xml"/><Relationship Id="rId10" Type="http://schemas.openxmlformats.org/officeDocument/2006/relationships/slideLayout" Target="../slideLayouts/slideLayout266.xml"/><Relationship Id="rId19" Type="http://schemas.openxmlformats.org/officeDocument/2006/relationships/slideLayout" Target="../slideLayouts/slideLayout275.xml"/><Relationship Id="rId31" Type="http://schemas.openxmlformats.org/officeDocument/2006/relationships/slideLayout" Target="../slideLayouts/slideLayout287.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slideLayout" Target="../slideLayouts/slideLayout270.xml"/><Relationship Id="rId22" Type="http://schemas.openxmlformats.org/officeDocument/2006/relationships/slideLayout" Target="../slideLayouts/slideLayout278.xml"/><Relationship Id="rId27" Type="http://schemas.openxmlformats.org/officeDocument/2006/relationships/slideLayout" Target="../slideLayouts/slideLayout283.xml"/><Relationship Id="rId30" Type="http://schemas.openxmlformats.org/officeDocument/2006/relationships/slideLayout" Target="../slideLayouts/slideLayout286.xml"/><Relationship Id="rId35" Type="http://schemas.openxmlformats.org/officeDocument/2006/relationships/tags" Target="../tags/tag192.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34.xml"/><Relationship Id="rId1" Type="http://schemas.openxmlformats.org/officeDocument/2006/relationships/slideLayout" Target="../slideLayouts/slideLayout33.xml"/><Relationship Id="rId5" Type="http://schemas.openxmlformats.org/officeDocument/2006/relationships/image" Target="../media/image9.png"/><Relationship Id="rId4" Type="http://schemas.openxmlformats.org/officeDocument/2006/relationships/image" Target="../media/image8.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image" Target="../media/image2.png"/><Relationship Id="rId3" Type="http://schemas.openxmlformats.org/officeDocument/2006/relationships/slideLayout" Target="../slideLayouts/slideLayout37.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image" Target="../media/image12.pn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tags" Target="../tags/tag28.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tags" Target="../tags/tag27.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image" Target="../media/image12.png"/><Relationship Id="rId3" Type="http://schemas.openxmlformats.org/officeDocument/2006/relationships/slideLayout" Target="../slideLayouts/slideLayout71.xml"/><Relationship Id="rId21" Type="http://schemas.openxmlformats.org/officeDocument/2006/relationships/slideLayout" Target="../slideLayouts/slideLayout89.xml"/><Relationship Id="rId34" Type="http://schemas.openxmlformats.org/officeDocument/2006/relationships/slideLayout" Target="../slideLayouts/slideLayout102.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tags" Target="../tags/tag56.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slideLayout" Target="../slideLayouts/slideLayout97.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tags" Target="../tags/tag55.xml"/><Relationship Id="rId40" Type="http://schemas.openxmlformats.org/officeDocument/2006/relationships/image" Target="../media/image2.png"/><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theme" Target="../theme/theme4.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slideLayout" Target="../slideLayouts/slideLayout129.xml"/><Relationship Id="rId39" Type="http://schemas.openxmlformats.org/officeDocument/2006/relationships/image" Target="../media/image2.png"/><Relationship Id="rId3" Type="http://schemas.openxmlformats.org/officeDocument/2006/relationships/slideLayout" Target="../slideLayouts/slideLayout106.xml"/><Relationship Id="rId21" Type="http://schemas.openxmlformats.org/officeDocument/2006/relationships/slideLayout" Target="../slideLayouts/slideLayout124.xml"/><Relationship Id="rId34" Type="http://schemas.openxmlformats.org/officeDocument/2006/relationships/slideLayout" Target="../slideLayouts/slideLayout137.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slideLayout" Target="../slideLayouts/slideLayout128.xml"/><Relationship Id="rId33" Type="http://schemas.openxmlformats.org/officeDocument/2006/relationships/slideLayout" Target="../slideLayouts/slideLayout136.xml"/><Relationship Id="rId38" Type="http://schemas.openxmlformats.org/officeDocument/2006/relationships/image" Target="../media/image1.jpg"/><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29" Type="http://schemas.openxmlformats.org/officeDocument/2006/relationships/slideLayout" Target="../slideLayouts/slideLayout132.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slideLayout" Target="../slideLayouts/slideLayout127.xml"/><Relationship Id="rId32" Type="http://schemas.openxmlformats.org/officeDocument/2006/relationships/slideLayout" Target="../slideLayouts/slideLayout135.xml"/><Relationship Id="rId37" Type="http://schemas.openxmlformats.org/officeDocument/2006/relationships/tags" Target="../tags/tag81.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slideLayout" Target="../slideLayouts/slideLayout126.xml"/><Relationship Id="rId28" Type="http://schemas.openxmlformats.org/officeDocument/2006/relationships/slideLayout" Target="../slideLayouts/slideLayout131.xml"/><Relationship Id="rId36" Type="http://schemas.openxmlformats.org/officeDocument/2006/relationships/tags" Target="../tags/tag80.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31" Type="http://schemas.openxmlformats.org/officeDocument/2006/relationships/slideLayout" Target="../slideLayouts/slideLayout134.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slideLayout" Target="../slideLayouts/slideLayout125.xml"/><Relationship Id="rId27" Type="http://schemas.openxmlformats.org/officeDocument/2006/relationships/slideLayout" Target="../slideLayouts/slideLayout130.xml"/><Relationship Id="rId30" Type="http://schemas.openxmlformats.org/officeDocument/2006/relationships/slideLayout" Target="../slideLayouts/slideLayout133.xml"/><Relationship Id="rId35"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slideLayout" Target="../slideLayouts/slideLayout163.xml"/><Relationship Id="rId39" Type="http://schemas.openxmlformats.org/officeDocument/2006/relationships/tags" Target="../tags/tag105.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34" Type="http://schemas.openxmlformats.org/officeDocument/2006/relationships/slideLayout" Target="../slideLayouts/slideLayout171.xml"/><Relationship Id="rId42" Type="http://schemas.openxmlformats.org/officeDocument/2006/relationships/image" Target="../media/image2.png"/><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slideLayout" Target="../slideLayouts/slideLayout162.xml"/><Relationship Id="rId33" Type="http://schemas.openxmlformats.org/officeDocument/2006/relationships/slideLayout" Target="../slideLayouts/slideLayout170.xml"/><Relationship Id="rId38" Type="http://schemas.openxmlformats.org/officeDocument/2006/relationships/theme" Target="../theme/theme6.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29" Type="http://schemas.openxmlformats.org/officeDocument/2006/relationships/slideLayout" Target="../slideLayouts/slideLayout166.xml"/><Relationship Id="rId41" Type="http://schemas.openxmlformats.org/officeDocument/2006/relationships/image" Target="../media/image1.jpg"/><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slideLayout" Target="../slideLayouts/slideLayout161.xml"/><Relationship Id="rId32" Type="http://schemas.openxmlformats.org/officeDocument/2006/relationships/slideLayout" Target="../slideLayouts/slideLayout169.xml"/><Relationship Id="rId37" Type="http://schemas.openxmlformats.org/officeDocument/2006/relationships/slideLayout" Target="../slideLayouts/slideLayout174.xml"/><Relationship Id="rId40" Type="http://schemas.openxmlformats.org/officeDocument/2006/relationships/tags" Target="../tags/tag106.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28" Type="http://schemas.openxmlformats.org/officeDocument/2006/relationships/slideLayout" Target="../slideLayouts/slideLayout165.xml"/><Relationship Id="rId36" Type="http://schemas.openxmlformats.org/officeDocument/2006/relationships/slideLayout" Target="../slideLayouts/slideLayout173.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31" Type="http://schemas.openxmlformats.org/officeDocument/2006/relationships/slideLayout" Target="../slideLayouts/slideLayout168.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slideLayout" Target="../slideLayouts/slideLayout159.xml"/><Relationship Id="rId27" Type="http://schemas.openxmlformats.org/officeDocument/2006/relationships/slideLayout" Target="../slideLayouts/slideLayout164.xml"/><Relationship Id="rId30" Type="http://schemas.openxmlformats.org/officeDocument/2006/relationships/slideLayout" Target="../slideLayouts/slideLayout167.xml"/><Relationship Id="rId35" Type="http://schemas.openxmlformats.org/officeDocument/2006/relationships/slideLayout" Target="../slideLayouts/slideLayout17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34" Type="http://schemas.openxmlformats.org/officeDocument/2006/relationships/tags" Target="../tags/tag135.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theme" Target="../theme/theme7.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slideLayout" Target="../slideLayouts/slideLayout203.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37" Type="http://schemas.openxmlformats.org/officeDocument/2006/relationships/image" Target="../media/image2.png"/><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image" Target="../media/image1.jpg"/><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tags" Target="../tags/tag136.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theme" Target="../theme/theme8.xml"/><Relationship Id="rId1" Type="http://schemas.openxmlformats.org/officeDocument/2006/relationships/slideLayout" Target="../slideLayouts/slideLayout207.xml"/><Relationship Id="rId4" Type="http://schemas.openxmlformats.org/officeDocument/2006/relationships/image" Target="../media/image23.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image" Target="../media/image25.jpeg"/><Relationship Id="rId3" Type="http://schemas.openxmlformats.org/officeDocument/2006/relationships/slideLayout" Target="../slideLayouts/slideLayout210.xml"/><Relationship Id="rId7" Type="http://schemas.openxmlformats.org/officeDocument/2006/relationships/slideLayout" Target="../slideLayouts/slideLayout214.xml"/><Relationship Id="rId12" Type="http://schemas.openxmlformats.org/officeDocument/2006/relationships/theme" Target="../theme/theme9.xml"/><Relationship Id="rId2" Type="http://schemas.openxmlformats.org/officeDocument/2006/relationships/slideLayout" Target="../slideLayouts/slideLayout209.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5" Type="http://schemas.openxmlformats.org/officeDocument/2006/relationships/slideLayout" Target="../slideLayouts/slideLayout212.xml"/><Relationship Id="rId10" Type="http://schemas.openxmlformats.org/officeDocument/2006/relationships/slideLayout" Target="../slideLayouts/slideLayout217.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image" Target="../media/image2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6" name="Bild 5"/>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elplatzhalter 1"/>
          <p:cNvSpPr>
            <a:spLocks noGrp="1"/>
          </p:cNvSpPr>
          <p:nvPr>
            <p:ph type="title"/>
          </p:nvPr>
        </p:nvSpPr>
        <p:spPr bwMode="gray">
          <a:xfrm>
            <a:off x="250825" y="72557"/>
            <a:ext cx="7561264" cy="77095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3676650" algn="l"/>
              </a:tabLst>
            </a:pPr>
            <a:endParaRPr lang="en-US" noProof="0" dirty="0"/>
          </a:p>
        </p:txBody>
      </p:sp>
      <p:sp>
        <p:nvSpPr>
          <p:cNvPr id="7" name="VCT_Marker_ID_7" hidden="1"/>
          <p:cNvSpPr/>
          <p:nvPr>
            <p:custDataLst>
              <p:tags r:id="rId34"/>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bwMode="gray">
          <a:xfrm>
            <a:off x="4302000" y="4937125"/>
            <a:ext cx="5400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marL="0" algn="ctr" defTabSz="914400" rtl="0" eaLnBrk="1" fontAlgn="base" latinLnBrk="0" hangingPunct="1">
              <a:spcBef>
                <a:spcPct val="0"/>
              </a:spcBef>
              <a:spcAft>
                <a:spcPct val="0"/>
              </a:spcAft>
            </a:pPr>
            <a:fld id="{AC746033-9F45-4508-8446-72AA2BBAAD2A}" type="slidenum">
              <a:rPr kumimoji="0" lang="en-US" altLang="ja-JP" sz="800" kern="1200" noProof="0" smtClean="0">
                <a:solidFill>
                  <a:schemeClr val="tx1"/>
                </a:solidFill>
                <a:latin typeface="+mn-lt"/>
                <a:ea typeface="ＭＳ Ｐゴシック" charset="-128"/>
                <a:cs typeface="+mn-cs"/>
              </a:rPr>
              <a:pPr marL="0" algn="ctr" defTabSz="914400" rtl="0" eaLnBrk="1" fontAlgn="base" latinLnBrk="0" hangingPunct="1">
                <a:spcBef>
                  <a:spcPct val="0"/>
                </a:spcBef>
                <a:spcAft>
                  <a:spcPct val="0"/>
                </a:spcAft>
              </a:pPr>
              <a:t>‹#›</a:t>
            </a:fld>
            <a:endParaRPr kumimoji="0" lang="en-US" altLang="ja-JP" sz="800" kern="1200" noProof="0" dirty="0" smtClean="0">
              <a:solidFill>
                <a:schemeClr val="tx1"/>
              </a:solidFill>
              <a:latin typeface="+mn-lt"/>
              <a:ea typeface="ＭＳ Ｐゴシック" charset="-128"/>
              <a:cs typeface="+mn-cs"/>
            </a:endParaRPr>
          </a:p>
        </p:txBody>
      </p:sp>
      <p:sp>
        <p:nvSpPr>
          <p:cNvPr id="40" name="Text Placeholder 39"/>
          <p:cNvSpPr>
            <a:spLocks noGrp="1"/>
          </p:cNvSpPr>
          <p:nvPr>
            <p:ph type="body" idx="1"/>
            <p:custDataLst>
              <p:tags r:id="rId35"/>
            </p:custDataLst>
          </p:nvPr>
        </p:nvSpPr>
        <p:spPr bwMode="gray">
          <a:xfrm>
            <a:off x="250825" y="987425"/>
            <a:ext cx="8642350" cy="3816350"/>
          </a:xfrm>
          <a:prstGeom prst="rect">
            <a:avLst/>
          </a:prstGeom>
        </p:spPr>
        <p:txBody>
          <a:bodyPr vert="horz" lIns="0" tIns="0" rIns="0" bIns="0" rtlCol="0">
            <a:noAutofit/>
          </a:body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smtClean="0"/>
              <a:t>Fünfte Ebene</a:t>
            </a:r>
            <a:endParaRPr lang="en-US" noProof="0"/>
          </a:p>
        </p:txBody>
      </p:sp>
      <p:sp>
        <p:nvSpPr>
          <p:cNvPr id="19" name="Line 4"/>
          <p:cNvSpPr>
            <a:spLocks noChangeShapeType="1"/>
          </p:cNvSpPr>
          <p:nvPr/>
        </p:nvSpPr>
        <p:spPr bwMode="gray">
          <a:xfrm>
            <a:off x="0" y="4948080"/>
            <a:ext cx="9144000" cy="0"/>
          </a:xfrm>
          <a:prstGeom prst="line">
            <a:avLst/>
          </a:prstGeom>
          <a:noFill/>
          <a:ln w="12700">
            <a:solidFill>
              <a:srgbClr val="87867E"/>
            </a:solidFill>
            <a:round/>
            <a:headEnd/>
            <a:tailEnd/>
          </a:ln>
          <a:effectLst/>
        </p:spPr>
        <p:txBody>
          <a:bodyPr/>
          <a:lstStyle/>
          <a:p>
            <a:endParaRPr lang="en-GB" noProof="0" dirty="0"/>
          </a:p>
        </p:txBody>
      </p:sp>
      <p:sp>
        <p:nvSpPr>
          <p:cNvPr id="11" name="Rectangle 21"/>
          <p:cNvSpPr/>
          <p:nvPr/>
        </p:nvSpPr>
        <p:spPr bwMode="gray">
          <a:xfrm>
            <a:off x="4928400" y="4935600"/>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marL="0" algn="r" defTabSz="914400" rtl="0" eaLnBrk="1" fontAlgn="base" latinLnBrk="0" hangingPunct="1">
              <a:spcBef>
                <a:spcPct val="0"/>
              </a:spcBef>
              <a:spcAft>
                <a:spcPct val="0"/>
              </a:spcAft>
            </a:pPr>
            <a:r>
              <a:rPr kumimoji="0" lang="en-US" altLang="ja-JP" sz="800" kern="1200" noProof="0" dirty="0" smtClean="0">
                <a:solidFill>
                  <a:schemeClr val="tx1"/>
                </a:solidFill>
                <a:latin typeface="+mn-lt"/>
                <a:ea typeface="ＭＳ Ｐゴシック" charset="-128"/>
                <a:cs typeface="+mn-cs"/>
              </a:rPr>
              <a:t>Copyright</a:t>
            </a:r>
            <a:r>
              <a:rPr kumimoji="0" lang="en-US" altLang="ja-JP" sz="800" kern="1200" baseline="0" noProof="0" dirty="0" smtClean="0">
                <a:solidFill>
                  <a:schemeClr val="tx1"/>
                </a:solidFill>
                <a:latin typeface="+mn-lt"/>
                <a:ea typeface="ＭＳ Ｐゴシック" charset="-128"/>
                <a:cs typeface="+mn-cs"/>
              </a:rPr>
              <a:t> 2018 FUJITSU</a:t>
            </a:r>
            <a:endParaRPr kumimoji="0" lang="en-US" altLang="ja-JP" sz="800" kern="1200" noProof="0" dirty="0" smtClean="0">
              <a:solidFill>
                <a:schemeClr val="tx1"/>
              </a:solidFill>
              <a:latin typeface="+mn-lt"/>
              <a:ea typeface="ＭＳ Ｐゴシック" charset="-128"/>
              <a:cs typeface="+mn-cs"/>
            </a:endParaRPr>
          </a:p>
        </p:txBody>
      </p:sp>
      <p:pic>
        <p:nvPicPr>
          <p:cNvPr id="13" name="Picture 3" descr="Fujitsu_Logo"/>
          <p:cNvPicPr>
            <a:picLocks noChangeAspect="1" noChangeArrowheads="1"/>
          </p:cNvPicPr>
          <p:nvPr userDrawn="1"/>
        </p:nvPicPr>
        <p:blipFill>
          <a:blip r:embed="rId37" cstate="print">
            <a:extLst>
              <a:ext uri="{28A0092B-C50C-407E-A947-70E740481C1C}">
                <a14:useLocalDpi xmlns:a14="http://schemas.microsoft.com/office/drawing/2010/main"/>
              </a:ext>
            </a:extLst>
          </a:blip>
          <a:srcRect/>
          <a:stretch>
            <a:fillRect/>
          </a:stretch>
        </p:blipFill>
        <p:spPr bwMode="auto">
          <a:xfrm>
            <a:off x="7664790" y="243040"/>
            <a:ext cx="1252195" cy="499082"/>
          </a:xfrm>
          <a:prstGeom prst="rect">
            <a:avLst/>
          </a:prstGeom>
          <a:noFill/>
        </p:spPr>
      </p:pic>
    </p:spTree>
  </p:cSld>
  <p:clrMap bg1="lt1" tx1="dk1" bg2="lt2" tx2="dk2" accent1="accent1" accent2="accent2" accent3="accent3" accent4="accent4" accent5="accent5" accent6="accent6" hlink="hlink" folHlink="folHlink"/>
  <p:sldLayoutIdLst>
    <p:sldLayoutId id="2147483680" r:id="rId1"/>
    <p:sldLayoutId id="2147483688" r:id="rId2"/>
    <p:sldLayoutId id="2147483660" r:id="rId3"/>
    <p:sldLayoutId id="2147483662" r:id="rId4"/>
    <p:sldLayoutId id="2147483656" r:id="rId5"/>
    <p:sldLayoutId id="2147483654" r:id="rId6"/>
    <p:sldLayoutId id="2147483650" r:id="rId7"/>
    <p:sldLayoutId id="2147483667" r:id="rId8"/>
    <p:sldLayoutId id="2147483652" r:id="rId9"/>
    <p:sldLayoutId id="2147483665" r:id="rId10"/>
    <p:sldLayoutId id="2147483658" r:id="rId11"/>
    <p:sldLayoutId id="2147483666" r:id="rId12"/>
    <p:sldLayoutId id="2147483686" r:id="rId13"/>
    <p:sldLayoutId id="2147483687" r:id="rId14"/>
    <p:sldLayoutId id="2147483657" r:id="rId15"/>
    <p:sldLayoutId id="2147483661" r:id="rId16"/>
    <p:sldLayoutId id="2147483668" r:id="rId17"/>
    <p:sldLayoutId id="2147483669" r:id="rId18"/>
    <p:sldLayoutId id="2147483670" r:id="rId19"/>
    <p:sldLayoutId id="2147483671" r:id="rId20"/>
    <p:sldLayoutId id="2147483672" r:id="rId21"/>
    <p:sldLayoutId id="2147483673" r:id="rId22"/>
    <p:sldLayoutId id="2147483674" r:id="rId23"/>
    <p:sldLayoutId id="2147483675" r:id="rId24"/>
    <p:sldLayoutId id="2147483676" r:id="rId25"/>
    <p:sldLayoutId id="2147483677" r:id="rId26"/>
    <p:sldLayoutId id="2147483684" r:id="rId27"/>
    <p:sldLayoutId id="2147483685" r:id="rId28"/>
    <p:sldLayoutId id="2147483678" r:id="rId29"/>
    <p:sldLayoutId id="2147483679" r:id="rId30"/>
    <p:sldLayoutId id="2147483659" r:id="rId31"/>
    <p:sldLayoutId id="2147483655" r:id="rId32"/>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Fujitsu Sans"/>
          <a:ea typeface="+mj-ea"/>
          <a:cs typeface="Fujitsu Sans"/>
        </a:defRPr>
      </a:lvl1pPr>
    </p:titleStyle>
    <p:body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5" name="Bild 4"/>
          <p:cNvPicPr>
            <a:picLocks noChangeAspect="1"/>
          </p:cNvPicPr>
          <p:nvPr userDrawn="1"/>
        </p:nvPicPr>
        <p:blipFill>
          <a:blip r:embed="rId40">
            <a:extLst>
              <a:ext uri="{28A0092B-C50C-407E-A947-70E740481C1C}">
                <a14:useLocalDpi xmlns:a14="http://schemas.microsoft.com/office/drawing/2010/main" val="0"/>
              </a:ext>
            </a:extLst>
          </a:blip>
          <a:stretch>
            <a:fillRect/>
          </a:stretch>
        </p:blipFill>
        <p:spPr>
          <a:xfrm>
            <a:off x="0" y="0"/>
            <a:ext cx="9144000" cy="1395984"/>
          </a:xfrm>
          <a:prstGeom prst="rect">
            <a:avLst/>
          </a:prstGeom>
        </p:spPr>
      </p:pic>
      <p:sp>
        <p:nvSpPr>
          <p:cNvPr id="2" name="Titelplatzhalter 1"/>
          <p:cNvSpPr>
            <a:spLocks noGrp="1"/>
          </p:cNvSpPr>
          <p:nvPr>
            <p:ph type="title"/>
          </p:nvPr>
        </p:nvSpPr>
        <p:spPr bwMode="gray">
          <a:xfrm>
            <a:off x="250825" y="72557"/>
            <a:ext cx="7561264" cy="77095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3676650" algn="l"/>
              </a:tabLst>
            </a:pPr>
            <a:endParaRPr lang="en-US" noProof="0" dirty="0"/>
          </a:p>
        </p:txBody>
      </p:sp>
      <p:sp>
        <p:nvSpPr>
          <p:cNvPr id="7" name="VCT_Marker_ID_7" hidden="1"/>
          <p:cNvSpPr/>
          <p:nvPr>
            <p:custDataLst>
              <p:tags r:id="rId38"/>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bwMode="gray">
          <a:xfrm>
            <a:off x="4302000" y="4937125"/>
            <a:ext cx="5400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ctr" fontAlgn="base">
              <a:spcBef>
                <a:spcPct val="0"/>
              </a:spcBef>
              <a:spcAft>
                <a:spcPct val="0"/>
              </a:spcAft>
            </a:pPr>
            <a:fld id="{AC746033-9F45-4508-8446-72AA2BBAAD2A}" type="slidenum">
              <a:rPr lang="en-US" altLang="ja-JP" sz="800" smtClean="0">
                <a:solidFill>
                  <a:srgbClr val="000000"/>
                </a:solidFill>
                <a:ea typeface="ＭＳ Ｐゴシック" charset="-128"/>
              </a:rPr>
              <a:pPr algn="ctr" fontAlgn="base">
                <a:spcBef>
                  <a:spcPct val="0"/>
                </a:spcBef>
                <a:spcAft>
                  <a:spcPct val="0"/>
                </a:spcAft>
              </a:pPr>
              <a:t>‹#›</a:t>
            </a:fld>
            <a:endParaRPr lang="en-US" altLang="ja-JP" sz="800" dirty="0" smtClean="0">
              <a:solidFill>
                <a:srgbClr val="000000"/>
              </a:solidFill>
              <a:ea typeface="ＭＳ Ｐゴシック" charset="-128"/>
            </a:endParaRPr>
          </a:p>
        </p:txBody>
      </p:sp>
      <p:sp>
        <p:nvSpPr>
          <p:cNvPr id="40" name="Text Placeholder 39"/>
          <p:cNvSpPr>
            <a:spLocks noGrp="1"/>
          </p:cNvSpPr>
          <p:nvPr>
            <p:ph type="body" idx="1"/>
            <p:custDataLst>
              <p:tags r:id="rId39"/>
            </p:custDataLst>
          </p:nvPr>
        </p:nvSpPr>
        <p:spPr bwMode="gray">
          <a:xfrm>
            <a:off x="250825" y="987425"/>
            <a:ext cx="8642350" cy="3816350"/>
          </a:xfrm>
          <a:prstGeom prst="rect">
            <a:avLst/>
          </a:prstGeom>
        </p:spPr>
        <p:txBody>
          <a:bodyPr vert="horz" lIns="0" tIns="0" rIns="0" bIns="0" rtlCol="0">
            <a:noAutofit/>
          </a:body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endParaRPr lang="en-US" noProof="0" dirty="0"/>
          </a:p>
        </p:txBody>
      </p:sp>
      <p:sp>
        <p:nvSpPr>
          <p:cNvPr id="19" name="Line 4"/>
          <p:cNvSpPr>
            <a:spLocks noChangeShapeType="1"/>
          </p:cNvSpPr>
          <p:nvPr/>
        </p:nvSpPr>
        <p:spPr bwMode="gray">
          <a:xfrm>
            <a:off x="0" y="4948080"/>
            <a:ext cx="9144000" cy="0"/>
          </a:xfrm>
          <a:prstGeom prst="line">
            <a:avLst/>
          </a:prstGeom>
          <a:noFill/>
          <a:ln w="12700">
            <a:solidFill>
              <a:srgbClr val="87867E"/>
            </a:solidFill>
            <a:round/>
            <a:headEnd/>
            <a:tailEnd/>
          </a:ln>
          <a:effectLst/>
        </p:spPr>
        <p:txBody>
          <a:bodyPr/>
          <a:lstStyle/>
          <a:p>
            <a:endParaRPr lang="en-GB" dirty="0">
              <a:solidFill>
                <a:srgbClr val="000000"/>
              </a:solidFill>
            </a:endParaRPr>
          </a:p>
        </p:txBody>
      </p:sp>
      <p:sp>
        <p:nvSpPr>
          <p:cNvPr id="11" name="Rectangle 21"/>
          <p:cNvSpPr/>
          <p:nvPr/>
        </p:nvSpPr>
        <p:spPr bwMode="gray">
          <a:xfrm>
            <a:off x="4928400" y="4935600"/>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r" fontAlgn="base">
              <a:spcBef>
                <a:spcPct val="0"/>
              </a:spcBef>
              <a:spcAft>
                <a:spcPct val="0"/>
              </a:spcAft>
            </a:pPr>
            <a:r>
              <a:rPr lang="en-US" altLang="ja-JP" sz="800" dirty="0" smtClean="0">
                <a:solidFill>
                  <a:srgbClr val="000000"/>
                </a:solidFill>
                <a:ea typeface="ＭＳ Ｐゴシック" charset="-128"/>
              </a:rPr>
              <a:t>Copyright 2018 FUJITSU</a:t>
            </a:r>
          </a:p>
        </p:txBody>
      </p:sp>
      <p:pic>
        <p:nvPicPr>
          <p:cNvPr id="13" name="Picture 3" descr="Fujitsu_Logo"/>
          <p:cNvPicPr>
            <a:picLocks noChangeAspect="1" noChangeArrowheads="1"/>
          </p:cNvPicPr>
          <p:nvPr userDrawn="1"/>
        </p:nvPicPr>
        <p:blipFill>
          <a:blip r:embed="rId41" cstate="print">
            <a:extLst>
              <a:ext uri="{28A0092B-C50C-407E-A947-70E740481C1C}">
                <a14:useLocalDpi xmlns:a14="http://schemas.microsoft.com/office/drawing/2010/main"/>
              </a:ext>
            </a:extLst>
          </a:blip>
          <a:srcRect/>
          <a:stretch>
            <a:fillRect/>
          </a:stretch>
        </p:blipFill>
        <p:spPr bwMode="auto">
          <a:xfrm>
            <a:off x="7664790" y="243040"/>
            <a:ext cx="1252195" cy="499082"/>
          </a:xfrm>
          <a:prstGeom prst="rect">
            <a:avLst/>
          </a:prstGeom>
          <a:noFill/>
        </p:spPr>
      </p:pic>
    </p:spTree>
    <p:extLst>
      <p:ext uri="{BB962C8B-B14F-4D97-AF65-F5344CB8AC3E}">
        <p14:creationId xmlns:p14="http://schemas.microsoft.com/office/powerpoint/2010/main" val="2468026920"/>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0"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 id="2147483923" r:id="rId30"/>
    <p:sldLayoutId id="2147483924" r:id="rId31"/>
    <p:sldLayoutId id="2147483925" r:id="rId32"/>
    <p:sldLayoutId id="2147483926" r:id="rId33"/>
    <p:sldLayoutId id="2147483927" r:id="rId34"/>
    <p:sldLayoutId id="2147483928" r:id="rId35"/>
    <p:sldLayoutId id="2147483929" r:id="rId36"/>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Fujitsu Sans"/>
          <a:ea typeface="+mj-ea"/>
          <a:cs typeface="Fujitsu Sans"/>
        </a:defRPr>
      </a:lvl1pPr>
    </p:titleStyle>
    <p:body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1588"/>
            <a:ext cx="9144000" cy="514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Picture 3"/>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124825" y="252413"/>
            <a:ext cx="777875"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6537325" y="4862513"/>
            <a:ext cx="2343150" cy="100012"/>
          </a:xfrm>
          <a:prstGeom prst="rect">
            <a:avLst/>
          </a:prstGeom>
          <a:noFill/>
        </p:spPr>
        <p:txBody>
          <a:bodyPr lIns="0" tIns="0" rIns="0" bIns="0">
            <a:spAutoFit/>
          </a:bodyPr>
          <a:lstStyle/>
          <a:p>
            <a:pPr algn="r" fontAlgn="ctr">
              <a:defRPr/>
            </a:pPr>
            <a:r>
              <a:rPr lang="en-GB" sz="650" dirty="0">
                <a:solidFill>
                  <a:srgbClr val="FFFFFF"/>
                </a:solidFill>
                <a:latin typeface="Fujitsu Sans" panose="020B0404060202020204" pitchFamily="34" charset="0"/>
              </a:rPr>
              <a:t>©</a:t>
            </a:r>
            <a:r>
              <a:rPr lang="en-GB" sz="650" dirty="0">
                <a:solidFill>
                  <a:srgbClr val="FFFFFF"/>
                </a:solidFill>
                <a:latin typeface="Fujitsu Sans Medium" panose="020B0504060202020204" pitchFamily="34" charset="0"/>
              </a:rPr>
              <a:t> Copyright 2016 FUJITSU</a:t>
            </a:r>
          </a:p>
        </p:txBody>
      </p:sp>
      <p:sp>
        <p:nvSpPr>
          <p:cNvPr id="6" name="TextBox 5"/>
          <p:cNvSpPr txBox="1"/>
          <p:nvPr/>
        </p:nvSpPr>
        <p:spPr>
          <a:xfrm>
            <a:off x="250825" y="4862513"/>
            <a:ext cx="2149475" cy="100012"/>
          </a:xfrm>
          <a:prstGeom prst="rect">
            <a:avLst/>
          </a:prstGeom>
          <a:noFill/>
        </p:spPr>
        <p:txBody>
          <a:bodyPr lIns="0" tIns="0" rIns="0" bIns="0">
            <a:spAutoFit/>
          </a:bodyPr>
          <a:lstStyle/>
          <a:p>
            <a:pPr fontAlgn="ctr">
              <a:defRPr/>
            </a:pPr>
            <a:r>
              <a:rPr lang="en-GB" sz="650" dirty="0">
                <a:solidFill>
                  <a:srgbClr val="FFFFFF"/>
                </a:solidFill>
                <a:latin typeface="Fujitsu Sans Medium" panose="020B0504060202020204" pitchFamily="34" charset="0"/>
              </a:rPr>
              <a:t>COMMERCIAL IN CONFIDENCE</a:t>
            </a:r>
          </a:p>
        </p:txBody>
      </p:sp>
    </p:spTree>
    <p:extLst>
      <p:ext uri="{BB962C8B-B14F-4D97-AF65-F5344CB8AC3E}">
        <p14:creationId xmlns:p14="http://schemas.microsoft.com/office/powerpoint/2010/main" val="164544736"/>
      </p:ext>
    </p:extLst>
  </p:cSld>
  <p:clrMap bg1="lt1" tx1="dk1" bg2="lt2" tx2="dk2" accent1="accent1" accent2="accent2" accent3="accent3" accent4="accent4" accent5="accent5" accent6="accent6" hlink="hlink" folHlink="folHlink"/>
  <p:sldLayoutIdLst>
    <p:sldLayoutId id="2147483931" r:id="rId1"/>
    <p:sldLayoutId id="2147483932" r:id="rId2"/>
  </p:sldLayoutIdLst>
  <p:transition>
    <p:fade/>
  </p:transition>
  <p:timing>
    <p:tnLst>
      <p:par>
        <p:cTn id="1" dur="indefinite" restart="never" nodeType="tmRoot"/>
      </p:par>
    </p:tnLst>
  </p:timing>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Arial" pitchFamily="34" charset="0"/>
        </a:defRPr>
      </a:lvl2pPr>
      <a:lvl3pPr algn="ctr" rtl="0" eaLnBrk="0" fontAlgn="base" hangingPunct="0">
        <a:spcBef>
          <a:spcPct val="0"/>
        </a:spcBef>
        <a:spcAft>
          <a:spcPct val="0"/>
        </a:spcAft>
        <a:defRPr sz="4400">
          <a:solidFill>
            <a:schemeClr val="tx1"/>
          </a:solidFill>
          <a:latin typeface="Arial" pitchFamily="34" charset="0"/>
        </a:defRPr>
      </a:lvl3pPr>
      <a:lvl4pPr algn="ctr" rtl="0" eaLnBrk="0" fontAlgn="base" hangingPunct="0">
        <a:spcBef>
          <a:spcPct val="0"/>
        </a:spcBef>
        <a:spcAft>
          <a:spcPct val="0"/>
        </a:spcAft>
        <a:defRPr sz="4400">
          <a:solidFill>
            <a:schemeClr val="tx1"/>
          </a:solidFill>
          <a:latin typeface="Arial" pitchFamily="34" charset="0"/>
        </a:defRPr>
      </a:lvl4pPr>
      <a:lvl5pPr algn="ctr" rtl="0" eaLnBrk="0" fontAlgn="base" hangingPunct="0">
        <a:spcBef>
          <a:spcPct val="0"/>
        </a:spcBef>
        <a:spcAft>
          <a:spcPct val="0"/>
        </a:spcAft>
        <a:defRPr sz="4400">
          <a:solidFill>
            <a:schemeClr val="tx1"/>
          </a:solidFill>
          <a:latin typeface="Arial" pitchFamily="34" charset="0"/>
        </a:defRPr>
      </a:lvl5pPr>
      <a:lvl6pPr marL="457200" algn="ctr" rtl="0" fontAlgn="base">
        <a:spcBef>
          <a:spcPct val="0"/>
        </a:spcBef>
        <a:spcAft>
          <a:spcPct val="0"/>
        </a:spcAft>
        <a:defRPr sz="4400">
          <a:solidFill>
            <a:schemeClr val="tx1"/>
          </a:solidFill>
          <a:latin typeface="Arial" pitchFamily="34" charset="0"/>
        </a:defRPr>
      </a:lvl6pPr>
      <a:lvl7pPr marL="914400" algn="ctr" rtl="0" fontAlgn="base">
        <a:spcBef>
          <a:spcPct val="0"/>
        </a:spcBef>
        <a:spcAft>
          <a:spcPct val="0"/>
        </a:spcAft>
        <a:defRPr sz="4400">
          <a:solidFill>
            <a:schemeClr val="tx1"/>
          </a:solidFill>
          <a:latin typeface="Arial" pitchFamily="34" charset="0"/>
        </a:defRPr>
      </a:lvl7pPr>
      <a:lvl8pPr marL="1371600" algn="ctr" rtl="0" fontAlgn="base">
        <a:spcBef>
          <a:spcPct val="0"/>
        </a:spcBef>
        <a:spcAft>
          <a:spcPct val="0"/>
        </a:spcAft>
        <a:defRPr sz="4400">
          <a:solidFill>
            <a:schemeClr val="tx1"/>
          </a:solidFill>
          <a:latin typeface="Arial" pitchFamily="34" charset="0"/>
        </a:defRPr>
      </a:lvl8pPr>
      <a:lvl9pPr marL="1828800" algn="ctr" rtl="0" fontAlgn="base">
        <a:spcBef>
          <a:spcPct val="0"/>
        </a:spcBef>
        <a:spcAft>
          <a:spcPct val="0"/>
        </a:spcAft>
        <a:defRPr sz="4400">
          <a:solidFill>
            <a:schemeClr val="tx1"/>
          </a:solidFill>
          <a:latin typeface="Arial"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6" name="Bild 5"/>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elplatzhalter 1"/>
          <p:cNvSpPr>
            <a:spLocks noGrp="1"/>
          </p:cNvSpPr>
          <p:nvPr>
            <p:ph type="title"/>
          </p:nvPr>
        </p:nvSpPr>
        <p:spPr bwMode="gray">
          <a:xfrm>
            <a:off x="250825" y="72557"/>
            <a:ext cx="7561264" cy="77095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3676650" algn="l"/>
              </a:tabLst>
            </a:pPr>
            <a:endParaRPr lang="en-US" noProof="0" dirty="0"/>
          </a:p>
        </p:txBody>
      </p:sp>
      <p:sp>
        <p:nvSpPr>
          <p:cNvPr id="7" name="VCT_Marker_ID_7" hidden="1"/>
          <p:cNvSpPr/>
          <p:nvPr>
            <p:custDataLst>
              <p:tags r:id="rId35"/>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bwMode="gray">
          <a:xfrm>
            <a:off x="4302000" y="4937125"/>
            <a:ext cx="5400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ctr" fontAlgn="base">
              <a:spcBef>
                <a:spcPct val="0"/>
              </a:spcBef>
              <a:spcAft>
                <a:spcPct val="0"/>
              </a:spcAft>
            </a:pPr>
            <a:fld id="{AC746033-9F45-4508-8446-72AA2BBAAD2A}" type="slidenum">
              <a:rPr lang="en-US" altLang="ja-JP" sz="800" smtClean="0">
                <a:solidFill>
                  <a:srgbClr val="000000"/>
                </a:solidFill>
                <a:ea typeface="ＭＳ Ｐゴシック" charset="-128"/>
              </a:rPr>
              <a:pPr algn="ctr" fontAlgn="base">
                <a:spcBef>
                  <a:spcPct val="0"/>
                </a:spcBef>
                <a:spcAft>
                  <a:spcPct val="0"/>
                </a:spcAft>
              </a:pPr>
              <a:t>‹#›</a:t>
            </a:fld>
            <a:endParaRPr lang="en-US" altLang="ja-JP" sz="800" dirty="0" smtClean="0">
              <a:solidFill>
                <a:srgbClr val="000000"/>
              </a:solidFill>
              <a:ea typeface="ＭＳ Ｐゴシック" charset="-128"/>
            </a:endParaRPr>
          </a:p>
        </p:txBody>
      </p:sp>
      <p:sp>
        <p:nvSpPr>
          <p:cNvPr id="40" name="Text Placeholder 39"/>
          <p:cNvSpPr>
            <a:spLocks noGrp="1"/>
          </p:cNvSpPr>
          <p:nvPr>
            <p:ph type="body" idx="1"/>
            <p:custDataLst>
              <p:tags r:id="rId36"/>
            </p:custDataLst>
          </p:nvPr>
        </p:nvSpPr>
        <p:spPr bwMode="gray">
          <a:xfrm>
            <a:off x="250825" y="987425"/>
            <a:ext cx="8642350" cy="3816350"/>
          </a:xfrm>
          <a:prstGeom prst="rect">
            <a:avLst/>
          </a:prstGeom>
        </p:spPr>
        <p:txBody>
          <a:bodyPr vert="horz" lIns="0" tIns="0" rIns="0" bIns="0" rtlCol="0">
            <a:noAutofit/>
          </a:body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smtClean="0"/>
              <a:t>Fünfte Ebene</a:t>
            </a:r>
            <a:endParaRPr lang="en-US" noProof="0"/>
          </a:p>
        </p:txBody>
      </p:sp>
      <p:sp>
        <p:nvSpPr>
          <p:cNvPr id="19" name="Line 4"/>
          <p:cNvSpPr>
            <a:spLocks noChangeShapeType="1"/>
          </p:cNvSpPr>
          <p:nvPr/>
        </p:nvSpPr>
        <p:spPr bwMode="gray">
          <a:xfrm>
            <a:off x="0" y="4948080"/>
            <a:ext cx="9144000" cy="0"/>
          </a:xfrm>
          <a:prstGeom prst="line">
            <a:avLst/>
          </a:prstGeom>
          <a:noFill/>
          <a:ln w="12700">
            <a:solidFill>
              <a:srgbClr val="87867E"/>
            </a:solidFill>
            <a:round/>
            <a:headEnd/>
            <a:tailEnd/>
          </a:ln>
          <a:effectLst/>
        </p:spPr>
        <p:txBody>
          <a:bodyPr/>
          <a:lstStyle/>
          <a:p>
            <a:endParaRPr lang="en-GB" dirty="0">
              <a:solidFill>
                <a:srgbClr val="000000"/>
              </a:solidFill>
            </a:endParaRPr>
          </a:p>
        </p:txBody>
      </p:sp>
      <p:sp>
        <p:nvSpPr>
          <p:cNvPr id="11" name="Rectangle 21"/>
          <p:cNvSpPr/>
          <p:nvPr/>
        </p:nvSpPr>
        <p:spPr bwMode="gray">
          <a:xfrm>
            <a:off x="4928400" y="4935600"/>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r" fontAlgn="base">
              <a:spcBef>
                <a:spcPct val="0"/>
              </a:spcBef>
              <a:spcAft>
                <a:spcPct val="0"/>
              </a:spcAft>
            </a:pPr>
            <a:r>
              <a:rPr lang="en-US" altLang="ja-JP" sz="800" dirty="0" smtClean="0">
                <a:solidFill>
                  <a:srgbClr val="000000"/>
                </a:solidFill>
                <a:ea typeface="ＭＳ Ｐゴシック" charset="-128"/>
              </a:rPr>
              <a:t>Copyright 2018 FUJITSU</a:t>
            </a:r>
          </a:p>
        </p:txBody>
      </p:sp>
      <p:pic>
        <p:nvPicPr>
          <p:cNvPr id="13" name="Picture 3" descr="Fujitsu_Logo"/>
          <p:cNvPicPr>
            <a:picLocks noChangeAspect="1" noChangeArrowheads="1"/>
          </p:cNvPicPr>
          <p:nvPr/>
        </p:nvPicPr>
        <p:blipFill>
          <a:blip r:embed="rId38" cstate="print">
            <a:extLst>
              <a:ext uri="{28A0092B-C50C-407E-A947-70E740481C1C}">
                <a14:useLocalDpi xmlns:a14="http://schemas.microsoft.com/office/drawing/2010/main"/>
              </a:ext>
            </a:extLst>
          </a:blip>
          <a:srcRect/>
          <a:stretch>
            <a:fillRect/>
          </a:stretch>
        </p:blipFill>
        <p:spPr bwMode="auto">
          <a:xfrm>
            <a:off x="7664790" y="243040"/>
            <a:ext cx="1252195" cy="499082"/>
          </a:xfrm>
          <a:prstGeom prst="rect">
            <a:avLst/>
          </a:prstGeom>
          <a:noFill/>
        </p:spPr>
      </p:pic>
    </p:spTree>
    <p:extLst>
      <p:ext uri="{BB962C8B-B14F-4D97-AF65-F5344CB8AC3E}">
        <p14:creationId xmlns:p14="http://schemas.microsoft.com/office/powerpoint/2010/main" val="1623184014"/>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 id="2147483952" r:id="rId19"/>
    <p:sldLayoutId id="2147483953" r:id="rId20"/>
    <p:sldLayoutId id="2147483954" r:id="rId21"/>
    <p:sldLayoutId id="2147483955" r:id="rId22"/>
    <p:sldLayoutId id="2147483956" r:id="rId23"/>
    <p:sldLayoutId id="2147483957" r:id="rId24"/>
    <p:sldLayoutId id="2147483958" r:id="rId25"/>
    <p:sldLayoutId id="2147483959" r:id="rId26"/>
    <p:sldLayoutId id="2147483960" r:id="rId27"/>
    <p:sldLayoutId id="2147483961" r:id="rId28"/>
    <p:sldLayoutId id="2147483962" r:id="rId29"/>
    <p:sldLayoutId id="2147483963" r:id="rId30"/>
    <p:sldLayoutId id="2147483964" r:id="rId31"/>
    <p:sldLayoutId id="2147483965" r:id="rId32"/>
    <p:sldLayoutId id="2147483966" r:id="rId33"/>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Fujitsu Sans"/>
          <a:ea typeface="+mj-ea"/>
          <a:cs typeface="Fujitsu Sans"/>
        </a:defRPr>
      </a:lvl1pPr>
    </p:titleStyle>
    <p:body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1588"/>
            <a:ext cx="9144000" cy="514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Picture 3"/>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124825" y="252413"/>
            <a:ext cx="777875"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6537325" y="4862513"/>
            <a:ext cx="2343150" cy="100012"/>
          </a:xfrm>
          <a:prstGeom prst="rect">
            <a:avLst/>
          </a:prstGeom>
          <a:noFill/>
        </p:spPr>
        <p:txBody>
          <a:bodyPr lIns="0" tIns="0" rIns="0" bIns="0">
            <a:spAutoFit/>
          </a:bodyPr>
          <a:lstStyle/>
          <a:p>
            <a:pPr algn="r" fontAlgn="ctr">
              <a:defRPr/>
            </a:pPr>
            <a:r>
              <a:rPr lang="en-GB" sz="650" dirty="0">
                <a:solidFill>
                  <a:srgbClr val="FFFFFF"/>
                </a:solidFill>
                <a:latin typeface="Fujitsu Sans" panose="020B0404060202020204" pitchFamily="34" charset="0"/>
              </a:rPr>
              <a:t>©</a:t>
            </a:r>
            <a:r>
              <a:rPr lang="en-GB" sz="650" dirty="0">
                <a:solidFill>
                  <a:srgbClr val="FFFFFF"/>
                </a:solidFill>
                <a:latin typeface="Fujitsu Sans Medium" panose="020B0504060202020204" pitchFamily="34" charset="0"/>
              </a:rPr>
              <a:t> Copyright 2016 FUJITSU</a:t>
            </a:r>
          </a:p>
        </p:txBody>
      </p:sp>
      <p:sp>
        <p:nvSpPr>
          <p:cNvPr id="6" name="TextBox 5"/>
          <p:cNvSpPr txBox="1"/>
          <p:nvPr/>
        </p:nvSpPr>
        <p:spPr>
          <a:xfrm>
            <a:off x="250825" y="4862513"/>
            <a:ext cx="2149475" cy="100012"/>
          </a:xfrm>
          <a:prstGeom prst="rect">
            <a:avLst/>
          </a:prstGeom>
          <a:noFill/>
        </p:spPr>
        <p:txBody>
          <a:bodyPr lIns="0" tIns="0" rIns="0" bIns="0">
            <a:spAutoFit/>
          </a:bodyPr>
          <a:lstStyle/>
          <a:p>
            <a:pPr fontAlgn="ctr">
              <a:defRPr/>
            </a:pPr>
            <a:r>
              <a:rPr lang="en-GB" sz="650" dirty="0">
                <a:solidFill>
                  <a:srgbClr val="FFFFFF"/>
                </a:solidFill>
                <a:latin typeface="Fujitsu Sans Medium" panose="020B0504060202020204" pitchFamily="34" charset="0"/>
              </a:rPr>
              <a:t>COMMERCIAL IN CONFIDENCE</a:t>
            </a:r>
          </a:p>
        </p:txBody>
      </p:sp>
    </p:spTree>
    <p:extLst>
      <p:ext uri="{BB962C8B-B14F-4D97-AF65-F5344CB8AC3E}">
        <p14:creationId xmlns:p14="http://schemas.microsoft.com/office/powerpoint/2010/main" val="660589"/>
      </p:ext>
    </p:extLst>
  </p:cSld>
  <p:clrMap bg1="lt1" tx1="dk1" bg2="lt2" tx2="dk2" accent1="accent1" accent2="accent2" accent3="accent3" accent4="accent4" accent5="accent5" accent6="accent6" hlink="hlink" folHlink="folHlink"/>
  <p:sldLayoutIdLst>
    <p:sldLayoutId id="2147483695" r:id="rId1"/>
    <p:sldLayoutId id="2147483696" r:id="rId2"/>
  </p:sldLayoutIdLst>
  <p:transition>
    <p:fade/>
  </p:transition>
  <p:timing>
    <p:tnLst>
      <p:par>
        <p:cTn id="1" dur="indefinite" restart="never" nodeType="tmRoot"/>
      </p:par>
    </p:tnLst>
  </p:timing>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Arial" pitchFamily="34" charset="0"/>
        </a:defRPr>
      </a:lvl2pPr>
      <a:lvl3pPr algn="ctr" rtl="0" eaLnBrk="0" fontAlgn="base" hangingPunct="0">
        <a:spcBef>
          <a:spcPct val="0"/>
        </a:spcBef>
        <a:spcAft>
          <a:spcPct val="0"/>
        </a:spcAft>
        <a:defRPr sz="4400">
          <a:solidFill>
            <a:schemeClr val="tx1"/>
          </a:solidFill>
          <a:latin typeface="Arial" pitchFamily="34" charset="0"/>
        </a:defRPr>
      </a:lvl3pPr>
      <a:lvl4pPr algn="ctr" rtl="0" eaLnBrk="0" fontAlgn="base" hangingPunct="0">
        <a:spcBef>
          <a:spcPct val="0"/>
        </a:spcBef>
        <a:spcAft>
          <a:spcPct val="0"/>
        </a:spcAft>
        <a:defRPr sz="4400">
          <a:solidFill>
            <a:schemeClr val="tx1"/>
          </a:solidFill>
          <a:latin typeface="Arial" pitchFamily="34" charset="0"/>
        </a:defRPr>
      </a:lvl4pPr>
      <a:lvl5pPr algn="ctr" rtl="0" eaLnBrk="0" fontAlgn="base" hangingPunct="0">
        <a:spcBef>
          <a:spcPct val="0"/>
        </a:spcBef>
        <a:spcAft>
          <a:spcPct val="0"/>
        </a:spcAft>
        <a:defRPr sz="4400">
          <a:solidFill>
            <a:schemeClr val="tx1"/>
          </a:solidFill>
          <a:latin typeface="Arial" pitchFamily="34" charset="0"/>
        </a:defRPr>
      </a:lvl5pPr>
      <a:lvl6pPr marL="457200" algn="ctr" rtl="0" fontAlgn="base">
        <a:spcBef>
          <a:spcPct val="0"/>
        </a:spcBef>
        <a:spcAft>
          <a:spcPct val="0"/>
        </a:spcAft>
        <a:defRPr sz="4400">
          <a:solidFill>
            <a:schemeClr val="tx1"/>
          </a:solidFill>
          <a:latin typeface="Arial" pitchFamily="34" charset="0"/>
        </a:defRPr>
      </a:lvl6pPr>
      <a:lvl7pPr marL="914400" algn="ctr" rtl="0" fontAlgn="base">
        <a:spcBef>
          <a:spcPct val="0"/>
        </a:spcBef>
        <a:spcAft>
          <a:spcPct val="0"/>
        </a:spcAft>
        <a:defRPr sz="4400">
          <a:solidFill>
            <a:schemeClr val="tx1"/>
          </a:solidFill>
          <a:latin typeface="Arial" pitchFamily="34" charset="0"/>
        </a:defRPr>
      </a:lvl7pPr>
      <a:lvl8pPr marL="1371600" algn="ctr" rtl="0" fontAlgn="base">
        <a:spcBef>
          <a:spcPct val="0"/>
        </a:spcBef>
        <a:spcAft>
          <a:spcPct val="0"/>
        </a:spcAft>
        <a:defRPr sz="4400">
          <a:solidFill>
            <a:schemeClr val="tx1"/>
          </a:solidFill>
          <a:latin typeface="Arial" pitchFamily="34" charset="0"/>
        </a:defRPr>
      </a:lvl8pPr>
      <a:lvl9pPr marL="1828800" algn="ctr" rtl="0" fontAlgn="base">
        <a:spcBef>
          <a:spcPct val="0"/>
        </a:spcBef>
        <a:spcAft>
          <a:spcPct val="0"/>
        </a:spcAft>
        <a:defRPr sz="4400">
          <a:solidFill>
            <a:schemeClr val="tx1"/>
          </a:solidFill>
          <a:latin typeface="Arial"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5" name="Bild 4"/>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a:off x="0" y="0"/>
            <a:ext cx="9144000" cy="1395984"/>
          </a:xfrm>
          <a:prstGeom prst="rect">
            <a:avLst/>
          </a:prstGeom>
        </p:spPr>
      </p:pic>
      <p:sp>
        <p:nvSpPr>
          <p:cNvPr id="2" name="Titelplatzhalter 1"/>
          <p:cNvSpPr>
            <a:spLocks noGrp="1"/>
          </p:cNvSpPr>
          <p:nvPr>
            <p:ph type="title"/>
          </p:nvPr>
        </p:nvSpPr>
        <p:spPr bwMode="gray">
          <a:xfrm>
            <a:off x="250825" y="72557"/>
            <a:ext cx="7561264" cy="77095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3676650" algn="l"/>
              </a:tabLst>
            </a:pPr>
            <a:endParaRPr lang="en-US" noProof="0" dirty="0"/>
          </a:p>
        </p:txBody>
      </p:sp>
      <p:sp>
        <p:nvSpPr>
          <p:cNvPr id="7" name="VCT_Marker_ID_7" hidden="1"/>
          <p:cNvSpPr/>
          <p:nvPr>
            <p:custDataLst>
              <p:tags r:id="rId36"/>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bwMode="gray">
          <a:xfrm>
            <a:off x="4302000" y="4937125"/>
            <a:ext cx="5400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ctr" fontAlgn="base">
              <a:spcBef>
                <a:spcPct val="0"/>
              </a:spcBef>
              <a:spcAft>
                <a:spcPct val="0"/>
              </a:spcAft>
            </a:pPr>
            <a:fld id="{AC746033-9F45-4508-8446-72AA2BBAAD2A}" type="slidenum">
              <a:rPr lang="en-US" altLang="ja-JP" sz="800" smtClean="0">
                <a:solidFill>
                  <a:srgbClr val="000000"/>
                </a:solidFill>
                <a:ea typeface="ＭＳ Ｐゴシック" charset="-128"/>
              </a:rPr>
              <a:pPr algn="ctr" fontAlgn="base">
                <a:spcBef>
                  <a:spcPct val="0"/>
                </a:spcBef>
                <a:spcAft>
                  <a:spcPct val="0"/>
                </a:spcAft>
              </a:pPr>
              <a:t>‹#›</a:t>
            </a:fld>
            <a:endParaRPr lang="en-US" altLang="ja-JP" sz="800" dirty="0" smtClean="0">
              <a:solidFill>
                <a:srgbClr val="000000"/>
              </a:solidFill>
              <a:ea typeface="ＭＳ Ｐゴシック" charset="-128"/>
            </a:endParaRPr>
          </a:p>
        </p:txBody>
      </p:sp>
      <p:sp>
        <p:nvSpPr>
          <p:cNvPr id="40" name="Text Placeholder 39"/>
          <p:cNvSpPr>
            <a:spLocks noGrp="1"/>
          </p:cNvSpPr>
          <p:nvPr>
            <p:ph type="body" idx="1"/>
            <p:custDataLst>
              <p:tags r:id="rId37"/>
            </p:custDataLst>
          </p:nvPr>
        </p:nvSpPr>
        <p:spPr bwMode="gray">
          <a:xfrm>
            <a:off x="250825" y="987425"/>
            <a:ext cx="8642350" cy="3816350"/>
          </a:xfrm>
          <a:prstGeom prst="rect">
            <a:avLst/>
          </a:prstGeom>
        </p:spPr>
        <p:txBody>
          <a:bodyPr vert="horz" lIns="0" tIns="0" rIns="0" bIns="0" rtlCol="0">
            <a:noAutofit/>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9" name="Line 4"/>
          <p:cNvSpPr>
            <a:spLocks noChangeShapeType="1"/>
          </p:cNvSpPr>
          <p:nvPr/>
        </p:nvSpPr>
        <p:spPr bwMode="gray">
          <a:xfrm>
            <a:off x="0" y="4948080"/>
            <a:ext cx="9144000" cy="0"/>
          </a:xfrm>
          <a:prstGeom prst="line">
            <a:avLst/>
          </a:prstGeom>
          <a:noFill/>
          <a:ln w="12700">
            <a:solidFill>
              <a:srgbClr val="87867E"/>
            </a:solidFill>
            <a:round/>
            <a:headEnd/>
            <a:tailEnd/>
          </a:ln>
          <a:effectLst/>
        </p:spPr>
        <p:txBody>
          <a:bodyPr/>
          <a:lstStyle/>
          <a:p>
            <a:endParaRPr lang="en-GB" dirty="0">
              <a:solidFill>
                <a:srgbClr val="000000"/>
              </a:solidFill>
            </a:endParaRPr>
          </a:p>
        </p:txBody>
      </p:sp>
      <p:sp>
        <p:nvSpPr>
          <p:cNvPr id="11" name="Rectangle 21"/>
          <p:cNvSpPr/>
          <p:nvPr/>
        </p:nvSpPr>
        <p:spPr bwMode="gray">
          <a:xfrm>
            <a:off x="4928400" y="4935600"/>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r" fontAlgn="base">
              <a:spcBef>
                <a:spcPct val="0"/>
              </a:spcBef>
              <a:spcAft>
                <a:spcPct val="0"/>
              </a:spcAft>
            </a:pPr>
            <a:r>
              <a:rPr lang="en-US" altLang="ja-JP" sz="800" dirty="0" smtClean="0">
                <a:solidFill>
                  <a:srgbClr val="000000"/>
                </a:solidFill>
                <a:ea typeface="ＭＳ Ｐゴシック" charset="-128"/>
              </a:rPr>
              <a:t>Copyright 2016 FUJITSU</a:t>
            </a:r>
          </a:p>
        </p:txBody>
      </p:sp>
      <p:pic>
        <p:nvPicPr>
          <p:cNvPr id="13" name="Picture 3" descr="Fujitsu_Logo"/>
          <p:cNvPicPr>
            <a:picLocks noChangeAspect="1" noChangeArrowheads="1"/>
          </p:cNvPicPr>
          <p:nvPr userDrawn="1"/>
        </p:nvPicPr>
        <p:blipFill>
          <a:blip r:embed="rId39" cstate="print">
            <a:extLst>
              <a:ext uri="{28A0092B-C50C-407E-A947-70E740481C1C}">
                <a14:useLocalDpi xmlns:a14="http://schemas.microsoft.com/office/drawing/2010/main"/>
              </a:ext>
            </a:extLst>
          </a:blip>
          <a:srcRect/>
          <a:stretch>
            <a:fillRect/>
          </a:stretch>
        </p:blipFill>
        <p:spPr bwMode="auto">
          <a:xfrm>
            <a:off x="7664790" y="243040"/>
            <a:ext cx="1252195" cy="499082"/>
          </a:xfrm>
          <a:prstGeom prst="rect">
            <a:avLst/>
          </a:prstGeom>
          <a:noFill/>
        </p:spPr>
      </p:pic>
    </p:spTree>
    <p:extLst>
      <p:ext uri="{BB962C8B-B14F-4D97-AF65-F5344CB8AC3E}">
        <p14:creationId xmlns:p14="http://schemas.microsoft.com/office/powerpoint/2010/main" val="3145478696"/>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 id="2147483719" r:id="rId22"/>
    <p:sldLayoutId id="2147483720" r:id="rId23"/>
    <p:sldLayoutId id="2147483721" r:id="rId24"/>
    <p:sldLayoutId id="2147483722" r:id="rId25"/>
    <p:sldLayoutId id="2147483723" r:id="rId26"/>
    <p:sldLayoutId id="2147483724" r:id="rId27"/>
    <p:sldLayoutId id="2147483725" r:id="rId28"/>
    <p:sldLayoutId id="2147483726" r:id="rId29"/>
    <p:sldLayoutId id="2147483727" r:id="rId30"/>
    <p:sldLayoutId id="2147483728" r:id="rId31"/>
    <p:sldLayoutId id="2147483729" r:id="rId32"/>
    <p:sldLayoutId id="2147483730" r:id="rId33"/>
    <p:sldLayoutId id="2147483731" r:id="rId34"/>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Fujitsu Sans"/>
          <a:ea typeface="+mj-ea"/>
          <a:cs typeface="Fujitsu Sans"/>
        </a:defRPr>
      </a:lvl1pPr>
    </p:titleStyle>
    <p:body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5" name="Bild 4"/>
          <p:cNvPicPr>
            <a:picLocks noChangeAspect="1"/>
          </p:cNvPicPr>
          <p:nvPr userDrawn="1"/>
        </p:nvPicPr>
        <p:blipFill>
          <a:blip r:embed="rId39">
            <a:extLst>
              <a:ext uri="{28A0092B-C50C-407E-A947-70E740481C1C}">
                <a14:useLocalDpi xmlns:a14="http://schemas.microsoft.com/office/drawing/2010/main" val="0"/>
              </a:ext>
            </a:extLst>
          </a:blip>
          <a:stretch>
            <a:fillRect/>
          </a:stretch>
        </p:blipFill>
        <p:spPr>
          <a:xfrm>
            <a:off x="0" y="0"/>
            <a:ext cx="9144000" cy="1395984"/>
          </a:xfrm>
          <a:prstGeom prst="rect">
            <a:avLst/>
          </a:prstGeom>
        </p:spPr>
      </p:pic>
      <p:sp>
        <p:nvSpPr>
          <p:cNvPr id="2" name="Titelplatzhalter 1"/>
          <p:cNvSpPr>
            <a:spLocks noGrp="1"/>
          </p:cNvSpPr>
          <p:nvPr>
            <p:ph type="title"/>
          </p:nvPr>
        </p:nvSpPr>
        <p:spPr bwMode="gray">
          <a:xfrm>
            <a:off x="250825" y="72557"/>
            <a:ext cx="7561264" cy="77095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3676650" algn="l"/>
              </a:tabLst>
            </a:pPr>
            <a:endParaRPr lang="en-US" noProof="0" dirty="0"/>
          </a:p>
        </p:txBody>
      </p:sp>
      <p:sp>
        <p:nvSpPr>
          <p:cNvPr id="7" name="VCT_Marker_ID_7" hidden="1"/>
          <p:cNvSpPr/>
          <p:nvPr>
            <p:custDataLst>
              <p:tags r:id="rId37"/>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bwMode="gray">
          <a:xfrm>
            <a:off x="4302000" y="4937125"/>
            <a:ext cx="5400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ctr" fontAlgn="base">
              <a:spcBef>
                <a:spcPct val="0"/>
              </a:spcBef>
              <a:spcAft>
                <a:spcPct val="0"/>
              </a:spcAft>
            </a:pPr>
            <a:fld id="{AC746033-9F45-4508-8446-72AA2BBAAD2A}" type="slidenum">
              <a:rPr lang="en-US" altLang="ja-JP" sz="800" smtClean="0">
                <a:solidFill>
                  <a:srgbClr val="000000"/>
                </a:solidFill>
                <a:ea typeface="ＭＳ Ｐゴシック" charset="-128"/>
              </a:rPr>
              <a:pPr algn="ctr" fontAlgn="base">
                <a:spcBef>
                  <a:spcPct val="0"/>
                </a:spcBef>
                <a:spcAft>
                  <a:spcPct val="0"/>
                </a:spcAft>
              </a:pPr>
              <a:t>‹#›</a:t>
            </a:fld>
            <a:endParaRPr lang="en-US" altLang="ja-JP" sz="800" dirty="0" smtClean="0">
              <a:solidFill>
                <a:srgbClr val="000000"/>
              </a:solidFill>
              <a:ea typeface="ＭＳ Ｐゴシック" charset="-128"/>
            </a:endParaRPr>
          </a:p>
        </p:txBody>
      </p:sp>
      <p:sp>
        <p:nvSpPr>
          <p:cNvPr id="40" name="Text Placeholder 39"/>
          <p:cNvSpPr>
            <a:spLocks noGrp="1"/>
          </p:cNvSpPr>
          <p:nvPr>
            <p:ph type="body" idx="1"/>
            <p:custDataLst>
              <p:tags r:id="rId38"/>
            </p:custDataLst>
          </p:nvPr>
        </p:nvSpPr>
        <p:spPr bwMode="gray">
          <a:xfrm>
            <a:off x="250825" y="987425"/>
            <a:ext cx="8642350" cy="3816350"/>
          </a:xfrm>
          <a:prstGeom prst="rect">
            <a:avLst/>
          </a:prstGeom>
        </p:spPr>
        <p:txBody>
          <a:bodyPr vert="horz" lIns="0" tIns="0" rIns="0" bIns="0" rtlCol="0">
            <a:noAutofit/>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a:p>
        </p:txBody>
      </p:sp>
      <p:sp>
        <p:nvSpPr>
          <p:cNvPr id="19" name="Line 4"/>
          <p:cNvSpPr>
            <a:spLocks noChangeShapeType="1"/>
          </p:cNvSpPr>
          <p:nvPr/>
        </p:nvSpPr>
        <p:spPr bwMode="gray">
          <a:xfrm>
            <a:off x="0" y="4948080"/>
            <a:ext cx="9144000" cy="0"/>
          </a:xfrm>
          <a:prstGeom prst="line">
            <a:avLst/>
          </a:prstGeom>
          <a:noFill/>
          <a:ln w="12700">
            <a:solidFill>
              <a:srgbClr val="87867E"/>
            </a:solidFill>
            <a:round/>
            <a:headEnd/>
            <a:tailEnd/>
          </a:ln>
          <a:effectLst/>
        </p:spPr>
        <p:txBody>
          <a:bodyPr/>
          <a:lstStyle/>
          <a:p>
            <a:endParaRPr lang="en-GB" dirty="0">
              <a:solidFill>
                <a:srgbClr val="000000"/>
              </a:solidFill>
            </a:endParaRPr>
          </a:p>
        </p:txBody>
      </p:sp>
      <p:sp>
        <p:nvSpPr>
          <p:cNvPr id="11" name="Rectangle 21"/>
          <p:cNvSpPr/>
          <p:nvPr/>
        </p:nvSpPr>
        <p:spPr bwMode="gray">
          <a:xfrm>
            <a:off x="4928400" y="4935600"/>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r" fontAlgn="base">
              <a:spcBef>
                <a:spcPct val="0"/>
              </a:spcBef>
              <a:spcAft>
                <a:spcPct val="0"/>
              </a:spcAft>
            </a:pPr>
            <a:r>
              <a:rPr lang="en-US" altLang="ja-JP" sz="800" dirty="0" smtClean="0">
                <a:solidFill>
                  <a:srgbClr val="000000"/>
                </a:solidFill>
                <a:ea typeface="ＭＳ Ｐゴシック" charset="-128"/>
              </a:rPr>
              <a:t>Copyright 2016 FUJITSU</a:t>
            </a:r>
          </a:p>
        </p:txBody>
      </p:sp>
      <p:pic>
        <p:nvPicPr>
          <p:cNvPr id="13" name="Picture 3" descr="Fujitsu_Logo"/>
          <p:cNvPicPr>
            <a:picLocks noChangeAspect="1" noChangeArrowheads="1"/>
          </p:cNvPicPr>
          <p:nvPr userDrawn="1"/>
        </p:nvPicPr>
        <p:blipFill>
          <a:blip r:embed="rId40" cstate="print">
            <a:extLst>
              <a:ext uri="{28A0092B-C50C-407E-A947-70E740481C1C}">
                <a14:useLocalDpi xmlns:a14="http://schemas.microsoft.com/office/drawing/2010/main"/>
              </a:ext>
            </a:extLst>
          </a:blip>
          <a:srcRect/>
          <a:stretch>
            <a:fillRect/>
          </a:stretch>
        </p:blipFill>
        <p:spPr bwMode="auto">
          <a:xfrm>
            <a:off x="7664790" y="243040"/>
            <a:ext cx="1252195" cy="499082"/>
          </a:xfrm>
          <a:prstGeom prst="rect">
            <a:avLst/>
          </a:prstGeom>
          <a:noFill/>
        </p:spPr>
      </p:pic>
    </p:spTree>
    <p:extLst>
      <p:ext uri="{BB962C8B-B14F-4D97-AF65-F5344CB8AC3E}">
        <p14:creationId xmlns:p14="http://schemas.microsoft.com/office/powerpoint/2010/main" val="3729602593"/>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8" r:id="rId24"/>
    <p:sldLayoutId id="2147483759" r:id="rId25"/>
    <p:sldLayoutId id="2147483760" r:id="rId26"/>
    <p:sldLayoutId id="2147483761" r:id="rId27"/>
    <p:sldLayoutId id="2147483762" r:id="rId28"/>
    <p:sldLayoutId id="2147483763" r:id="rId29"/>
    <p:sldLayoutId id="2147483764" r:id="rId30"/>
    <p:sldLayoutId id="2147483765" r:id="rId31"/>
    <p:sldLayoutId id="2147483766" r:id="rId32"/>
    <p:sldLayoutId id="2147483767" r:id="rId33"/>
    <p:sldLayoutId id="2147483769" r:id="rId34"/>
    <p:sldLayoutId id="2147483770" r:id="rId35"/>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Fujitsu Sans"/>
          <a:ea typeface="+mj-ea"/>
          <a:cs typeface="Fujitsu Sans"/>
        </a:defRPr>
      </a:lvl1pPr>
    </p:titleStyle>
    <p:body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6" name="Bild 5"/>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elplatzhalter 1"/>
          <p:cNvSpPr>
            <a:spLocks noGrp="1"/>
          </p:cNvSpPr>
          <p:nvPr>
            <p:ph type="title"/>
          </p:nvPr>
        </p:nvSpPr>
        <p:spPr bwMode="gray">
          <a:xfrm>
            <a:off x="250825" y="72557"/>
            <a:ext cx="7561264" cy="77095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3676650" algn="l"/>
              </a:tabLst>
            </a:pPr>
            <a:endParaRPr lang="en-US" noProof="0" dirty="0"/>
          </a:p>
        </p:txBody>
      </p:sp>
      <p:sp>
        <p:nvSpPr>
          <p:cNvPr id="7" name="VCT_Marker_ID_7" hidden="1"/>
          <p:cNvSpPr/>
          <p:nvPr>
            <p:custDataLst>
              <p:tags r:id="rId36"/>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bwMode="gray">
          <a:xfrm>
            <a:off x="4302000" y="4937125"/>
            <a:ext cx="5400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ctr" fontAlgn="base">
              <a:spcBef>
                <a:spcPct val="0"/>
              </a:spcBef>
              <a:spcAft>
                <a:spcPct val="0"/>
              </a:spcAft>
            </a:pPr>
            <a:fld id="{AC746033-9F45-4508-8446-72AA2BBAAD2A}" type="slidenum">
              <a:rPr lang="en-US" altLang="ja-JP" sz="800" smtClean="0">
                <a:solidFill>
                  <a:srgbClr val="000000"/>
                </a:solidFill>
                <a:ea typeface="ＭＳ Ｐゴシック" charset="-128"/>
              </a:rPr>
              <a:pPr algn="ctr" fontAlgn="base">
                <a:spcBef>
                  <a:spcPct val="0"/>
                </a:spcBef>
                <a:spcAft>
                  <a:spcPct val="0"/>
                </a:spcAft>
              </a:pPr>
              <a:t>‹#›</a:t>
            </a:fld>
            <a:endParaRPr lang="en-US" altLang="ja-JP" sz="800" dirty="0" smtClean="0">
              <a:solidFill>
                <a:srgbClr val="000000"/>
              </a:solidFill>
              <a:ea typeface="ＭＳ Ｐゴシック" charset="-128"/>
            </a:endParaRPr>
          </a:p>
        </p:txBody>
      </p:sp>
      <p:sp>
        <p:nvSpPr>
          <p:cNvPr id="40" name="Text Placeholder 39"/>
          <p:cNvSpPr>
            <a:spLocks noGrp="1"/>
          </p:cNvSpPr>
          <p:nvPr>
            <p:ph type="body" idx="1"/>
            <p:custDataLst>
              <p:tags r:id="rId37"/>
            </p:custDataLst>
          </p:nvPr>
        </p:nvSpPr>
        <p:spPr bwMode="gray">
          <a:xfrm>
            <a:off x="250825" y="987425"/>
            <a:ext cx="8642350" cy="3816350"/>
          </a:xfrm>
          <a:prstGeom prst="rect">
            <a:avLst/>
          </a:prstGeom>
        </p:spPr>
        <p:txBody>
          <a:bodyPr vert="horz" lIns="0" tIns="0" rIns="0" bIns="0" rtlCol="0">
            <a:noAutofit/>
          </a:body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smtClean="0"/>
              <a:t>Fünfte Ebene</a:t>
            </a:r>
            <a:endParaRPr lang="en-US" noProof="0"/>
          </a:p>
        </p:txBody>
      </p:sp>
      <p:sp>
        <p:nvSpPr>
          <p:cNvPr id="19" name="Line 4"/>
          <p:cNvSpPr>
            <a:spLocks noChangeShapeType="1"/>
          </p:cNvSpPr>
          <p:nvPr/>
        </p:nvSpPr>
        <p:spPr bwMode="gray">
          <a:xfrm>
            <a:off x="0" y="4948080"/>
            <a:ext cx="9144000" cy="0"/>
          </a:xfrm>
          <a:prstGeom prst="line">
            <a:avLst/>
          </a:prstGeom>
          <a:noFill/>
          <a:ln w="12700">
            <a:solidFill>
              <a:srgbClr val="87867E"/>
            </a:solidFill>
            <a:round/>
            <a:headEnd/>
            <a:tailEnd/>
          </a:ln>
          <a:effectLst/>
        </p:spPr>
        <p:txBody>
          <a:bodyPr/>
          <a:lstStyle/>
          <a:p>
            <a:endParaRPr lang="en-GB" dirty="0">
              <a:solidFill>
                <a:srgbClr val="000000"/>
              </a:solidFill>
            </a:endParaRPr>
          </a:p>
        </p:txBody>
      </p:sp>
      <p:sp>
        <p:nvSpPr>
          <p:cNvPr id="11" name="Rectangle 21"/>
          <p:cNvSpPr/>
          <p:nvPr/>
        </p:nvSpPr>
        <p:spPr bwMode="gray">
          <a:xfrm>
            <a:off x="4928400" y="4935600"/>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r" fontAlgn="base">
              <a:spcBef>
                <a:spcPct val="0"/>
              </a:spcBef>
              <a:spcAft>
                <a:spcPct val="0"/>
              </a:spcAft>
            </a:pPr>
            <a:r>
              <a:rPr lang="en-US" altLang="ja-JP" sz="800" dirty="0" smtClean="0">
                <a:solidFill>
                  <a:srgbClr val="000000"/>
                </a:solidFill>
                <a:ea typeface="ＭＳ Ｐゴシック" charset="-128"/>
              </a:rPr>
              <a:t>Copyright 2017 FUJITSU</a:t>
            </a:r>
          </a:p>
        </p:txBody>
      </p:sp>
      <p:pic>
        <p:nvPicPr>
          <p:cNvPr id="13" name="Picture 3" descr="Fujitsu_Logo"/>
          <p:cNvPicPr>
            <a:picLocks noChangeAspect="1" noChangeArrowheads="1"/>
          </p:cNvPicPr>
          <p:nvPr userDrawn="1"/>
        </p:nvPicPr>
        <p:blipFill>
          <a:blip r:embed="rId39" cstate="print">
            <a:extLst>
              <a:ext uri="{28A0092B-C50C-407E-A947-70E740481C1C}">
                <a14:useLocalDpi xmlns:a14="http://schemas.microsoft.com/office/drawing/2010/main"/>
              </a:ext>
            </a:extLst>
          </a:blip>
          <a:srcRect/>
          <a:stretch>
            <a:fillRect/>
          </a:stretch>
        </p:blipFill>
        <p:spPr bwMode="auto">
          <a:xfrm>
            <a:off x="7664790" y="243040"/>
            <a:ext cx="1252195" cy="499082"/>
          </a:xfrm>
          <a:prstGeom prst="rect">
            <a:avLst/>
          </a:prstGeom>
          <a:noFill/>
        </p:spPr>
      </p:pic>
    </p:spTree>
    <p:extLst>
      <p:ext uri="{BB962C8B-B14F-4D97-AF65-F5344CB8AC3E}">
        <p14:creationId xmlns:p14="http://schemas.microsoft.com/office/powerpoint/2010/main" val="2447724964"/>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3805" r:id="rId34"/>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Fujitsu Sans"/>
          <a:ea typeface="+mj-ea"/>
          <a:cs typeface="Fujitsu Sans"/>
        </a:defRPr>
      </a:lvl1pPr>
    </p:titleStyle>
    <p:body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6" name="Bild 5"/>
          <p:cNvPicPr>
            <a:picLocks noChangeAspect="1"/>
          </p:cNvPicPr>
          <p:nvPr userDrawn="1"/>
        </p:nvPicPr>
        <p:blipFill>
          <a:blip r:embed="rId41">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elplatzhalter 1"/>
          <p:cNvSpPr>
            <a:spLocks noGrp="1"/>
          </p:cNvSpPr>
          <p:nvPr>
            <p:ph type="title"/>
          </p:nvPr>
        </p:nvSpPr>
        <p:spPr bwMode="gray">
          <a:xfrm>
            <a:off x="250825" y="72557"/>
            <a:ext cx="7561264" cy="77095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3676650" algn="l"/>
              </a:tabLst>
            </a:pPr>
            <a:endParaRPr lang="en-US" noProof="0" dirty="0"/>
          </a:p>
        </p:txBody>
      </p:sp>
      <p:sp>
        <p:nvSpPr>
          <p:cNvPr id="7" name="VCT_Marker_ID_7" hidden="1"/>
          <p:cNvSpPr/>
          <p:nvPr>
            <p:custDataLst>
              <p:tags r:id="rId39"/>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bwMode="gray">
          <a:xfrm>
            <a:off x="4302000" y="4937125"/>
            <a:ext cx="5400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ctr" fontAlgn="base">
              <a:spcBef>
                <a:spcPct val="0"/>
              </a:spcBef>
              <a:spcAft>
                <a:spcPct val="0"/>
              </a:spcAft>
            </a:pPr>
            <a:fld id="{AC746033-9F45-4508-8446-72AA2BBAAD2A}" type="slidenum">
              <a:rPr lang="en-US" altLang="ja-JP" sz="800" smtClean="0">
                <a:solidFill>
                  <a:srgbClr val="000000"/>
                </a:solidFill>
                <a:ea typeface="ＭＳ Ｐゴシック" charset="-128"/>
              </a:rPr>
              <a:pPr algn="ctr" fontAlgn="base">
                <a:spcBef>
                  <a:spcPct val="0"/>
                </a:spcBef>
                <a:spcAft>
                  <a:spcPct val="0"/>
                </a:spcAft>
              </a:pPr>
              <a:t>‹#›</a:t>
            </a:fld>
            <a:endParaRPr lang="en-US" altLang="ja-JP" sz="800" dirty="0" smtClean="0">
              <a:solidFill>
                <a:srgbClr val="000000"/>
              </a:solidFill>
              <a:ea typeface="ＭＳ Ｐゴシック" charset="-128"/>
            </a:endParaRPr>
          </a:p>
        </p:txBody>
      </p:sp>
      <p:sp>
        <p:nvSpPr>
          <p:cNvPr id="40" name="Text Placeholder 39"/>
          <p:cNvSpPr>
            <a:spLocks noGrp="1"/>
          </p:cNvSpPr>
          <p:nvPr>
            <p:ph type="body" idx="1"/>
            <p:custDataLst>
              <p:tags r:id="rId40"/>
            </p:custDataLst>
          </p:nvPr>
        </p:nvSpPr>
        <p:spPr bwMode="gray">
          <a:xfrm>
            <a:off x="250825" y="987425"/>
            <a:ext cx="8642350" cy="3816350"/>
          </a:xfrm>
          <a:prstGeom prst="rect">
            <a:avLst/>
          </a:prstGeom>
        </p:spPr>
        <p:txBody>
          <a:bodyPr vert="horz" lIns="0" tIns="0" rIns="0" bIns="0" rtlCol="0">
            <a:noAutofit/>
          </a:body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smtClean="0"/>
              <a:t>Fünfte Ebene</a:t>
            </a:r>
            <a:endParaRPr lang="en-US" noProof="0"/>
          </a:p>
        </p:txBody>
      </p:sp>
      <p:sp>
        <p:nvSpPr>
          <p:cNvPr id="19" name="Line 4"/>
          <p:cNvSpPr>
            <a:spLocks noChangeShapeType="1"/>
          </p:cNvSpPr>
          <p:nvPr/>
        </p:nvSpPr>
        <p:spPr bwMode="gray">
          <a:xfrm>
            <a:off x="0" y="4948080"/>
            <a:ext cx="9144000" cy="0"/>
          </a:xfrm>
          <a:prstGeom prst="line">
            <a:avLst/>
          </a:prstGeom>
          <a:noFill/>
          <a:ln w="12700">
            <a:solidFill>
              <a:srgbClr val="87867E"/>
            </a:solidFill>
            <a:round/>
            <a:headEnd/>
            <a:tailEnd/>
          </a:ln>
          <a:effectLst/>
        </p:spPr>
        <p:txBody>
          <a:bodyPr/>
          <a:lstStyle/>
          <a:p>
            <a:endParaRPr lang="en-GB" dirty="0">
              <a:solidFill>
                <a:srgbClr val="000000"/>
              </a:solidFill>
            </a:endParaRPr>
          </a:p>
        </p:txBody>
      </p:sp>
      <p:sp>
        <p:nvSpPr>
          <p:cNvPr id="11" name="Rectangle 21"/>
          <p:cNvSpPr/>
          <p:nvPr/>
        </p:nvSpPr>
        <p:spPr bwMode="gray">
          <a:xfrm>
            <a:off x="4928400" y="4935600"/>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r" fontAlgn="base">
              <a:spcBef>
                <a:spcPct val="0"/>
              </a:spcBef>
              <a:spcAft>
                <a:spcPct val="0"/>
              </a:spcAft>
            </a:pPr>
            <a:r>
              <a:rPr lang="en-US" altLang="ja-JP" sz="800" dirty="0" smtClean="0">
                <a:solidFill>
                  <a:srgbClr val="000000"/>
                </a:solidFill>
                <a:ea typeface="ＭＳ Ｐゴシック" charset="-128"/>
              </a:rPr>
              <a:t>Copyright 2017 FUJITSU</a:t>
            </a:r>
          </a:p>
        </p:txBody>
      </p:sp>
      <p:pic>
        <p:nvPicPr>
          <p:cNvPr id="13" name="Picture 3" descr="Fujitsu_Logo"/>
          <p:cNvPicPr>
            <a:picLocks noChangeAspect="1" noChangeArrowheads="1"/>
          </p:cNvPicPr>
          <p:nvPr userDrawn="1"/>
        </p:nvPicPr>
        <p:blipFill>
          <a:blip r:embed="rId42" cstate="print">
            <a:extLst>
              <a:ext uri="{28A0092B-C50C-407E-A947-70E740481C1C}">
                <a14:useLocalDpi xmlns:a14="http://schemas.microsoft.com/office/drawing/2010/main"/>
              </a:ext>
            </a:extLst>
          </a:blip>
          <a:srcRect/>
          <a:stretch>
            <a:fillRect/>
          </a:stretch>
        </p:blipFill>
        <p:spPr bwMode="auto">
          <a:xfrm>
            <a:off x="7664790" y="243040"/>
            <a:ext cx="1252195" cy="499082"/>
          </a:xfrm>
          <a:prstGeom prst="rect">
            <a:avLst/>
          </a:prstGeom>
          <a:noFill/>
        </p:spPr>
      </p:pic>
    </p:spTree>
    <p:extLst>
      <p:ext uri="{BB962C8B-B14F-4D97-AF65-F5344CB8AC3E}">
        <p14:creationId xmlns:p14="http://schemas.microsoft.com/office/powerpoint/2010/main" val="3306140228"/>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 id="2147483816" r:id="rId10"/>
    <p:sldLayoutId id="2147483817" r:id="rId11"/>
    <p:sldLayoutId id="2147483818" r:id="rId12"/>
    <p:sldLayoutId id="2147483819" r:id="rId13"/>
    <p:sldLayoutId id="2147483820" r:id="rId14"/>
    <p:sldLayoutId id="2147483821" r:id="rId15"/>
    <p:sldLayoutId id="2147483822" r:id="rId16"/>
    <p:sldLayoutId id="2147483823" r:id="rId17"/>
    <p:sldLayoutId id="2147483824" r:id="rId18"/>
    <p:sldLayoutId id="2147483825" r:id="rId19"/>
    <p:sldLayoutId id="2147483826" r:id="rId20"/>
    <p:sldLayoutId id="2147483827" r:id="rId21"/>
    <p:sldLayoutId id="2147483828" r:id="rId22"/>
    <p:sldLayoutId id="2147483829" r:id="rId23"/>
    <p:sldLayoutId id="2147483830" r:id="rId24"/>
    <p:sldLayoutId id="2147483831" r:id="rId25"/>
    <p:sldLayoutId id="2147483832" r:id="rId26"/>
    <p:sldLayoutId id="2147483833" r:id="rId27"/>
    <p:sldLayoutId id="2147483834" r:id="rId28"/>
    <p:sldLayoutId id="2147483835" r:id="rId29"/>
    <p:sldLayoutId id="2147483836" r:id="rId30"/>
    <p:sldLayoutId id="2147483837" r:id="rId31"/>
    <p:sldLayoutId id="2147483838" r:id="rId32"/>
    <p:sldLayoutId id="2147483839" r:id="rId33"/>
    <p:sldLayoutId id="2147483840" r:id="rId34"/>
    <p:sldLayoutId id="2147483841" r:id="rId35"/>
    <p:sldLayoutId id="2147483842" r:id="rId36"/>
    <p:sldLayoutId id="2147483843" r:id="rId37"/>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Fujitsu Sans"/>
          <a:ea typeface="+mj-ea"/>
          <a:cs typeface="Fujitsu Sans"/>
        </a:defRPr>
      </a:lvl1pPr>
    </p:titleStyle>
    <p:body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6" name="Bild 5"/>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elplatzhalter 1"/>
          <p:cNvSpPr>
            <a:spLocks noGrp="1"/>
          </p:cNvSpPr>
          <p:nvPr>
            <p:ph type="title"/>
          </p:nvPr>
        </p:nvSpPr>
        <p:spPr bwMode="gray">
          <a:xfrm>
            <a:off x="250825" y="72557"/>
            <a:ext cx="7561264" cy="77095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3676650" algn="l"/>
              </a:tabLst>
            </a:pPr>
            <a:endParaRPr lang="en-US" noProof="0" dirty="0"/>
          </a:p>
        </p:txBody>
      </p:sp>
      <p:sp>
        <p:nvSpPr>
          <p:cNvPr id="7" name="VCT_Marker_ID_7" hidden="1"/>
          <p:cNvSpPr/>
          <p:nvPr>
            <p:custDataLst>
              <p:tags r:id="rId34"/>
            </p:custDataLst>
          </p:nvPr>
        </p:nvSpPr>
        <p:spPr>
          <a:xfrm>
            <a:off x="1270000" y="95250"/>
            <a:ext cx="127000" cy="952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bwMode="gray">
          <a:xfrm>
            <a:off x="4302000" y="4937125"/>
            <a:ext cx="5400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ctr" fontAlgn="base">
              <a:spcBef>
                <a:spcPct val="0"/>
              </a:spcBef>
              <a:spcAft>
                <a:spcPct val="0"/>
              </a:spcAft>
            </a:pPr>
            <a:fld id="{AC746033-9F45-4508-8446-72AA2BBAAD2A}" type="slidenum">
              <a:rPr lang="en-US" altLang="ja-JP" sz="800" smtClean="0">
                <a:solidFill>
                  <a:srgbClr val="000000"/>
                </a:solidFill>
                <a:ea typeface="ＭＳ Ｐゴシック" charset="-128"/>
              </a:rPr>
              <a:pPr algn="ctr" fontAlgn="base">
                <a:spcBef>
                  <a:spcPct val="0"/>
                </a:spcBef>
                <a:spcAft>
                  <a:spcPct val="0"/>
                </a:spcAft>
              </a:pPr>
              <a:t>‹#›</a:t>
            </a:fld>
            <a:endParaRPr lang="en-US" altLang="ja-JP" sz="800" dirty="0" smtClean="0">
              <a:solidFill>
                <a:srgbClr val="000000"/>
              </a:solidFill>
              <a:ea typeface="ＭＳ Ｐゴシック" charset="-128"/>
            </a:endParaRPr>
          </a:p>
        </p:txBody>
      </p:sp>
      <p:sp>
        <p:nvSpPr>
          <p:cNvPr id="40" name="Text Placeholder 39"/>
          <p:cNvSpPr>
            <a:spLocks noGrp="1"/>
          </p:cNvSpPr>
          <p:nvPr>
            <p:ph type="body" idx="1"/>
            <p:custDataLst>
              <p:tags r:id="rId35"/>
            </p:custDataLst>
          </p:nvPr>
        </p:nvSpPr>
        <p:spPr bwMode="gray">
          <a:xfrm>
            <a:off x="250825" y="987425"/>
            <a:ext cx="8642350" cy="3816350"/>
          </a:xfrm>
          <a:prstGeom prst="rect">
            <a:avLst/>
          </a:prstGeom>
        </p:spPr>
        <p:txBody>
          <a:bodyPr vert="horz" lIns="0" tIns="0" rIns="0" bIns="0" rtlCol="0">
            <a:noAutofit/>
          </a:bodyPr>
          <a:lstStyle/>
          <a:p>
            <a:pPr lvl="0"/>
            <a:r>
              <a:rPr lang="de-DE" noProof="0" dirty="0" smtClean="0"/>
              <a:t>Mastertextformat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smtClean="0"/>
              <a:t>Fünfte Ebene</a:t>
            </a:r>
            <a:endParaRPr lang="en-US" noProof="0"/>
          </a:p>
        </p:txBody>
      </p:sp>
      <p:sp>
        <p:nvSpPr>
          <p:cNvPr id="19" name="Line 4"/>
          <p:cNvSpPr>
            <a:spLocks noChangeShapeType="1"/>
          </p:cNvSpPr>
          <p:nvPr/>
        </p:nvSpPr>
        <p:spPr bwMode="gray">
          <a:xfrm>
            <a:off x="0" y="4948080"/>
            <a:ext cx="9144000" cy="0"/>
          </a:xfrm>
          <a:prstGeom prst="line">
            <a:avLst/>
          </a:prstGeom>
          <a:noFill/>
          <a:ln w="12700">
            <a:solidFill>
              <a:srgbClr val="87867E"/>
            </a:solidFill>
            <a:round/>
            <a:headEnd/>
            <a:tailEnd/>
          </a:ln>
          <a:effectLst/>
        </p:spPr>
        <p:txBody>
          <a:bodyPr/>
          <a:lstStyle/>
          <a:p>
            <a:endParaRPr lang="en-GB" dirty="0">
              <a:solidFill>
                <a:srgbClr val="000000"/>
              </a:solidFill>
            </a:endParaRPr>
          </a:p>
        </p:txBody>
      </p:sp>
      <p:sp>
        <p:nvSpPr>
          <p:cNvPr id="11" name="Rectangle 21"/>
          <p:cNvSpPr/>
          <p:nvPr/>
        </p:nvSpPr>
        <p:spPr bwMode="gray">
          <a:xfrm>
            <a:off x="4928400" y="4935600"/>
            <a:ext cx="3963600" cy="2016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algn="r" fontAlgn="base">
              <a:spcBef>
                <a:spcPct val="0"/>
              </a:spcBef>
              <a:spcAft>
                <a:spcPct val="0"/>
              </a:spcAft>
            </a:pPr>
            <a:r>
              <a:rPr lang="en-US" altLang="ja-JP" sz="800" dirty="0" smtClean="0">
                <a:solidFill>
                  <a:srgbClr val="000000"/>
                </a:solidFill>
                <a:ea typeface="ＭＳ Ｐゴシック" charset="-128"/>
              </a:rPr>
              <a:t>Copyright 2018 FUJITSU</a:t>
            </a:r>
          </a:p>
        </p:txBody>
      </p:sp>
      <p:pic>
        <p:nvPicPr>
          <p:cNvPr id="13" name="Picture 3" descr="Fujitsu_Logo"/>
          <p:cNvPicPr>
            <a:picLocks noChangeAspect="1" noChangeArrowheads="1"/>
          </p:cNvPicPr>
          <p:nvPr/>
        </p:nvPicPr>
        <p:blipFill>
          <a:blip r:embed="rId37" cstate="print">
            <a:extLst>
              <a:ext uri="{28A0092B-C50C-407E-A947-70E740481C1C}">
                <a14:useLocalDpi xmlns:a14="http://schemas.microsoft.com/office/drawing/2010/main"/>
              </a:ext>
            </a:extLst>
          </a:blip>
          <a:srcRect/>
          <a:stretch>
            <a:fillRect/>
          </a:stretch>
        </p:blipFill>
        <p:spPr bwMode="auto">
          <a:xfrm>
            <a:off x="7664790" y="243040"/>
            <a:ext cx="1252195" cy="499082"/>
          </a:xfrm>
          <a:prstGeom prst="rect">
            <a:avLst/>
          </a:prstGeom>
          <a:noFill/>
        </p:spPr>
      </p:pic>
    </p:spTree>
    <p:extLst>
      <p:ext uri="{BB962C8B-B14F-4D97-AF65-F5344CB8AC3E}">
        <p14:creationId xmlns:p14="http://schemas.microsoft.com/office/powerpoint/2010/main" val="2228423177"/>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 id="2147483863" r:id="rId19"/>
    <p:sldLayoutId id="2147483864" r:id="rId20"/>
    <p:sldLayoutId id="2147483865" r:id="rId21"/>
    <p:sldLayoutId id="2147483866" r:id="rId22"/>
    <p:sldLayoutId id="2147483867" r:id="rId23"/>
    <p:sldLayoutId id="2147483868" r:id="rId24"/>
    <p:sldLayoutId id="2147483869" r:id="rId25"/>
    <p:sldLayoutId id="2147483870" r:id="rId26"/>
    <p:sldLayoutId id="2147483871" r:id="rId27"/>
    <p:sldLayoutId id="2147483872" r:id="rId28"/>
    <p:sldLayoutId id="2147483873" r:id="rId29"/>
    <p:sldLayoutId id="2147483874" r:id="rId30"/>
    <p:sldLayoutId id="2147483875" r:id="rId31"/>
    <p:sldLayoutId id="2147483876" r:id="rId32"/>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tabLst>
          <a:tab pos="2871788" algn="l"/>
          <a:tab pos="3676650" algn="l"/>
        </a:tabLst>
        <a:defRPr kumimoji="1" lang="de-DE" altLang="ja-JP" sz="2800" kern="1200" dirty="0" smtClean="0">
          <a:solidFill>
            <a:schemeClr val="tx1"/>
          </a:solidFill>
          <a:latin typeface="Fujitsu Sans"/>
          <a:ea typeface="+mj-ea"/>
          <a:cs typeface="Fujitsu Sans"/>
        </a:defRPr>
      </a:lvl1pPr>
    </p:titleStyle>
    <p:body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45" name="Picture 82" descr="Red_Master_Cover"/>
          <p:cNvPicPr>
            <a:picLocks noChangeAspect="1" noChangeArrowheads="1"/>
          </p:cNvPicPr>
          <p:nvPr/>
        </p:nvPicPr>
        <p:blipFill>
          <a:blip r:embed="rId3" cstate="print"/>
          <a:srcRect/>
          <a:stretch>
            <a:fillRect/>
          </a:stretch>
        </p:blipFill>
        <p:spPr bwMode="hidden">
          <a:xfrm>
            <a:off x="0" y="0"/>
            <a:ext cx="9144000" cy="5143500"/>
          </a:xfrm>
          <a:prstGeom prst="rect">
            <a:avLst/>
          </a:prstGeom>
          <a:noFill/>
        </p:spPr>
      </p:pic>
      <p:grpSp>
        <p:nvGrpSpPr>
          <p:cNvPr id="46" name="Group 47" descr="Fujitsu - shaping tomorrow with you"/>
          <p:cNvGrpSpPr>
            <a:grpSpLocks noChangeAspect="1"/>
          </p:cNvGrpSpPr>
          <p:nvPr/>
        </p:nvGrpSpPr>
        <p:grpSpPr bwMode="black">
          <a:xfrm>
            <a:off x="7308863" y="139306"/>
            <a:ext cx="1647825" cy="690563"/>
            <a:chOff x="4604" y="117"/>
            <a:chExt cx="1038" cy="580"/>
          </a:xfrm>
        </p:grpSpPr>
        <p:sp>
          <p:nvSpPr>
            <p:cNvPr id="47" name="AutoShape 48"/>
            <p:cNvSpPr>
              <a:spLocks noChangeAspect="1" noChangeArrowheads="1" noTextEdit="1"/>
            </p:cNvSpPr>
            <p:nvPr userDrawn="1"/>
          </p:nvSpPr>
          <p:spPr bwMode="black">
            <a:xfrm>
              <a:off x="4604" y="117"/>
              <a:ext cx="1038" cy="580"/>
            </a:xfrm>
            <a:prstGeom prst="rect">
              <a:avLst/>
            </a:prstGeom>
            <a:noFill/>
            <a:ln w="9525">
              <a:noFill/>
              <a:miter lim="800000"/>
              <a:headEnd/>
              <a:tailEnd/>
            </a:ln>
          </p:spPr>
          <p:txBody>
            <a:bodyPr/>
            <a:lstStyle/>
            <a:p>
              <a:pPr defTabSz="685800"/>
              <a:endParaRPr lang="en-GB" sz="1400" dirty="0">
                <a:solidFill>
                  <a:srgbClr val="000000"/>
                </a:solidFill>
              </a:endParaRPr>
            </a:p>
          </p:txBody>
        </p:sp>
        <p:sp>
          <p:nvSpPr>
            <p:cNvPr id="48" name="Freeform 49"/>
            <p:cNvSpPr>
              <a:spLocks/>
            </p:cNvSpPr>
            <p:nvPr userDrawn="1"/>
          </p:nvSpPr>
          <p:spPr bwMode="black">
            <a:xfrm>
              <a:off x="4655" y="604"/>
              <a:ext cx="26" cy="4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49" name="Freeform 50"/>
            <p:cNvSpPr>
              <a:spLocks/>
            </p:cNvSpPr>
            <p:nvPr userDrawn="1"/>
          </p:nvSpPr>
          <p:spPr bwMode="black">
            <a:xfrm>
              <a:off x="4691" y="585"/>
              <a:ext cx="30"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50" name="Freeform 51"/>
            <p:cNvSpPr>
              <a:spLocks noEditPoints="1"/>
            </p:cNvSpPr>
            <p:nvPr userDrawn="1"/>
          </p:nvSpPr>
          <p:spPr bwMode="black">
            <a:xfrm>
              <a:off x="4730" y="604"/>
              <a:ext cx="32" cy="4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51" name="Freeform 52"/>
            <p:cNvSpPr>
              <a:spLocks noEditPoints="1"/>
            </p:cNvSpPr>
            <p:nvPr userDrawn="1"/>
          </p:nvSpPr>
          <p:spPr bwMode="black">
            <a:xfrm>
              <a:off x="4774" y="604"/>
              <a:ext cx="32" cy="61"/>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52" name="Freeform 53"/>
            <p:cNvSpPr>
              <a:spLocks noEditPoints="1"/>
            </p:cNvSpPr>
            <p:nvPr userDrawn="1"/>
          </p:nvSpPr>
          <p:spPr bwMode="black">
            <a:xfrm>
              <a:off x="4815" y="591"/>
              <a:ext cx="9" cy="55"/>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53" name="Freeform 54"/>
            <p:cNvSpPr>
              <a:spLocks/>
            </p:cNvSpPr>
            <p:nvPr userDrawn="1"/>
          </p:nvSpPr>
          <p:spPr bwMode="black">
            <a:xfrm>
              <a:off x="4836" y="604"/>
              <a:ext cx="31" cy="42"/>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54" name="Freeform 55"/>
            <p:cNvSpPr>
              <a:spLocks noEditPoints="1"/>
            </p:cNvSpPr>
            <p:nvPr userDrawn="1"/>
          </p:nvSpPr>
          <p:spPr bwMode="black">
            <a:xfrm>
              <a:off x="4876" y="604"/>
              <a:ext cx="32" cy="62"/>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55" name="Freeform 56"/>
            <p:cNvSpPr>
              <a:spLocks/>
            </p:cNvSpPr>
            <p:nvPr userDrawn="1"/>
          </p:nvSpPr>
          <p:spPr bwMode="black">
            <a:xfrm>
              <a:off x="4939"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56" name="Freeform 57"/>
            <p:cNvSpPr>
              <a:spLocks noEditPoints="1"/>
            </p:cNvSpPr>
            <p:nvPr userDrawn="1"/>
          </p:nvSpPr>
          <p:spPr bwMode="black">
            <a:xfrm>
              <a:off x="4963"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57" name="Freeform 58"/>
            <p:cNvSpPr>
              <a:spLocks/>
            </p:cNvSpPr>
            <p:nvPr userDrawn="1"/>
          </p:nvSpPr>
          <p:spPr bwMode="black">
            <a:xfrm>
              <a:off x="5007" y="604"/>
              <a:ext cx="52" cy="42"/>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58" name="Freeform 59"/>
            <p:cNvSpPr>
              <a:spLocks noEditPoints="1"/>
            </p:cNvSpPr>
            <p:nvPr userDrawn="1"/>
          </p:nvSpPr>
          <p:spPr bwMode="black">
            <a:xfrm>
              <a:off x="5069"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59" name="Freeform 60"/>
            <p:cNvSpPr>
              <a:spLocks/>
            </p:cNvSpPr>
            <p:nvPr userDrawn="1"/>
          </p:nvSpPr>
          <p:spPr bwMode="black">
            <a:xfrm>
              <a:off x="5113"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60" name="Freeform 61"/>
            <p:cNvSpPr>
              <a:spLocks/>
            </p:cNvSpPr>
            <p:nvPr userDrawn="1"/>
          </p:nvSpPr>
          <p:spPr bwMode="black">
            <a:xfrm>
              <a:off x="5138"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61" name="Freeform 62"/>
            <p:cNvSpPr>
              <a:spLocks noEditPoints="1"/>
            </p:cNvSpPr>
            <p:nvPr userDrawn="1"/>
          </p:nvSpPr>
          <p:spPr bwMode="black">
            <a:xfrm>
              <a:off x="5160" y="604"/>
              <a:ext cx="34" cy="4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62" name="Freeform 63"/>
            <p:cNvSpPr>
              <a:spLocks/>
            </p:cNvSpPr>
            <p:nvPr userDrawn="1"/>
          </p:nvSpPr>
          <p:spPr bwMode="black">
            <a:xfrm>
              <a:off x="5198" y="605"/>
              <a:ext cx="52" cy="41"/>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63" name="Freeform 64"/>
            <p:cNvSpPr>
              <a:spLocks/>
            </p:cNvSpPr>
            <p:nvPr userDrawn="1"/>
          </p:nvSpPr>
          <p:spPr bwMode="black">
            <a:xfrm>
              <a:off x="5270" y="605"/>
              <a:ext cx="52" cy="41"/>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64" name="Freeform 65"/>
            <p:cNvSpPr>
              <a:spLocks noEditPoints="1"/>
            </p:cNvSpPr>
            <p:nvPr userDrawn="1"/>
          </p:nvSpPr>
          <p:spPr bwMode="black">
            <a:xfrm>
              <a:off x="5329" y="591"/>
              <a:ext cx="9" cy="55"/>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65" name="Freeform 66"/>
            <p:cNvSpPr>
              <a:spLocks/>
            </p:cNvSpPr>
            <p:nvPr userDrawn="1"/>
          </p:nvSpPr>
          <p:spPr bwMode="black">
            <a:xfrm>
              <a:off x="5350"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66" name="Freeform 67"/>
            <p:cNvSpPr>
              <a:spLocks/>
            </p:cNvSpPr>
            <p:nvPr userDrawn="1"/>
          </p:nvSpPr>
          <p:spPr bwMode="black">
            <a:xfrm>
              <a:off x="5376" y="585"/>
              <a:ext cx="31"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67" name="Freeform 68"/>
            <p:cNvSpPr>
              <a:spLocks/>
            </p:cNvSpPr>
            <p:nvPr userDrawn="1"/>
          </p:nvSpPr>
          <p:spPr bwMode="black">
            <a:xfrm>
              <a:off x="5432" y="605"/>
              <a:ext cx="34" cy="6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68" name="Freeform 69"/>
            <p:cNvSpPr>
              <a:spLocks noEditPoints="1"/>
            </p:cNvSpPr>
            <p:nvPr userDrawn="1"/>
          </p:nvSpPr>
          <p:spPr bwMode="black">
            <a:xfrm>
              <a:off x="5470"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69" name="Freeform 70"/>
            <p:cNvSpPr>
              <a:spLocks/>
            </p:cNvSpPr>
            <p:nvPr userDrawn="1"/>
          </p:nvSpPr>
          <p:spPr bwMode="black">
            <a:xfrm>
              <a:off x="5514" y="605"/>
              <a:ext cx="29" cy="42"/>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70" name="Freeform 71"/>
            <p:cNvSpPr>
              <a:spLocks/>
            </p:cNvSpPr>
            <p:nvPr userDrawn="1"/>
          </p:nvSpPr>
          <p:spPr bwMode="black">
            <a:xfrm>
              <a:off x="5115" y="216"/>
              <a:ext cx="132" cy="10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71" name="Freeform 72"/>
            <p:cNvSpPr>
              <a:spLocks/>
            </p:cNvSpPr>
            <p:nvPr userDrawn="1"/>
          </p:nvSpPr>
          <p:spPr bwMode="black">
            <a:xfrm>
              <a:off x="4899" y="327"/>
              <a:ext cx="91" cy="148"/>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72" name="Freeform 73"/>
            <p:cNvSpPr>
              <a:spLocks/>
            </p:cNvSpPr>
            <p:nvPr userDrawn="1"/>
          </p:nvSpPr>
          <p:spPr bwMode="black">
            <a:xfrm>
              <a:off x="5114" y="327"/>
              <a:ext cx="60" cy="207"/>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73" name="Freeform 74"/>
            <p:cNvSpPr>
              <a:spLocks/>
            </p:cNvSpPr>
            <p:nvPr userDrawn="1"/>
          </p:nvSpPr>
          <p:spPr bwMode="black">
            <a:xfrm>
              <a:off x="5180" y="327"/>
              <a:ext cx="47" cy="148"/>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74" name="Freeform 75"/>
            <p:cNvSpPr>
              <a:spLocks/>
            </p:cNvSpPr>
            <p:nvPr userDrawn="1"/>
          </p:nvSpPr>
          <p:spPr bwMode="black">
            <a:xfrm>
              <a:off x="5227" y="327"/>
              <a:ext cx="111" cy="148"/>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75" name="Freeform 76"/>
            <p:cNvSpPr>
              <a:spLocks/>
            </p:cNvSpPr>
            <p:nvPr userDrawn="1"/>
          </p:nvSpPr>
          <p:spPr bwMode="black">
            <a:xfrm>
              <a:off x="5429" y="327"/>
              <a:ext cx="124" cy="151"/>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76" name="Freeform 77"/>
            <p:cNvSpPr>
              <a:spLocks/>
            </p:cNvSpPr>
            <p:nvPr userDrawn="1"/>
          </p:nvSpPr>
          <p:spPr bwMode="black">
            <a:xfrm>
              <a:off x="4994" y="327"/>
              <a:ext cx="125" cy="151"/>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sp>
          <p:nvSpPr>
            <p:cNvPr id="77" name="Freeform 78"/>
            <p:cNvSpPr>
              <a:spLocks/>
            </p:cNvSpPr>
            <p:nvPr userDrawn="1"/>
          </p:nvSpPr>
          <p:spPr bwMode="black">
            <a:xfrm>
              <a:off x="5333" y="324"/>
              <a:ext cx="95" cy="154"/>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pPr defTabSz="685800"/>
              <a:endParaRPr lang="en-GB" sz="1400" dirty="0">
                <a:solidFill>
                  <a:srgbClr val="000000"/>
                </a:solidFill>
              </a:endParaRPr>
            </a:p>
          </p:txBody>
        </p:sp>
      </p:grpSp>
    </p:spTree>
    <p:extLst>
      <p:ext uri="{BB962C8B-B14F-4D97-AF65-F5344CB8AC3E}">
        <p14:creationId xmlns:p14="http://schemas.microsoft.com/office/powerpoint/2010/main" val="2661512937"/>
      </p:ext>
    </p:extLst>
  </p:cSld>
  <p:clrMap bg1="lt1" tx1="dk1" bg2="lt2" tx2="dk2" accent1="accent1" accent2="accent2" accent3="accent3" accent4="accent4" accent5="accent5" accent6="accent6" hlink="hlink" folHlink="folHlink"/>
  <p:sldLayoutIdLst>
    <p:sldLayoutId id="2147483879" r:id="rId1"/>
  </p:sldLayoutIdLst>
  <p:transition spd="slow">
    <p:wipe dir="r"/>
  </p:transition>
  <p:timing>
    <p:tnLst>
      <p:par>
        <p:cTn id="1" dur="indefinite" restart="never" nodeType="tmRoot"/>
      </p:par>
    </p:tnLst>
  </p:timing>
  <p:hf hdr="0" ftr="0" dt="0"/>
  <p:txStyles>
    <p:titleStyle>
      <a:lvl1pPr algn="l" rtl="0" eaLnBrk="1" fontAlgn="base" hangingPunct="1">
        <a:spcBef>
          <a:spcPct val="0"/>
        </a:spcBef>
        <a:spcAft>
          <a:spcPct val="0"/>
        </a:spcAft>
        <a:tabLst>
          <a:tab pos="2757488" algn="l"/>
        </a:tabLst>
        <a:defRPr kumimoji="1" sz="2400">
          <a:solidFill>
            <a:schemeClr val="tx2"/>
          </a:solidFill>
          <a:latin typeface="+mj-lt"/>
          <a:ea typeface="+mj-ea"/>
          <a:cs typeface="+mj-cs"/>
        </a:defRPr>
      </a:lvl1pPr>
      <a:lvl2pPr algn="l" rtl="0" eaLnBrk="1" fontAlgn="base" hangingPunct="1">
        <a:spcBef>
          <a:spcPct val="0"/>
        </a:spcBef>
        <a:spcAft>
          <a:spcPct val="0"/>
        </a:spcAft>
        <a:tabLst>
          <a:tab pos="2757488" algn="l"/>
        </a:tabLst>
        <a:defRPr kumimoji="1" sz="2400">
          <a:solidFill>
            <a:schemeClr val="tx2"/>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tabLst>
          <a:tab pos="2757488" algn="l"/>
        </a:tabLst>
        <a:defRPr kumimoji="1" sz="2400">
          <a:solidFill>
            <a:schemeClr val="tx2"/>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tabLst>
          <a:tab pos="2757488" algn="l"/>
        </a:tabLst>
        <a:defRPr kumimoji="1" sz="2400">
          <a:solidFill>
            <a:schemeClr val="tx2"/>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tabLst>
          <a:tab pos="2757488" algn="l"/>
        </a:tabLst>
        <a:defRPr kumimoji="1" sz="2400">
          <a:solidFill>
            <a:schemeClr val="tx2"/>
          </a:solidFill>
          <a:latin typeface="Arial" charset="0"/>
          <a:ea typeface="Arial Unicode MS" pitchFamily="34" charset="-128"/>
          <a:cs typeface="Arial Unicode MS" pitchFamily="34" charset="-128"/>
        </a:defRPr>
      </a:lvl5pPr>
      <a:lvl6pPr marL="342900" algn="l" rtl="0" eaLnBrk="1" fontAlgn="base" hangingPunct="1">
        <a:spcBef>
          <a:spcPct val="0"/>
        </a:spcBef>
        <a:spcAft>
          <a:spcPct val="0"/>
        </a:spcAft>
        <a:tabLst>
          <a:tab pos="2757488" algn="l"/>
        </a:tabLst>
        <a:defRPr kumimoji="1" sz="2400">
          <a:solidFill>
            <a:schemeClr val="tx2"/>
          </a:solidFill>
          <a:latin typeface="Arial" charset="0"/>
          <a:ea typeface="Arial Unicode MS" pitchFamily="34" charset="-128"/>
          <a:cs typeface="Arial Unicode MS" pitchFamily="34" charset="-128"/>
        </a:defRPr>
      </a:lvl6pPr>
      <a:lvl7pPr marL="685800" algn="l" rtl="0" eaLnBrk="1" fontAlgn="base" hangingPunct="1">
        <a:spcBef>
          <a:spcPct val="0"/>
        </a:spcBef>
        <a:spcAft>
          <a:spcPct val="0"/>
        </a:spcAft>
        <a:tabLst>
          <a:tab pos="2757488" algn="l"/>
        </a:tabLst>
        <a:defRPr kumimoji="1" sz="2400">
          <a:solidFill>
            <a:schemeClr val="tx2"/>
          </a:solidFill>
          <a:latin typeface="Arial" charset="0"/>
          <a:ea typeface="Arial Unicode MS" pitchFamily="34" charset="-128"/>
          <a:cs typeface="Arial Unicode MS" pitchFamily="34" charset="-128"/>
        </a:defRPr>
      </a:lvl7pPr>
      <a:lvl8pPr marL="1028700" algn="l" rtl="0" eaLnBrk="1" fontAlgn="base" hangingPunct="1">
        <a:spcBef>
          <a:spcPct val="0"/>
        </a:spcBef>
        <a:spcAft>
          <a:spcPct val="0"/>
        </a:spcAft>
        <a:tabLst>
          <a:tab pos="2757488" algn="l"/>
        </a:tabLst>
        <a:defRPr kumimoji="1" sz="2400">
          <a:solidFill>
            <a:schemeClr val="tx2"/>
          </a:solidFill>
          <a:latin typeface="Arial" charset="0"/>
          <a:ea typeface="Arial Unicode MS" pitchFamily="34" charset="-128"/>
          <a:cs typeface="Arial Unicode MS" pitchFamily="34" charset="-128"/>
        </a:defRPr>
      </a:lvl8pPr>
      <a:lvl9pPr marL="1371600" algn="l" rtl="0" eaLnBrk="1" fontAlgn="base" hangingPunct="1">
        <a:spcBef>
          <a:spcPct val="0"/>
        </a:spcBef>
        <a:spcAft>
          <a:spcPct val="0"/>
        </a:spcAft>
        <a:tabLst>
          <a:tab pos="2757488" algn="l"/>
        </a:tabLst>
        <a:defRPr kumimoji="1" sz="2400">
          <a:solidFill>
            <a:schemeClr val="tx2"/>
          </a:solidFill>
          <a:latin typeface="Arial" charset="0"/>
          <a:ea typeface="Arial Unicode MS" pitchFamily="34" charset="-128"/>
          <a:cs typeface="Arial Unicode MS" pitchFamily="34" charset="-128"/>
        </a:defRPr>
      </a:lvl9pPr>
    </p:titleStyle>
    <p:bodyStyle>
      <a:lvl1pPr marL="204788" indent="-204788" algn="l" defTabSz="342900" rtl="0" eaLnBrk="1" fontAlgn="base" hangingPunct="1">
        <a:spcBef>
          <a:spcPct val="0"/>
        </a:spcBef>
        <a:spcAft>
          <a:spcPct val="35000"/>
        </a:spcAft>
        <a:buClr>
          <a:srgbClr val="A30B1A"/>
        </a:buClr>
        <a:buFont typeface="Wingdings 2" pitchFamily="18" charset="2"/>
        <a:buChar char="¾"/>
        <a:defRPr kumimoji="1" sz="1800">
          <a:solidFill>
            <a:srgbClr val="000000"/>
          </a:solidFill>
          <a:latin typeface="+mn-lt"/>
          <a:ea typeface="+mn-ea"/>
          <a:cs typeface="+mn-cs"/>
        </a:defRPr>
      </a:lvl1pPr>
      <a:lvl2pPr marL="534591" indent="-182166" algn="l" defTabSz="342900" rtl="0" eaLnBrk="1" fontAlgn="base" hangingPunct="1">
        <a:spcBef>
          <a:spcPct val="0"/>
        </a:spcBef>
        <a:spcAft>
          <a:spcPct val="35000"/>
        </a:spcAft>
        <a:buClr>
          <a:srgbClr val="87867E"/>
        </a:buClr>
        <a:buFont typeface="Wingdings" pitchFamily="2" charset="2"/>
        <a:buChar char="n"/>
        <a:defRPr kumimoji="1" sz="1500">
          <a:solidFill>
            <a:srgbClr val="000000"/>
          </a:solidFill>
          <a:latin typeface="+mn-lt"/>
          <a:ea typeface="+mn-ea"/>
          <a:cs typeface="+mn-cs"/>
        </a:defRPr>
      </a:lvl2pPr>
      <a:lvl3pPr marL="772716" indent="-103585" algn="l" defTabSz="342900" rtl="0" eaLnBrk="1" fontAlgn="base" hangingPunct="1">
        <a:spcBef>
          <a:spcPct val="0"/>
        </a:spcBef>
        <a:spcAft>
          <a:spcPct val="35000"/>
        </a:spcAft>
        <a:buClr>
          <a:srgbClr val="87867E"/>
        </a:buClr>
        <a:buSzPct val="100000"/>
        <a:buFont typeface="Wingdings" pitchFamily="2" charset="2"/>
        <a:buChar char=""/>
        <a:defRPr kumimoji="1">
          <a:solidFill>
            <a:srgbClr val="000000"/>
          </a:solidFill>
          <a:latin typeface="+mn-lt"/>
          <a:ea typeface="+mn-ea"/>
          <a:cs typeface="+mn-cs"/>
        </a:defRPr>
      </a:lvl3pPr>
      <a:lvl4pPr marL="1008460" indent="-101204" algn="l" defTabSz="342900" rtl="0" eaLnBrk="1" fontAlgn="base" hangingPunct="1">
        <a:spcBef>
          <a:spcPct val="0"/>
        </a:spcBef>
        <a:spcAft>
          <a:spcPct val="35000"/>
        </a:spcAft>
        <a:buClr>
          <a:srgbClr val="87867E"/>
        </a:buClr>
        <a:buSzPct val="100000"/>
        <a:buFont typeface="Arial" charset="0"/>
        <a:buChar char="•"/>
        <a:defRPr kumimoji="1" sz="1200">
          <a:solidFill>
            <a:srgbClr val="000000"/>
          </a:solidFill>
          <a:latin typeface="+mn-lt"/>
          <a:ea typeface="+mn-ea"/>
          <a:cs typeface="+mn-cs"/>
        </a:defRPr>
      </a:lvl4pPr>
      <a:lvl5pPr marL="1728788" indent="273844" algn="l" defTabSz="342900" rtl="0" eaLnBrk="1" fontAlgn="base" hangingPunct="1">
        <a:spcBef>
          <a:spcPct val="0"/>
        </a:spcBef>
        <a:spcAft>
          <a:spcPct val="0"/>
        </a:spcAft>
        <a:buBlip>
          <a:blip r:embed="rId4"/>
        </a:buBlip>
        <a:defRPr kumimoji="1" sz="1500">
          <a:solidFill>
            <a:srgbClr val="000000"/>
          </a:solidFill>
          <a:latin typeface="+mn-lt"/>
          <a:ea typeface="+mn-ea"/>
          <a:cs typeface="+mn-cs"/>
        </a:defRPr>
      </a:lvl5pPr>
      <a:lvl6pPr marL="2071688" indent="273844" algn="l" defTabSz="342900" rtl="0" eaLnBrk="1" fontAlgn="base" hangingPunct="1">
        <a:spcBef>
          <a:spcPct val="0"/>
        </a:spcBef>
        <a:spcAft>
          <a:spcPct val="0"/>
        </a:spcAft>
        <a:buBlip>
          <a:blip r:embed="rId4"/>
        </a:buBlip>
        <a:defRPr kumimoji="1" sz="1500">
          <a:solidFill>
            <a:srgbClr val="000000"/>
          </a:solidFill>
          <a:latin typeface="+mn-lt"/>
          <a:ea typeface="+mn-ea"/>
          <a:cs typeface="+mn-cs"/>
        </a:defRPr>
      </a:lvl6pPr>
      <a:lvl7pPr marL="2414588" indent="273844" algn="l" defTabSz="342900" rtl="0" eaLnBrk="1" fontAlgn="base" hangingPunct="1">
        <a:spcBef>
          <a:spcPct val="0"/>
        </a:spcBef>
        <a:spcAft>
          <a:spcPct val="0"/>
        </a:spcAft>
        <a:buBlip>
          <a:blip r:embed="rId4"/>
        </a:buBlip>
        <a:defRPr kumimoji="1" sz="1500">
          <a:solidFill>
            <a:srgbClr val="000000"/>
          </a:solidFill>
          <a:latin typeface="+mn-lt"/>
          <a:ea typeface="+mn-ea"/>
          <a:cs typeface="+mn-cs"/>
        </a:defRPr>
      </a:lvl7pPr>
      <a:lvl8pPr marL="2757488" indent="273844" algn="l" defTabSz="342900" rtl="0" eaLnBrk="1" fontAlgn="base" hangingPunct="1">
        <a:spcBef>
          <a:spcPct val="0"/>
        </a:spcBef>
        <a:spcAft>
          <a:spcPct val="0"/>
        </a:spcAft>
        <a:buBlip>
          <a:blip r:embed="rId4"/>
        </a:buBlip>
        <a:defRPr kumimoji="1" sz="1500">
          <a:solidFill>
            <a:srgbClr val="000000"/>
          </a:solidFill>
          <a:latin typeface="+mn-lt"/>
          <a:ea typeface="+mn-ea"/>
          <a:cs typeface="+mn-cs"/>
        </a:defRPr>
      </a:lvl8pPr>
      <a:lvl9pPr marL="3100388" indent="273844" algn="l" defTabSz="342900" rtl="0" eaLnBrk="1" fontAlgn="base" hangingPunct="1">
        <a:spcBef>
          <a:spcPct val="0"/>
        </a:spcBef>
        <a:spcAft>
          <a:spcPct val="0"/>
        </a:spcAft>
        <a:buBlip>
          <a:blip r:embed="rId4"/>
        </a:buBlip>
        <a:defRPr kumimoji="1" sz="1500">
          <a:solidFill>
            <a:srgbClr val="000000"/>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46" descr="ContentGray20_L150"/>
          <p:cNvPicPr>
            <a:picLocks noChangeAspect="1" noChangeArrowheads="1"/>
          </p:cNvPicPr>
          <p:nvPr/>
        </p:nvPicPr>
        <p:blipFill>
          <a:blip r:embed="rId13" cstate="print"/>
          <a:srcRect/>
          <a:stretch>
            <a:fillRect/>
          </a:stretch>
        </p:blipFill>
        <p:spPr bwMode="hidden">
          <a:xfrm>
            <a:off x="0" y="1"/>
            <a:ext cx="9144000" cy="804863"/>
          </a:xfrm>
          <a:prstGeom prst="rect">
            <a:avLst/>
          </a:prstGeom>
          <a:noFill/>
        </p:spPr>
      </p:pic>
      <p:pic>
        <p:nvPicPr>
          <p:cNvPr id="8" name="Picture 26" descr="Fujitsu"/>
          <p:cNvPicPr>
            <a:picLocks noChangeAspect="1" noChangeArrowheads="1"/>
          </p:cNvPicPr>
          <p:nvPr/>
        </p:nvPicPr>
        <p:blipFill>
          <a:blip r:embed="rId14" cstate="print"/>
          <a:srcRect/>
          <a:stretch>
            <a:fillRect/>
          </a:stretch>
        </p:blipFill>
        <p:spPr bwMode="auto">
          <a:xfrm>
            <a:off x="8202613" y="132161"/>
            <a:ext cx="787400" cy="297656"/>
          </a:xfrm>
          <a:prstGeom prst="rect">
            <a:avLst/>
          </a:prstGeom>
          <a:noFill/>
        </p:spPr>
      </p:pic>
      <p:sp>
        <p:nvSpPr>
          <p:cNvPr id="9" name="Line 4"/>
          <p:cNvSpPr>
            <a:spLocks noChangeShapeType="1"/>
          </p:cNvSpPr>
          <p:nvPr/>
        </p:nvSpPr>
        <p:spPr bwMode="gray">
          <a:xfrm>
            <a:off x="0" y="4974431"/>
            <a:ext cx="9144000" cy="0"/>
          </a:xfrm>
          <a:prstGeom prst="line">
            <a:avLst/>
          </a:prstGeom>
          <a:noFill/>
          <a:ln w="12700">
            <a:solidFill>
              <a:srgbClr val="87867E"/>
            </a:solidFill>
            <a:round/>
            <a:headEnd/>
            <a:tailEnd/>
          </a:ln>
          <a:effectLst/>
        </p:spPr>
        <p:txBody>
          <a:bodyPr lIns="68580" tIns="34290" rIns="68580" bIns="34290"/>
          <a:lstStyle/>
          <a:p>
            <a:pPr defTabSz="685800"/>
            <a:endParaRPr lang="en-GB" sz="1400" dirty="0">
              <a:solidFill>
                <a:srgbClr val="000000"/>
              </a:solidFill>
            </a:endParaRPr>
          </a:p>
        </p:txBody>
      </p:sp>
    </p:spTree>
    <p:extLst>
      <p:ext uri="{BB962C8B-B14F-4D97-AF65-F5344CB8AC3E}">
        <p14:creationId xmlns:p14="http://schemas.microsoft.com/office/powerpoint/2010/main" val="2933755517"/>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Lst>
  <p:transition spd="slow">
    <p:wipe dir="r"/>
  </p:transition>
  <p:timing>
    <p:tnLst>
      <p:par>
        <p:cTn id="1" dur="indefinite" restart="never" nodeType="tmRoot"/>
      </p:par>
    </p:tnLst>
  </p:timing>
  <p:hf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7.xml"/></Relationships>
</file>

<file path=ppt/slides/_rels/slide10.xml.rels><?xml version="1.0" encoding="UTF-8" standalone="yes"?>
<Relationships xmlns="http://schemas.openxmlformats.org/package/2006/relationships"><Relationship Id="rId8" Type="http://schemas.openxmlformats.org/officeDocument/2006/relationships/tags" Target="../tags/tag356.xml"/><Relationship Id="rId13" Type="http://schemas.openxmlformats.org/officeDocument/2006/relationships/tags" Target="../tags/tag361.xml"/><Relationship Id="rId18" Type="http://schemas.openxmlformats.org/officeDocument/2006/relationships/slideLayout" Target="../slideLayouts/slideLayout143.xml"/><Relationship Id="rId3" Type="http://schemas.openxmlformats.org/officeDocument/2006/relationships/tags" Target="../tags/tag351.xml"/><Relationship Id="rId7" Type="http://schemas.openxmlformats.org/officeDocument/2006/relationships/tags" Target="../tags/tag355.xml"/><Relationship Id="rId12" Type="http://schemas.openxmlformats.org/officeDocument/2006/relationships/tags" Target="../tags/tag360.xml"/><Relationship Id="rId17" Type="http://schemas.openxmlformats.org/officeDocument/2006/relationships/tags" Target="../tags/tag365.xml"/><Relationship Id="rId2" Type="http://schemas.openxmlformats.org/officeDocument/2006/relationships/tags" Target="../tags/tag350.xml"/><Relationship Id="rId16" Type="http://schemas.openxmlformats.org/officeDocument/2006/relationships/tags" Target="../tags/tag364.xml"/><Relationship Id="rId20" Type="http://schemas.openxmlformats.org/officeDocument/2006/relationships/image" Target="../media/image73.jpeg"/><Relationship Id="rId1" Type="http://schemas.openxmlformats.org/officeDocument/2006/relationships/tags" Target="../tags/tag349.xml"/><Relationship Id="rId6" Type="http://schemas.openxmlformats.org/officeDocument/2006/relationships/tags" Target="../tags/tag354.xml"/><Relationship Id="rId11" Type="http://schemas.openxmlformats.org/officeDocument/2006/relationships/tags" Target="../tags/tag359.xml"/><Relationship Id="rId5" Type="http://schemas.openxmlformats.org/officeDocument/2006/relationships/tags" Target="../tags/tag353.xml"/><Relationship Id="rId15" Type="http://schemas.openxmlformats.org/officeDocument/2006/relationships/tags" Target="../tags/tag363.xml"/><Relationship Id="rId10" Type="http://schemas.openxmlformats.org/officeDocument/2006/relationships/tags" Target="../tags/tag358.xml"/><Relationship Id="rId19" Type="http://schemas.openxmlformats.org/officeDocument/2006/relationships/notesSlide" Target="../notesSlides/notesSlide7.xml"/><Relationship Id="rId4" Type="http://schemas.openxmlformats.org/officeDocument/2006/relationships/tags" Target="../tags/tag352.xml"/><Relationship Id="rId9" Type="http://schemas.openxmlformats.org/officeDocument/2006/relationships/tags" Target="../tags/tag357.xml"/><Relationship Id="rId14" Type="http://schemas.openxmlformats.org/officeDocument/2006/relationships/tags" Target="../tags/tag36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40.xml"/><Relationship Id="rId1" Type="http://schemas.openxmlformats.org/officeDocument/2006/relationships/tags" Target="../tags/tag36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72.xml"/><Relationship Id="rId2" Type="http://schemas.openxmlformats.org/officeDocument/2006/relationships/tags" Target="../tags/tag368.xml"/><Relationship Id="rId1" Type="http://schemas.openxmlformats.org/officeDocument/2006/relationships/tags" Target="../tags/tag367.xml"/><Relationship Id="rId5" Type="http://schemas.openxmlformats.org/officeDocument/2006/relationships/image" Target="../media/image71.png"/><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13" Type="http://schemas.openxmlformats.org/officeDocument/2006/relationships/tags" Target="../tags/tag381.xml"/><Relationship Id="rId18" Type="http://schemas.openxmlformats.org/officeDocument/2006/relationships/tags" Target="../tags/tag386.xml"/><Relationship Id="rId26" Type="http://schemas.openxmlformats.org/officeDocument/2006/relationships/tags" Target="../tags/tag394.xml"/><Relationship Id="rId39" Type="http://schemas.openxmlformats.org/officeDocument/2006/relationships/tags" Target="../tags/tag407.xml"/><Relationship Id="rId21" Type="http://schemas.openxmlformats.org/officeDocument/2006/relationships/tags" Target="../tags/tag389.xml"/><Relationship Id="rId34" Type="http://schemas.openxmlformats.org/officeDocument/2006/relationships/tags" Target="../tags/tag402.xml"/><Relationship Id="rId42" Type="http://schemas.openxmlformats.org/officeDocument/2006/relationships/tags" Target="../tags/tag410.xml"/><Relationship Id="rId47" Type="http://schemas.openxmlformats.org/officeDocument/2006/relationships/tags" Target="../tags/tag415.xml"/><Relationship Id="rId50" Type="http://schemas.openxmlformats.org/officeDocument/2006/relationships/tags" Target="../tags/tag418.xml"/><Relationship Id="rId55" Type="http://schemas.openxmlformats.org/officeDocument/2006/relationships/tags" Target="../tags/tag423.xml"/><Relationship Id="rId63" Type="http://schemas.openxmlformats.org/officeDocument/2006/relationships/tags" Target="../tags/tag431.xml"/><Relationship Id="rId68" Type="http://schemas.openxmlformats.org/officeDocument/2006/relationships/tags" Target="../tags/tag436.xml"/><Relationship Id="rId76" Type="http://schemas.openxmlformats.org/officeDocument/2006/relationships/tags" Target="../tags/tag444.xml"/><Relationship Id="rId84" Type="http://schemas.openxmlformats.org/officeDocument/2006/relationships/image" Target="../media/image76.png"/><Relationship Id="rId89" Type="http://schemas.openxmlformats.org/officeDocument/2006/relationships/image" Target="../media/image81.png"/><Relationship Id="rId7" Type="http://schemas.openxmlformats.org/officeDocument/2006/relationships/tags" Target="../tags/tag375.xml"/><Relationship Id="rId71" Type="http://schemas.openxmlformats.org/officeDocument/2006/relationships/tags" Target="../tags/tag439.xml"/><Relationship Id="rId2" Type="http://schemas.openxmlformats.org/officeDocument/2006/relationships/tags" Target="../tags/tag370.xml"/><Relationship Id="rId16" Type="http://schemas.openxmlformats.org/officeDocument/2006/relationships/tags" Target="../tags/tag384.xml"/><Relationship Id="rId29" Type="http://schemas.openxmlformats.org/officeDocument/2006/relationships/tags" Target="../tags/tag397.xml"/><Relationship Id="rId11" Type="http://schemas.openxmlformats.org/officeDocument/2006/relationships/tags" Target="../tags/tag379.xml"/><Relationship Id="rId24" Type="http://schemas.openxmlformats.org/officeDocument/2006/relationships/tags" Target="../tags/tag392.xml"/><Relationship Id="rId32" Type="http://schemas.openxmlformats.org/officeDocument/2006/relationships/tags" Target="../tags/tag400.xml"/><Relationship Id="rId37" Type="http://schemas.openxmlformats.org/officeDocument/2006/relationships/tags" Target="../tags/tag405.xml"/><Relationship Id="rId40" Type="http://schemas.openxmlformats.org/officeDocument/2006/relationships/tags" Target="../tags/tag408.xml"/><Relationship Id="rId45" Type="http://schemas.openxmlformats.org/officeDocument/2006/relationships/tags" Target="../tags/tag413.xml"/><Relationship Id="rId53" Type="http://schemas.openxmlformats.org/officeDocument/2006/relationships/tags" Target="../tags/tag421.xml"/><Relationship Id="rId58" Type="http://schemas.openxmlformats.org/officeDocument/2006/relationships/tags" Target="../tags/tag426.xml"/><Relationship Id="rId66" Type="http://schemas.openxmlformats.org/officeDocument/2006/relationships/tags" Target="../tags/tag434.xml"/><Relationship Id="rId74" Type="http://schemas.openxmlformats.org/officeDocument/2006/relationships/tags" Target="../tags/tag442.xml"/><Relationship Id="rId79" Type="http://schemas.openxmlformats.org/officeDocument/2006/relationships/tags" Target="../tags/tag447.xml"/><Relationship Id="rId87" Type="http://schemas.openxmlformats.org/officeDocument/2006/relationships/image" Target="../media/image79.png"/><Relationship Id="rId5" Type="http://schemas.openxmlformats.org/officeDocument/2006/relationships/tags" Target="../tags/tag373.xml"/><Relationship Id="rId61" Type="http://schemas.openxmlformats.org/officeDocument/2006/relationships/tags" Target="../tags/tag429.xml"/><Relationship Id="rId82" Type="http://schemas.openxmlformats.org/officeDocument/2006/relationships/image" Target="../media/image74.png"/><Relationship Id="rId19" Type="http://schemas.openxmlformats.org/officeDocument/2006/relationships/tags" Target="../tags/tag387.xml"/><Relationship Id="rId4" Type="http://schemas.openxmlformats.org/officeDocument/2006/relationships/tags" Target="../tags/tag372.xml"/><Relationship Id="rId9" Type="http://schemas.openxmlformats.org/officeDocument/2006/relationships/tags" Target="../tags/tag377.xml"/><Relationship Id="rId14" Type="http://schemas.openxmlformats.org/officeDocument/2006/relationships/tags" Target="../tags/tag382.xml"/><Relationship Id="rId22" Type="http://schemas.openxmlformats.org/officeDocument/2006/relationships/tags" Target="../tags/tag390.xml"/><Relationship Id="rId27" Type="http://schemas.openxmlformats.org/officeDocument/2006/relationships/tags" Target="../tags/tag395.xml"/><Relationship Id="rId30" Type="http://schemas.openxmlformats.org/officeDocument/2006/relationships/tags" Target="../tags/tag398.xml"/><Relationship Id="rId35" Type="http://schemas.openxmlformats.org/officeDocument/2006/relationships/tags" Target="../tags/tag403.xml"/><Relationship Id="rId43" Type="http://schemas.openxmlformats.org/officeDocument/2006/relationships/tags" Target="../tags/tag411.xml"/><Relationship Id="rId48" Type="http://schemas.openxmlformats.org/officeDocument/2006/relationships/tags" Target="../tags/tag416.xml"/><Relationship Id="rId56" Type="http://schemas.openxmlformats.org/officeDocument/2006/relationships/tags" Target="../tags/tag424.xml"/><Relationship Id="rId64" Type="http://schemas.openxmlformats.org/officeDocument/2006/relationships/tags" Target="../tags/tag432.xml"/><Relationship Id="rId69" Type="http://schemas.openxmlformats.org/officeDocument/2006/relationships/tags" Target="../tags/tag437.xml"/><Relationship Id="rId77" Type="http://schemas.openxmlformats.org/officeDocument/2006/relationships/tags" Target="../tags/tag445.xml"/><Relationship Id="rId8" Type="http://schemas.openxmlformats.org/officeDocument/2006/relationships/tags" Target="../tags/tag376.xml"/><Relationship Id="rId51" Type="http://schemas.openxmlformats.org/officeDocument/2006/relationships/tags" Target="../tags/tag419.xml"/><Relationship Id="rId72" Type="http://schemas.openxmlformats.org/officeDocument/2006/relationships/tags" Target="../tags/tag440.xml"/><Relationship Id="rId80" Type="http://schemas.openxmlformats.org/officeDocument/2006/relationships/slideLayout" Target="../slideLayouts/slideLayout140.xml"/><Relationship Id="rId85" Type="http://schemas.openxmlformats.org/officeDocument/2006/relationships/image" Target="../media/image77.png"/><Relationship Id="rId3" Type="http://schemas.openxmlformats.org/officeDocument/2006/relationships/tags" Target="../tags/tag371.xml"/><Relationship Id="rId12" Type="http://schemas.openxmlformats.org/officeDocument/2006/relationships/tags" Target="../tags/tag380.xml"/><Relationship Id="rId17" Type="http://schemas.openxmlformats.org/officeDocument/2006/relationships/tags" Target="../tags/tag385.xml"/><Relationship Id="rId25" Type="http://schemas.openxmlformats.org/officeDocument/2006/relationships/tags" Target="../tags/tag393.xml"/><Relationship Id="rId33" Type="http://schemas.openxmlformats.org/officeDocument/2006/relationships/tags" Target="../tags/tag401.xml"/><Relationship Id="rId38" Type="http://schemas.openxmlformats.org/officeDocument/2006/relationships/tags" Target="../tags/tag406.xml"/><Relationship Id="rId46" Type="http://schemas.openxmlformats.org/officeDocument/2006/relationships/tags" Target="../tags/tag414.xml"/><Relationship Id="rId59" Type="http://schemas.openxmlformats.org/officeDocument/2006/relationships/tags" Target="../tags/tag427.xml"/><Relationship Id="rId67" Type="http://schemas.openxmlformats.org/officeDocument/2006/relationships/tags" Target="../tags/tag435.xml"/><Relationship Id="rId20" Type="http://schemas.openxmlformats.org/officeDocument/2006/relationships/tags" Target="../tags/tag388.xml"/><Relationship Id="rId41" Type="http://schemas.openxmlformats.org/officeDocument/2006/relationships/tags" Target="../tags/tag409.xml"/><Relationship Id="rId54" Type="http://schemas.openxmlformats.org/officeDocument/2006/relationships/tags" Target="../tags/tag422.xml"/><Relationship Id="rId62" Type="http://schemas.openxmlformats.org/officeDocument/2006/relationships/tags" Target="../tags/tag430.xml"/><Relationship Id="rId70" Type="http://schemas.openxmlformats.org/officeDocument/2006/relationships/tags" Target="../tags/tag438.xml"/><Relationship Id="rId75" Type="http://schemas.openxmlformats.org/officeDocument/2006/relationships/tags" Target="../tags/tag443.xml"/><Relationship Id="rId83" Type="http://schemas.openxmlformats.org/officeDocument/2006/relationships/image" Target="../media/image75.png"/><Relationship Id="rId88" Type="http://schemas.openxmlformats.org/officeDocument/2006/relationships/image" Target="../media/image80.png"/><Relationship Id="rId1" Type="http://schemas.openxmlformats.org/officeDocument/2006/relationships/tags" Target="../tags/tag369.xml"/><Relationship Id="rId6" Type="http://schemas.openxmlformats.org/officeDocument/2006/relationships/tags" Target="../tags/tag374.xml"/><Relationship Id="rId15" Type="http://schemas.openxmlformats.org/officeDocument/2006/relationships/tags" Target="../tags/tag383.xml"/><Relationship Id="rId23" Type="http://schemas.openxmlformats.org/officeDocument/2006/relationships/tags" Target="../tags/tag391.xml"/><Relationship Id="rId28" Type="http://schemas.openxmlformats.org/officeDocument/2006/relationships/tags" Target="../tags/tag396.xml"/><Relationship Id="rId36" Type="http://schemas.openxmlformats.org/officeDocument/2006/relationships/tags" Target="../tags/tag404.xml"/><Relationship Id="rId49" Type="http://schemas.openxmlformats.org/officeDocument/2006/relationships/tags" Target="../tags/tag417.xml"/><Relationship Id="rId57" Type="http://schemas.openxmlformats.org/officeDocument/2006/relationships/tags" Target="../tags/tag425.xml"/><Relationship Id="rId10" Type="http://schemas.openxmlformats.org/officeDocument/2006/relationships/tags" Target="../tags/tag378.xml"/><Relationship Id="rId31" Type="http://schemas.openxmlformats.org/officeDocument/2006/relationships/tags" Target="../tags/tag399.xml"/><Relationship Id="rId44" Type="http://schemas.openxmlformats.org/officeDocument/2006/relationships/tags" Target="../tags/tag412.xml"/><Relationship Id="rId52" Type="http://schemas.openxmlformats.org/officeDocument/2006/relationships/tags" Target="../tags/tag420.xml"/><Relationship Id="rId60" Type="http://schemas.openxmlformats.org/officeDocument/2006/relationships/tags" Target="../tags/tag428.xml"/><Relationship Id="rId65" Type="http://schemas.openxmlformats.org/officeDocument/2006/relationships/tags" Target="../tags/tag433.xml"/><Relationship Id="rId73" Type="http://schemas.openxmlformats.org/officeDocument/2006/relationships/tags" Target="../tags/tag441.xml"/><Relationship Id="rId78" Type="http://schemas.openxmlformats.org/officeDocument/2006/relationships/tags" Target="../tags/tag446.xml"/><Relationship Id="rId81" Type="http://schemas.openxmlformats.org/officeDocument/2006/relationships/notesSlide" Target="../notesSlides/notesSlide10.xml"/><Relationship Id="rId86" Type="http://schemas.openxmlformats.org/officeDocument/2006/relationships/image" Target="../media/image78.png"/></Relationships>
</file>

<file path=ppt/slides/_rels/slide14.xml.rels><?xml version="1.0" encoding="UTF-8" standalone="yes"?>
<Relationships xmlns="http://schemas.openxmlformats.org/package/2006/relationships"><Relationship Id="rId3" Type="http://schemas.openxmlformats.org/officeDocument/2006/relationships/image" Target="../media/image82.emf"/><Relationship Id="rId7" Type="http://schemas.openxmlformats.org/officeDocument/2006/relationships/image" Target="../media/image86.jpg"/><Relationship Id="rId2" Type="http://schemas.openxmlformats.org/officeDocument/2006/relationships/notesSlide" Target="../notesSlides/notesSlide11.xml"/><Relationship Id="rId1" Type="http://schemas.openxmlformats.org/officeDocument/2006/relationships/slideLayout" Target="../slideLayouts/slideLayout174.xml"/><Relationship Id="rId6" Type="http://schemas.openxmlformats.org/officeDocument/2006/relationships/image" Target="../media/image85.emf"/><Relationship Id="rId5" Type="http://schemas.openxmlformats.org/officeDocument/2006/relationships/image" Target="../media/image84.png"/><Relationship Id="rId4" Type="http://schemas.openxmlformats.org/officeDocument/2006/relationships/image" Target="../media/image83.emf"/></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73.xml"/><Relationship Id="rId2" Type="http://schemas.openxmlformats.org/officeDocument/2006/relationships/tags" Target="../tags/tag449.xml"/><Relationship Id="rId1" Type="http://schemas.openxmlformats.org/officeDocument/2006/relationships/tags" Target="../tags/tag448.xml"/><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72.xml"/><Relationship Id="rId2" Type="http://schemas.openxmlformats.org/officeDocument/2006/relationships/tags" Target="../tags/tag451.xml"/><Relationship Id="rId1" Type="http://schemas.openxmlformats.org/officeDocument/2006/relationships/tags" Target="../tags/tag450.xml"/><Relationship Id="rId5" Type="http://schemas.openxmlformats.org/officeDocument/2006/relationships/image" Target="../media/image71.png"/><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8" Type="http://schemas.openxmlformats.org/officeDocument/2006/relationships/tags" Target="../tags/tag458.xml"/><Relationship Id="rId13" Type="http://schemas.openxmlformats.org/officeDocument/2006/relationships/tags" Target="../tags/tag463.xml"/><Relationship Id="rId18" Type="http://schemas.openxmlformats.org/officeDocument/2006/relationships/oleObject" Target="../embeddings/oleObject4.bin"/><Relationship Id="rId3" Type="http://schemas.openxmlformats.org/officeDocument/2006/relationships/tags" Target="../tags/tag453.xml"/><Relationship Id="rId7" Type="http://schemas.openxmlformats.org/officeDocument/2006/relationships/tags" Target="../tags/tag457.xml"/><Relationship Id="rId12" Type="http://schemas.openxmlformats.org/officeDocument/2006/relationships/tags" Target="../tags/tag462.xml"/><Relationship Id="rId17" Type="http://schemas.openxmlformats.org/officeDocument/2006/relationships/notesSlide" Target="../notesSlides/notesSlide14.xml"/><Relationship Id="rId2" Type="http://schemas.openxmlformats.org/officeDocument/2006/relationships/tags" Target="../tags/tag452.xml"/><Relationship Id="rId16" Type="http://schemas.openxmlformats.org/officeDocument/2006/relationships/slideLayout" Target="../slideLayouts/slideLayout143.xml"/><Relationship Id="rId1" Type="http://schemas.openxmlformats.org/officeDocument/2006/relationships/vmlDrawing" Target="../drawings/vmlDrawing4.vml"/><Relationship Id="rId6" Type="http://schemas.openxmlformats.org/officeDocument/2006/relationships/tags" Target="../tags/tag456.xml"/><Relationship Id="rId11" Type="http://schemas.openxmlformats.org/officeDocument/2006/relationships/tags" Target="../tags/tag461.xml"/><Relationship Id="rId5" Type="http://schemas.openxmlformats.org/officeDocument/2006/relationships/tags" Target="../tags/tag455.xml"/><Relationship Id="rId15" Type="http://schemas.openxmlformats.org/officeDocument/2006/relationships/tags" Target="../tags/tag465.xml"/><Relationship Id="rId10" Type="http://schemas.openxmlformats.org/officeDocument/2006/relationships/tags" Target="../tags/tag460.xml"/><Relationship Id="rId19" Type="http://schemas.openxmlformats.org/officeDocument/2006/relationships/image" Target="../media/image18.emf"/><Relationship Id="rId4" Type="http://schemas.openxmlformats.org/officeDocument/2006/relationships/tags" Target="../tags/tag454.xml"/><Relationship Id="rId9" Type="http://schemas.openxmlformats.org/officeDocument/2006/relationships/tags" Target="../tags/tag459.xml"/><Relationship Id="rId14" Type="http://schemas.openxmlformats.org/officeDocument/2006/relationships/tags" Target="../tags/tag464.xml"/></Relationships>
</file>

<file path=ppt/slides/_rels/slide18.xml.rels><?xml version="1.0" encoding="UTF-8" standalone="yes"?>
<Relationships xmlns="http://schemas.openxmlformats.org/package/2006/relationships"><Relationship Id="rId13" Type="http://schemas.openxmlformats.org/officeDocument/2006/relationships/tags" Target="../tags/tag477.xml"/><Relationship Id="rId18" Type="http://schemas.openxmlformats.org/officeDocument/2006/relationships/tags" Target="../tags/tag482.xml"/><Relationship Id="rId26" Type="http://schemas.openxmlformats.org/officeDocument/2006/relationships/tags" Target="../tags/tag490.xml"/><Relationship Id="rId39" Type="http://schemas.openxmlformats.org/officeDocument/2006/relationships/tags" Target="../tags/tag503.xml"/><Relationship Id="rId21" Type="http://schemas.openxmlformats.org/officeDocument/2006/relationships/tags" Target="../tags/tag485.xml"/><Relationship Id="rId34" Type="http://schemas.openxmlformats.org/officeDocument/2006/relationships/tags" Target="../tags/tag498.xml"/><Relationship Id="rId42" Type="http://schemas.openxmlformats.org/officeDocument/2006/relationships/tags" Target="../tags/tag506.xml"/><Relationship Id="rId47" Type="http://schemas.openxmlformats.org/officeDocument/2006/relationships/tags" Target="../tags/tag511.xml"/><Relationship Id="rId50" Type="http://schemas.openxmlformats.org/officeDocument/2006/relationships/tags" Target="../tags/tag514.xml"/><Relationship Id="rId55" Type="http://schemas.openxmlformats.org/officeDocument/2006/relationships/tags" Target="../tags/tag519.xml"/><Relationship Id="rId7" Type="http://schemas.openxmlformats.org/officeDocument/2006/relationships/tags" Target="../tags/tag471.xml"/><Relationship Id="rId12" Type="http://schemas.openxmlformats.org/officeDocument/2006/relationships/tags" Target="../tags/tag476.xml"/><Relationship Id="rId17" Type="http://schemas.openxmlformats.org/officeDocument/2006/relationships/tags" Target="../tags/tag481.xml"/><Relationship Id="rId25" Type="http://schemas.openxmlformats.org/officeDocument/2006/relationships/tags" Target="../tags/tag489.xml"/><Relationship Id="rId33" Type="http://schemas.openxmlformats.org/officeDocument/2006/relationships/tags" Target="../tags/tag497.xml"/><Relationship Id="rId38" Type="http://schemas.openxmlformats.org/officeDocument/2006/relationships/tags" Target="../tags/tag502.xml"/><Relationship Id="rId46" Type="http://schemas.openxmlformats.org/officeDocument/2006/relationships/tags" Target="../tags/tag510.xml"/><Relationship Id="rId59" Type="http://schemas.openxmlformats.org/officeDocument/2006/relationships/oleObject" Target="../embeddings/oleObject5.bin"/><Relationship Id="rId2" Type="http://schemas.openxmlformats.org/officeDocument/2006/relationships/tags" Target="../tags/tag466.xml"/><Relationship Id="rId16" Type="http://schemas.openxmlformats.org/officeDocument/2006/relationships/tags" Target="../tags/tag480.xml"/><Relationship Id="rId20" Type="http://schemas.openxmlformats.org/officeDocument/2006/relationships/tags" Target="../tags/tag484.xml"/><Relationship Id="rId29" Type="http://schemas.openxmlformats.org/officeDocument/2006/relationships/tags" Target="../tags/tag493.xml"/><Relationship Id="rId41" Type="http://schemas.openxmlformats.org/officeDocument/2006/relationships/tags" Target="../tags/tag505.xml"/><Relationship Id="rId54" Type="http://schemas.openxmlformats.org/officeDocument/2006/relationships/tags" Target="../tags/tag518.xml"/><Relationship Id="rId1" Type="http://schemas.openxmlformats.org/officeDocument/2006/relationships/vmlDrawing" Target="../drawings/vmlDrawing5.vml"/><Relationship Id="rId6" Type="http://schemas.openxmlformats.org/officeDocument/2006/relationships/tags" Target="../tags/tag470.xml"/><Relationship Id="rId11" Type="http://schemas.openxmlformats.org/officeDocument/2006/relationships/tags" Target="../tags/tag475.xml"/><Relationship Id="rId24" Type="http://schemas.openxmlformats.org/officeDocument/2006/relationships/tags" Target="../tags/tag488.xml"/><Relationship Id="rId32" Type="http://schemas.openxmlformats.org/officeDocument/2006/relationships/tags" Target="../tags/tag496.xml"/><Relationship Id="rId37" Type="http://schemas.openxmlformats.org/officeDocument/2006/relationships/tags" Target="../tags/tag501.xml"/><Relationship Id="rId40" Type="http://schemas.openxmlformats.org/officeDocument/2006/relationships/tags" Target="../tags/tag504.xml"/><Relationship Id="rId45" Type="http://schemas.openxmlformats.org/officeDocument/2006/relationships/tags" Target="../tags/tag509.xml"/><Relationship Id="rId53" Type="http://schemas.openxmlformats.org/officeDocument/2006/relationships/tags" Target="../tags/tag517.xml"/><Relationship Id="rId58" Type="http://schemas.openxmlformats.org/officeDocument/2006/relationships/notesSlide" Target="../notesSlides/notesSlide15.xml"/><Relationship Id="rId5" Type="http://schemas.openxmlformats.org/officeDocument/2006/relationships/tags" Target="../tags/tag469.xml"/><Relationship Id="rId15" Type="http://schemas.openxmlformats.org/officeDocument/2006/relationships/tags" Target="../tags/tag479.xml"/><Relationship Id="rId23" Type="http://schemas.openxmlformats.org/officeDocument/2006/relationships/tags" Target="../tags/tag487.xml"/><Relationship Id="rId28" Type="http://schemas.openxmlformats.org/officeDocument/2006/relationships/tags" Target="../tags/tag492.xml"/><Relationship Id="rId36" Type="http://schemas.openxmlformats.org/officeDocument/2006/relationships/tags" Target="../tags/tag500.xml"/><Relationship Id="rId49" Type="http://schemas.openxmlformats.org/officeDocument/2006/relationships/tags" Target="../tags/tag513.xml"/><Relationship Id="rId57" Type="http://schemas.openxmlformats.org/officeDocument/2006/relationships/slideLayout" Target="../slideLayouts/slideLayout143.xml"/><Relationship Id="rId10" Type="http://schemas.openxmlformats.org/officeDocument/2006/relationships/tags" Target="../tags/tag474.xml"/><Relationship Id="rId19" Type="http://schemas.openxmlformats.org/officeDocument/2006/relationships/tags" Target="../tags/tag483.xml"/><Relationship Id="rId31" Type="http://schemas.openxmlformats.org/officeDocument/2006/relationships/tags" Target="../tags/tag495.xml"/><Relationship Id="rId44" Type="http://schemas.openxmlformats.org/officeDocument/2006/relationships/tags" Target="../tags/tag508.xml"/><Relationship Id="rId52" Type="http://schemas.openxmlformats.org/officeDocument/2006/relationships/tags" Target="../tags/tag516.xml"/><Relationship Id="rId60" Type="http://schemas.openxmlformats.org/officeDocument/2006/relationships/image" Target="../media/image18.emf"/><Relationship Id="rId4" Type="http://schemas.openxmlformats.org/officeDocument/2006/relationships/tags" Target="../tags/tag468.xml"/><Relationship Id="rId9" Type="http://schemas.openxmlformats.org/officeDocument/2006/relationships/tags" Target="../tags/tag473.xml"/><Relationship Id="rId14" Type="http://schemas.openxmlformats.org/officeDocument/2006/relationships/tags" Target="../tags/tag478.xml"/><Relationship Id="rId22" Type="http://schemas.openxmlformats.org/officeDocument/2006/relationships/tags" Target="../tags/tag486.xml"/><Relationship Id="rId27" Type="http://schemas.openxmlformats.org/officeDocument/2006/relationships/tags" Target="../tags/tag491.xml"/><Relationship Id="rId30" Type="http://schemas.openxmlformats.org/officeDocument/2006/relationships/tags" Target="../tags/tag494.xml"/><Relationship Id="rId35" Type="http://schemas.openxmlformats.org/officeDocument/2006/relationships/tags" Target="../tags/tag499.xml"/><Relationship Id="rId43" Type="http://schemas.openxmlformats.org/officeDocument/2006/relationships/tags" Target="../tags/tag507.xml"/><Relationship Id="rId48" Type="http://schemas.openxmlformats.org/officeDocument/2006/relationships/tags" Target="../tags/tag512.xml"/><Relationship Id="rId56" Type="http://schemas.openxmlformats.org/officeDocument/2006/relationships/tags" Target="../tags/tag520.xml"/><Relationship Id="rId8" Type="http://schemas.openxmlformats.org/officeDocument/2006/relationships/tags" Target="../tags/tag472.xml"/><Relationship Id="rId51" Type="http://schemas.openxmlformats.org/officeDocument/2006/relationships/tags" Target="../tags/tag515.xml"/><Relationship Id="rId3" Type="http://schemas.openxmlformats.org/officeDocument/2006/relationships/tags" Target="../tags/tag467.xml"/></Relationships>
</file>

<file path=ppt/slides/_rels/slide19.xml.rels><?xml version="1.0" encoding="UTF-8" standalone="yes"?>
<Relationships xmlns="http://schemas.openxmlformats.org/package/2006/relationships"><Relationship Id="rId13" Type="http://schemas.openxmlformats.org/officeDocument/2006/relationships/tags" Target="../tags/tag533.xml"/><Relationship Id="rId18" Type="http://schemas.openxmlformats.org/officeDocument/2006/relationships/tags" Target="../tags/tag538.xml"/><Relationship Id="rId26" Type="http://schemas.openxmlformats.org/officeDocument/2006/relationships/tags" Target="../tags/tag546.xml"/><Relationship Id="rId39" Type="http://schemas.openxmlformats.org/officeDocument/2006/relationships/tags" Target="../tags/tag559.xml"/><Relationship Id="rId21" Type="http://schemas.openxmlformats.org/officeDocument/2006/relationships/tags" Target="../tags/tag541.xml"/><Relationship Id="rId34" Type="http://schemas.openxmlformats.org/officeDocument/2006/relationships/tags" Target="../tags/tag554.xml"/><Relationship Id="rId42" Type="http://schemas.openxmlformats.org/officeDocument/2006/relationships/tags" Target="../tags/tag562.xml"/><Relationship Id="rId47" Type="http://schemas.openxmlformats.org/officeDocument/2006/relationships/tags" Target="../tags/tag567.xml"/><Relationship Id="rId50" Type="http://schemas.openxmlformats.org/officeDocument/2006/relationships/tags" Target="../tags/tag570.xml"/><Relationship Id="rId55" Type="http://schemas.openxmlformats.org/officeDocument/2006/relationships/tags" Target="../tags/tag575.xml"/><Relationship Id="rId63" Type="http://schemas.openxmlformats.org/officeDocument/2006/relationships/tags" Target="../tags/tag583.xml"/><Relationship Id="rId68" Type="http://schemas.openxmlformats.org/officeDocument/2006/relationships/tags" Target="../tags/tag588.xml"/><Relationship Id="rId76" Type="http://schemas.openxmlformats.org/officeDocument/2006/relationships/tags" Target="../tags/tag596.xml"/><Relationship Id="rId84" Type="http://schemas.openxmlformats.org/officeDocument/2006/relationships/tags" Target="../tags/tag604.xml"/><Relationship Id="rId89" Type="http://schemas.openxmlformats.org/officeDocument/2006/relationships/tags" Target="../tags/tag609.xml"/><Relationship Id="rId7" Type="http://schemas.openxmlformats.org/officeDocument/2006/relationships/tags" Target="../tags/tag527.xml"/><Relationship Id="rId71" Type="http://schemas.openxmlformats.org/officeDocument/2006/relationships/tags" Target="../tags/tag591.xml"/><Relationship Id="rId92" Type="http://schemas.openxmlformats.org/officeDocument/2006/relationships/slideLayout" Target="../slideLayouts/slideLayout140.xml"/><Relationship Id="rId2" Type="http://schemas.openxmlformats.org/officeDocument/2006/relationships/tags" Target="../tags/tag522.xml"/><Relationship Id="rId16" Type="http://schemas.openxmlformats.org/officeDocument/2006/relationships/tags" Target="../tags/tag536.xml"/><Relationship Id="rId29" Type="http://schemas.openxmlformats.org/officeDocument/2006/relationships/tags" Target="../tags/tag549.xml"/><Relationship Id="rId11" Type="http://schemas.openxmlformats.org/officeDocument/2006/relationships/tags" Target="../tags/tag531.xml"/><Relationship Id="rId24" Type="http://schemas.openxmlformats.org/officeDocument/2006/relationships/tags" Target="../tags/tag544.xml"/><Relationship Id="rId32" Type="http://schemas.openxmlformats.org/officeDocument/2006/relationships/tags" Target="../tags/tag552.xml"/><Relationship Id="rId37" Type="http://schemas.openxmlformats.org/officeDocument/2006/relationships/tags" Target="../tags/tag557.xml"/><Relationship Id="rId40" Type="http://schemas.openxmlformats.org/officeDocument/2006/relationships/tags" Target="../tags/tag560.xml"/><Relationship Id="rId45" Type="http://schemas.openxmlformats.org/officeDocument/2006/relationships/tags" Target="../tags/tag565.xml"/><Relationship Id="rId53" Type="http://schemas.openxmlformats.org/officeDocument/2006/relationships/tags" Target="../tags/tag573.xml"/><Relationship Id="rId58" Type="http://schemas.openxmlformats.org/officeDocument/2006/relationships/tags" Target="../tags/tag578.xml"/><Relationship Id="rId66" Type="http://schemas.openxmlformats.org/officeDocument/2006/relationships/tags" Target="../tags/tag586.xml"/><Relationship Id="rId74" Type="http://schemas.openxmlformats.org/officeDocument/2006/relationships/tags" Target="../tags/tag594.xml"/><Relationship Id="rId79" Type="http://schemas.openxmlformats.org/officeDocument/2006/relationships/tags" Target="../tags/tag599.xml"/><Relationship Id="rId87" Type="http://schemas.openxmlformats.org/officeDocument/2006/relationships/tags" Target="../tags/tag607.xml"/><Relationship Id="rId5" Type="http://schemas.openxmlformats.org/officeDocument/2006/relationships/tags" Target="../tags/tag525.xml"/><Relationship Id="rId61" Type="http://schemas.openxmlformats.org/officeDocument/2006/relationships/tags" Target="../tags/tag581.xml"/><Relationship Id="rId82" Type="http://schemas.openxmlformats.org/officeDocument/2006/relationships/tags" Target="../tags/tag602.xml"/><Relationship Id="rId90" Type="http://schemas.openxmlformats.org/officeDocument/2006/relationships/tags" Target="../tags/tag610.xml"/><Relationship Id="rId19" Type="http://schemas.openxmlformats.org/officeDocument/2006/relationships/tags" Target="../tags/tag539.xml"/><Relationship Id="rId14" Type="http://schemas.openxmlformats.org/officeDocument/2006/relationships/tags" Target="../tags/tag534.xml"/><Relationship Id="rId22" Type="http://schemas.openxmlformats.org/officeDocument/2006/relationships/tags" Target="../tags/tag542.xml"/><Relationship Id="rId27" Type="http://schemas.openxmlformats.org/officeDocument/2006/relationships/tags" Target="../tags/tag547.xml"/><Relationship Id="rId30" Type="http://schemas.openxmlformats.org/officeDocument/2006/relationships/tags" Target="../tags/tag550.xml"/><Relationship Id="rId35" Type="http://schemas.openxmlformats.org/officeDocument/2006/relationships/tags" Target="../tags/tag555.xml"/><Relationship Id="rId43" Type="http://schemas.openxmlformats.org/officeDocument/2006/relationships/tags" Target="../tags/tag563.xml"/><Relationship Id="rId48" Type="http://schemas.openxmlformats.org/officeDocument/2006/relationships/tags" Target="../tags/tag568.xml"/><Relationship Id="rId56" Type="http://schemas.openxmlformats.org/officeDocument/2006/relationships/tags" Target="../tags/tag576.xml"/><Relationship Id="rId64" Type="http://schemas.openxmlformats.org/officeDocument/2006/relationships/tags" Target="../tags/tag584.xml"/><Relationship Id="rId69" Type="http://schemas.openxmlformats.org/officeDocument/2006/relationships/tags" Target="../tags/tag589.xml"/><Relationship Id="rId77" Type="http://schemas.openxmlformats.org/officeDocument/2006/relationships/tags" Target="../tags/tag597.xml"/><Relationship Id="rId8" Type="http://schemas.openxmlformats.org/officeDocument/2006/relationships/tags" Target="../tags/tag528.xml"/><Relationship Id="rId51" Type="http://schemas.openxmlformats.org/officeDocument/2006/relationships/tags" Target="../tags/tag571.xml"/><Relationship Id="rId72" Type="http://schemas.openxmlformats.org/officeDocument/2006/relationships/tags" Target="../tags/tag592.xml"/><Relationship Id="rId80" Type="http://schemas.openxmlformats.org/officeDocument/2006/relationships/tags" Target="../tags/tag600.xml"/><Relationship Id="rId85" Type="http://schemas.openxmlformats.org/officeDocument/2006/relationships/tags" Target="../tags/tag605.xml"/><Relationship Id="rId93" Type="http://schemas.openxmlformats.org/officeDocument/2006/relationships/notesSlide" Target="../notesSlides/notesSlide16.xml"/><Relationship Id="rId3" Type="http://schemas.openxmlformats.org/officeDocument/2006/relationships/tags" Target="../tags/tag523.xml"/><Relationship Id="rId12" Type="http://schemas.openxmlformats.org/officeDocument/2006/relationships/tags" Target="../tags/tag532.xml"/><Relationship Id="rId17" Type="http://schemas.openxmlformats.org/officeDocument/2006/relationships/tags" Target="../tags/tag537.xml"/><Relationship Id="rId25" Type="http://schemas.openxmlformats.org/officeDocument/2006/relationships/tags" Target="../tags/tag545.xml"/><Relationship Id="rId33" Type="http://schemas.openxmlformats.org/officeDocument/2006/relationships/tags" Target="../tags/tag553.xml"/><Relationship Id="rId38" Type="http://schemas.openxmlformats.org/officeDocument/2006/relationships/tags" Target="../tags/tag558.xml"/><Relationship Id="rId46" Type="http://schemas.openxmlformats.org/officeDocument/2006/relationships/tags" Target="../tags/tag566.xml"/><Relationship Id="rId59" Type="http://schemas.openxmlformats.org/officeDocument/2006/relationships/tags" Target="../tags/tag579.xml"/><Relationship Id="rId67" Type="http://schemas.openxmlformats.org/officeDocument/2006/relationships/tags" Target="../tags/tag587.xml"/><Relationship Id="rId20" Type="http://schemas.openxmlformats.org/officeDocument/2006/relationships/tags" Target="../tags/tag540.xml"/><Relationship Id="rId41" Type="http://schemas.openxmlformats.org/officeDocument/2006/relationships/tags" Target="../tags/tag561.xml"/><Relationship Id="rId54" Type="http://schemas.openxmlformats.org/officeDocument/2006/relationships/tags" Target="../tags/tag574.xml"/><Relationship Id="rId62" Type="http://schemas.openxmlformats.org/officeDocument/2006/relationships/tags" Target="../tags/tag582.xml"/><Relationship Id="rId70" Type="http://schemas.openxmlformats.org/officeDocument/2006/relationships/tags" Target="../tags/tag590.xml"/><Relationship Id="rId75" Type="http://schemas.openxmlformats.org/officeDocument/2006/relationships/tags" Target="../tags/tag595.xml"/><Relationship Id="rId83" Type="http://schemas.openxmlformats.org/officeDocument/2006/relationships/tags" Target="../tags/tag603.xml"/><Relationship Id="rId88" Type="http://schemas.openxmlformats.org/officeDocument/2006/relationships/tags" Target="../tags/tag608.xml"/><Relationship Id="rId91" Type="http://schemas.openxmlformats.org/officeDocument/2006/relationships/tags" Target="../tags/tag611.xml"/><Relationship Id="rId1" Type="http://schemas.openxmlformats.org/officeDocument/2006/relationships/tags" Target="../tags/tag521.xml"/><Relationship Id="rId6" Type="http://schemas.openxmlformats.org/officeDocument/2006/relationships/tags" Target="../tags/tag526.xml"/><Relationship Id="rId15" Type="http://schemas.openxmlformats.org/officeDocument/2006/relationships/tags" Target="../tags/tag535.xml"/><Relationship Id="rId23" Type="http://schemas.openxmlformats.org/officeDocument/2006/relationships/tags" Target="../tags/tag543.xml"/><Relationship Id="rId28" Type="http://schemas.openxmlformats.org/officeDocument/2006/relationships/tags" Target="../tags/tag548.xml"/><Relationship Id="rId36" Type="http://schemas.openxmlformats.org/officeDocument/2006/relationships/tags" Target="../tags/tag556.xml"/><Relationship Id="rId49" Type="http://schemas.openxmlformats.org/officeDocument/2006/relationships/tags" Target="../tags/tag569.xml"/><Relationship Id="rId57" Type="http://schemas.openxmlformats.org/officeDocument/2006/relationships/tags" Target="../tags/tag577.xml"/><Relationship Id="rId10" Type="http://schemas.openxmlformats.org/officeDocument/2006/relationships/tags" Target="../tags/tag530.xml"/><Relationship Id="rId31" Type="http://schemas.openxmlformats.org/officeDocument/2006/relationships/tags" Target="../tags/tag551.xml"/><Relationship Id="rId44" Type="http://schemas.openxmlformats.org/officeDocument/2006/relationships/tags" Target="../tags/tag564.xml"/><Relationship Id="rId52" Type="http://schemas.openxmlformats.org/officeDocument/2006/relationships/tags" Target="../tags/tag572.xml"/><Relationship Id="rId60" Type="http://schemas.openxmlformats.org/officeDocument/2006/relationships/tags" Target="../tags/tag580.xml"/><Relationship Id="rId65" Type="http://schemas.openxmlformats.org/officeDocument/2006/relationships/tags" Target="../tags/tag585.xml"/><Relationship Id="rId73" Type="http://schemas.openxmlformats.org/officeDocument/2006/relationships/tags" Target="../tags/tag593.xml"/><Relationship Id="rId78" Type="http://schemas.openxmlformats.org/officeDocument/2006/relationships/tags" Target="../tags/tag598.xml"/><Relationship Id="rId81" Type="http://schemas.openxmlformats.org/officeDocument/2006/relationships/tags" Target="../tags/tag601.xml"/><Relationship Id="rId86" Type="http://schemas.openxmlformats.org/officeDocument/2006/relationships/tags" Target="../tags/tag606.xml"/><Relationship Id="rId4" Type="http://schemas.openxmlformats.org/officeDocument/2006/relationships/tags" Target="../tags/tag524.xml"/><Relationship Id="rId9" Type="http://schemas.openxmlformats.org/officeDocument/2006/relationships/tags" Target="../tags/tag529.xml"/></Relationships>
</file>

<file path=ppt/slides/_rels/slide2.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image" Target="../media/image30.png"/><Relationship Id="rId7" Type="http://schemas.openxmlformats.org/officeDocument/2006/relationships/image" Target="../media/image34.emf"/><Relationship Id="rId12" Type="http://schemas.openxmlformats.org/officeDocument/2006/relationships/image" Target="../media/image39.emf"/><Relationship Id="rId2" Type="http://schemas.openxmlformats.org/officeDocument/2006/relationships/notesSlide" Target="../notesSlides/notesSlide1.xml"/><Relationship Id="rId1" Type="http://schemas.openxmlformats.org/officeDocument/2006/relationships/slideLayout" Target="../slideLayouts/slideLayout255.xml"/><Relationship Id="rId6" Type="http://schemas.openxmlformats.org/officeDocument/2006/relationships/image" Target="../media/image33.emf"/><Relationship Id="rId11" Type="http://schemas.openxmlformats.org/officeDocument/2006/relationships/image" Target="../media/image38.emf"/><Relationship Id="rId5" Type="http://schemas.openxmlformats.org/officeDocument/2006/relationships/image" Target="../media/image32.emf"/><Relationship Id="rId10" Type="http://schemas.openxmlformats.org/officeDocument/2006/relationships/image" Target="../media/image37.emf"/><Relationship Id="rId4" Type="http://schemas.openxmlformats.org/officeDocument/2006/relationships/image" Target="../media/image31.emf"/><Relationship Id="rId9" Type="http://schemas.openxmlformats.org/officeDocument/2006/relationships/image" Target="../media/image36.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9.xml"/></Relationships>
</file>

<file path=ppt/slides/_rels/slide3.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46.png"/><Relationship Id="rId18" Type="http://schemas.microsoft.com/office/2007/relationships/hdphoto" Target="../media/hdphoto7.wdp"/><Relationship Id="rId26" Type="http://schemas.openxmlformats.org/officeDocument/2006/relationships/image" Target="../media/image54.gif"/><Relationship Id="rId3" Type="http://schemas.openxmlformats.org/officeDocument/2006/relationships/image" Target="../media/image40.png"/><Relationship Id="rId21" Type="http://schemas.openxmlformats.org/officeDocument/2006/relationships/image" Target="../media/image50.png"/><Relationship Id="rId7" Type="http://schemas.openxmlformats.org/officeDocument/2006/relationships/image" Target="../media/image42.png"/><Relationship Id="rId12" Type="http://schemas.openxmlformats.org/officeDocument/2006/relationships/image" Target="../media/image45.jpeg"/><Relationship Id="rId17" Type="http://schemas.openxmlformats.org/officeDocument/2006/relationships/image" Target="../media/image48.png"/><Relationship Id="rId25" Type="http://schemas.openxmlformats.org/officeDocument/2006/relationships/image" Target="../media/image53.gif"/><Relationship Id="rId2" Type="http://schemas.openxmlformats.org/officeDocument/2006/relationships/slideLayout" Target="../slideLayouts/slideLayout225.xml"/><Relationship Id="rId16" Type="http://schemas.microsoft.com/office/2007/relationships/hdphoto" Target="../media/hdphoto6.wdp"/><Relationship Id="rId20" Type="http://schemas.openxmlformats.org/officeDocument/2006/relationships/image" Target="../media/image49.jpeg"/><Relationship Id="rId29" Type="http://schemas.openxmlformats.org/officeDocument/2006/relationships/image" Target="../media/image57.jpeg"/><Relationship Id="rId1" Type="http://schemas.openxmlformats.org/officeDocument/2006/relationships/tags" Target="../tags/tag217.xml"/><Relationship Id="rId6" Type="http://schemas.microsoft.com/office/2007/relationships/hdphoto" Target="../media/hdphoto2.wdp"/><Relationship Id="rId11" Type="http://schemas.openxmlformats.org/officeDocument/2006/relationships/image" Target="../media/image44.jpeg"/><Relationship Id="rId24" Type="http://schemas.openxmlformats.org/officeDocument/2006/relationships/image" Target="../media/image52.gif"/><Relationship Id="rId5" Type="http://schemas.openxmlformats.org/officeDocument/2006/relationships/image" Target="../media/image41.png"/><Relationship Id="rId15" Type="http://schemas.openxmlformats.org/officeDocument/2006/relationships/image" Target="../media/image47.png"/><Relationship Id="rId23" Type="http://schemas.openxmlformats.org/officeDocument/2006/relationships/image" Target="../media/image51.png"/><Relationship Id="rId28" Type="http://schemas.openxmlformats.org/officeDocument/2006/relationships/image" Target="../media/image56.jpeg"/><Relationship Id="rId10" Type="http://schemas.microsoft.com/office/2007/relationships/hdphoto" Target="../media/hdphoto4.wdp"/><Relationship Id="rId19" Type="http://schemas.openxmlformats.org/officeDocument/2006/relationships/hyperlink" Target="http://mediaportal.ts.fujitsu.com/pages/view.php?ref=35781&amp;search=rx2560&amp;order_by=field12&amp;sort=DESC&amp;offset=0&amp;archive=0&amp;k=" TargetMode="External"/><Relationship Id="rId4" Type="http://schemas.microsoft.com/office/2007/relationships/hdphoto" Target="../media/hdphoto1.wdp"/><Relationship Id="rId9" Type="http://schemas.openxmlformats.org/officeDocument/2006/relationships/image" Target="../media/image43.png"/><Relationship Id="rId14" Type="http://schemas.microsoft.com/office/2007/relationships/hdphoto" Target="../media/hdphoto5.wdp"/><Relationship Id="rId22" Type="http://schemas.microsoft.com/office/2007/relationships/hdphoto" Target="../media/hdphoto8.wdp"/><Relationship Id="rId27" Type="http://schemas.openxmlformats.org/officeDocument/2006/relationships/image" Target="../media/image55.jpg"/></Relationships>
</file>

<file path=ppt/slides/_rels/slide4.xml.rels><?xml version="1.0" encoding="UTF-8" standalone="yes"?>
<Relationships xmlns="http://schemas.openxmlformats.org/package/2006/relationships"><Relationship Id="rId13" Type="http://schemas.openxmlformats.org/officeDocument/2006/relationships/tags" Target="../tags/tag229.xml"/><Relationship Id="rId18" Type="http://schemas.openxmlformats.org/officeDocument/2006/relationships/tags" Target="../tags/tag234.xml"/><Relationship Id="rId26" Type="http://schemas.openxmlformats.org/officeDocument/2006/relationships/tags" Target="../tags/tag242.xml"/><Relationship Id="rId39" Type="http://schemas.openxmlformats.org/officeDocument/2006/relationships/tags" Target="../tags/tag255.xml"/><Relationship Id="rId21" Type="http://schemas.openxmlformats.org/officeDocument/2006/relationships/tags" Target="../tags/tag237.xml"/><Relationship Id="rId34" Type="http://schemas.openxmlformats.org/officeDocument/2006/relationships/tags" Target="../tags/tag250.xml"/><Relationship Id="rId42" Type="http://schemas.openxmlformats.org/officeDocument/2006/relationships/tags" Target="../tags/tag258.xml"/><Relationship Id="rId47" Type="http://schemas.openxmlformats.org/officeDocument/2006/relationships/tags" Target="../tags/tag263.xml"/><Relationship Id="rId50" Type="http://schemas.openxmlformats.org/officeDocument/2006/relationships/oleObject" Target="../embeddings/oleObject2.bin"/><Relationship Id="rId55" Type="http://schemas.openxmlformats.org/officeDocument/2006/relationships/image" Target="../media/image62.jpeg"/><Relationship Id="rId7" Type="http://schemas.openxmlformats.org/officeDocument/2006/relationships/tags" Target="../tags/tag223.xml"/><Relationship Id="rId2" Type="http://schemas.openxmlformats.org/officeDocument/2006/relationships/tags" Target="../tags/tag218.xml"/><Relationship Id="rId16" Type="http://schemas.openxmlformats.org/officeDocument/2006/relationships/tags" Target="../tags/tag232.xml"/><Relationship Id="rId20" Type="http://schemas.openxmlformats.org/officeDocument/2006/relationships/tags" Target="../tags/tag236.xml"/><Relationship Id="rId29" Type="http://schemas.openxmlformats.org/officeDocument/2006/relationships/tags" Target="../tags/tag245.xml"/><Relationship Id="rId41" Type="http://schemas.openxmlformats.org/officeDocument/2006/relationships/tags" Target="../tags/tag257.xml"/><Relationship Id="rId54" Type="http://schemas.openxmlformats.org/officeDocument/2006/relationships/image" Target="../media/image61.jpeg"/><Relationship Id="rId1" Type="http://schemas.openxmlformats.org/officeDocument/2006/relationships/vmlDrawing" Target="../drawings/vmlDrawing2.vml"/><Relationship Id="rId6" Type="http://schemas.openxmlformats.org/officeDocument/2006/relationships/tags" Target="../tags/tag222.xml"/><Relationship Id="rId11" Type="http://schemas.openxmlformats.org/officeDocument/2006/relationships/tags" Target="../tags/tag227.xml"/><Relationship Id="rId24" Type="http://schemas.openxmlformats.org/officeDocument/2006/relationships/tags" Target="../tags/tag240.xml"/><Relationship Id="rId32" Type="http://schemas.openxmlformats.org/officeDocument/2006/relationships/tags" Target="../tags/tag248.xml"/><Relationship Id="rId37" Type="http://schemas.openxmlformats.org/officeDocument/2006/relationships/tags" Target="../tags/tag253.xml"/><Relationship Id="rId40" Type="http://schemas.openxmlformats.org/officeDocument/2006/relationships/tags" Target="../tags/tag256.xml"/><Relationship Id="rId45" Type="http://schemas.openxmlformats.org/officeDocument/2006/relationships/tags" Target="../tags/tag261.xml"/><Relationship Id="rId53" Type="http://schemas.openxmlformats.org/officeDocument/2006/relationships/image" Target="../media/image60.jpeg"/><Relationship Id="rId58" Type="http://schemas.openxmlformats.org/officeDocument/2006/relationships/image" Target="../media/image65.jpeg"/><Relationship Id="rId5" Type="http://schemas.openxmlformats.org/officeDocument/2006/relationships/tags" Target="../tags/tag221.xml"/><Relationship Id="rId15" Type="http://schemas.openxmlformats.org/officeDocument/2006/relationships/tags" Target="../tags/tag231.xml"/><Relationship Id="rId23" Type="http://schemas.openxmlformats.org/officeDocument/2006/relationships/tags" Target="../tags/tag239.xml"/><Relationship Id="rId28" Type="http://schemas.openxmlformats.org/officeDocument/2006/relationships/tags" Target="../tags/tag244.xml"/><Relationship Id="rId36" Type="http://schemas.openxmlformats.org/officeDocument/2006/relationships/tags" Target="../tags/tag252.xml"/><Relationship Id="rId49" Type="http://schemas.openxmlformats.org/officeDocument/2006/relationships/notesSlide" Target="../notesSlides/notesSlide2.xml"/><Relationship Id="rId57" Type="http://schemas.openxmlformats.org/officeDocument/2006/relationships/image" Target="../media/image64.jpeg"/><Relationship Id="rId61" Type="http://schemas.openxmlformats.org/officeDocument/2006/relationships/image" Target="../media/image68.jpeg"/><Relationship Id="rId10" Type="http://schemas.openxmlformats.org/officeDocument/2006/relationships/tags" Target="../tags/tag226.xml"/><Relationship Id="rId19" Type="http://schemas.openxmlformats.org/officeDocument/2006/relationships/tags" Target="../tags/tag235.xml"/><Relationship Id="rId31" Type="http://schemas.openxmlformats.org/officeDocument/2006/relationships/tags" Target="../tags/tag247.xml"/><Relationship Id="rId44" Type="http://schemas.openxmlformats.org/officeDocument/2006/relationships/tags" Target="../tags/tag260.xml"/><Relationship Id="rId52" Type="http://schemas.openxmlformats.org/officeDocument/2006/relationships/image" Target="../media/image59.png"/><Relationship Id="rId60" Type="http://schemas.openxmlformats.org/officeDocument/2006/relationships/image" Target="../media/image67.png"/><Relationship Id="rId4" Type="http://schemas.openxmlformats.org/officeDocument/2006/relationships/tags" Target="../tags/tag220.xml"/><Relationship Id="rId9" Type="http://schemas.openxmlformats.org/officeDocument/2006/relationships/tags" Target="../tags/tag225.xml"/><Relationship Id="rId14" Type="http://schemas.openxmlformats.org/officeDocument/2006/relationships/tags" Target="../tags/tag230.xml"/><Relationship Id="rId22" Type="http://schemas.openxmlformats.org/officeDocument/2006/relationships/tags" Target="../tags/tag238.xml"/><Relationship Id="rId27" Type="http://schemas.openxmlformats.org/officeDocument/2006/relationships/tags" Target="../tags/tag243.xml"/><Relationship Id="rId30" Type="http://schemas.openxmlformats.org/officeDocument/2006/relationships/tags" Target="../tags/tag246.xml"/><Relationship Id="rId35" Type="http://schemas.openxmlformats.org/officeDocument/2006/relationships/tags" Target="../tags/tag251.xml"/><Relationship Id="rId43" Type="http://schemas.openxmlformats.org/officeDocument/2006/relationships/tags" Target="../tags/tag259.xml"/><Relationship Id="rId48" Type="http://schemas.openxmlformats.org/officeDocument/2006/relationships/slideLayout" Target="../slideLayouts/slideLayout262.xml"/><Relationship Id="rId56" Type="http://schemas.openxmlformats.org/officeDocument/2006/relationships/image" Target="../media/image63.jpeg"/><Relationship Id="rId8" Type="http://schemas.openxmlformats.org/officeDocument/2006/relationships/tags" Target="../tags/tag224.xml"/><Relationship Id="rId51" Type="http://schemas.openxmlformats.org/officeDocument/2006/relationships/image" Target="../media/image58.emf"/><Relationship Id="rId3" Type="http://schemas.openxmlformats.org/officeDocument/2006/relationships/tags" Target="../tags/tag219.xml"/><Relationship Id="rId12" Type="http://schemas.openxmlformats.org/officeDocument/2006/relationships/tags" Target="../tags/tag228.xml"/><Relationship Id="rId17" Type="http://schemas.openxmlformats.org/officeDocument/2006/relationships/tags" Target="../tags/tag233.xml"/><Relationship Id="rId25" Type="http://schemas.openxmlformats.org/officeDocument/2006/relationships/tags" Target="../tags/tag241.xml"/><Relationship Id="rId33" Type="http://schemas.openxmlformats.org/officeDocument/2006/relationships/tags" Target="../tags/tag249.xml"/><Relationship Id="rId38" Type="http://schemas.openxmlformats.org/officeDocument/2006/relationships/tags" Target="../tags/tag254.xml"/><Relationship Id="rId46" Type="http://schemas.openxmlformats.org/officeDocument/2006/relationships/tags" Target="../tags/tag262.xml"/><Relationship Id="rId59" Type="http://schemas.openxmlformats.org/officeDocument/2006/relationships/image" Target="../media/image66.jpeg"/></Relationships>
</file>

<file path=ppt/slides/_rels/slide5.xml.rels><?xml version="1.0" encoding="UTF-8" standalone="yes"?>
<Relationships xmlns="http://schemas.openxmlformats.org/package/2006/relationships"><Relationship Id="rId8" Type="http://schemas.openxmlformats.org/officeDocument/2006/relationships/tags" Target="../tags/tag271.xml"/><Relationship Id="rId13" Type="http://schemas.openxmlformats.org/officeDocument/2006/relationships/tags" Target="../tags/tag276.xml"/><Relationship Id="rId18" Type="http://schemas.openxmlformats.org/officeDocument/2006/relationships/tags" Target="../tags/tag281.xml"/><Relationship Id="rId3" Type="http://schemas.openxmlformats.org/officeDocument/2006/relationships/tags" Target="../tags/tag266.xml"/><Relationship Id="rId21" Type="http://schemas.openxmlformats.org/officeDocument/2006/relationships/tags" Target="../tags/tag284.xml"/><Relationship Id="rId7" Type="http://schemas.openxmlformats.org/officeDocument/2006/relationships/tags" Target="../tags/tag270.xml"/><Relationship Id="rId12" Type="http://schemas.openxmlformats.org/officeDocument/2006/relationships/tags" Target="../tags/tag275.xml"/><Relationship Id="rId17" Type="http://schemas.openxmlformats.org/officeDocument/2006/relationships/tags" Target="../tags/tag280.xml"/><Relationship Id="rId25" Type="http://schemas.openxmlformats.org/officeDocument/2006/relationships/notesSlide" Target="../notesSlides/notesSlide3.xml"/><Relationship Id="rId2" Type="http://schemas.openxmlformats.org/officeDocument/2006/relationships/tags" Target="../tags/tag265.xml"/><Relationship Id="rId16" Type="http://schemas.openxmlformats.org/officeDocument/2006/relationships/tags" Target="../tags/tag279.xml"/><Relationship Id="rId20" Type="http://schemas.openxmlformats.org/officeDocument/2006/relationships/tags" Target="../tags/tag283.xml"/><Relationship Id="rId1" Type="http://schemas.openxmlformats.org/officeDocument/2006/relationships/tags" Target="../tags/tag264.xml"/><Relationship Id="rId6" Type="http://schemas.openxmlformats.org/officeDocument/2006/relationships/tags" Target="../tags/tag269.xml"/><Relationship Id="rId11" Type="http://schemas.openxmlformats.org/officeDocument/2006/relationships/tags" Target="../tags/tag274.xml"/><Relationship Id="rId24" Type="http://schemas.openxmlformats.org/officeDocument/2006/relationships/slideLayout" Target="../slideLayouts/slideLayout262.xml"/><Relationship Id="rId5" Type="http://schemas.openxmlformats.org/officeDocument/2006/relationships/tags" Target="../tags/tag268.xml"/><Relationship Id="rId15" Type="http://schemas.openxmlformats.org/officeDocument/2006/relationships/tags" Target="../tags/tag278.xml"/><Relationship Id="rId23" Type="http://schemas.openxmlformats.org/officeDocument/2006/relationships/tags" Target="../tags/tag286.xml"/><Relationship Id="rId10" Type="http://schemas.openxmlformats.org/officeDocument/2006/relationships/tags" Target="../tags/tag273.xml"/><Relationship Id="rId19" Type="http://schemas.openxmlformats.org/officeDocument/2006/relationships/tags" Target="../tags/tag282.xml"/><Relationship Id="rId4" Type="http://schemas.openxmlformats.org/officeDocument/2006/relationships/tags" Target="../tags/tag267.xml"/><Relationship Id="rId9" Type="http://schemas.openxmlformats.org/officeDocument/2006/relationships/tags" Target="../tags/tag272.xml"/><Relationship Id="rId14" Type="http://schemas.openxmlformats.org/officeDocument/2006/relationships/tags" Target="../tags/tag277.xml"/><Relationship Id="rId22" Type="http://schemas.openxmlformats.org/officeDocument/2006/relationships/tags" Target="../tags/tag285.xml"/></Relationships>
</file>

<file path=ppt/slides/_rels/slide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89.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72.xml"/><Relationship Id="rId2" Type="http://schemas.openxmlformats.org/officeDocument/2006/relationships/tags" Target="../tags/tag288.xml"/><Relationship Id="rId1" Type="http://schemas.openxmlformats.org/officeDocument/2006/relationships/tags" Target="../tags/tag287.xml"/><Relationship Id="rId5" Type="http://schemas.openxmlformats.org/officeDocument/2006/relationships/image" Target="../media/image71.png"/><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8" Type="http://schemas.openxmlformats.org/officeDocument/2006/relationships/tags" Target="../tags/tag296.xml"/><Relationship Id="rId13" Type="http://schemas.openxmlformats.org/officeDocument/2006/relationships/tags" Target="../tags/tag301.xml"/><Relationship Id="rId18" Type="http://schemas.openxmlformats.org/officeDocument/2006/relationships/tags" Target="../tags/tag306.xml"/><Relationship Id="rId26" Type="http://schemas.openxmlformats.org/officeDocument/2006/relationships/tags" Target="../tags/tag314.xml"/><Relationship Id="rId39" Type="http://schemas.openxmlformats.org/officeDocument/2006/relationships/tags" Target="../tags/tag327.xml"/><Relationship Id="rId3" Type="http://schemas.openxmlformats.org/officeDocument/2006/relationships/tags" Target="../tags/tag291.xml"/><Relationship Id="rId21" Type="http://schemas.openxmlformats.org/officeDocument/2006/relationships/tags" Target="../tags/tag309.xml"/><Relationship Id="rId34" Type="http://schemas.openxmlformats.org/officeDocument/2006/relationships/tags" Target="../tags/tag322.xml"/><Relationship Id="rId42" Type="http://schemas.openxmlformats.org/officeDocument/2006/relationships/tags" Target="../tags/tag330.xml"/><Relationship Id="rId47" Type="http://schemas.openxmlformats.org/officeDocument/2006/relationships/notesSlide" Target="../notesSlides/notesSlide5.xml"/><Relationship Id="rId7" Type="http://schemas.openxmlformats.org/officeDocument/2006/relationships/tags" Target="../tags/tag295.xml"/><Relationship Id="rId12" Type="http://schemas.openxmlformats.org/officeDocument/2006/relationships/tags" Target="../tags/tag300.xml"/><Relationship Id="rId17" Type="http://schemas.openxmlformats.org/officeDocument/2006/relationships/tags" Target="../tags/tag305.xml"/><Relationship Id="rId25" Type="http://schemas.openxmlformats.org/officeDocument/2006/relationships/tags" Target="../tags/tag313.xml"/><Relationship Id="rId33" Type="http://schemas.openxmlformats.org/officeDocument/2006/relationships/tags" Target="../tags/tag321.xml"/><Relationship Id="rId38" Type="http://schemas.openxmlformats.org/officeDocument/2006/relationships/tags" Target="../tags/tag326.xml"/><Relationship Id="rId46" Type="http://schemas.openxmlformats.org/officeDocument/2006/relationships/slideLayout" Target="../slideLayouts/slideLayout146.xml"/><Relationship Id="rId2" Type="http://schemas.openxmlformats.org/officeDocument/2006/relationships/tags" Target="../tags/tag290.xml"/><Relationship Id="rId16" Type="http://schemas.openxmlformats.org/officeDocument/2006/relationships/tags" Target="../tags/tag304.xml"/><Relationship Id="rId20" Type="http://schemas.openxmlformats.org/officeDocument/2006/relationships/tags" Target="../tags/tag308.xml"/><Relationship Id="rId29" Type="http://schemas.openxmlformats.org/officeDocument/2006/relationships/tags" Target="../tags/tag317.xml"/><Relationship Id="rId41" Type="http://schemas.openxmlformats.org/officeDocument/2006/relationships/tags" Target="../tags/tag329.xml"/><Relationship Id="rId1" Type="http://schemas.openxmlformats.org/officeDocument/2006/relationships/tags" Target="../tags/tag289.xml"/><Relationship Id="rId6" Type="http://schemas.openxmlformats.org/officeDocument/2006/relationships/tags" Target="../tags/tag294.xml"/><Relationship Id="rId11" Type="http://schemas.openxmlformats.org/officeDocument/2006/relationships/tags" Target="../tags/tag299.xml"/><Relationship Id="rId24" Type="http://schemas.openxmlformats.org/officeDocument/2006/relationships/tags" Target="../tags/tag312.xml"/><Relationship Id="rId32" Type="http://schemas.openxmlformats.org/officeDocument/2006/relationships/tags" Target="../tags/tag320.xml"/><Relationship Id="rId37" Type="http://schemas.openxmlformats.org/officeDocument/2006/relationships/tags" Target="../tags/tag325.xml"/><Relationship Id="rId40" Type="http://schemas.openxmlformats.org/officeDocument/2006/relationships/tags" Target="../tags/tag328.xml"/><Relationship Id="rId45" Type="http://schemas.openxmlformats.org/officeDocument/2006/relationships/tags" Target="../tags/tag333.xml"/><Relationship Id="rId5" Type="http://schemas.openxmlformats.org/officeDocument/2006/relationships/tags" Target="../tags/tag293.xml"/><Relationship Id="rId15" Type="http://schemas.openxmlformats.org/officeDocument/2006/relationships/tags" Target="../tags/tag303.xml"/><Relationship Id="rId23" Type="http://schemas.openxmlformats.org/officeDocument/2006/relationships/tags" Target="../tags/tag311.xml"/><Relationship Id="rId28" Type="http://schemas.openxmlformats.org/officeDocument/2006/relationships/tags" Target="../tags/tag316.xml"/><Relationship Id="rId36" Type="http://schemas.openxmlformats.org/officeDocument/2006/relationships/tags" Target="../tags/tag324.xml"/><Relationship Id="rId10" Type="http://schemas.openxmlformats.org/officeDocument/2006/relationships/tags" Target="../tags/tag298.xml"/><Relationship Id="rId19" Type="http://schemas.openxmlformats.org/officeDocument/2006/relationships/tags" Target="../tags/tag307.xml"/><Relationship Id="rId31" Type="http://schemas.openxmlformats.org/officeDocument/2006/relationships/tags" Target="../tags/tag319.xml"/><Relationship Id="rId44" Type="http://schemas.openxmlformats.org/officeDocument/2006/relationships/tags" Target="../tags/tag332.xml"/><Relationship Id="rId4" Type="http://schemas.openxmlformats.org/officeDocument/2006/relationships/tags" Target="../tags/tag292.xml"/><Relationship Id="rId9" Type="http://schemas.openxmlformats.org/officeDocument/2006/relationships/tags" Target="../tags/tag297.xml"/><Relationship Id="rId14" Type="http://schemas.openxmlformats.org/officeDocument/2006/relationships/tags" Target="../tags/tag302.xml"/><Relationship Id="rId22" Type="http://schemas.openxmlformats.org/officeDocument/2006/relationships/tags" Target="../tags/tag310.xml"/><Relationship Id="rId27" Type="http://schemas.openxmlformats.org/officeDocument/2006/relationships/tags" Target="../tags/tag315.xml"/><Relationship Id="rId30" Type="http://schemas.openxmlformats.org/officeDocument/2006/relationships/tags" Target="../tags/tag318.xml"/><Relationship Id="rId35" Type="http://schemas.openxmlformats.org/officeDocument/2006/relationships/tags" Target="../tags/tag323.xml"/><Relationship Id="rId43" Type="http://schemas.openxmlformats.org/officeDocument/2006/relationships/tags" Target="../tags/tag331.xml"/></Relationships>
</file>

<file path=ppt/slides/_rels/slide9.xml.rels><?xml version="1.0" encoding="UTF-8" standalone="yes"?>
<Relationships xmlns="http://schemas.openxmlformats.org/package/2006/relationships"><Relationship Id="rId8" Type="http://schemas.openxmlformats.org/officeDocument/2006/relationships/tags" Target="../tags/tag340.xml"/><Relationship Id="rId13" Type="http://schemas.openxmlformats.org/officeDocument/2006/relationships/tags" Target="../tags/tag345.xml"/><Relationship Id="rId18" Type="http://schemas.openxmlformats.org/officeDocument/2006/relationships/notesSlide" Target="../notesSlides/notesSlide6.xml"/><Relationship Id="rId3" Type="http://schemas.openxmlformats.org/officeDocument/2006/relationships/tags" Target="../tags/tag335.xml"/><Relationship Id="rId21" Type="http://schemas.openxmlformats.org/officeDocument/2006/relationships/image" Target="../media/image73.jpeg"/><Relationship Id="rId7" Type="http://schemas.openxmlformats.org/officeDocument/2006/relationships/tags" Target="../tags/tag339.xml"/><Relationship Id="rId12" Type="http://schemas.openxmlformats.org/officeDocument/2006/relationships/tags" Target="../tags/tag344.xml"/><Relationship Id="rId17" Type="http://schemas.openxmlformats.org/officeDocument/2006/relationships/slideLayout" Target="../slideLayouts/slideLayout143.xml"/><Relationship Id="rId2" Type="http://schemas.openxmlformats.org/officeDocument/2006/relationships/tags" Target="../tags/tag334.xml"/><Relationship Id="rId16" Type="http://schemas.openxmlformats.org/officeDocument/2006/relationships/tags" Target="../tags/tag348.xml"/><Relationship Id="rId20" Type="http://schemas.openxmlformats.org/officeDocument/2006/relationships/image" Target="../media/image72.emf"/><Relationship Id="rId1" Type="http://schemas.openxmlformats.org/officeDocument/2006/relationships/vmlDrawing" Target="../drawings/vmlDrawing3.vml"/><Relationship Id="rId6" Type="http://schemas.openxmlformats.org/officeDocument/2006/relationships/tags" Target="../tags/tag338.xml"/><Relationship Id="rId11" Type="http://schemas.openxmlformats.org/officeDocument/2006/relationships/tags" Target="../tags/tag343.xml"/><Relationship Id="rId5" Type="http://schemas.openxmlformats.org/officeDocument/2006/relationships/tags" Target="../tags/tag337.xml"/><Relationship Id="rId15" Type="http://schemas.openxmlformats.org/officeDocument/2006/relationships/tags" Target="../tags/tag347.xml"/><Relationship Id="rId10" Type="http://schemas.openxmlformats.org/officeDocument/2006/relationships/tags" Target="../tags/tag342.xml"/><Relationship Id="rId19" Type="http://schemas.openxmlformats.org/officeDocument/2006/relationships/oleObject" Target="../embeddings/oleObject3.bin"/><Relationship Id="rId4" Type="http://schemas.openxmlformats.org/officeDocument/2006/relationships/tags" Target="../tags/tag336.xml"/><Relationship Id="rId9" Type="http://schemas.openxmlformats.org/officeDocument/2006/relationships/tags" Target="../tags/tag341.xml"/><Relationship Id="rId14" Type="http://schemas.openxmlformats.org/officeDocument/2006/relationships/tags" Target="../tags/tag3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17634" y="3356107"/>
            <a:ext cx="2897266" cy="484746"/>
          </a:xfrm>
          <a:prstGeom prst="rect">
            <a:avLst/>
          </a:prstGeom>
          <a:noFill/>
        </p:spPr>
        <p:txBody>
          <a:bodyPr wrap="none" lIns="68579" tIns="34289" rIns="68579" bIns="34289" rtlCol="0">
            <a:spAutoFit/>
          </a:bodyPr>
          <a:lstStyle/>
          <a:p>
            <a:pPr defTabSz="685783"/>
            <a:r>
              <a:rPr lang="ru-RU" sz="900" dirty="0" smtClean="0">
                <a:solidFill>
                  <a:srgbClr val="000000"/>
                </a:solidFill>
              </a:rPr>
              <a:t>Александр Яковлев</a:t>
            </a:r>
            <a:endParaRPr lang="en-US" sz="900" dirty="0" smtClean="0">
              <a:solidFill>
                <a:srgbClr val="000000"/>
              </a:solidFill>
            </a:endParaRPr>
          </a:p>
          <a:p>
            <a:pPr defTabSz="685783"/>
            <a:r>
              <a:rPr lang="ru-RU" sz="900" dirty="0">
                <a:solidFill>
                  <a:srgbClr val="000000"/>
                </a:solidFill>
              </a:rPr>
              <a:t>Менеджер по развитию бизнеса</a:t>
            </a:r>
            <a:r>
              <a:rPr lang="en-US" sz="900" dirty="0">
                <a:solidFill>
                  <a:srgbClr val="000000"/>
                </a:solidFill>
                <a:latin typeface="Fujitsu Sans" panose="020B0404060202020204" pitchFamily="34" charset="0"/>
              </a:rPr>
              <a:t>, </a:t>
            </a:r>
            <a:r>
              <a:rPr lang="ru-RU" sz="900" dirty="0">
                <a:solidFill>
                  <a:srgbClr val="000000"/>
                </a:solidFill>
              </a:rPr>
              <a:t>направление СХД</a:t>
            </a:r>
            <a:endParaRPr lang="en-US" sz="900" dirty="0">
              <a:solidFill>
                <a:srgbClr val="000000"/>
              </a:solidFill>
              <a:latin typeface="Fujitsu Sans" panose="020B0404060202020204" pitchFamily="34" charset="0"/>
            </a:endParaRPr>
          </a:p>
          <a:p>
            <a:pPr defTabSz="685783"/>
            <a:endParaRPr lang="ru-RU" sz="900" dirty="0" smtClean="0">
              <a:solidFill>
                <a:srgbClr val="000000"/>
              </a:solidFill>
            </a:endParaRPr>
          </a:p>
        </p:txBody>
      </p:sp>
      <p:sp>
        <p:nvSpPr>
          <p:cNvPr id="4" name="TextBox 3"/>
          <p:cNvSpPr txBox="1"/>
          <p:nvPr/>
        </p:nvSpPr>
        <p:spPr>
          <a:xfrm>
            <a:off x="107380" y="555470"/>
            <a:ext cx="5991248" cy="1915907"/>
          </a:xfrm>
          <a:prstGeom prst="rect">
            <a:avLst/>
          </a:prstGeom>
          <a:noFill/>
        </p:spPr>
        <p:txBody>
          <a:bodyPr wrap="square" lIns="68579" tIns="34289" rIns="68579" bIns="34289" rtlCol="0">
            <a:spAutoFit/>
          </a:bodyPr>
          <a:lstStyle/>
          <a:p>
            <a:r>
              <a:rPr lang="en-US" sz="2400" b="1" dirty="0" err="1">
                <a:solidFill>
                  <a:schemeClr val="bg1"/>
                </a:solidFill>
              </a:rPr>
              <a:t>Современные</a:t>
            </a:r>
            <a:r>
              <a:rPr lang="en-US" sz="2400" b="1" dirty="0">
                <a:solidFill>
                  <a:schemeClr val="bg1"/>
                </a:solidFill>
              </a:rPr>
              <a:t> </a:t>
            </a:r>
            <a:r>
              <a:rPr lang="en-US" sz="2400" b="1" dirty="0" err="1">
                <a:solidFill>
                  <a:schemeClr val="bg1"/>
                </a:solidFill>
              </a:rPr>
              <a:t>технологии</a:t>
            </a:r>
            <a:r>
              <a:rPr lang="en-US" sz="2400" b="1" dirty="0">
                <a:solidFill>
                  <a:schemeClr val="bg1"/>
                </a:solidFill>
              </a:rPr>
              <a:t> </a:t>
            </a:r>
            <a:r>
              <a:rPr lang="en-US" sz="2400" b="1" dirty="0" err="1">
                <a:solidFill>
                  <a:schemeClr val="bg1"/>
                </a:solidFill>
              </a:rPr>
              <a:t>хранения</a:t>
            </a:r>
            <a:r>
              <a:rPr lang="en-US" sz="2400" b="1" dirty="0">
                <a:solidFill>
                  <a:schemeClr val="bg1"/>
                </a:solidFill>
              </a:rPr>
              <a:t> </a:t>
            </a:r>
            <a:r>
              <a:rPr lang="en-US" sz="2400" b="1" dirty="0" err="1">
                <a:solidFill>
                  <a:schemeClr val="bg1"/>
                </a:solidFill>
              </a:rPr>
              <a:t>оперативных</a:t>
            </a:r>
            <a:r>
              <a:rPr lang="en-US" sz="2400" b="1" dirty="0">
                <a:solidFill>
                  <a:schemeClr val="bg1"/>
                </a:solidFill>
              </a:rPr>
              <a:t> и </a:t>
            </a:r>
            <a:r>
              <a:rPr lang="en-US" sz="2400" b="1" dirty="0" err="1">
                <a:solidFill>
                  <a:schemeClr val="bg1"/>
                </a:solidFill>
              </a:rPr>
              <a:t>архивных</a:t>
            </a:r>
            <a:r>
              <a:rPr lang="en-US" sz="2400" b="1" dirty="0">
                <a:solidFill>
                  <a:schemeClr val="bg1"/>
                </a:solidFill>
              </a:rPr>
              <a:t> </a:t>
            </a:r>
            <a:r>
              <a:rPr lang="en-US" sz="2400" b="1" dirty="0" err="1">
                <a:solidFill>
                  <a:schemeClr val="bg1"/>
                </a:solidFill>
              </a:rPr>
              <a:t>данных</a:t>
            </a:r>
            <a:r>
              <a:rPr lang="en-US" sz="2400" b="1" dirty="0">
                <a:solidFill>
                  <a:schemeClr val="bg1"/>
                </a:solidFill>
              </a:rPr>
              <a:t>. </a:t>
            </a:r>
            <a:r>
              <a:rPr lang="en-US" sz="2400" b="1" dirty="0" err="1">
                <a:solidFill>
                  <a:schemeClr val="bg1"/>
                </a:solidFill>
              </a:rPr>
              <a:t>Производительность</a:t>
            </a:r>
            <a:r>
              <a:rPr lang="en-US" sz="2400" b="1" dirty="0">
                <a:solidFill>
                  <a:schemeClr val="bg1"/>
                </a:solidFill>
              </a:rPr>
              <a:t>, </a:t>
            </a:r>
            <a:r>
              <a:rPr lang="en-US" sz="2400" b="1" dirty="0" err="1">
                <a:solidFill>
                  <a:schemeClr val="bg1"/>
                </a:solidFill>
              </a:rPr>
              <a:t>экономичность</a:t>
            </a:r>
            <a:r>
              <a:rPr lang="en-US" sz="2400" b="1" dirty="0">
                <a:solidFill>
                  <a:schemeClr val="bg1"/>
                </a:solidFill>
              </a:rPr>
              <a:t> и </a:t>
            </a:r>
            <a:r>
              <a:rPr lang="en-US" sz="2400" b="1" dirty="0" err="1">
                <a:solidFill>
                  <a:schemeClr val="bg1"/>
                </a:solidFill>
              </a:rPr>
              <a:t>соответствие</a:t>
            </a:r>
            <a:r>
              <a:rPr lang="en-US" sz="2400" b="1" dirty="0">
                <a:solidFill>
                  <a:schemeClr val="bg1"/>
                </a:solidFill>
              </a:rPr>
              <a:t> </a:t>
            </a:r>
            <a:r>
              <a:rPr lang="en-US" sz="2400" b="1" dirty="0" err="1">
                <a:solidFill>
                  <a:schemeClr val="bg1"/>
                </a:solidFill>
              </a:rPr>
              <a:t>требованиям</a:t>
            </a:r>
            <a:r>
              <a:rPr lang="en-US" sz="2400" b="1" dirty="0">
                <a:solidFill>
                  <a:schemeClr val="bg1"/>
                </a:solidFill>
              </a:rPr>
              <a:t> </a:t>
            </a:r>
            <a:r>
              <a:rPr lang="en-US" sz="2400" b="1" dirty="0" err="1" smtClean="0">
                <a:solidFill>
                  <a:schemeClr val="bg1"/>
                </a:solidFill>
              </a:rPr>
              <a:t>регулятор</a:t>
            </a:r>
            <a:r>
              <a:rPr lang="ru-RU" sz="2400" b="1" dirty="0" err="1" smtClean="0">
                <a:solidFill>
                  <a:schemeClr val="bg1"/>
                </a:solidFill>
              </a:rPr>
              <a:t>ов</a:t>
            </a:r>
            <a:r>
              <a:rPr lang="ru-RU" sz="2400" b="1" dirty="0" smtClean="0">
                <a:solidFill>
                  <a:schemeClr val="bg1"/>
                </a:solidFill>
              </a:rPr>
              <a:t>. </a:t>
            </a:r>
            <a:endParaRPr lang="ru-RU" sz="2400" b="1" dirty="0">
              <a:solidFill>
                <a:schemeClr val="bg1"/>
              </a:solidFill>
            </a:endParaRPr>
          </a:p>
        </p:txBody>
      </p:sp>
    </p:spTree>
    <p:extLst>
      <p:ext uri="{BB962C8B-B14F-4D97-AF65-F5344CB8AC3E}">
        <p14:creationId xmlns:p14="http://schemas.microsoft.com/office/powerpoint/2010/main" val="321961569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custDataLst>
              <p:tags r:id="rId1"/>
            </p:custDataLst>
          </p:nvPr>
        </p:nvSpPr>
        <p:spPr bwMode="gray"/>
        <p:txBody>
          <a:bodyPr/>
          <a:lstStyle/>
          <a:p>
            <a:r>
              <a:rPr lang="ru-RU" altLang="ja-JP" sz="2400" dirty="0" err="1"/>
              <a:t>Катастрофоустойчивые</a:t>
            </a:r>
            <a:r>
              <a:rPr lang="ru-RU" altLang="ja-JP" sz="2400" dirty="0"/>
              <a:t> сценарии</a:t>
            </a:r>
            <a:endParaRPr lang="en-US" altLang="ja-JP" sz="2400" dirty="0"/>
          </a:p>
        </p:txBody>
      </p:sp>
      <p:sp>
        <p:nvSpPr>
          <p:cNvPr id="66" name="Rechteck 65"/>
          <p:cNvSpPr/>
          <p:nvPr>
            <p:custDataLst>
              <p:tags r:id="rId2"/>
            </p:custDataLst>
          </p:nvPr>
        </p:nvSpPr>
        <p:spPr bwMode="gray">
          <a:xfrm>
            <a:off x="539608" y="1059582"/>
            <a:ext cx="86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dirty="0" smtClean="0">
                <a:solidFill>
                  <a:srgbClr val="000000"/>
                </a:solidFill>
              </a:rPr>
              <a:t>Site 1</a:t>
            </a:r>
          </a:p>
        </p:txBody>
      </p:sp>
      <p:sp>
        <p:nvSpPr>
          <p:cNvPr id="67" name="Rechteck 66"/>
          <p:cNvSpPr/>
          <p:nvPr>
            <p:custDataLst>
              <p:tags r:id="rId3"/>
            </p:custDataLst>
          </p:nvPr>
        </p:nvSpPr>
        <p:spPr bwMode="gray">
          <a:xfrm>
            <a:off x="3131828" y="1059582"/>
            <a:ext cx="86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dirty="0" smtClean="0">
                <a:solidFill>
                  <a:srgbClr val="000000"/>
                </a:solidFill>
              </a:rPr>
              <a:t>Site 2</a:t>
            </a:r>
          </a:p>
        </p:txBody>
      </p:sp>
      <p:pic>
        <p:nvPicPr>
          <p:cNvPr id="68" name="Picture 2" descr="C:\Richard Schneider\Storage\CS800 S4\cs800-s4.jpg"/>
          <p:cNvPicPr preferRelativeResize="0">
            <a:picLocks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gray">
          <a:xfrm>
            <a:off x="359532" y="1304184"/>
            <a:ext cx="1296000" cy="496800"/>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descr="C:\Richard Schneider\Storage\CS800 S4\cs800-s4.jpg"/>
          <p:cNvPicPr preferRelativeResize="0">
            <a:picLocks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gray">
          <a:xfrm>
            <a:off x="2951804" y="1304184"/>
            <a:ext cx="1296000" cy="496800"/>
          </a:xfrm>
          <a:prstGeom prst="rect">
            <a:avLst/>
          </a:prstGeom>
          <a:noFill/>
          <a:extLst>
            <a:ext uri="{909E8E84-426E-40DD-AFC4-6F175D3DCCD1}">
              <a14:hiddenFill xmlns:a14="http://schemas.microsoft.com/office/drawing/2010/main">
                <a:solidFill>
                  <a:srgbClr val="FFFFFF"/>
                </a:solidFill>
              </a14:hiddenFill>
            </a:ext>
          </a:extLst>
        </p:spPr>
      </p:pic>
      <p:sp>
        <p:nvSpPr>
          <p:cNvPr id="70" name="Rechteck 69"/>
          <p:cNvSpPr/>
          <p:nvPr>
            <p:custDataLst>
              <p:tags r:id="rId4"/>
            </p:custDataLst>
          </p:nvPr>
        </p:nvSpPr>
        <p:spPr bwMode="gray">
          <a:xfrm>
            <a:off x="1187624" y="1815698"/>
            <a:ext cx="21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tIns="46800" rtlCol="0" anchor="ctr" anchorCtr="0"/>
          <a:lstStyle/>
          <a:p>
            <a:pPr algn="ctr">
              <a:spcBef>
                <a:spcPts val="400"/>
              </a:spcBef>
              <a:spcAft>
                <a:spcPts val="200"/>
              </a:spcAft>
              <a:buClr>
                <a:srgbClr val="A30B1A"/>
              </a:buClr>
            </a:pPr>
            <a:r>
              <a:rPr lang="ru-RU" sz="1400" dirty="0" smtClean="0">
                <a:solidFill>
                  <a:srgbClr val="000000"/>
                </a:solidFill>
              </a:rPr>
              <a:t>Двунаправленная</a:t>
            </a:r>
            <a:endParaRPr lang="en-US" sz="1400" dirty="0">
              <a:solidFill>
                <a:srgbClr val="000000"/>
              </a:solidFill>
            </a:endParaRPr>
          </a:p>
        </p:txBody>
      </p:sp>
      <p:sp>
        <p:nvSpPr>
          <p:cNvPr id="72" name="Rechteck 71"/>
          <p:cNvSpPr>
            <a:spLocks/>
          </p:cNvSpPr>
          <p:nvPr>
            <p:custDataLst>
              <p:tags r:id="rId5"/>
            </p:custDataLst>
          </p:nvPr>
        </p:nvSpPr>
        <p:spPr bwMode="gray">
          <a:xfrm>
            <a:off x="611536" y="3111810"/>
            <a:ext cx="86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dirty="0" smtClean="0">
                <a:solidFill>
                  <a:srgbClr val="000000"/>
                </a:solidFill>
              </a:rPr>
              <a:t>Site 1</a:t>
            </a:r>
          </a:p>
        </p:txBody>
      </p:sp>
      <p:sp>
        <p:nvSpPr>
          <p:cNvPr id="73" name="Rechteck 72"/>
          <p:cNvSpPr>
            <a:spLocks/>
          </p:cNvSpPr>
          <p:nvPr>
            <p:custDataLst>
              <p:tags r:id="rId6"/>
            </p:custDataLst>
          </p:nvPr>
        </p:nvSpPr>
        <p:spPr bwMode="gray">
          <a:xfrm>
            <a:off x="3131828" y="2571782"/>
            <a:ext cx="86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dirty="0" smtClean="0">
                <a:solidFill>
                  <a:srgbClr val="000000"/>
                </a:solidFill>
              </a:rPr>
              <a:t>Site 2</a:t>
            </a:r>
          </a:p>
        </p:txBody>
      </p:sp>
      <p:grpSp>
        <p:nvGrpSpPr>
          <p:cNvPr id="12" name="Gruppieren 11"/>
          <p:cNvGrpSpPr/>
          <p:nvPr/>
        </p:nvGrpSpPr>
        <p:grpSpPr bwMode="gray">
          <a:xfrm>
            <a:off x="2951804" y="2823778"/>
            <a:ext cx="1296160" cy="1547958"/>
            <a:chOff x="2951804" y="2869827"/>
            <a:chExt cx="1296160" cy="1547958"/>
          </a:xfrm>
        </p:grpSpPr>
        <p:pic>
          <p:nvPicPr>
            <p:cNvPr id="71" name="Picture 2" descr="C:\Users\ABGKSCHN\Desktop\cs800-s4-size-xs.jpg"/>
            <p:cNvPicPr>
              <a:picLocks noChangeAspect="1" noChangeArrowheads="1"/>
            </p:cNvPicPr>
            <p:nvPr>
              <p:custDataLst>
                <p:tags r:id="rId16"/>
              </p:custDataLst>
            </p:nvPr>
          </p:nvPicPr>
          <p:blipFill>
            <a:blip r:embed="rId20" cstate="screen">
              <a:extLst>
                <a:ext uri="{28A0092B-C50C-407E-A947-70E740481C1C}">
                  <a14:useLocalDpi xmlns:a14="http://schemas.microsoft.com/office/drawing/2010/main"/>
                </a:ext>
              </a:extLst>
            </a:blip>
            <a:stretch>
              <a:fillRect/>
            </a:stretch>
          </p:blipFill>
          <p:spPr bwMode="gray">
            <a:xfrm>
              <a:off x="2951964" y="2869827"/>
              <a:ext cx="1296000" cy="49489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4" name="Picture 2" descr="C:\Users\ABGKSCHN\Desktop\cs800-s4-size-xs.jpg"/>
            <p:cNvPicPr>
              <a:picLocks noChangeAspect="1" noChangeArrowheads="1"/>
            </p:cNvPicPr>
            <p:nvPr>
              <p:custDataLst>
                <p:tags r:id="rId17"/>
              </p:custDataLst>
            </p:nvPr>
          </p:nvPicPr>
          <p:blipFill>
            <a:blip r:embed="rId20" cstate="screen">
              <a:extLst>
                <a:ext uri="{28A0092B-C50C-407E-A947-70E740481C1C}">
                  <a14:useLocalDpi xmlns:a14="http://schemas.microsoft.com/office/drawing/2010/main"/>
                </a:ext>
              </a:extLst>
            </a:blip>
            <a:stretch>
              <a:fillRect/>
            </a:stretch>
          </p:blipFill>
          <p:spPr bwMode="gray">
            <a:xfrm>
              <a:off x="2951804" y="3922887"/>
              <a:ext cx="1296000" cy="494898"/>
            </a:xfrm>
            <a:prstGeom prst="rect">
              <a:avLst/>
            </a:prstGeom>
            <a:noFill/>
            <a:ln>
              <a:noFill/>
            </a:ln>
            <a:extLst>
              <a:ext uri="{909E8E84-426E-40DD-AFC4-6F175D3DCCD1}">
                <a14:hiddenFill xmlns:a14="http://schemas.microsoft.com/office/drawing/2010/main">
                  <a:solidFill>
                    <a:srgbClr val="FFFFFF"/>
                  </a:solidFill>
                </a14:hiddenFill>
              </a:ext>
            </a:extLst>
          </p:spPr>
        </p:pic>
      </p:grpSp>
      <p:pic>
        <p:nvPicPr>
          <p:cNvPr id="75" name="Picture 2" descr="C:\Users\ABGKSCHN\Desktop\cs800-s4-size-xs.jpg"/>
          <p:cNvPicPr preferRelativeResize="0">
            <a:picLocks noChangeArrowheads="1"/>
          </p:cNvPicPr>
          <p:nvPr>
            <p:custDataLst>
              <p:tags r:id="rId7"/>
            </p:custDataLst>
          </p:nvPr>
        </p:nvPicPr>
        <p:blipFill>
          <a:blip r:embed="rId20" cstate="screen">
            <a:extLst>
              <a:ext uri="{28A0092B-C50C-407E-A947-70E740481C1C}">
                <a14:useLocalDpi xmlns:a14="http://schemas.microsoft.com/office/drawing/2010/main"/>
              </a:ext>
            </a:extLst>
          </a:blip>
          <a:stretch>
            <a:fillRect/>
          </a:stretch>
        </p:blipFill>
        <p:spPr bwMode="gray">
          <a:xfrm>
            <a:off x="359532" y="3350308"/>
            <a:ext cx="1296000" cy="49489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6" name="Rechteck 75"/>
          <p:cNvSpPr>
            <a:spLocks/>
          </p:cNvSpPr>
          <p:nvPr>
            <p:custDataLst>
              <p:tags r:id="rId8"/>
            </p:custDataLst>
          </p:nvPr>
        </p:nvSpPr>
        <p:spPr bwMode="gray">
          <a:xfrm>
            <a:off x="3131828" y="3615866"/>
            <a:ext cx="86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400" dirty="0" smtClean="0">
                <a:solidFill>
                  <a:srgbClr val="000000"/>
                </a:solidFill>
              </a:rPr>
              <a:t>Site 3</a:t>
            </a:r>
          </a:p>
        </p:txBody>
      </p:sp>
      <p:sp>
        <p:nvSpPr>
          <p:cNvPr id="80" name="Rechteck 79"/>
          <p:cNvSpPr/>
          <p:nvPr>
            <p:custDataLst>
              <p:tags r:id="rId9"/>
            </p:custDataLst>
          </p:nvPr>
        </p:nvSpPr>
        <p:spPr bwMode="gray">
          <a:xfrm>
            <a:off x="1187624" y="4371950"/>
            <a:ext cx="216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tIns="46800" rtlCol="0" anchor="ctr" anchorCtr="0"/>
          <a:lstStyle/>
          <a:p>
            <a:pPr algn="ctr">
              <a:spcBef>
                <a:spcPts val="400"/>
              </a:spcBef>
              <a:spcAft>
                <a:spcPts val="200"/>
              </a:spcAft>
              <a:buClr>
                <a:srgbClr val="A30B1A"/>
              </a:buClr>
            </a:pPr>
            <a:r>
              <a:rPr lang="ru-RU" sz="1400" dirty="0" smtClean="0">
                <a:solidFill>
                  <a:srgbClr val="000000"/>
                </a:solidFill>
              </a:rPr>
              <a:t>Репликация</a:t>
            </a:r>
            <a:r>
              <a:rPr lang="en-US" sz="1400" dirty="0" smtClean="0">
                <a:solidFill>
                  <a:srgbClr val="000000"/>
                </a:solidFill>
              </a:rPr>
              <a:t>1:2 </a:t>
            </a:r>
            <a:endParaRPr lang="en-US" sz="1400" dirty="0">
              <a:solidFill>
                <a:srgbClr val="000000"/>
              </a:solidFill>
            </a:endParaRPr>
          </a:p>
        </p:txBody>
      </p:sp>
      <p:cxnSp>
        <p:nvCxnSpPr>
          <p:cNvPr id="24" name="Gerade Verbindung mit Pfeil 23"/>
          <p:cNvCxnSpPr/>
          <p:nvPr>
            <p:custDataLst>
              <p:tags r:id="rId10"/>
            </p:custDataLst>
          </p:nvPr>
        </p:nvCxnSpPr>
        <p:spPr bwMode="gray">
          <a:xfrm>
            <a:off x="1691816" y="1497413"/>
            <a:ext cx="1224000" cy="0"/>
          </a:xfrm>
          <a:prstGeom prst="straightConnector1">
            <a:avLst/>
          </a:prstGeom>
          <a:ln w="952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 name="Auf der gleichen Seite des Rechtecks liegende Ecken abrunden 33"/>
          <p:cNvSpPr/>
          <p:nvPr>
            <p:custDataLst>
              <p:tags r:id="rId11"/>
            </p:custDataLst>
          </p:nvPr>
        </p:nvSpPr>
        <p:spPr bwMode="gray">
          <a:xfrm>
            <a:off x="4644600" y="1058863"/>
            <a:ext cx="4248000" cy="3744912"/>
          </a:xfrm>
          <a:prstGeom prst="round2SameRect">
            <a:avLst>
              <a:gd name="adj1" fmla="val 3391"/>
              <a:gd name="adj2" fmla="val 0"/>
            </a:avLst>
          </a:prstGeom>
          <a:gradFill flip="none" rotWithShape="1">
            <a:gsLst>
              <a:gs pos="0">
                <a:schemeClr val="bg2"/>
              </a:gs>
              <a:gs pos="50000">
                <a:schemeClr val="bg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tIns="46800" rIns="54000" rtlCol="0" anchor="t" anchorCtr="0"/>
          <a:lstStyle/>
          <a:p>
            <a:pPr>
              <a:buClr>
                <a:srgbClr val="A30B1A"/>
              </a:buClr>
            </a:pPr>
            <a:r>
              <a:rPr lang="ru-RU" sz="1600" dirty="0" smtClean="0">
                <a:solidFill>
                  <a:srgbClr val="FF0000"/>
                </a:solidFill>
              </a:rPr>
              <a:t>Преимущества</a:t>
            </a:r>
            <a:r>
              <a:rPr lang="en-US" sz="1600" dirty="0" smtClean="0">
                <a:solidFill>
                  <a:srgbClr val="FF0000"/>
                </a:solidFill>
              </a:rPr>
              <a:t> </a:t>
            </a:r>
            <a:r>
              <a:rPr lang="en-US" sz="1600" dirty="0">
                <a:solidFill>
                  <a:srgbClr val="FF0000"/>
                </a:solidFill>
              </a:rPr>
              <a:t>ETERNUS CS800</a:t>
            </a:r>
          </a:p>
        </p:txBody>
      </p:sp>
      <p:sp>
        <p:nvSpPr>
          <p:cNvPr id="35" name="Auf der gleichen Seite des Rechtecks liegende Ecken abrunden 34"/>
          <p:cNvSpPr/>
          <p:nvPr>
            <p:custDataLst>
              <p:tags r:id="rId12"/>
            </p:custDataLst>
          </p:nvPr>
        </p:nvSpPr>
        <p:spPr bwMode="gray">
          <a:xfrm>
            <a:off x="4716600" y="1419623"/>
            <a:ext cx="4104000" cy="3384153"/>
          </a:xfrm>
          <a:prstGeom prst="round2SameRect">
            <a:avLst>
              <a:gd name="adj1" fmla="val 3753"/>
              <a:gd name="adj2" fmla="val 0"/>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66700" indent="-266700">
              <a:spcBef>
                <a:spcPts val="300"/>
              </a:spcBef>
              <a:buClr>
                <a:srgbClr val="A30B1A"/>
              </a:buClr>
              <a:buFont typeface="Wingdings" panose="05000000000000000000" pitchFamily="2" charset="2"/>
              <a:buChar char="n"/>
            </a:pPr>
            <a:r>
              <a:rPr lang="ru-RU" sz="1600" dirty="0" smtClean="0">
                <a:solidFill>
                  <a:srgbClr val="000000"/>
                </a:solidFill>
              </a:rPr>
              <a:t>Интегрированная репликация</a:t>
            </a:r>
            <a:endParaRPr lang="en-US" sz="1600" dirty="0">
              <a:solidFill>
                <a:srgbClr val="000000"/>
              </a:solidFill>
            </a:endParaRPr>
          </a:p>
          <a:p>
            <a:pPr marL="541338" indent="-274638">
              <a:spcBef>
                <a:spcPts val="200"/>
              </a:spcBef>
              <a:buClr>
                <a:srgbClr val="87867E"/>
              </a:buClr>
              <a:buFont typeface="Wingdings" panose="05000000000000000000" pitchFamily="2" charset="2"/>
              <a:buChar char="n"/>
            </a:pPr>
            <a:r>
              <a:rPr lang="ru-RU" sz="1600" dirty="0" smtClean="0">
                <a:solidFill>
                  <a:srgbClr val="000000"/>
                </a:solidFill>
              </a:rPr>
              <a:t>Двунаправленная</a:t>
            </a:r>
            <a:endParaRPr lang="en-US" sz="1600" dirty="0">
              <a:solidFill>
                <a:srgbClr val="000000"/>
              </a:solidFill>
            </a:endParaRPr>
          </a:p>
          <a:p>
            <a:pPr marL="541338" indent="-274638">
              <a:spcBef>
                <a:spcPts val="200"/>
              </a:spcBef>
              <a:buClr>
                <a:srgbClr val="87867E"/>
              </a:buClr>
              <a:buFont typeface="Wingdings" panose="05000000000000000000" pitchFamily="2" charset="2"/>
              <a:buChar char="n"/>
            </a:pPr>
            <a:r>
              <a:rPr lang="ru-RU" sz="1600" dirty="0" smtClean="0">
                <a:solidFill>
                  <a:srgbClr val="000000"/>
                </a:solidFill>
              </a:rPr>
              <a:t>Репликация </a:t>
            </a:r>
            <a:r>
              <a:rPr lang="en-US" sz="1600" dirty="0" smtClean="0">
                <a:solidFill>
                  <a:srgbClr val="000000"/>
                </a:solidFill>
              </a:rPr>
              <a:t>1:2  </a:t>
            </a:r>
            <a:endParaRPr lang="en-US" sz="1600" dirty="0">
              <a:solidFill>
                <a:srgbClr val="000000"/>
              </a:solidFill>
            </a:endParaRPr>
          </a:p>
          <a:p>
            <a:pPr marL="266700" indent="-266700">
              <a:spcBef>
                <a:spcPts val="300"/>
              </a:spcBef>
              <a:buClr>
                <a:srgbClr val="A30B1A"/>
              </a:buClr>
              <a:buFont typeface="Wingdings" panose="05000000000000000000" pitchFamily="2" charset="2"/>
              <a:buChar char="n"/>
            </a:pPr>
            <a:r>
              <a:rPr lang="ru-RU" sz="1600" dirty="0" smtClean="0">
                <a:solidFill>
                  <a:srgbClr val="000000"/>
                </a:solidFill>
              </a:rPr>
              <a:t>Уменьшенные требования к полосе пропускания</a:t>
            </a:r>
            <a:r>
              <a:rPr lang="en-US" sz="1600" dirty="0" smtClean="0">
                <a:solidFill>
                  <a:srgbClr val="000000"/>
                </a:solidFill>
              </a:rPr>
              <a:t>;</a:t>
            </a:r>
            <a:endParaRPr lang="en-US" sz="1600" dirty="0">
              <a:solidFill>
                <a:srgbClr val="000000"/>
              </a:solidFill>
            </a:endParaRPr>
          </a:p>
          <a:p>
            <a:pPr marL="266700" indent="-266700">
              <a:spcBef>
                <a:spcPts val="300"/>
              </a:spcBef>
              <a:buClr>
                <a:srgbClr val="A30B1A"/>
              </a:buClr>
              <a:buFont typeface="Wingdings" panose="05000000000000000000" pitchFamily="2" charset="2"/>
              <a:buChar char="n"/>
            </a:pPr>
            <a:r>
              <a:rPr lang="ru-RU" sz="1600" dirty="0" smtClean="0">
                <a:solidFill>
                  <a:srgbClr val="000000"/>
                </a:solidFill>
              </a:rPr>
              <a:t>До </a:t>
            </a:r>
            <a:r>
              <a:rPr lang="en-US" sz="1600" dirty="0" smtClean="0">
                <a:solidFill>
                  <a:srgbClr val="000000"/>
                </a:solidFill>
              </a:rPr>
              <a:t>32 </a:t>
            </a:r>
            <a:r>
              <a:rPr lang="ru-RU" sz="1600" dirty="0" smtClean="0">
                <a:solidFill>
                  <a:srgbClr val="000000"/>
                </a:solidFill>
              </a:rPr>
              <a:t>моментальных снимков для создания реплик для возможности восстановления данных за любой день месяца</a:t>
            </a:r>
            <a:r>
              <a:rPr lang="en-US" sz="1600" dirty="0" smtClean="0">
                <a:solidFill>
                  <a:srgbClr val="000000"/>
                </a:solidFill>
              </a:rPr>
              <a:t>;</a:t>
            </a:r>
            <a:endParaRPr lang="en-US" sz="1600" dirty="0">
              <a:solidFill>
                <a:srgbClr val="000000"/>
              </a:solidFill>
            </a:endParaRPr>
          </a:p>
        </p:txBody>
      </p:sp>
      <p:sp>
        <p:nvSpPr>
          <p:cNvPr id="36" name="Auf der gleichen Seite des Rechtecks liegende Ecken abrunden 35"/>
          <p:cNvSpPr/>
          <p:nvPr>
            <p:custDataLst>
              <p:tags r:id="rId13"/>
            </p:custDataLst>
          </p:nvPr>
        </p:nvSpPr>
        <p:spPr bwMode="gray">
          <a:xfrm>
            <a:off x="4716600" y="1419623"/>
            <a:ext cx="4104000" cy="3384153"/>
          </a:xfrm>
          <a:prstGeom prst="round2SameRect">
            <a:avLst>
              <a:gd name="adj1" fmla="val 3753"/>
              <a:gd name="adj2" fmla="val 0"/>
            </a:avLst>
          </a:prstGeom>
          <a:noFill/>
          <a:ln w="9525">
            <a:gradFill>
              <a:gsLst>
                <a:gs pos="0">
                  <a:schemeClr val="accent1"/>
                </a:gs>
                <a:gs pos="50000">
                  <a:schemeClr val="accent1">
                    <a:lumMod val="20000"/>
                    <a:lumOff val="80000"/>
                  </a:schemeClr>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tIns="46800" rtlCol="0" anchor="t" anchorCtr="0"/>
          <a:lstStyle/>
          <a:p>
            <a:pPr marL="266700" indent="-266700">
              <a:spcBef>
                <a:spcPts val="300"/>
              </a:spcBef>
              <a:buClr>
                <a:srgbClr val="A30B1A"/>
              </a:buClr>
              <a:buFont typeface="Wingdings" pitchFamily="2" charset="2"/>
              <a:buChar char="n"/>
            </a:pPr>
            <a:endParaRPr lang="en-US" sz="1600" dirty="0" smtClean="0">
              <a:solidFill>
                <a:srgbClr val="000000"/>
              </a:solidFill>
            </a:endParaRPr>
          </a:p>
        </p:txBody>
      </p:sp>
      <p:sp>
        <p:nvSpPr>
          <p:cNvPr id="11" name="Freihandform 10"/>
          <p:cNvSpPr/>
          <p:nvPr>
            <p:custDataLst>
              <p:tags r:id="rId14"/>
            </p:custDataLst>
          </p:nvPr>
        </p:nvSpPr>
        <p:spPr bwMode="gray">
          <a:xfrm>
            <a:off x="1524000" y="3147814"/>
            <a:ext cx="1409700" cy="243086"/>
          </a:xfrm>
          <a:custGeom>
            <a:avLst/>
            <a:gdLst>
              <a:gd name="connsiteX0" fmla="*/ 0 w 1409700"/>
              <a:gd name="connsiteY0" fmla="*/ 259080 h 259080"/>
              <a:gd name="connsiteX1" fmla="*/ 0 w 1409700"/>
              <a:gd name="connsiteY1" fmla="*/ 0 h 259080"/>
              <a:gd name="connsiteX2" fmla="*/ 1409700 w 1409700"/>
              <a:gd name="connsiteY2" fmla="*/ 0 h 259080"/>
            </a:gdLst>
            <a:ahLst/>
            <a:cxnLst>
              <a:cxn ang="0">
                <a:pos x="connsiteX0" y="connsiteY0"/>
              </a:cxn>
              <a:cxn ang="0">
                <a:pos x="connsiteX1" y="connsiteY1"/>
              </a:cxn>
              <a:cxn ang="0">
                <a:pos x="connsiteX2" y="connsiteY2"/>
              </a:cxn>
            </a:cxnLst>
            <a:rect l="l" t="t" r="r" b="b"/>
            <a:pathLst>
              <a:path w="1409700" h="259080">
                <a:moveTo>
                  <a:pt x="0" y="259080"/>
                </a:moveTo>
                <a:lnTo>
                  <a:pt x="0" y="0"/>
                </a:lnTo>
                <a:lnTo>
                  <a:pt x="1409700" y="0"/>
                </a:lnTo>
              </a:path>
            </a:pathLst>
          </a:custGeom>
          <a:ln w="952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39" name="Freihandform 38"/>
          <p:cNvSpPr/>
          <p:nvPr>
            <p:custDataLst>
              <p:tags r:id="rId15"/>
            </p:custDataLst>
          </p:nvPr>
        </p:nvSpPr>
        <p:spPr bwMode="gray">
          <a:xfrm flipV="1">
            <a:off x="1524000" y="3876838"/>
            <a:ext cx="1409700" cy="243086"/>
          </a:xfrm>
          <a:custGeom>
            <a:avLst/>
            <a:gdLst>
              <a:gd name="connsiteX0" fmla="*/ 0 w 1409700"/>
              <a:gd name="connsiteY0" fmla="*/ 259080 h 259080"/>
              <a:gd name="connsiteX1" fmla="*/ 0 w 1409700"/>
              <a:gd name="connsiteY1" fmla="*/ 0 h 259080"/>
              <a:gd name="connsiteX2" fmla="*/ 1409700 w 1409700"/>
              <a:gd name="connsiteY2" fmla="*/ 0 h 259080"/>
            </a:gdLst>
            <a:ahLst/>
            <a:cxnLst>
              <a:cxn ang="0">
                <a:pos x="connsiteX0" y="connsiteY0"/>
              </a:cxn>
              <a:cxn ang="0">
                <a:pos x="connsiteX1" y="connsiteY1"/>
              </a:cxn>
              <a:cxn ang="0">
                <a:pos x="connsiteX2" y="connsiteY2"/>
              </a:cxn>
            </a:cxnLst>
            <a:rect l="l" t="t" r="r" b="b"/>
            <a:pathLst>
              <a:path w="1409700" h="259080">
                <a:moveTo>
                  <a:pt x="0" y="259080"/>
                </a:moveTo>
                <a:lnTo>
                  <a:pt x="0" y="0"/>
                </a:lnTo>
                <a:lnTo>
                  <a:pt x="1409700" y="0"/>
                </a:lnTo>
              </a:path>
            </a:pathLst>
          </a:custGeom>
          <a:ln w="952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Tree>
    <p:extLst>
      <p:ext uri="{BB962C8B-B14F-4D97-AF65-F5344CB8AC3E}">
        <p14:creationId xmlns:p14="http://schemas.microsoft.com/office/powerpoint/2010/main" val="4522825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500"/>
                                        <p:tgtEl>
                                          <p:spTgt spid="3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0"/>
                                        </p:tgtEl>
                                        <p:attrNameLst>
                                          <p:attrName>style.visibility</p:attrName>
                                        </p:attrNameLst>
                                      </p:cBhvr>
                                      <p:to>
                                        <p:strVal val="visible"/>
                                      </p:to>
                                    </p:set>
                                    <p:animEffect transition="in" filter="fade">
                                      <p:cBhvr>
                                        <p:cTn id="18" dur="500"/>
                                        <p:tgtEl>
                                          <p:spTgt spid="80"/>
                                        </p:tgtEl>
                                      </p:cBhvr>
                                    </p:animEffec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5">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5">
                                            <p:txEl>
                                              <p:pRg st="3" end="3"/>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p:bldP spid="80" grpId="0"/>
      <p:bldP spid="11" grpId="0" animBg="1"/>
      <p:bldP spid="3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ltLang="ja-JP" sz="2400" dirty="0"/>
              <a:t>ETERNUS CS800 S6</a:t>
            </a:r>
          </a:p>
        </p:txBody>
      </p:sp>
      <p:sp>
        <p:nvSpPr>
          <p:cNvPr id="5" name="Textplatzhalter 2"/>
          <p:cNvSpPr>
            <a:spLocks noGrp="1"/>
          </p:cNvSpPr>
          <p:nvPr>
            <p:ph type="body" sz="quarter" idx="10"/>
          </p:nvPr>
        </p:nvSpPr>
        <p:spPr>
          <a:xfrm>
            <a:off x="5508104" y="1203600"/>
            <a:ext cx="3312368" cy="3098962"/>
          </a:xfrm>
        </p:spPr>
        <p:txBody>
          <a:bodyPr/>
          <a:lstStyle/>
          <a:p>
            <a:pPr marL="0" indent="0">
              <a:buNone/>
            </a:pPr>
            <a:r>
              <a:rPr lang="en-US" sz="1800" b="1" dirty="0" smtClean="0"/>
              <a:t>ETERNUS CS800 S6 hardware </a:t>
            </a:r>
            <a:endParaRPr lang="en-US" sz="1800" b="1" dirty="0"/>
          </a:p>
          <a:p>
            <a:pPr marL="269875" lvl="1">
              <a:buClr>
                <a:schemeClr val="accent2"/>
              </a:buClr>
            </a:pPr>
            <a:r>
              <a:rPr lang="en-US" sz="1400" dirty="0" smtClean="0"/>
              <a:t>Latest PRIMERGY and DX </a:t>
            </a:r>
            <a:r>
              <a:rPr lang="en-US" sz="1400" dirty="0"/>
              <a:t>generation</a:t>
            </a:r>
          </a:p>
          <a:p>
            <a:pPr marL="269875" lvl="1">
              <a:buClr>
                <a:schemeClr val="accent2"/>
              </a:buClr>
            </a:pPr>
            <a:r>
              <a:rPr lang="en-US" sz="1400" dirty="0" smtClean="0"/>
              <a:t>Capacity upgrade option within each model</a:t>
            </a:r>
          </a:p>
          <a:p>
            <a:pPr marL="269875" lvl="1">
              <a:buClr>
                <a:schemeClr val="accent2"/>
              </a:buClr>
            </a:pPr>
            <a:r>
              <a:rPr lang="en-US" sz="1400" dirty="0"/>
              <a:t>3 models covering the full range</a:t>
            </a:r>
          </a:p>
          <a:p>
            <a:pPr marL="0" indent="0">
              <a:buNone/>
            </a:pPr>
            <a:endParaRPr lang="en-US" sz="2000" b="1" dirty="0" smtClean="0"/>
          </a:p>
          <a:p>
            <a:pPr marL="0" indent="0">
              <a:buNone/>
            </a:pPr>
            <a:r>
              <a:rPr lang="en-US" sz="1800" b="1" dirty="0"/>
              <a:t>ETERNUS CS800 S6 </a:t>
            </a:r>
            <a:r>
              <a:rPr lang="en-US" sz="1800" b="1" dirty="0" smtClean="0"/>
              <a:t>software </a:t>
            </a:r>
            <a:r>
              <a:rPr lang="en-US" sz="1800" b="1" dirty="0"/>
              <a:t>update</a:t>
            </a:r>
          </a:p>
          <a:p>
            <a:pPr marL="269875" lvl="1">
              <a:buClr>
                <a:schemeClr val="accent2"/>
              </a:buClr>
            </a:pPr>
            <a:r>
              <a:rPr lang="en-US" sz="1400" dirty="0" smtClean="0"/>
              <a:t>Performance enhancements</a:t>
            </a:r>
          </a:p>
          <a:p>
            <a:pPr marL="269875" lvl="1">
              <a:buClr>
                <a:schemeClr val="accent2"/>
              </a:buClr>
            </a:pPr>
            <a:r>
              <a:rPr lang="en-US" sz="1400" dirty="0" err="1" smtClean="0"/>
              <a:t>Veritas</a:t>
            </a:r>
            <a:r>
              <a:rPr lang="en-US" sz="1400" dirty="0" smtClean="0"/>
              <a:t> NBU Accelerator Support</a:t>
            </a:r>
            <a:endParaRPr lang="en-US" sz="1400" dirty="0"/>
          </a:p>
        </p:txBody>
      </p:sp>
      <p:sp>
        <p:nvSpPr>
          <p:cNvPr id="6" name="Rechteck 5"/>
          <p:cNvSpPr/>
          <p:nvPr/>
        </p:nvSpPr>
        <p:spPr>
          <a:xfrm>
            <a:off x="179512" y="1062017"/>
            <a:ext cx="4826098" cy="3669975"/>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a:buClr>
                <a:srgbClr val="A30B1A"/>
              </a:buClr>
              <a:defRPr/>
            </a:pPr>
            <a:endParaRPr lang="en-US" sz="1200" dirty="0">
              <a:solidFill>
                <a:srgbClr val="000000"/>
              </a:solidFill>
            </a:endParaRPr>
          </a:p>
        </p:txBody>
      </p:sp>
      <p:sp>
        <p:nvSpPr>
          <p:cNvPr id="7" name="Textfeld 38"/>
          <p:cNvSpPr txBox="1">
            <a:spLocks noChangeArrowheads="1"/>
          </p:cNvSpPr>
          <p:nvPr/>
        </p:nvSpPr>
        <p:spPr bwMode="auto">
          <a:xfrm>
            <a:off x="3793631" y="1290313"/>
            <a:ext cx="1282451" cy="489361"/>
          </a:xfrm>
          <a:prstGeom prst="rect">
            <a:avLst/>
          </a:prstGeom>
          <a:noFill/>
          <a:ln w="9525">
            <a:noFill/>
            <a:miter lim="800000"/>
            <a:headEnd/>
            <a:tailEnd/>
          </a:ln>
        </p:spPr>
        <p:txBody>
          <a:bodyPr>
            <a:noAutofit/>
          </a:bodyPr>
          <a:lstStyle/>
          <a:p>
            <a:r>
              <a:rPr lang="en-US" sz="1200" dirty="0">
                <a:solidFill>
                  <a:srgbClr val="000000"/>
                </a:solidFill>
              </a:rPr>
              <a:t>8</a:t>
            </a:r>
            <a:r>
              <a:rPr lang="en-US" sz="1200" dirty="0" smtClean="0">
                <a:solidFill>
                  <a:srgbClr val="000000"/>
                </a:solidFill>
              </a:rPr>
              <a:t> – 24 TB </a:t>
            </a:r>
          </a:p>
          <a:p>
            <a:r>
              <a:rPr lang="en-US" sz="1200" dirty="0">
                <a:solidFill>
                  <a:srgbClr val="000000"/>
                </a:solidFill>
              </a:rPr>
              <a:t>u</a:t>
            </a:r>
            <a:r>
              <a:rPr lang="en-US" sz="1200" dirty="0" smtClean="0">
                <a:solidFill>
                  <a:srgbClr val="000000"/>
                </a:solidFill>
              </a:rPr>
              <a:t>sable capacity</a:t>
            </a:r>
            <a:endParaRPr lang="en-US" sz="1200" dirty="0">
              <a:solidFill>
                <a:srgbClr val="000000"/>
              </a:solidFill>
            </a:endParaRPr>
          </a:p>
        </p:txBody>
      </p:sp>
      <p:cxnSp>
        <p:nvCxnSpPr>
          <p:cNvPr id="9" name="Gerade Verbindung 8"/>
          <p:cNvCxnSpPr/>
          <p:nvPr/>
        </p:nvCxnSpPr>
        <p:spPr bwMode="gray">
          <a:xfrm>
            <a:off x="957036" y="1586785"/>
            <a:ext cx="2614277" cy="7838"/>
          </a:xfrm>
          <a:prstGeom prst="line">
            <a:avLst/>
          </a:prstGeom>
          <a:ln w="50800">
            <a:solidFill>
              <a:srgbClr val="505050"/>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bwMode="gray">
          <a:xfrm>
            <a:off x="953638" y="1560973"/>
            <a:ext cx="3372" cy="1086936"/>
          </a:xfrm>
          <a:prstGeom prst="line">
            <a:avLst/>
          </a:prstGeom>
          <a:ln w="50800">
            <a:solidFill>
              <a:srgbClr val="505050"/>
            </a:solidFill>
          </a:ln>
        </p:spPr>
        <p:style>
          <a:lnRef idx="1">
            <a:schemeClr val="accent1"/>
          </a:lnRef>
          <a:fillRef idx="0">
            <a:schemeClr val="accent1"/>
          </a:fillRef>
          <a:effectRef idx="0">
            <a:schemeClr val="accent1"/>
          </a:effectRef>
          <a:fontRef idx="minor">
            <a:schemeClr val="tx1"/>
          </a:fontRef>
        </p:style>
      </p:cxnSp>
      <p:sp>
        <p:nvSpPr>
          <p:cNvPr id="12" name="Textfeld 39"/>
          <p:cNvSpPr txBox="1">
            <a:spLocks noChangeArrowheads="1"/>
          </p:cNvSpPr>
          <p:nvPr/>
        </p:nvSpPr>
        <p:spPr bwMode="auto">
          <a:xfrm>
            <a:off x="1035976" y="1980878"/>
            <a:ext cx="1246362" cy="230832"/>
          </a:xfrm>
          <a:prstGeom prst="rect">
            <a:avLst/>
          </a:prstGeom>
          <a:noFill/>
          <a:ln w="9525">
            <a:noFill/>
            <a:miter lim="800000"/>
            <a:headEnd/>
            <a:tailEnd/>
          </a:ln>
        </p:spPr>
        <p:txBody>
          <a:bodyPr>
            <a:noAutofit/>
          </a:bodyPr>
          <a:lstStyle/>
          <a:p>
            <a:pPr>
              <a:lnSpc>
                <a:spcPct val="150000"/>
              </a:lnSpc>
            </a:pPr>
            <a:r>
              <a:rPr lang="en-US" sz="1200" dirty="0">
                <a:solidFill>
                  <a:srgbClr val="000000"/>
                </a:solidFill>
              </a:rPr>
              <a:t>Scalable through </a:t>
            </a:r>
            <a:r>
              <a:rPr lang="en-US" sz="1200" dirty="0" smtClean="0">
                <a:solidFill>
                  <a:srgbClr val="000000"/>
                </a:solidFill>
              </a:rPr>
              <a:t>JBOD</a:t>
            </a:r>
            <a:endParaRPr lang="en-US" sz="1200" dirty="0">
              <a:solidFill>
                <a:srgbClr val="000000"/>
              </a:solidFill>
            </a:endParaRPr>
          </a:p>
        </p:txBody>
      </p:sp>
      <p:sp>
        <p:nvSpPr>
          <p:cNvPr id="14" name="Rechteck 13"/>
          <p:cNvSpPr/>
          <p:nvPr/>
        </p:nvSpPr>
        <p:spPr bwMode="gray">
          <a:xfrm>
            <a:off x="2267748" y="1200498"/>
            <a:ext cx="1440160" cy="651185"/>
          </a:xfrm>
          <a:prstGeom prst="rect">
            <a:avLst/>
          </a:prstGeom>
          <a:gradFill flip="none" rotWithShape="1">
            <a:gsLst>
              <a:gs pos="0">
                <a:schemeClr val="accent1"/>
              </a:gs>
              <a:gs pos="100000">
                <a:schemeClr val="accent2"/>
              </a:gs>
            </a:gsLst>
            <a:lin ang="5400000" scaled="1"/>
            <a:tileRect/>
          </a:gradFill>
          <a:ln w="9525">
            <a:solidFill>
              <a:srgbClr val="AE2222"/>
            </a:solidFill>
          </a:ln>
        </p:spPr>
        <p:style>
          <a:lnRef idx="2">
            <a:schemeClr val="accent1">
              <a:shade val="50000"/>
            </a:schemeClr>
          </a:lnRef>
          <a:fillRef idx="1">
            <a:schemeClr val="accent1"/>
          </a:fillRef>
          <a:effectRef idx="0">
            <a:schemeClr val="accent1"/>
          </a:effectRef>
          <a:fontRef idx="minor">
            <a:schemeClr val="lt1"/>
          </a:fontRef>
        </p:style>
        <p:txBody>
          <a:bodyPr wrap="square" anchor="ctr" anchorCtr="0">
            <a:noAutofit/>
          </a:bodyPr>
          <a:lstStyle/>
          <a:p>
            <a:pPr algn="ctr">
              <a:buClr>
                <a:srgbClr val="A30B1A"/>
              </a:buClr>
              <a:defRPr/>
            </a:pPr>
            <a:r>
              <a:rPr lang="de-DE" sz="1200" dirty="0" smtClean="0">
                <a:solidFill>
                  <a:srgbClr val="FFFFFF"/>
                </a:solidFill>
              </a:rPr>
              <a:t>ETERNUS</a:t>
            </a:r>
            <a:endParaRPr lang="en-US" sz="1200" dirty="0" smtClean="0">
              <a:solidFill>
                <a:srgbClr val="FFFFFF"/>
              </a:solidFill>
            </a:endParaRPr>
          </a:p>
          <a:p>
            <a:pPr algn="ctr">
              <a:buClr>
                <a:srgbClr val="A30B1A"/>
              </a:buClr>
              <a:defRPr/>
            </a:pPr>
            <a:r>
              <a:rPr lang="en-US" sz="1200" dirty="0" smtClean="0">
                <a:solidFill>
                  <a:srgbClr val="FFFFFF"/>
                </a:solidFill>
              </a:rPr>
              <a:t>CS800 S6 </a:t>
            </a:r>
          </a:p>
          <a:p>
            <a:pPr algn="ctr">
              <a:buClr>
                <a:srgbClr val="A30B1A"/>
              </a:buClr>
              <a:defRPr/>
            </a:pPr>
            <a:r>
              <a:rPr lang="en-US" sz="1200" dirty="0" smtClean="0">
                <a:solidFill>
                  <a:srgbClr val="FFFFFF"/>
                </a:solidFill>
              </a:rPr>
              <a:t>Entry1</a:t>
            </a:r>
            <a:endParaRPr lang="en-US" sz="1200" dirty="0">
              <a:solidFill>
                <a:srgbClr val="FFFFFF"/>
              </a:solidFill>
            </a:endParaRPr>
          </a:p>
        </p:txBody>
      </p:sp>
      <p:cxnSp>
        <p:nvCxnSpPr>
          <p:cNvPr id="18" name="Gerade Verbindung 17"/>
          <p:cNvCxnSpPr/>
          <p:nvPr/>
        </p:nvCxnSpPr>
        <p:spPr bwMode="gray">
          <a:xfrm>
            <a:off x="953632" y="2955570"/>
            <a:ext cx="3380" cy="1166302"/>
          </a:xfrm>
          <a:prstGeom prst="line">
            <a:avLst/>
          </a:prstGeom>
          <a:ln w="50800">
            <a:solidFill>
              <a:srgbClr val="505050"/>
            </a:solidFill>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bwMode="gray">
          <a:xfrm>
            <a:off x="509190" y="2647922"/>
            <a:ext cx="1008112" cy="646331"/>
          </a:xfrm>
          <a:prstGeom prst="rect">
            <a:avLst/>
          </a:prstGeom>
          <a:solidFill>
            <a:srgbClr val="737373"/>
          </a:solidFill>
          <a:ln w="9525">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pPr algn="ctr">
              <a:buClr>
                <a:srgbClr val="A30B1A"/>
              </a:buClr>
            </a:pPr>
            <a:r>
              <a:rPr lang="en-US" sz="1200" dirty="0" smtClean="0">
                <a:solidFill>
                  <a:srgbClr val="FFFFFF"/>
                </a:solidFill>
              </a:rPr>
              <a:t>Capacity</a:t>
            </a:r>
            <a:endParaRPr lang="en-US" sz="1200" dirty="0">
              <a:solidFill>
                <a:srgbClr val="FFFFFF"/>
              </a:solidFill>
            </a:endParaRPr>
          </a:p>
        </p:txBody>
      </p:sp>
      <p:cxnSp>
        <p:nvCxnSpPr>
          <p:cNvPr id="19" name="Gerade Verbindung 18"/>
          <p:cNvCxnSpPr/>
          <p:nvPr/>
        </p:nvCxnSpPr>
        <p:spPr bwMode="gray">
          <a:xfrm>
            <a:off x="971626" y="2306863"/>
            <a:ext cx="2614277" cy="7838"/>
          </a:xfrm>
          <a:prstGeom prst="line">
            <a:avLst/>
          </a:prstGeom>
          <a:ln w="50800">
            <a:solidFill>
              <a:srgbClr val="505050"/>
            </a:solidFill>
          </a:ln>
        </p:spPr>
        <p:style>
          <a:lnRef idx="1">
            <a:schemeClr val="accent1"/>
          </a:lnRef>
          <a:fillRef idx="0">
            <a:schemeClr val="accent1"/>
          </a:fillRef>
          <a:effectRef idx="0">
            <a:schemeClr val="accent1"/>
          </a:effectRef>
          <a:fontRef idx="minor">
            <a:schemeClr val="tx1"/>
          </a:fontRef>
        </p:style>
      </p:cxnSp>
      <p:sp>
        <p:nvSpPr>
          <p:cNvPr id="20" name="Rechteck 19"/>
          <p:cNvSpPr/>
          <p:nvPr/>
        </p:nvSpPr>
        <p:spPr bwMode="gray">
          <a:xfrm>
            <a:off x="2282338" y="1920578"/>
            <a:ext cx="1440160" cy="651185"/>
          </a:xfrm>
          <a:prstGeom prst="rect">
            <a:avLst/>
          </a:prstGeom>
          <a:gradFill flip="none" rotWithShape="1">
            <a:gsLst>
              <a:gs pos="0">
                <a:schemeClr val="accent1"/>
              </a:gs>
              <a:gs pos="100000">
                <a:schemeClr val="accent2"/>
              </a:gs>
            </a:gsLst>
            <a:lin ang="5400000" scaled="1"/>
            <a:tileRect/>
          </a:gradFill>
          <a:ln w="9525">
            <a:solidFill>
              <a:srgbClr val="AE2222"/>
            </a:solidFill>
          </a:ln>
        </p:spPr>
        <p:style>
          <a:lnRef idx="2">
            <a:schemeClr val="accent1">
              <a:shade val="50000"/>
            </a:schemeClr>
          </a:lnRef>
          <a:fillRef idx="1">
            <a:schemeClr val="accent1"/>
          </a:fillRef>
          <a:effectRef idx="0">
            <a:schemeClr val="accent1"/>
          </a:effectRef>
          <a:fontRef idx="minor">
            <a:schemeClr val="lt1"/>
          </a:fontRef>
        </p:style>
        <p:txBody>
          <a:bodyPr wrap="square" anchor="ctr" anchorCtr="0">
            <a:noAutofit/>
          </a:bodyPr>
          <a:lstStyle/>
          <a:p>
            <a:pPr algn="ctr">
              <a:buClr>
                <a:srgbClr val="A30B1A"/>
              </a:buClr>
              <a:defRPr/>
            </a:pPr>
            <a:r>
              <a:rPr lang="de-DE" sz="1200" dirty="0" smtClean="0">
                <a:solidFill>
                  <a:srgbClr val="FFFFFF"/>
                </a:solidFill>
              </a:rPr>
              <a:t>ETERNUS</a:t>
            </a:r>
            <a:endParaRPr lang="en-US" sz="1200" dirty="0" smtClean="0">
              <a:solidFill>
                <a:srgbClr val="FFFFFF"/>
              </a:solidFill>
            </a:endParaRPr>
          </a:p>
          <a:p>
            <a:pPr algn="ctr">
              <a:buClr>
                <a:srgbClr val="A30B1A"/>
              </a:buClr>
              <a:defRPr/>
            </a:pPr>
            <a:r>
              <a:rPr lang="en-US" sz="1200" dirty="0" smtClean="0">
                <a:solidFill>
                  <a:srgbClr val="FFFFFF"/>
                </a:solidFill>
              </a:rPr>
              <a:t>CS800 S6 </a:t>
            </a:r>
          </a:p>
          <a:p>
            <a:pPr algn="ctr">
              <a:buClr>
                <a:srgbClr val="A30B1A"/>
              </a:buClr>
              <a:defRPr/>
            </a:pPr>
            <a:r>
              <a:rPr lang="en-US" sz="1200" dirty="0" smtClean="0">
                <a:solidFill>
                  <a:srgbClr val="FFFFFF"/>
                </a:solidFill>
              </a:rPr>
              <a:t>Entry2</a:t>
            </a:r>
            <a:endParaRPr lang="en-US" sz="1200" dirty="0">
              <a:solidFill>
                <a:srgbClr val="FFFFFF"/>
              </a:solidFill>
            </a:endParaRPr>
          </a:p>
        </p:txBody>
      </p:sp>
      <p:sp>
        <p:nvSpPr>
          <p:cNvPr id="21" name="Textfeld 38"/>
          <p:cNvSpPr txBox="1">
            <a:spLocks noChangeArrowheads="1"/>
          </p:cNvSpPr>
          <p:nvPr/>
        </p:nvSpPr>
        <p:spPr bwMode="auto">
          <a:xfrm>
            <a:off x="3793631" y="2010393"/>
            <a:ext cx="1282451" cy="489361"/>
          </a:xfrm>
          <a:prstGeom prst="rect">
            <a:avLst/>
          </a:prstGeom>
          <a:noFill/>
          <a:ln w="9525">
            <a:noFill/>
            <a:miter lim="800000"/>
            <a:headEnd/>
            <a:tailEnd/>
          </a:ln>
        </p:spPr>
        <p:txBody>
          <a:bodyPr>
            <a:noAutofit/>
          </a:bodyPr>
          <a:lstStyle/>
          <a:p>
            <a:r>
              <a:rPr lang="en-US" sz="1200" dirty="0">
                <a:solidFill>
                  <a:srgbClr val="000000"/>
                </a:solidFill>
              </a:rPr>
              <a:t>8</a:t>
            </a:r>
            <a:r>
              <a:rPr lang="en-US" sz="1200" dirty="0" smtClean="0">
                <a:solidFill>
                  <a:srgbClr val="000000"/>
                </a:solidFill>
              </a:rPr>
              <a:t> – 120 TB</a:t>
            </a:r>
          </a:p>
          <a:p>
            <a:r>
              <a:rPr lang="en-US" sz="1200" dirty="0">
                <a:solidFill>
                  <a:srgbClr val="000000"/>
                </a:solidFill>
              </a:rPr>
              <a:t>usable capacity</a:t>
            </a:r>
          </a:p>
          <a:p>
            <a:endParaRPr lang="en-US" sz="1200" dirty="0">
              <a:solidFill>
                <a:srgbClr val="000000"/>
              </a:solidFill>
            </a:endParaRPr>
          </a:p>
        </p:txBody>
      </p:sp>
      <p:sp>
        <p:nvSpPr>
          <p:cNvPr id="22" name="Textfeld 39"/>
          <p:cNvSpPr txBox="1">
            <a:spLocks noChangeArrowheads="1"/>
          </p:cNvSpPr>
          <p:nvPr/>
        </p:nvSpPr>
        <p:spPr bwMode="auto">
          <a:xfrm>
            <a:off x="1035976" y="3507854"/>
            <a:ext cx="1246362" cy="230832"/>
          </a:xfrm>
          <a:prstGeom prst="rect">
            <a:avLst/>
          </a:prstGeom>
          <a:noFill/>
          <a:ln w="9525">
            <a:noFill/>
            <a:miter lim="800000"/>
            <a:headEnd/>
            <a:tailEnd/>
          </a:ln>
        </p:spPr>
        <p:txBody>
          <a:bodyPr>
            <a:noAutofit/>
          </a:bodyPr>
          <a:lstStyle/>
          <a:p>
            <a:pPr>
              <a:lnSpc>
                <a:spcPct val="150000"/>
              </a:lnSpc>
            </a:pPr>
            <a:r>
              <a:rPr lang="en-US" sz="1200" dirty="0">
                <a:solidFill>
                  <a:srgbClr val="000000"/>
                </a:solidFill>
              </a:rPr>
              <a:t>Scalable through </a:t>
            </a:r>
            <a:r>
              <a:rPr lang="en-US" sz="1200" dirty="0" smtClean="0">
                <a:solidFill>
                  <a:srgbClr val="000000"/>
                </a:solidFill>
              </a:rPr>
              <a:t>ETERNUX DX</a:t>
            </a:r>
            <a:endParaRPr lang="en-US" sz="1200" dirty="0">
              <a:solidFill>
                <a:srgbClr val="000000"/>
              </a:solidFill>
            </a:endParaRPr>
          </a:p>
        </p:txBody>
      </p:sp>
      <p:cxnSp>
        <p:nvCxnSpPr>
          <p:cNvPr id="23" name="Gerade Verbindung 22"/>
          <p:cNvCxnSpPr/>
          <p:nvPr/>
        </p:nvCxnSpPr>
        <p:spPr bwMode="gray">
          <a:xfrm>
            <a:off x="971626" y="4121872"/>
            <a:ext cx="2614277" cy="7838"/>
          </a:xfrm>
          <a:prstGeom prst="line">
            <a:avLst/>
          </a:prstGeom>
          <a:ln w="50800">
            <a:solidFill>
              <a:srgbClr val="505050"/>
            </a:solidFill>
          </a:ln>
        </p:spPr>
        <p:style>
          <a:lnRef idx="1">
            <a:schemeClr val="accent1"/>
          </a:lnRef>
          <a:fillRef idx="0">
            <a:schemeClr val="accent1"/>
          </a:fillRef>
          <a:effectRef idx="0">
            <a:schemeClr val="accent1"/>
          </a:effectRef>
          <a:fontRef idx="minor">
            <a:schemeClr val="tx1"/>
          </a:fontRef>
        </p:style>
      </p:cxnSp>
      <p:sp>
        <p:nvSpPr>
          <p:cNvPr id="24" name="Rechteck 23"/>
          <p:cNvSpPr/>
          <p:nvPr/>
        </p:nvSpPr>
        <p:spPr bwMode="gray">
          <a:xfrm>
            <a:off x="2282338" y="3735586"/>
            <a:ext cx="1440160" cy="651185"/>
          </a:xfrm>
          <a:prstGeom prst="rect">
            <a:avLst/>
          </a:prstGeom>
          <a:gradFill flip="none" rotWithShape="1">
            <a:gsLst>
              <a:gs pos="0">
                <a:schemeClr val="accent1"/>
              </a:gs>
              <a:gs pos="100000">
                <a:schemeClr val="accent2"/>
              </a:gs>
            </a:gsLst>
            <a:lin ang="5400000" scaled="1"/>
            <a:tileRect/>
          </a:gradFill>
          <a:ln w="9525">
            <a:solidFill>
              <a:srgbClr val="AE2222"/>
            </a:solidFill>
          </a:ln>
        </p:spPr>
        <p:style>
          <a:lnRef idx="2">
            <a:schemeClr val="accent1">
              <a:shade val="50000"/>
            </a:schemeClr>
          </a:lnRef>
          <a:fillRef idx="1">
            <a:schemeClr val="accent1"/>
          </a:fillRef>
          <a:effectRef idx="0">
            <a:schemeClr val="accent1"/>
          </a:effectRef>
          <a:fontRef idx="minor">
            <a:schemeClr val="lt1"/>
          </a:fontRef>
        </p:style>
        <p:txBody>
          <a:bodyPr wrap="square" anchor="ctr" anchorCtr="0">
            <a:noAutofit/>
          </a:bodyPr>
          <a:lstStyle/>
          <a:p>
            <a:pPr algn="ctr">
              <a:buClr>
                <a:srgbClr val="A30B1A"/>
              </a:buClr>
              <a:defRPr/>
            </a:pPr>
            <a:r>
              <a:rPr lang="de-DE" sz="1200" dirty="0" smtClean="0">
                <a:solidFill>
                  <a:srgbClr val="FFFFFF"/>
                </a:solidFill>
              </a:rPr>
              <a:t>ETERNUS</a:t>
            </a:r>
            <a:endParaRPr lang="en-US" sz="1200" dirty="0" smtClean="0">
              <a:solidFill>
                <a:srgbClr val="FFFFFF"/>
              </a:solidFill>
            </a:endParaRPr>
          </a:p>
          <a:p>
            <a:pPr algn="ctr">
              <a:buClr>
                <a:srgbClr val="A30B1A"/>
              </a:buClr>
              <a:defRPr/>
            </a:pPr>
            <a:r>
              <a:rPr lang="en-US" sz="1200" dirty="0" smtClean="0">
                <a:solidFill>
                  <a:srgbClr val="FFFFFF"/>
                </a:solidFill>
              </a:rPr>
              <a:t>CS800 S6 </a:t>
            </a:r>
          </a:p>
          <a:p>
            <a:pPr algn="ctr">
              <a:buClr>
                <a:srgbClr val="A30B1A"/>
              </a:buClr>
              <a:defRPr/>
            </a:pPr>
            <a:r>
              <a:rPr lang="en-US" sz="1200" dirty="0" smtClean="0">
                <a:solidFill>
                  <a:srgbClr val="FFFFFF"/>
                </a:solidFill>
              </a:rPr>
              <a:t>Scale</a:t>
            </a:r>
            <a:endParaRPr lang="en-US" sz="1200" dirty="0">
              <a:solidFill>
                <a:srgbClr val="FFFFFF"/>
              </a:solidFill>
            </a:endParaRPr>
          </a:p>
        </p:txBody>
      </p:sp>
      <p:sp>
        <p:nvSpPr>
          <p:cNvPr id="28" name="Textfeld 38"/>
          <p:cNvSpPr txBox="1">
            <a:spLocks noChangeArrowheads="1"/>
          </p:cNvSpPr>
          <p:nvPr/>
        </p:nvSpPr>
        <p:spPr bwMode="auto">
          <a:xfrm>
            <a:off x="3814576" y="3882704"/>
            <a:ext cx="1333488" cy="351525"/>
          </a:xfrm>
          <a:prstGeom prst="rect">
            <a:avLst/>
          </a:prstGeom>
          <a:noFill/>
          <a:ln w="9525">
            <a:noFill/>
            <a:miter lim="800000"/>
            <a:headEnd/>
            <a:tailEnd/>
          </a:ln>
        </p:spPr>
        <p:txBody>
          <a:bodyPr>
            <a:noAutofit/>
          </a:bodyPr>
          <a:lstStyle/>
          <a:p>
            <a:r>
              <a:rPr lang="en-US" sz="1200" dirty="0" smtClean="0">
                <a:solidFill>
                  <a:srgbClr val="000000"/>
                </a:solidFill>
              </a:rPr>
              <a:t> up to 352 TB</a:t>
            </a:r>
          </a:p>
          <a:p>
            <a:r>
              <a:rPr lang="en-US" sz="1200" dirty="0">
                <a:solidFill>
                  <a:srgbClr val="000000"/>
                </a:solidFill>
              </a:rPr>
              <a:t>usable capacity</a:t>
            </a:r>
          </a:p>
          <a:p>
            <a:endParaRPr lang="en-US" sz="1200" dirty="0">
              <a:solidFill>
                <a:srgbClr val="000000"/>
              </a:solidFill>
            </a:endParaRPr>
          </a:p>
          <a:p>
            <a:endParaRPr lang="en-US" sz="1200" dirty="0">
              <a:solidFill>
                <a:srgbClr val="000000"/>
              </a:solidFill>
            </a:endParaRPr>
          </a:p>
        </p:txBody>
      </p:sp>
      <p:sp>
        <p:nvSpPr>
          <p:cNvPr id="29" name="Textfeld 39"/>
          <p:cNvSpPr txBox="1">
            <a:spLocks noChangeArrowheads="1"/>
          </p:cNvSpPr>
          <p:nvPr/>
        </p:nvSpPr>
        <p:spPr bwMode="auto">
          <a:xfrm rot="16200000">
            <a:off x="175804" y="2049177"/>
            <a:ext cx="1246362" cy="230832"/>
          </a:xfrm>
          <a:prstGeom prst="rect">
            <a:avLst/>
          </a:prstGeom>
          <a:noFill/>
          <a:ln w="9525">
            <a:noFill/>
            <a:miter lim="800000"/>
            <a:headEnd/>
            <a:tailEnd/>
          </a:ln>
        </p:spPr>
        <p:txBody>
          <a:bodyPr vert="vert">
            <a:noAutofit/>
          </a:bodyPr>
          <a:lstStyle/>
          <a:p>
            <a:r>
              <a:rPr lang="en-US" sz="1200" dirty="0" smtClean="0">
                <a:solidFill>
                  <a:srgbClr val="000000"/>
                </a:solidFill>
              </a:rPr>
              <a:t>ENTRY</a:t>
            </a:r>
            <a:endParaRPr lang="en-US" sz="1200" dirty="0">
              <a:solidFill>
                <a:srgbClr val="000000"/>
              </a:solidFill>
            </a:endParaRPr>
          </a:p>
        </p:txBody>
      </p:sp>
      <p:sp>
        <p:nvSpPr>
          <p:cNvPr id="30" name="Textfeld 39"/>
          <p:cNvSpPr txBox="1">
            <a:spLocks noChangeArrowheads="1"/>
          </p:cNvSpPr>
          <p:nvPr/>
        </p:nvSpPr>
        <p:spPr bwMode="auto">
          <a:xfrm rot="16200000">
            <a:off x="175804" y="3849377"/>
            <a:ext cx="1246362" cy="230832"/>
          </a:xfrm>
          <a:prstGeom prst="rect">
            <a:avLst/>
          </a:prstGeom>
          <a:noFill/>
          <a:ln w="9525">
            <a:noFill/>
            <a:miter lim="800000"/>
            <a:headEnd/>
            <a:tailEnd/>
          </a:ln>
        </p:spPr>
        <p:txBody>
          <a:bodyPr vert="vert">
            <a:noAutofit/>
          </a:bodyPr>
          <a:lstStyle/>
          <a:p>
            <a:r>
              <a:rPr lang="en-US" sz="1200" dirty="0" smtClean="0">
                <a:solidFill>
                  <a:srgbClr val="000000"/>
                </a:solidFill>
              </a:rPr>
              <a:t>SCALE</a:t>
            </a:r>
            <a:endParaRPr lang="en-US" sz="1200" dirty="0">
              <a:solidFill>
                <a:srgbClr val="000000"/>
              </a:solidFill>
            </a:endParaRPr>
          </a:p>
        </p:txBody>
      </p:sp>
      <p:sp>
        <p:nvSpPr>
          <p:cNvPr id="25" name="Abgerundetes Rechteck 21"/>
          <p:cNvSpPr/>
          <p:nvPr>
            <p:custDataLst>
              <p:tags r:id="rId1"/>
            </p:custDataLst>
          </p:nvPr>
        </p:nvSpPr>
        <p:spPr bwMode="gray">
          <a:xfrm>
            <a:off x="5076058" y="996051"/>
            <a:ext cx="3671952" cy="3744911"/>
          </a:xfrm>
          <a:prstGeom prst="roundRect">
            <a:avLst>
              <a:gd name="adj" fmla="val 3391"/>
            </a:avLst>
          </a:prstGeom>
          <a:gradFill flip="none" rotWithShape="1">
            <a:gsLst>
              <a:gs pos="0">
                <a:schemeClr val="bg2"/>
              </a:gs>
              <a:gs pos="50000">
                <a:schemeClr val="bg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tIns="90000" rIns="54000" bIns="90000" rtlCol="0" anchor="t" anchorCtr="0"/>
          <a:lstStyle/>
          <a:p>
            <a:pPr marL="269875" indent="-1588">
              <a:spcBef>
                <a:spcPts val="600"/>
              </a:spcBef>
              <a:buClr>
                <a:srgbClr val="A30B1A"/>
              </a:buClr>
            </a:pPr>
            <a:r>
              <a:rPr lang="ru-RU" sz="1400" dirty="0" smtClean="0">
                <a:solidFill>
                  <a:srgbClr val="000000"/>
                </a:solidFill>
              </a:rPr>
              <a:t>Прекрасная масштабируемость</a:t>
            </a:r>
            <a:endParaRPr lang="en-US" sz="1400" dirty="0">
              <a:solidFill>
                <a:srgbClr val="000000"/>
              </a:solidFill>
            </a:endParaRPr>
          </a:p>
          <a:p>
            <a:pPr marL="447675" indent="-179388">
              <a:spcBef>
                <a:spcPts val="200"/>
              </a:spcBef>
              <a:buClr>
                <a:srgbClr val="A30B1A"/>
              </a:buClr>
              <a:buFont typeface="Wingdings" pitchFamily="2" charset="2"/>
              <a:buChar char="n"/>
            </a:pPr>
            <a:r>
              <a:rPr lang="ru-RU" sz="1400" dirty="0" smtClean="0">
                <a:solidFill>
                  <a:srgbClr val="000000"/>
                </a:solidFill>
              </a:rPr>
              <a:t>Модель </a:t>
            </a:r>
            <a:r>
              <a:rPr lang="en-US" sz="1400" dirty="0" smtClean="0">
                <a:solidFill>
                  <a:srgbClr val="000000"/>
                </a:solidFill>
              </a:rPr>
              <a:t>Entry </a:t>
            </a:r>
            <a:r>
              <a:rPr lang="ru-RU" sz="1400" dirty="0" smtClean="0">
                <a:solidFill>
                  <a:srgbClr val="000000"/>
                </a:solidFill>
              </a:rPr>
              <a:t>масштабируется от </a:t>
            </a:r>
            <a:r>
              <a:rPr lang="en-US" sz="1400" dirty="0" smtClean="0">
                <a:solidFill>
                  <a:srgbClr val="000000"/>
                </a:solidFill>
              </a:rPr>
              <a:t> 8 TB </a:t>
            </a:r>
            <a:r>
              <a:rPr lang="ru-RU" sz="1400" dirty="0" smtClean="0">
                <a:solidFill>
                  <a:srgbClr val="000000"/>
                </a:solidFill>
              </a:rPr>
              <a:t>до </a:t>
            </a:r>
            <a:r>
              <a:rPr lang="en-US" sz="1400" dirty="0" smtClean="0">
                <a:solidFill>
                  <a:srgbClr val="000000"/>
                </a:solidFill>
              </a:rPr>
              <a:t> 24 </a:t>
            </a:r>
            <a:r>
              <a:rPr lang="ru-RU" sz="1400" dirty="0" smtClean="0">
                <a:solidFill>
                  <a:srgbClr val="000000"/>
                </a:solidFill>
              </a:rPr>
              <a:t>или 120</a:t>
            </a:r>
            <a:r>
              <a:rPr lang="en-US" sz="1400" dirty="0" smtClean="0">
                <a:solidFill>
                  <a:srgbClr val="000000"/>
                </a:solidFill>
              </a:rPr>
              <a:t> </a:t>
            </a:r>
            <a:r>
              <a:rPr lang="en-US" sz="1400" dirty="0">
                <a:solidFill>
                  <a:srgbClr val="000000"/>
                </a:solidFill>
              </a:rPr>
              <a:t>TB </a:t>
            </a:r>
            <a:r>
              <a:rPr lang="ru-RU" sz="1400" dirty="0" smtClean="0">
                <a:solidFill>
                  <a:srgbClr val="000000"/>
                </a:solidFill>
              </a:rPr>
              <a:t>емкости под данные без учета дедупликации</a:t>
            </a:r>
            <a:r>
              <a:rPr lang="en-US" sz="1400" dirty="0" smtClean="0">
                <a:solidFill>
                  <a:srgbClr val="000000"/>
                </a:solidFill>
              </a:rPr>
              <a:t>;</a:t>
            </a:r>
            <a:endParaRPr lang="en-US" sz="1400" dirty="0">
              <a:solidFill>
                <a:srgbClr val="000000"/>
              </a:solidFill>
            </a:endParaRPr>
          </a:p>
          <a:p>
            <a:pPr marL="447675" indent="-179388">
              <a:spcBef>
                <a:spcPts val="300"/>
              </a:spcBef>
              <a:buClr>
                <a:srgbClr val="A30B1A"/>
              </a:buClr>
              <a:buFont typeface="Wingdings" pitchFamily="2" charset="2"/>
              <a:buChar char="n"/>
            </a:pPr>
            <a:r>
              <a:rPr lang="ru-RU" sz="1400" dirty="0" smtClean="0">
                <a:solidFill>
                  <a:srgbClr val="000000"/>
                </a:solidFill>
              </a:rPr>
              <a:t>Модель </a:t>
            </a:r>
            <a:r>
              <a:rPr lang="en-US" sz="1400" dirty="0" smtClean="0">
                <a:solidFill>
                  <a:srgbClr val="000000"/>
                </a:solidFill>
              </a:rPr>
              <a:t>Scale </a:t>
            </a:r>
            <a:r>
              <a:rPr lang="ru-RU" sz="1400" dirty="0" smtClean="0">
                <a:solidFill>
                  <a:srgbClr val="000000"/>
                </a:solidFill>
              </a:rPr>
              <a:t>масштабируется от</a:t>
            </a:r>
            <a:r>
              <a:rPr lang="en-US" sz="1400" dirty="0" smtClean="0">
                <a:solidFill>
                  <a:srgbClr val="000000"/>
                </a:solidFill>
              </a:rPr>
              <a:t> </a:t>
            </a:r>
            <a:r>
              <a:rPr lang="en-US" sz="1400" dirty="0">
                <a:solidFill>
                  <a:srgbClr val="000000"/>
                </a:solidFill>
              </a:rPr>
              <a:t>16 TB </a:t>
            </a:r>
            <a:r>
              <a:rPr lang="en-US" sz="1400" dirty="0" smtClean="0">
                <a:solidFill>
                  <a:srgbClr val="000000"/>
                </a:solidFill>
              </a:rPr>
              <a:t>3</a:t>
            </a:r>
            <a:r>
              <a:rPr lang="ru-RU" sz="1400" dirty="0" smtClean="0">
                <a:solidFill>
                  <a:srgbClr val="000000"/>
                </a:solidFill>
              </a:rPr>
              <a:t>52</a:t>
            </a:r>
            <a:r>
              <a:rPr lang="en-US" sz="1400" dirty="0" smtClean="0">
                <a:solidFill>
                  <a:srgbClr val="000000"/>
                </a:solidFill>
              </a:rPr>
              <a:t> TB; </a:t>
            </a:r>
          </a:p>
          <a:p>
            <a:pPr marL="268288">
              <a:spcBef>
                <a:spcPts val="1200"/>
              </a:spcBef>
              <a:buClr>
                <a:srgbClr val="A30B1A"/>
              </a:buClr>
            </a:pPr>
            <a:r>
              <a:rPr lang="ru-RU" sz="1400" dirty="0" smtClean="0">
                <a:solidFill>
                  <a:srgbClr val="000000"/>
                </a:solidFill>
              </a:rPr>
              <a:t>Возможность назначения дисков горячей замены</a:t>
            </a:r>
            <a:r>
              <a:rPr lang="en-US" sz="1400" dirty="0" smtClean="0">
                <a:solidFill>
                  <a:srgbClr val="000000"/>
                </a:solidFill>
              </a:rPr>
              <a:t>.</a:t>
            </a:r>
          </a:p>
          <a:p>
            <a:pPr marL="268288">
              <a:spcBef>
                <a:spcPts val="1200"/>
              </a:spcBef>
              <a:buClr>
                <a:srgbClr val="A30B1A"/>
              </a:buClr>
            </a:pPr>
            <a:r>
              <a:rPr lang="ru-RU" sz="1400" dirty="0" smtClean="0">
                <a:solidFill>
                  <a:srgbClr val="000000"/>
                </a:solidFill>
              </a:rPr>
              <a:t>Опции </a:t>
            </a:r>
            <a:r>
              <a:rPr lang="en-US" sz="1400" dirty="0" smtClean="0">
                <a:solidFill>
                  <a:srgbClr val="000000"/>
                </a:solidFill>
              </a:rPr>
              <a:t>NAS </a:t>
            </a:r>
            <a:r>
              <a:rPr lang="ru-RU" sz="1400" dirty="0" smtClean="0">
                <a:solidFill>
                  <a:srgbClr val="000000"/>
                </a:solidFill>
              </a:rPr>
              <a:t>и</a:t>
            </a:r>
            <a:r>
              <a:rPr lang="en-US" sz="1400" dirty="0" smtClean="0">
                <a:solidFill>
                  <a:srgbClr val="000000"/>
                </a:solidFill>
              </a:rPr>
              <a:t> </a:t>
            </a:r>
            <a:r>
              <a:rPr lang="en-US" sz="1400" dirty="0">
                <a:solidFill>
                  <a:srgbClr val="000000"/>
                </a:solidFill>
              </a:rPr>
              <a:t>VTL </a:t>
            </a:r>
            <a:r>
              <a:rPr lang="ru-RU" sz="1400" dirty="0" smtClean="0">
                <a:solidFill>
                  <a:srgbClr val="000000"/>
                </a:solidFill>
              </a:rPr>
              <a:t>доступны для всех моделей</a:t>
            </a:r>
            <a:r>
              <a:rPr lang="en-US" sz="1400" dirty="0" smtClean="0">
                <a:solidFill>
                  <a:srgbClr val="000000"/>
                </a:solidFill>
              </a:rPr>
              <a:t>.</a:t>
            </a:r>
          </a:p>
          <a:p>
            <a:pPr marL="268288">
              <a:spcBef>
                <a:spcPts val="1200"/>
              </a:spcBef>
              <a:buClr>
                <a:srgbClr val="A30B1A"/>
              </a:buClr>
            </a:pPr>
            <a:r>
              <a:rPr lang="ru-RU" sz="1400" dirty="0" smtClean="0">
                <a:solidFill>
                  <a:srgbClr val="000000"/>
                </a:solidFill>
              </a:rPr>
              <a:t>Опция </a:t>
            </a:r>
            <a:r>
              <a:rPr lang="en-US" sz="1400" dirty="0" smtClean="0">
                <a:solidFill>
                  <a:srgbClr val="000000"/>
                </a:solidFill>
              </a:rPr>
              <a:t>Path-to-Tape </a:t>
            </a:r>
            <a:r>
              <a:rPr lang="en-US" sz="1400" dirty="0">
                <a:solidFill>
                  <a:srgbClr val="000000"/>
                </a:solidFill>
              </a:rPr>
              <a:t>(PTT) </a:t>
            </a:r>
            <a:r>
              <a:rPr lang="ru-RU" sz="1400" dirty="0" smtClean="0">
                <a:solidFill>
                  <a:srgbClr val="000000"/>
                </a:solidFill>
              </a:rPr>
              <a:t>доступна для всех моделей</a:t>
            </a:r>
            <a:r>
              <a:rPr lang="en-US" sz="1400" dirty="0" smtClean="0">
                <a:solidFill>
                  <a:srgbClr val="000000"/>
                </a:solidFill>
              </a:rPr>
              <a:t>.</a:t>
            </a:r>
            <a:endParaRPr lang="ru-RU" sz="1400" dirty="0" smtClean="0">
              <a:solidFill>
                <a:srgbClr val="000000"/>
              </a:solidFill>
            </a:endParaRPr>
          </a:p>
          <a:p>
            <a:pPr marL="268288">
              <a:spcBef>
                <a:spcPts val="1200"/>
              </a:spcBef>
              <a:buClr>
                <a:srgbClr val="A30B1A"/>
              </a:buClr>
            </a:pPr>
            <a:r>
              <a:rPr lang="ru-RU" sz="1400" dirty="0" smtClean="0">
                <a:solidFill>
                  <a:srgbClr val="000000"/>
                </a:solidFill>
              </a:rPr>
              <a:t>Отсутствие лицензий</a:t>
            </a:r>
            <a:r>
              <a:rPr lang="en-US" sz="1400" dirty="0" smtClean="0">
                <a:solidFill>
                  <a:srgbClr val="000000"/>
                </a:solidFill>
              </a:rPr>
              <a:t>.</a:t>
            </a:r>
            <a:endParaRPr lang="en-US" sz="1400" dirty="0">
              <a:solidFill>
                <a:srgbClr val="000000"/>
              </a:solidFill>
            </a:endParaRPr>
          </a:p>
        </p:txBody>
      </p:sp>
    </p:spTree>
    <p:extLst>
      <p:ext uri="{BB962C8B-B14F-4D97-AF65-F5344CB8AC3E}">
        <p14:creationId xmlns:p14="http://schemas.microsoft.com/office/powerpoint/2010/main" val="87176722"/>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dirty="0" smtClean="0"/>
              <a:t>ETERNUS CS</a:t>
            </a:r>
            <a:r>
              <a:rPr lang="ru-RU" dirty="0" smtClean="0"/>
              <a:t>2</a:t>
            </a:r>
            <a:r>
              <a:rPr lang="en-US" dirty="0" smtClean="0"/>
              <a:t>00 – </a:t>
            </a:r>
            <a:r>
              <a:rPr lang="ru-RU" dirty="0" smtClean="0"/>
              <a:t>интегрированное решение для резервного копирования</a:t>
            </a:r>
            <a:endParaRPr lang="ru-RU" dirty="0"/>
          </a:p>
        </p:txBody>
      </p:sp>
      <p:pic>
        <p:nvPicPr>
          <p:cNvPr id="2220034" name="Picture 2"/>
          <p:cNvPicPr>
            <a:picLocks noChangeAspect="1" noChangeArrowheads="1"/>
          </p:cNvPicPr>
          <p:nvPr>
            <p:custDataLst>
              <p:tags r:id="rId1"/>
            </p:custDataLst>
          </p:nvPr>
        </p:nvPicPr>
        <p:blipFill rotWithShape="1">
          <a:blip r:embed="rId5" cstate="screen">
            <a:extLst>
              <a:ext uri="{28A0092B-C50C-407E-A947-70E740481C1C}">
                <a14:useLocalDpi xmlns:a14="http://schemas.microsoft.com/office/drawing/2010/main"/>
              </a:ext>
            </a:extLst>
          </a:blip>
          <a:srcRect/>
          <a:stretch/>
        </p:blipFill>
        <p:spPr bwMode="gray">
          <a:xfrm>
            <a:off x="6372250" y="3291850"/>
            <a:ext cx="2520350" cy="1512210"/>
          </a:xfrm>
          <a:prstGeom prst="round1Rect">
            <a:avLst>
              <a:gd name="adj" fmla="val 25195"/>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Untertitel 2"/>
          <p:cNvSpPr txBox="1">
            <a:spLocks/>
          </p:cNvSpPr>
          <p:nvPr>
            <p:custDataLst>
              <p:tags r:id="rId2"/>
            </p:custDataLst>
          </p:nvPr>
        </p:nvSpPr>
        <p:spPr bwMode="gray">
          <a:xfrm>
            <a:off x="251842" y="3364060"/>
            <a:ext cx="5184278" cy="144000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2000" b="0" kern="1200" noProof="0" dirty="0" smtClean="0">
                <a:solidFill>
                  <a:schemeClr val="bg1"/>
                </a:solidFill>
                <a:latin typeface="+mn-lt"/>
                <a:ea typeface="+mn-ea"/>
                <a:cs typeface="+mn-cs"/>
              </a:defRPr>
            </a:lvl1pPr>
            <a:lvl2pPr marL="0" indent="0" algn="l" defTabSz="914400" rtl="0" eaLnBrk="1" latinLnBrk="0" hangingPunct="1">
              <a:lnSpc>
                <a:spcPct val="110000"/>
              </a:lnSpc>
              <a:spcBef>
                <a:spcPts val="0"/>
              </a:spcBef>
              <a:spcAft>
                <a:spcPts val="0"/>
              </a:spcAft>
              <a:buClr>
                <a:schemeClr val="tx2"/>
              </a:buClr>
              <a:buFont typeface="Wingdings" pitchFamily="2" charset="2"/>
              <a:buNone/>
              <a:defRPr sz="240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2"/>
              </a:buClr>
              <a:buFont typeface="Arial" pitchFamily="34" charset="0"/>
              <a:buNone/>
              <a:tabLst/>
              <a:defRPr sz="2400" kern="1200">
                <a:solidFill>
                  <a:schemeClr val="tx1"/>
                </a:solidFill>
                <a:latin typeface="+mn-lt"/>
                <a:ea typeface="+mn-ea"/>
                <a:cs typeface="+mn-cs"/>
              </a:defRPr>
            </a:lvl3pPr>
            <a:lvl4pPr marL="0" indent="0" algn="l" defTabSz="896938" rtl="0" eaLnBrk="1" latinLnBrk="0" hangingPunct="1">
              <a:lnSpc>
                <a:spcPct val="110000"/>
              </a:lnSpc>
              <a:spcBef>
                <a:spcPts val="0"/>
              </a:spcBef>
              <a:spcAft>
                <a:spcPts val="0"/>
              </a:spcAft>
              <a:buClr>
                <a:schemeClr val="tx2"/>
              </a:buClr>
              <a:buFont typeface="Arial" pitchFamily="34" charset="0"/>
              <a:buNone/>
              <a:defRPr sz="2400" kern="1200">
                <a:solidFill>
                  <a:schemeClr val="tx1"/>
                </a:solidFill>
                <a:latin typeface="+mn-lt"/>
                <a:ea typeface="+mn-ea"/>
                <a:cs typeface="+mn-cs"/>
              </a:defRPr>
            </a:lvl4pPr>
            <a:lvl5pPr marL="0" indent="0" algn="l" defTabSz="914400" rtl="0" eaLnBrk="1" latinLnBrk="0" hangingPunct="1">
              <a:lnSpc>
                <a:spcPct val="110000"/>
              </a:lnSpc>
              <a:spcBef>
                <a:spcPts val="0"/>
              </a:spcBef>
              <a:spcAft>
                <a:spcPts val="0"/>
              </a:spcAft>
              <a:buClr>
                <a:schemeClr val="tx2"/>
              </a:buClr>
              <a:buFont typeface="Arial" pitchFamily="34" charset="0"/>
              <a:buNone/>
              <a:defRPr sz="2400" kern="1200">
                <a:solidFill>
                  <a:schemeClr val="tx1"/>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spcBef>
                <a:spcPts val="0"/>
              </a:spcBef>
              <a:spcAft>
                <a:spcPts val="0"/>
              </a:spcAft>
            </a:pPr>
            <a:endParaRPr lang="ru-RU" sz="1800">
              <a:solidFill>
                <a:srgbClr val="000000"/>
              </a:solidFill>
            </a:endParaRPr>
          </a:p>
        </p:txBody>
      </p:sp>
    </p:spTree>
    <p:extLst>
      <p:ext uri="{BB962C8B-B14F-4D97-AF65-F5344CB8AC3E}">
        <p14:creationId xmlns:p14="http://schemas.microsoft.com/office/powerpoint/2010/main" val="20617183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ru-RU" dirty="0" smtClean="0">
                <a:solidFill>
                  <a:srgbClr val="000000"/>
                </a:solidFill>
              </a:rPr>
              <a:t>Решения для защиты данных </a:t>
            </a:r>
            <a:r>
              <a:rPr lang="en-US" dirty="0" smtClean="0">
                <a:solidFill>
                  <a:srgbClr val="000000"/>
                </a:solidFill>
              </a:rPr>
              <a:t>ETERNUS CS </a:t>
            </a:r>
            <a:endParaRPr lang="en-US" dirty="0"/>
          </a:p>
        </p:txBody>
      </p:sp>
      <p:sp>
        <p:nvSpPr>
          <p:cNvPr id="5" name="Abgerundetes Rechteck 4"/>
          <p:cNvSpPr/>
          <p:nvPr>
            <p:custDataLst>
              <p:tags r:id="rId1"/>
            </p:custDataLst>
          </p:nvPr>
        </p:nvSpPr>
        <p:spPr bwMode="gray">
          <a:xfrm>
            <a:off x="297737" y="1780859"/>
            <a:ext cx="8493739" cy="288717"/>
          </a:xfrm>
          <a:prstGeom prst="roundRect">
            <a:avLst>
              <a:gd name="adj" fmla="val 0"/>
            </a:avLst>
          </a:prstGeom>
          <a:gradFill flip="none" rotWithShape="1">
            <a:gsLst>
              <a:gs pos="0">
                <a:schemeClr val="bg2"/>
              </a:gs>
              <a:gs pos="50000">
                <a:schemeClr val="bg1">
                  <a:lumMod val="95000"/>
                </a:schemeClr>
              </a:gs>
              <a:gs pos="100000">
                <a:schemeClr val="bg2"/>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tIns="46800" rIns="90000" rtlCol="0" anchor="ctr" anchorCtr="0"/>
          <a:lstStyle/>
          <a:p>
            <a:pPr algn="ctr">
              <a:spcBef>
                <a:spcPts val="400"/>
              </a:spcBef>
              <a:spcAft>
                <a:spcPts val="400"/>
              </a:spcAft>
              <a:buClr>
                <a:srgbClr val="A30B1A"/>
              </a:buClr>
            </a:pPr>
            <a:r>
              <a:rPr lang="ru-RU" sz="1400" dirty="0" smtClean="0">
                <a:solidFill>
                  <a:srgbClr val="000000"/>
                </a:solidFill>
              </a:rPr>
              <a:t>Основные хранилища</a:t>
            </a:r>
            <a:r>
              <a:rPr lang="en-US" sz="1400" dirty="0" smtClean="0">
                <a:solidFill>
                  <a:srgbClr val="000000"/>
                </a:solidFill>
              </a:rPr>
              <a:t> </a:t>
            </a:r>
            <a:r>
              <a:rPr lang="ru-RU" sz="1400" dirty="0" smtClean="0">
                <a:solidFill>
                  <a:srgbClr val="000000"/>
                </a:solidFill>
              </a:rPr>
              <a:t>(например,</a:t>
            </a:r>
            <a:r>
              <a:rPr lang="en-US" sz="1400" dirty="0" smtClean="0">
                <a:solidFill>
                  <a:srgbClr val="000000"/>
                </a:solidFill>
              </a:rPr>
              <a:t> ETERNUS DX)</a:t>
            </a:r>
          </a:p>
        </p:txBody>
      </p:sp>
      <p:sp>
        <p:nvSpPr>
          <p:cNvPr id="6" name="Abgerundetes Rechteck 5"/>
          <p:cNvSpPr/>
          <p:nvPr>
            <p:custDataLst>
              <p:tags r:id="rId2"/>
            </p:custDataLst>
          </p:nvPr>
        </p:nvSpPr>
        <p:spPr bwMode="gray">
          <a:xfrm>
            <a:off x="297714" y="2547317"/>
            <a:ext cx="2977344" cy="673005"/>
          </a:xfrm>
          <a:prstGeom prst="roundRect">
            <a:avLst>
              <a:gd name="adj" fmla="val 0"/>
            </a:avLst>
          </a:prstGeom>
          <a:gradFill flip="none" rotWithShape="1">
            <a:gsLst>
              <a:gs pos="0">
                <a:schemeClr val="bg2"/>
              </a:gs>
              <a:gs pos="50000">
                <a:schemeClr val="bg1">
                  <a:lumMod val="95000"/>
                </a:schemeClr>
              </a:gs>
              <a:gs pos="100000">
                <a:schemeClr val="bg2"/>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buClr>
                <a:srgbClr val="A30B1A"/>
              </a:buClr>
            </a:pPr>
            <a:endParaRPr lang="en-US" sz="1200" dirty="0" smtClean="0">
              <a:solidFill>
                <a:srgbClr val="000000"/>
              </a:solidFill>
            </a:endParaRPr>
          </a:p>
        </p:txBody>
      </p:sp>
      <p:pic>
        <p:nvPicPr>
          <p:cNvPr id="169" name="Picture 65" descr="D:\k16\grafika\illustrator\ikony\fts\ikona_fts_01.png"/>
          <p:cNvPicPr>
            <a:picLocks noChangeAspect="1" noChangeArrowheads="1"/>
          </p:cNvPicPr>
          <p:nvPr>
            <p:custDataLst>
              <p:tags r:id="rId3"/>
            </p:custDataLst>
          </p:nvPr>
        </p:nvPicPr>
        <p:blipFill>
          <a:blip r:embed="rId82" cstate="email">
            <a:extLst>
              <a:ext uri="{28A0092B-C50C-407E-A947-70E740481C1C}">
                <a14:useLocalDpi xmlns:a14="http://schemas.microsoft.com/office/drawing/2010/main"/>
              </a:ext>
            </a:extLst>
          </a:blip>
          <a:srcRect/>
          <a:stretch>
            <a:fillRect/>
          </a:stretch>
        </p:blipFill>
        <p:spPr bwMode="gray">
          <a:xfrm>
            <a:off x="490793" y="2642940"/>
            <a:ext cx="918145" cy="467350"/>
          </a:xfrm>
          <a:prstGeom prst="rect">
            <a:avLst/>
          </a:prstGeom>
          <a:noFill/>
        </p:spPr>
      </p:pic>
      <p:grpSp>
        <p:nvGrpSpPr>
          <p:cNvPr id="170" name="Gruppieren 89"/>
          <p:cNvGrpSpPr/>
          <p:nvPr>
            <p:custDataLst>
              <p:tags r:id="rId4"/>
            </p:custDataLst>
          </p:nvPr>
        </p:nvGrpSpPr>
        <p:grpSpPr bwMode="gray">
          <a:xfrm>
            <a:off x="635941" y="2695826"/>
            <a:ext cx="177020" cy="357790"/>
            <a:chOff x="6876320" y="1203560"/>
            <a:chExt cx="374650" cy="757238"/>
          </a:xfrm>
        </p:grpSpPr>
        <p:sp>
          <p:nvSpPr>
            <p:cNvPr id="171" name="Freeform 4"/>
            <p:cNvSpPr>
              <a:spLocks/>
            </p:cNvSpPr>
            <p:nvPr/>
          </p:nvSpPr>
          <p:spPr bwMode="gray">
            <a:xfrm>
              <a:off x="6876320" y="1203560"/>
              <a:ext cx="374650" cy="757238"/>
            </a:xfrm>
            <a:custGeom>
              <a:avLst/>
              <a:gdLst/>
              <a:ahLst/>
              <a:cxnLst>
                <a:cxn ang="0">
                  <a:pos x="0" y="3"/>
                </a:cxn>
                <a:cxn ang="0">
                  <a:pos x="0" y="2"/>
                </a:cxn>
                <a:cxn ang="0">
                  <a:pos x="1" y="1"/>
                </a:cxn>
                <a:cxn ang="0">
                  <a:pos x="2" y="0"/>
                </a:cxn>
                <a:cxn ang="0">
                  <a:pos x="3" y="0"/>
                </a:cxn>
                <a:cxn ang="0">
                  <a:pos x="233" y="0"/>
                </a:cxn>
                <a:cxn ang="0">
                  <a:pos x="234" y="0"/>
                </a:cxn>
                <a:cxn ang="0">
                  <a:pos x="235" y="1"/>
                </a:cxn>
                <a:cxn ang="0">
                  <a:pos x="236" y="2"/>
                </a:cxn>
                <a:cxn ang="0">
                  <a:pos x="236" y="3"/>
                </a:cxn>
                <a:cxn ang="0">
                  <a:pos x="236" y="474"/>
                </a:cxn>
                <a:cxn ang="0">
                  <a:pos x="236" y="475"/>
                </a:cxn>
                <a:cxn ang="0">
                  <a:pos x="235" y="476"/>
                </a:cxn>
                <a:cxn ang="0">
                  <a:pos x="234" y="476"/>
                </a:cxn>
                <a:cxn ang="0">
                  <a:pos x="233" y="477"/>
                </a:cxn>
                <a:cxn ang="0">
                  <a:pos x="3" y="477"/>
                </a:cxn>
                <a:cxn ang="0">
                  <a:pos x="2" y="476"/>
                </a:cxn>
                <a:cxn ang="0">
                  <a:pos x="1" y="476"/>
                </a:cxn>
                <a:cxn ang="0">
                  <a:pos x="0" y="475"/>
                </a:cxn>
                <a:cxn ang="0">
                  <a:pos x="0" y="474"/>
                </a:cxn>
                <a:cxn ang="0">
                  <a:pos x="0" y="3"/>
                </a:cxn>
              </a:cxnLst>
              <a:rect l="0" t="0" r="r" b="b"/>
              <a:pathLst>
                <a:path w="236" h="477">
                  <a:moveTo>
                    <a:pt x="0" y="3"/>
                  </a:moveTo>
                  <a:lnTo>
                    <a:pt x="0" y="2"/>
                  </a:lnTo>
                  <a:lnTo>
                    <a:pt x="1" y="1"/>
                  </a:lnTo>
                  <a:lnTo>
                    <a:pt x="2" y="0"/>
                  </a:lnTo>
                  <a:lnTo>
                    <a:pt x="3" y="0"/>
                  </a:lnTo>
                  <a:lnTo>
                    <a:pt x="233" y="0"/>
                  </a:lnTo>
                  <a:lnTo>
                    <a:pt x="234" y="0"/>
                  </a:lnTo>
                  <a:lnTo>
                    <a:pt x="235" y="1"/>
                  </a:lnTo>
                  <a:lnTo>
                    <a:pt x="236" y="2"/>
                  </a:lnTo>
                  <a:lnTo>
                    <a:pt x="236" y="3"/>
                  </a:lnTo>
                  <a:lnTo>
                    <a:pt x="236" y="474"/>
                  </a:lnTo>
                  <a:lnTo>
                    <a:pt x="236" y="475"/>
                  </a:lnTo>
                  <a:lnTo>
                    <a:pt x="235" y="476"/>
                  </a:lnTo>
                  <a:lnTo>
                    <a:pt x="234" y="476"/>
                  </a:lnTo>
                  <a:lnTo>
                    <a:pt x="233" y="477"/>
                  </a:lnTo>
                  <a:lnTo>
                    <a:pt x="3" y="477"/>
                  </a:lnTo>
                  <a:lnTo>
                    <a:pt x="2" y="476"/>
                  </a:lnTo>
                  <a:lnTo>
                    <a:pt x="1" y="476"/>
                  </a:lnTo>
                  <a:lnTo>
                    <a:pt x="0" y="475"/>
                  </a:lnTo>
                  <a:lnTo>
                    <a:pt x="0" y="474"/>
                  </a:lnTo>
                  <a:lnTo>
                    <a:pt x="0" y="3"/>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2" name="Freeform 5"/>
            <p:cNvSpPr>
              <a:spLocks/>
            </p:cNvSpPr>
            <p:nvPr/>
          </p:nvSpPr>
          <p:spPr bwMode="gray">
            <a:xfrm>
              <a:off x="6901720" y="1241660"/>
              <a:ext cx="26988" cy="26988"/>
            </a:xfrm>
            <a:custGeom>
              <a:avLst/>
              <a:gdLst/>
              <a:ahLst/>
              <a:cxnLst>
                <a:cxn ang="0">
                  <a:pos x="0" y="8"/>
                </a:cxn>
                <a:cxn ang="0">
                  <a:pos x="1" y="7"/>
                </a:cxn>
                <a:cxn ang="0">
                  <a:pos x="1" y="5"/>
                </a:cxn>
                <a:cxn ang="0">
                  <a:pos x="3" y="2"/>
                </a:cxn>
                <a:cxn ang="0">
                  <a:pos x="4" y="1"/>
                </a:cxn>
                <a:cxn ang="0">
                  <a:pos x="6" y="0"/>
                </a:cxn>
                <a:cxn ang="0">
                  <a:pos x="9" y="0"/>
                </a:cxn>
                <a:cxn ang="0">
                  <a:pos x="12" y="0"/>
                </a:cxn>
                <a:cxn ang="0">
                  <a:pos x="15" y="2"/>
                </a:cxn>
                <a:cxn ang="0">
                  <a:pos x="16" y="4"/>
                </a:cxn>
                <a:cxn ang="0">
                  <a:pos x="17" y="5"/>
                </a:cxn>
                <a:cxn ang="0">
                  <a:pos x="17" y="7"/>
                </a:cxn>
                <a:cxn ang="0">
                  <a:pos x="17" y="8"/>
                </a:cxn>
                <a:cxn ang="0">
                  <a:pos x="17" y="10"/>
                </a:cxn>
                <a:cxn ang="0">
                  <a:pos x="17" y="12"/>
                </a:cxn>
                <a:cxn ang="0">
                  <a:pos x="15" y="14"/>
                </a:cxn>
                <a:cxn ang="0">
                  <a:pos x="14" y="15"/>
                </a:cxn>
                <a:cxn ang="0">
                  <a:pos x="12" y="16"/>
                </a:cxn>
                <a:cxn ang="0">
                  <a:pos x="9" y="17"/>
                </a:cxn>
                <a:cxn ang="0">
                  <a:pos x="6" y="16"/>
                </a:cxn>
                <a:cxn ang="0">
                  <a:pos x="3" y="14"/>
                </a:cxn>
                <a:cxn ang="0">
                  <a:pos x="2" y="13"/>
                </a:cxn>
                <a:cxn ang="0">
                  <a:pos x="1" y="12"/>
                </a:cxn>
                <a:cxn ang="0">
                  <a:pos x="1" y="10"/>
                </a:cxn>
                <a:cxn ang="0">
                  <a:pos x="0" y="8"/>
                </a:cxn>
              </a:cxnLst>
              <a:rect l="0" t="0" r="r" b="b"/>
              <a:pathLst>
                <a:path w="17" h="17">
                  <a:moveTo>
                    <a:pt x="0" y="8"/>
                  </a:moveTo>
                  <a:lnTo>
                    <a:pt x="1" y="7"/>
                  </a:lnTo>
                  <a:lnTo>
                    <a:pt x="1" y="5"/>
                  </a:lnTo>
                  <a:lnTo>
                    <a:pt x="3" y="2"/>
                  </a:lnTo>
                  <a:lnTo>
                    <a:pt x="4" y="1"/>
                  </a:lnTo>
                  <a:lnTo>
                    <a:pt x="6" y="0"/>
                  </a:lnTo>
                  <a:lnTo>
                    <a:pt x="9" y="0"/>
                  </a:lnTo>
                  <a:lnTo>
                    <a:pt x="12" y="0"/>
                  </a:lnTo>
                  <a:lnTo>
                    <a:pt x="15" y="2"/>
                  </a:lnTo>
                  <a:lnTo>
                    <a:pt x="16" y="4"/>
                  </a:lnTo>
                  <a:lnTo>
                    <a:pt x="17" y="5"/>
                  </a:lnTo>
                  <a:lnTo>
                    <a:pt x="17" y="7"/>
                  </a:lnTo>
                  <a:lnTo>
                    <a:pt x="17" y="8"/>
                  </a:lnTo>
                  <a:lnTo>
                    <a:pt x="17" y="10"/>
                  </a:lnTo>
                  <a:lnTo>
                    <a:pt x="17" y="12"/>
                  </a:lnTo>
                  <a:lnTo>
                    <a:pt x="15" y="14"/>
                  </a:lnTo>
                  <a:lnTo>
                    <a:pt x="14" y="15"/>
                  </a:lnTo>
                  <a:lnTo>
                    <a:pt x="12" y="16"/>
                  </a:lnTo>
                  <a:lnTo>
                    <a:pt x="9" y="17"/>
                  </a:lnTo>
                  <a:lnTo>
                    <a:pt x="6" y="16"/>
                  </a:lnTo>
                  <a:lnTo>
                    <a:pt x="3" y="14"/>
                  </a:lnTo>
                  <a:lnTo>
                    <a:pt x="2" y="13"/>
                  </a:lnTo>
                  <a:lnTo>
                    <a:pt x="1" y="12"/>
                  </a:lnTo>
                  <a:lnTo>
                    <a:pt x="1" y="10"/>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3" name="Freeform 6"/>
            <p:cNvSpPr>
              <a:spLocks/>
            </p:cNvSpPr>
            <p:nvPr/>
          </p:nvSpPr>
          <p:spPr bwMode="gray">
            <a:xfrm>
              <a:off x="6901720" y="191158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4" name="Freeform 7"/>
            <p:cNvSpPr>
              <a:spLocks/>
            </p:cNvSpPr>
            <p:nvPr/>
          </p:nvSpPr>
          <p:spPr bwMode="gray">
            <a:xfrm>
              <a:off x="6950933" y="1243248"/>
              <a:ext cx="127000" cy="22225"/>
            </a:xfrm>
            <a:custGeom>
              <a:avLst/>
              <a:gdLst/>
              <a:ahLst/>
              <a:cxnLst>
                <a:cxn ang="0">
                  <a:pos x="8" y="0"/>
                </a:cxn>
                <a:cxn ang="0">
                  <a:pos x="73" y="0"/>
                </a:cxn>
                <a:cxn ang="0">
                  <a:pos x="76" y="1"/>
                </a:cxn>
                <a:cxn ang="0">
                  <a:pos x="78" y="2"/>
                </a:cxn>
                <a:cxn ang="0">
                  <a:pos x="80" y="5"/>
                </a:cxn>
                <a:cxn ang="0">
                  <a:pos x="80" y="7"/>
                </a:cxn>
                <a:cxn ang="0">
                  <a:pos x="80" y="10"/>
                </a:cxn>
                <a:cxn ang="0">
                  <a:pos x="78" y="12"/>
                </a:cxn>
                <a:cxn ang="0">
                  <a:pos x="76" y="14"/>
                </a:cxn>
                <a:cxn ang="0">
                  <a:pos x="74" y="14"/>
                </a:cxn>
                <a:cxn ang="0">
                  <a:pos x="73" y="14"/>
                </a:cxn>
                <a:cxn ang="0">
                  <a:pos x="8" y="14"/>
                </a:cxn>
                <a:cxn ang="0">
                  <a:pos x="5" y="14"/>
                </a:cxn>
                <a:cxn ang="0">
                  <a:pos x="2" y="12"/>
                </a:cxn>
                <a:cxn ang="0">
                  <a:pos x="1" y="10"/>
                </a:cxn>
                <a:cxn ang="0">
                  <a:pos x="0" y="7"/>
                </a:cxn>
                <a:cxn ang="0">
                  <a:pos x="1" y="5"/>
                </a:cxn>
                <a:cxn ang="0">
                  <a:pos x="2" y="2"/>
                </a:cxn>
                <a:cxn ang="0">
                  <a:pos x="5" y="1"/>
                </a:cxn>
                <a:cxn ang="0">
                  <a:pos x="6" y="0"/>
                </a:cxn>
                <a:cxn ang="0">
                  <a:pos x="8" y="0"/>
                </a:cxn>
              </a:cxnLst>
              <a:rect l="0" t="0" r="r" b="b"/>
              <a:pathLst>
                <a:path w="80" h="14">
                  <a:moveTo>
                    <a:pt x="8" y="0"/>
                  </a:moveTo>
                  <a:lnTo>
                    <a:pt x="73" y="0"/>
                  </a:lnTo>
                  <a:lnTo>
                    <a:pt x="76" y="1"/>
                  </a:lnTo>
                  <a:lnTo>
                    <a:pt x="78" y="2"/>
                  </a:lnTo>
                  <a:lnTo>
                    <a:pt x="80" y="5"/>
                  </a:lnTo>
                  <a:lnTo>
                    <a:pt x="80" y="7"/>
                  </a:lnTo>
                  <a:lnTo>
                    <a:pt x="80" y="10"/>
                  </a:lnTo>
                  <a:lnTo>
                    <a:pt x="78" y="12"/>
                  </a:lnTo>
                  <a:lnTo>
                    <a:pt x="76" y="14"/>
                  </a:lnTo>
                  <a:lnTo>
                    <a:pt x="74" y="14"/>
                  </a:lnTo>
                  <a:lnTo>
                    <a:pt x="73" y="14"/>
                  </a:lnTo>
                  <a:lnTo>
                    <a:pt x="8" y="14"/>
                  </a:lnTo>
                  <a:lnTo>
                    <a:pt x="5" y="14"/>
                  </a:lnTo>
                  <a:lnTo>
                    <a:pt x="2" y="12"/>
                  </a:lnTo>
                  <a:lnTo>
                    <a:pt x="1" y="10"/>
                  </a:lnTo>
                  <a:lnTo>
                    <a:pt x="0" y="7"/>
                  </a:lnTo>
                  <a:lnTo>
                    <a:pt x="1" y="5"/>
                  </a:lnTo>
                  <a:lnTo>
                    <a:pt x="2" y="2"/>
                  </a:lnTo>
                  <a:lnTo>
                    <a:pt x="5" y="1"/>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5" name="Freeform 8"/>
            <p:cNvSpPr>
              <a:spLocks/>
            </p:cNvSpPr>
            <p:nvPr/>
          </p:nvSpPr>
          <p:spPr bwMode="gray">
            <a:xfrm>
              <a:off x="6901720" y="1289285"/>
              <a:ext cx="26988" cy="26988"/>
            </a:xfrm>
            <a:custGeom>
              <a:avLst/>
              <a:gdLst/>
              <a:ahLst/>
              <a:cxnLst>
                <a:cxn ang="0">
                  <a:pos x="0" y="8"/>
                </a:cxn>
                <a:cxn ang="0">
                  <a:pos x="1" y="6"/>
                </a:cxn>
                <a:cxn ang="0">
                  <a:pos x="1" y="5"/>
                </a:cxn>
                <a:cxn ang="0">
                  <a:pos x="3" y="2"/>
                </a:cxn>
                <a:cxn ang="0">
                  <a:pos x="4" y="1"/>
                </a:cxn>
                <a:cxn ang="0">
                  <a:pos x="6" y="0"/>
                </a:cxn>
                <a:cxn ang="0">
                  <a:pos x="9" y="0"/>
                </a:cxn>
                <a:cxn ang="0">
                  <a:pos x="12" y="0"/>
                </a:cxn>
                <a:cxn ang="0">
                  <a:pos x="15" y="2"/>
                </a:cxn>
                <a:cxn ang="0">
                  <a:pos x="16" y="3"/>
                </a:cxn>
                <a:cxn ang="0">
                  <a:pos x="17" y="5"/>
                </a:cxn>
                <a:cxn ang="0">
                  <a:pos x="17" y="6"/>
                </a:cxn>
                <a:cxn ang="0">
                  <a:pos x="17" y="8"/>
                </a:cxn>
                <a:cxn ang="0">
                  <a:pos x="17" y="11"/>
                </a:cxn>
                <a:cxn ang="0">
                  <a:pos x="17" y="12"/>
                </a:cxn>
                <a:cxn ang="0">
                  <a:pos x="15" y="15"/>
                </a:cxn>
                <a:cxn ang="0">
                  <a:pos x="14" y="16"/>
                </a:cxn>
                <a:cxn ang="0">
                  <a:pos x="12" y="17"/>
                </a:cxn>
                <a:cxn ang="0">
                  <a:pos x="9" y="17"/>
                </a:cxn>
                <a:cxn ang="0">
                  <a:pos x="6" y="17"/>
                </a:cxn>
                <a:cxn ang="0">
                  <a:pos x="3" y="15"/>
                </a:cxn>
                <a:cxn ang="0">
                  <a:pos x="2" y="14"/>
                </a:cxn>
                <a:cxn ang="0">
                  <a:pos x="1" y="12"/>
                </a:cxn>
                <a:cxn ang="0">
                  <a:pos x="1" y="11"/>
                </a:cxn>
                <a:cxn ang="0">
                  <a:pos x="0" y="8"/>
                </a:cxn>
              </a:cxnLst>
              <a:rect l="0" t="0" r="r" b="b"/>
              <a:pathLst>
                <a:path w="17" h="17">
                  <a:moveTo>
                    <a:pt x="0" y="8"/>
                  </a:moveTo>
                  <a:lnTo>
                    <a:pt x="1" y="6"/>
                  </a:lnTo>
                  <a:lnTo>
                    <a:pt x="1" y="5"/>
                  </a:lnTo>
                  <a:lnTo>
                    <a:pt x="3" y="2"/>
                  </a:lnTo>
                  <a:lnTo>
                    <a:pt x="4" y="1"/>
                  </a:lnTo>
                  <a:lnTo>
                    <a:pt x="6" y="0"/>
                  </a:lnTo>
                  <a:lnTo>
                    <a:pt x="9" y="0"/>
                  </a:lnTo>
                  <a:lnTo>
                    <a:pt x="12" y="0"/>
                  </a:lnTo>
                  <a:lnTo>
                    <a:pt x="15" y="2"/>
                  </a:lnTo>
                  <a:lnTo>
                    <a:pt x="16" y="3"/>
                  </a:lnTo>
                  <a:lnTo>
                    <a:pt x="17" y="5"/>
                  </a:lnTo>
                  <a:lnTo>
                    <a:pt x="17" y="6"/>
                  </a:lnTo>
                  <a:lnTo>
                    <a:pt x="17" y="8"/>
                  </a:lnTo>
                  <a:lnTo>
                    <a:pt x="17" y="11"/>
                  </a:lnTo>
                  <a:lnTo>
                    <a:pt x="17" y="12"/>
                  </a:lnTo>
                  <a:lnTo>
                    <a:pt x="15" y="15"/>
                  </a:lnTo>
                  <a:lnTo>
                    <a:pt x="14" y="16"/>
                  </a:lnTo>
                  <a:lnTo>
                    <a:pt x="12" y="17"/>
                  </a:lnTo>
                  <a:lnTo>
                    <a:pt x="9" y="17"/>
                  </a:lnTo>
                  <a:lnTo>
                    <a:pt x="6" y="17"/>
                  </a:lnTo>
                  <a:lnTo>
                    <a:pt x="3" y="15"/>
                  </a:lnTo>
                  <a:lnTo>
                    <a:pt x="2" y="14"/>
                  </a:lnTo>
                  <a:lnTo>
                    <a:pt x="1" y="12"/>
                  </a:lnTo>
                  <a:lnTo>
                    <a:pt x="1" y="11"/>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6" name="Freeform 9"/>
            <p:cNvSpPr>
              <a:spLocks/>
            </p:cNvSpPr>
            <p:nvPr/>
          </p:nvSpPr>
          <p:spPr bwMode="gray">
            <a:xfrm>
              <a:off x="6950933" y="1290873"/>
              <a:ext cx="127000" cy="23813"/>
            </a:xfrm>
            <a:custGeom>
              <a:avLst/>
              <a:gdLst/>
              <a:ahLst/>
              <a:cxnLst>
                <a:cxn ang="0">
                  <a:pos x="8" y="0"/>
                </a:cxn>
                <a:cxn ang="0">
                  <a:pos x="73" y="0"/>
                </a:cxn>
                <a:cxn ang="0">
                  <a:pos x="76" y="0"/>
                </a:cxn>
                <a:cxn ang="0">
                  <a:pos x="78" y="2"/>
                </a:cxn>
                <a:cxn ang="0">
                  <a:pos x="80" y="4"/>
                </a:cxn>
                <a:cxn ang="0">
                  <a:pos x="80" y="7"/>
                </a:cxn>
                <a:cxn ang="0">
                  <a:pos x="80" y="11"/>
                </a:cxn>
                <a:cxn ang="0">
                  <a:pos x="78" y="13"/>
                </a:cxn>
                <a:cxn ang="0">
                  <a:pos x="76" y="15"/>
                </a:cxn>
                <a:cxn ang="0">
                  <a:pos x="74" y="15"/>
                </a:cxn>
                <a:cxn ang="0">
                  <a:pos x="73" y="15"/>
                </a:cxn>
                <a:cxn ang="0">
                  <a:pos x="8" y="15"/>
                </a:cxn>
                <a:cxn ang="0">
                  <a:pos x="5" y="15"/>
                </a:cxn>
                <a:cxn ang="0">
                  <a:pos x="2" y="13"/>
                </a:cxn>
                <a:cxn ang="0">
                  <a:pos x="1" y="11"/>
                </a:cxn>
                <a:cxn ang="0">
                  <a:pos x="0" y="7"/>
                </a:cxn>
                <a:cxn ang="0">
                  <a:pos x="1" y="4"/>
                </a:cxn>
                <a:cxn ang="0">
                  <a:pos x="2" y="2"/>
                </a:cxn>
                <a:cxn ang="0">
                  <a:pos x="5" y="0"/>
                </a:cxn>
                <a:cxn ang="0">
                  <a:pos x="6" y="0"/>
                </a:cxn>
                <a:cxn ang="0">
                  <a:pos x="8" y="0"/>
                </a:cxn>
              </a:cxnLst>
              <a:rect l="0" t="0" r="r" b="b"/>
              <a:pathLst>
                <a:path w="80" h="15">
                  <a:moveTo>
                    <a:pt x="8" y="0"/>
                  </a:moveTo>
                  <a:lnTo>
                    <a:pt x="73" y="0"/>
                  </a:lnTo>
                  <a:lnTo>
                    <a:pt x="76" y="0"/>
                  </a:lnTo>
                  <a:lnTo>
                    <a:pt x="78" y="2"/>
                  </a:lnTo>
                  <a:lnTo>
                    <a:pt x="80" y="4"/>
                  </a:lnTo>
                  <a:lnTo>
                    <a:pt x="80" y="7"/>
                  </a:lnTo>
                  <a:lnTo>
                    <a:pt x="80" y="11"/>
                  </a:lnTo>
                  <a:lnTo>
                    <a:pt x="78" y="13"/>
                  </a:lnTo>
                  <a:lnTo>
                    <a:pt x="76" y="15"/>
                  </a:lnTo>
                  <a:lnTo>
                    <a:pt x="74" y="15"/>
                  </a:lnTo>
                  <a:lnTo>
                    <a:pt x="73" y="15"/>
                  </a:lnTo>
                  <a:lnTo>
                    <a:pt x="8" y="15"/>
                  </a:lnTo>
                  <a:lnTo>
                    <a:pt x="5" y="15"/>
                  </a:lnTo>
                  <a:lnTo>
                    <a:pt x="2" y="13"/>
                  </a:lnTo>
                  <a:lnTo>
                    <a:pt x="1" y="11"/>
                  </a:lnTo>
                  <a:lnTo>
                    <a:pt x="0" y="7"/>
                  </a:lnTo>
                  <a:lnTo>
                    <a:pt x="1" y="4"/>
                  </a:lnTo>
                  <a:lnTo>
                    <a:pt x="2" y="2"/>
                  </a:lnTo>
                  <a:lnTo>
                    <a:pt x="5" y="0"/>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7" name="Freeform 10"/>
            <p:cNvSpPr>
              <a:spLocks/>
            </p:cNvSpPr>
            <p:nvPr/>
          </p:nvSpPr>
          <p:spPr bwMode="gray">
            <a:xfrm>
              <a:off x="6901720" y="187507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8" name="Freeform 11"/>
            <p:cNvSpPr>
              <a:spLocks/>
            </p:cNvSpPr>
            <p:nvPr/>
          </p:nvSpPr>
          <p:spPr bwMode="gray">
            <a:xfrm>
              <a:off x="6901720" y="183856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9" name="Freeform 12"/>
            <p:cNvSpPr>
              <a:spLocks/>
            </p:cNvSpPr>
            <p:nvPr/>
          </p:nvSpPr>
          <p:spPr bwMode="gray">
            <a:xfrm>
              <a:off x="6901720" y="180204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0" name="Freeform 13"/>
            <p:cNvSpPr>
              <a:spLocks/>
            </p:cNvSpPr>
            <p:nvPr/>
          </p:nvSpPr>
          <p:spPr bwMode="gray">
            <a:xfrm>
              <a:off x="6901720" y="176553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1" name="Freeform 14"/>
            <p:cNvSpPr>
              <a:spLocks/>
            </p:cNvSpPr>
            <p:nvPr/>
          </p:nvSpPr>
          <p:spPr bwMode="gray">
            <a:xfrm>
              <a:off x="6901720" y="172902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2" name="Freeform 15"/>
            <p:cNvSpPr>
              <a:spLocks/>
            </p:cNvSpPr>
            <p:nvPr/>
          </p:nvSpPr>
          <p:spPr bwMode="gray">
            <a:xfrm>
              <a:off x="6901720" y="169251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3" name="Freeform 16"/>
            <p:cNvSpPr>
              <a:spLocks/>
            </p:cNvSpPr>
            <p:nvPr/>
          </p:nvSpPr>
          <p:spPr bwMode="gray">
            <a:xfrm>
              <a:off x="6901720" y="165599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184" name="TextBox 2"/>
          <p:cNvSpPr txBox="1"/>
          <p:nvPr/>
        </p:nvSpPr>
        <p:spPr>
          <a:xfrm>
            <a:off x="799484" y="2701999"/>
            <a:ext cx="646331" cy="400110"/>
          </a:xfrm>
          <a:prstGeom prst="rect">
            <a:avLst/>
          </a:prstGeom>
          <a:noFill/>
        </p:spPr>
        <p:txBody>
          <a:bodyPr wrap="none" rtlCol="0">
            <a:spAutoFit/>
          </a:bodyPr>
          <a:lstStyle/>
          <a:p>
            <a:r>
              <a:rPr lang="en-US" sz="1000" b="1" dirty="0" smtClean="0">
                <a:solidFill>
                  <a:srgbClr val="000000"/>
                </a:solidFill>
              </a:rPr>
              <a:t>Backup</a:t>
            </a:r>
            <a:br>
              <a:rPr lang="en-US" sz="1000" b="1" dirty="0" smtClean="0">
                <a:solidFill>
                  <a:srgbClr val="000000"/>
                </a:solidFill>
              </a:rPr>
            </a:br>
            <a:r>
              <a:rPr lang="en-US" sz="1000" b="1" dirty="0" smtClean="0">
                <a:solidFill>
                  <a:srgbClr val="000000"/>
                </a:solidFill>
              </a:rPr>
              <a:t>Server</a:t>
            </a:r>
            <a:endParaRPr lang="en-US" sz="1000" b="1" dirty="0">
              <a:solidFill>
                <a:srgbClr val="000000"/>
              </a:solidFill>
            </a:endParaRPr>
          </a:p>
        </p:txBody>
      </p:sp>
      <p:sp>
        <p:nvSpPr>
          <p:cNvPr id="313" name="Pfeil nach oben und unten 312"/>
          <p:cNvSpPr/>
          <p:nvPr>
            <p:custDataLst>
              <p:tags r:id="rId5"/>
            </p:custDataLst>
          </p:nvPr>
        </p:nvSpPr>
        <p:spPr bwMode="gray">
          <a:xfrm>
            <a:off x="2581662" y="2140197"/>
            <a:ext cx="201628" cy="288040"/>
          </a:xfrm>
          <a:prstGeom prst="upDownArrow">
            <a:avLst>
              <a:gd name="adj1" fmla="val 52755"/>
              <a:gd name="adj2" fmla="val 41733"/>
            </a:avLst>
          </a:prstGeom>
          <a:solidFill>
            <a:schemeClr val="accent1"/>
          </a:solidFill>
          <a:ln w="12700">
            <a:solidFill>
              <a:schemeClr val="bg1"/>
            </a:solidFill>
            <a:round/>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smtClean="0">
              <a:solidFill>
                <a:srgbClr val="000000"/>
              </a:solidFill>
            </a:endParaRPr>
          </a:p>
        </p:txBody>
      </p:sp>
      <p:sp>
        <p:nvSpPr>
          <p:cNvPr id="314" name="Pfeil nach oben und unten 313"/>
          <p:cNvSpPr/>
          <p:nvPr>
            <p:custDataLst>
              <p:tags r:id="rId6"/>
            </p:custDataLst>
          </p:nvPr>
        </p:nvSpPr>
        <p:spPr bwMode="gray">
          <a:xfrm>
            <a:off x="839074" y="2140197"/>
            <a:ext cx="201628" cy="288040"/>
          </a:xfrm>
          <a:prstGeom prst="upDownArrow">
            <a:avLst>
              <a:gd name="adj1" fmla="val 52755"/>
              <a:gd name="adj2" fmla="val 41733"/>
            </a:avLst>
          </a:prstGeom>
          <a:solidFill>
            <a:schemeClr val="accent1"/>
          </a:solidFill>
          <a:ln w="12700">
            <a:solidFill>
              <a:schemeClr val="bg1"/>
            </a:solidFill>
            <a:round/>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smtClean="0">
              <a:solidFill>
                <a:srgbClr val="000000"/>
              </a:solidFill>
            </a:endParaRPr>
          </a:p>
        </p:txBody>
      </p:sp>
      <p:sp>
        <p:nvSpPr>
          <p:cNvPr id="316" name="Pfeil nach oben und unten 315"/>
          <p:cNvSpPr/>
          <p:nvPr>
            <p:custDataLst>
              <p:tags r:id="rId7"/>
            </p:custDataLst>
          </p:nvPr>
        </p:nvSpPr>
        <p:spPr bwMode="gray">
          <a:xfrm>
            <a:off x="1686230" y="2140197"/>
            <a:ext cx="201628" cy="288040"/>
          </a:xfrm>
          <a:prstGeom prst="upDownArrow">
            <a:avLst>
              <a:gd name="adj1" fmla="val 52755"/>
              <a:gd name="adj2" fmla="val 41733"/>
            </a:avLst>
          </a:prstGeom>
          <a:solidFill>
            <a:schemeClr val="accent1"/>
          </a:solidFill>
          <a:ln w="12700">
            <a:solidFill>
              <a:schemeClr val="bg1"/>
            </a:solidFill>
            <a:round/>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smtClean="0">
              <a:solidFill>
                <a:srgbClr val="000000"/>
              </a:solidFill>
            </a:endParaRPr>
          </a:p>
        </p:txBody>
      </p:sp>
      <p:sp>
        <p:nvSpPr>
          <p:cNvPr id="198" name="Abgerundetes Rechteck 197"/>
          <p:cNvSpPr/>
          <p:nvPr>
            <p:custDataLst>
              <p:tags r:id="rId8"/>
            </p:custDataLst>
          </p:nvPr>
        </p:nvSpPr>
        <p:spPr bwMode="gray">
          <a:xfrm>
            <a:off x="297737" y="987575"/>
            <a:ext cx="8493739" cy="720777"/>
          </a:xfrm>
          <a:prstGeom prst="roundRect">
            <a:avLst>
              <a:gd name="adj" fmla="val 0"/>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tabLst>
                <a:tab pos="361950" algn="l"/>
              </a:tabLst>
            </a:pPr>
            <a:r>
              <a:rPr lang="en-US" sz="1400" dirty="0">
                <a:solidFill>
                  <a:srgbClr val="000000"/>
                </a:solidFill>
              </a:rPr>
              <a:t>	</a:t>
            </a:r>
            <a:r>
              <a:rPr lang="ru-RU" sz="1400" dirty="0" smtClean="0">
                <a:solidFill>
                  <a:srgbClr val="000000"/>
                </a:solidFill>
              </a:rPr>
              <a:t>Серверы</a:t>
            </a:r>
            <a:endParaRPr lang="en-US" sz="1400" dirty="0" smtClean="0">
              <a:solidFill>
                <a:srgbClr val="000000"/>
              </a:solidFill>
            </a:endParaRPr>
          </a:p>
          <a:p>
            <a:r>
              <a:rPr lang="en-US" sz="1400" dirty="0" smtClean="0">
                <a:solidFill>
                  <a:srgbClr val="000000"/>
                </a:solidFill>
              </a:rPr>
              <a:t>(</a:t>
            </a:r>
            <a:r>
              <a:rPr lang="ru-RU" sz="1400" dirty="0" smtClean="0">
                <a:solidFill>
                  <a:srgbClr val="000000"/>
                </a:solidFill>
              </a:rPr>
              <a:t>например, </a:t>
            </a:r>
            <a:r>
              <a:rPr lang="en-US" sz="1400" dirty="0" smtClean="0">
                <a:solidFill>
                  <a:srgbClr val="000000"/>
                </a:solidFill>
              </a:rPr>
              <a:t>PRIMERGY)</a:t>
            </a:r>
          </a:p>
        </p:txBody>
      </p:sp>
      <p:pic>
        <p:nvPicPr>
          <p:cNvPr id="222" name="Picture 5" descr="D:\k16\grafika\illustrator\ikony\fts\ikona_fts_01.png"/>
          <p:cNvPicPr>
            <a:picLocks noChangeAspect="1" noChangeArrowheads="1"/>
          </p:cNvPicPr>
          <p:nvPr>
            <p:custDataLst>
              <p:tags r:id="rId9"/>
            </p:custDataLst>
          </p:nvPr>
        </p:nvPicPr>
        <p:blipFill>
          <a:blip r:embed="rId83" cstate="email">
            <a:extLst>
              <a:ext uri="{28A0092B-C50C-407E-A947-70E740481C1C}">
                <a14:useLocalDpi xmlns:a14="http://schemas.microsoft.com/office/drawing/2010/main"/>
              </a:ext>
            </a:extLst>
          </a:blip>
          <a:srcRect/>
          <a:stretch>
            <a:fillRect/>
          </a:stretch>
        </p:blipFill>
        <p:spPr bwMode="gray">
          <a:xfrm>
            <a:off x="2523091" y="1119573"/>
            <a:ext cx="467350" cy="467350"/>
          </a:xfrm>
          <a:prstGeom prst="rect">
            <a:avLst/>
          </a:prstGeom>
          <a:noFill/>
        </p:spPr>
      </p:pic>
      <p:pic>
        <p:nvPicPr>
          <p:cNvPr id="226" name="Picture 5" descr="D:\k16\grafika\illustrator\ikony\fts\ikona_fts_01.png"/>
          <p:cNvPicPr>
            <a:picLocks noChangeAspect="1" noChangeArrowheads="1"/>
          </p:cNvPicPr>
          <p:nvPr>
            <p:custDataLst>
              <p:tags r:id="rId10"/>
            </p:custDataLst>
          </p:nvPr>
        </p:nvPicPr>
        <p:blipFill>
          <a:blip r:embed="rId83" cstate="email">
            <a:extLst>
              <a:ext uri="{28A0092B-C50C-407E-A947-70E740481C1C}">
                <a14:useLocalDpi xmlns:a14="http://schemas.microsoft.com/office/drawing/2010/main"/>
              </a:ext>
            </a:extLst>
          </a:blip>
          <a:srcRect/>
          <a:stretch>
            <a:fillRect/>
          </a:stretch>
        </p:blipFill>
        <p:spPr bwMode="gray">
          <a:xfrm>
            <a:off x="3064636" y="1119573"/>
            <a:ext cx="467350" cy="467350"/>
          </a:xfrm>
          <a:prstGeom prst="rect">
            <a:avLst/>
          </a:prstGeom>
          <a:noFill/>
        </p:spPr>
      </p:pic>
      <p:pic>
        <p:nvPicPr>
          <p:cNvPr id="227" name="Picture 5" descr="D:\k16\grafika\illustrator\ikony\fts\ikona_fts_01.png"/>
          <p:cNvPicPr>
            <a:picLocks noChangeAspect="1" noChangeArrowheads="1"/>
          </p:cNvPicPr>
          <p:nvPr>
            <p:custDataLst>
              <p:tags r:id="rId11"/>
            </p:custDataLst>
          </p:nvPr>
        </p:nvPicPr>
        <p:blipFill>
          <a:blip r:embed="rId83" cstate="email">
            <a:extLst>
              <a:ext uri="{28A0092B-C50C-407E-A947-70E740481C1C}">
                <a14:useLocalDpi xmlns:a14="http://schemas.microsoft.com/office/drawing/2010/main"/>
              </a:ext>
            </a:extLst>
          </a:blip>
          <a:srcRect/>
          <a:stretch>
            <a:fillRect/>
          </a:stretch>
        </p:blipFill>
        <p:spPr bwMode="gray">
          <a:xfrm>
            <a:off x="3603241" y="1119573"/>
            <a:ext cx="467350" cy="467350"/>
          </a:xfrm>
          <a:prstGeom prst="rect">
            <a:avLst/>
          </a:prstGeom>
          <a:noFill/>
        </p:spPr>
      </p:pic>
      <p:grpSp>
        <p:nvGrpSpPr>
          <p:cNvPr id="228" name="Gruppieren 90"/>
          <p:cNvGrpSpPr/>
          <p:nvPr>
            <p:custDataLst>
              <p:tags r:id="rId12"/>
            </p:custDataLst>
          </p:nvPr>
        </p:nvGrpSpPr>
        <p:grpSpPr bwMode="gray">
          <a:xfrm>
            <a:off x="2668256" y="1172460"/>
            <a:ext cx="177020" cy="357790"/>
            <a:chOff x="6876320" y="1203560"/>
            <a:chExt cx="374650" cy="757238"/>
          </a:xfrm>
        </p:grpSpPr>
        <p:sp>
          <p:nvSpPr>
            <p:cNvPr id="229" name="Freeform 4"/>
            <p:cNvSpPr>
              <a:spLocks/>
            </p:cNvSpPr>
            <p:nvPr/>
          </p:nvSpPr>
          <p:spPr bwMode="gray">
            <a:xfrm>
              <a:off x="6876320" y="1203560"/>
              <a:ext cx="374650" cy="757238"/>
            </a:xfrm>
            <a:custGeom>
              <a:avLst/>
              <a:gdLst/>
              <a:ahLst/>
              <a:cxnLst>
                <a:cxn ang="0">
                  <a:pos x="0" y="3"/>
                </a:cxn>
                <a:cxn ang="0">
                  <a:pos x="0" y="2"/>
                </a:cxn>
                <a:cxn ang="0">
                  <a:pos x="1" y="1"/>
                </a:cxn>
                <a:cxn ang="0">
                  <a:pos x="2" y="0"/>
                </a:cxn>
                <a:cxn ang="0">
                  <a:pos x="3" y="0"/>
                </a:cxn>
                <a:cxn ang="0">
                  <a:pos x="233" y="0"/>
                </a:cxn>
                <a:cxn ang="0">
                  <a:pos x="234" y="0"/>
                </a:cxn>
                <a:cxn ang="0">
                  <a:pos x="235" y="1"/>
                </a:cxn>
                <a:cxn ang="0">
                  <a:pos x="236" y="2"/>
                </a:cxn>
                <a:cxn ang="0">
                  <a:pos x="236" y="3"/>
                </a:cxn>
                <a:cxn ang="0">
                  <a:pos x="236" y="474"/>
                </a:cxn>
                <a:cxn ang="0">
                  <a:pos x="236" y="475"/>
                </a:cxn>
                <a:cxn ang="0">
                  <a:pos x="235" y="476"/>
                </a:cxn>
                <a:cxn ang="0">
                  <a:pos x="234" y="476"/>
                </a:cxn>
                <a:cxn ang="0">
                  <a:pos x="233" y="477"/>
                </a:cxn>
                <a:cxn ang="0">
                  <a:pos x="3" y="477"/>
                </a:cxn>
                <a:cxn ang="0">
                  <a:pos x="2" y="476"/>
                </a:cxn>
                <a:cxn ang="0">
                  <a:pos x="1" y="476"/>
                </a:cxn>
                <a:cxn ang="0">
                  <a:pos x="0" y="475"/>
                </a:cxn>
                <a:cxn ang="0">
                  <a:pos x="0" y="474"/>
                </a:cxn>
                <a:cxn ang="0">
                  <a:pos x="0" y="3"/>
                </a:cxn>
              </a:cxnLst>
              <a:rect l="0" t="0" r="r" b="b"/>
              <a:pathLst>
                <a:path w="236" h="477">
                  <a:moveTo>
                    <a:pt x="0" y="3"/>
                  </a:moveTo>
                  <a:lnTo>
                    <a:pt x="0" y="2"/>
                  </a:lnTo>
                  <a:lnTo>
                    <a:pt x="1" y="1"/>
                  </a:lnTo>
                  <a:lnTo>
                    <a:pt x="2" y="0"/>
                  </a:lnTo>
                  <a:lnTo>
                    <a:pt x="3" y="0"/>
                  </a:lnTo>
                  <a:lnTo>
                    <a:pt x="233" y="0"/>
                  </a:lnTo>
                  <a:lnTo>
                    <a:pt x="234" y="0"/>
                  </a:lnTo>
                  <a:lnTo>
                    <a:pt x="235" y="1"/>
                  </a:lnTo>
                  <a:lnTo>
                    <a:pt x="236" y="2"/>
                  </a:lnTo>
                  <a:lnTo>
                    <a:pt x="236" y="3"/>
                  </a:lnTo>
                  <a:lnTo>
                    <a:pt x="236" y="474"/>
                  </a:lnTo>
                  <a:lnTo>
                    <a:pt x="236" y="475"/>
                  </a:lnTo>
                  <a:lnTo>
                    <a:pt x="235" y="476"/>
                  </a:lnTo>
                  <a:lnTo>
                    <a:pt x="234" y="476"/>
                  </a:lnTo>
                  <a:lnTo>
                    <a:pt x="233" y="477"/>
                  </a:lnTo>
                  <a:lnTo>
                    <a:pt x="3" y="477"/>
                  </a:lnTo>
                  <a:lnTo>
                    <a:pt x="2" y="476"/>
                  </a:lnTo>
                  <a:lnTo>
                    <a:pt x="1" y="476"/>
                  </a:lnTo>
                  <a:lnTo>
                    <a:pt x="0" y="475"/>
                  </a:lnTo>
                  <a:lnTo>
                    <a:pt x="0" y="474"/>
                  </a:lnTo>
                  <a:lnTo>
                    <a:pt x="0" y="3"/>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0" name="Freeform 5"/>
            <p:cNvSpPr>
              <a:spLocks/>
            </p:cNvSpPr>
            <p:nvPr/>
          </p:nvSpPr>
          <p:spPr bwMode="gray">
            <a:xfrm>
              <a:off x="6901720" y="1241660"/>
              <a:ext cx="26988" cy="26988"/>
            </a:xfrm>
            <a:custGeom>
              <a:avLst/>
              <a:gdLst/>
              <a:ahLst/>
              <a:cxnLst>
                <a:cxn ang="0">
                  <a:pos x="0" y="8"/>
                </a:cxn>
                <a:cxn ang="0">
                  <a:pos x="1" y="7"/>
                </a:cxn>
                <a:cxn ang="0">
                  <a:pos x="1" y="5"/>
                </a:cxn>
                <a:cxn ang="0">
                  <a:pos x="3" y="2"/>
                </a:cxn>
                <a:cxn ang="0">
                  <a:pos x="4" y="1"/>
                </a:cxn>
                <a:cxn ang="0">
                  <a:pos x="6" y="0"/>
                </a:cxn>
                <a:cxn ang="0">
                  <a:pos x="9" y="0"/>
                </a:cxn>
                <a:cxn ang="0">
                  <a:pos x="12" y="0"/>
                </a:cxn>
                <a:cxn ang="0">
                  <a:pos x="15" y="2"/>
                </a:cxn>
                <a:cxn ang="0">
                  <a:pos x="16" y="4"/>
                </a:cxn>
                <a:cxn ang="0">
                  <a:pos x="17" y="5"/>
                </a:cxn>
                <a:cxn ang="0">
                  <a:pos x="17" y="7"/>
                </a:cxn>
                <a:cxn ang="0">
                  <a:pos x="17" y="8"/>
                </a:cxn>
                <a:cxn ang="0">
                  <a:pos x="17" y="10"/>
                </a:cxn>
                <a:cxn ang="0">
                  <a:pos x="17" y="12"/>
                </a:cxn>
                <a:cxn ang="0">
                  <a:pos x="15" y="14"/>
                </a:cxn>
                <a:cxn ang="0">
                  <a:pos x="14" y="15"/>
                </a:cxn>
                <a:cxn ang="0">
                  <a:pos x="12" y="16"/>
                </a:cxn>
                <a:cxn ang="0">
                  <a:pos x="9" y="17"/>
                </a:cxn>
                <a:cxn ang="0">
                  <a:pos x="6" y="16"/>
                </a:cxn>
                <a:cxn ang="0">
                  <a:pos x="3" y="14"/>
                </a:cxn>
                <a:cxn ang="0">
                  <a:pos x="2" y="13"/>
                </a:cxn>
                <a:cxn ang="0">
                  <a:pos x="1" y="12"/>
                </a:cxn>
                <a:cxn ang="0">
                  <a:pos x="1" y="10"/>
                </a:cxn>
                <a:cxn ang="0">
                  <a:pos x="0" y="8"/>
                </a:cxn>
              </a:cxnLst>
              <a:rect l="0" t="0" r="r" b="b"/>
              <a:pathLst>
                <a:path w="17" h="17">
                  <a:moveTo>
                    <a:pt x="0" y="8"/>
                  </a:moveTo>
                  <a:lnTo>
                    <a:pt x="1" y="7"/>
                  </a:lnTo>
                  <a:lnTo>
                    <a:pt x="1" y="5"/>
                  </a:lnTo>
                  <a:lnTo>
                    <a:pt x="3" y="2"/>
                  </a:lnTo>
                  <a:lnTo>
                    <a:pt x="4" y="1"/>
                  </a:lnTo>
                  <a:lnTo>
                    <a:pt x="6" y="0"/>
                  </a:lnTo>
                  <a:lnTo>
                    <a:pt x="9" y="0"/>
                  </a:lnTo>
                  <a:lnTo>
                    <a:pt x="12" y="0"/>
                  </a:lnTo>
                  <a:lnTo>
                    <a:pt x="15" y="2"/>
                  </a:lnTo>
                  <a:lnTo>
                    <a:pt x="16" y="4"/>
                  </a:lnTo>
                  <a:lnTo>
                    <a:pt x="17" y="5"/>
                  </a:lnTo>
                  <a:lnTo>
                    <a:pt x="17" y="7"/>
                  </a:lnTo>
                  <a:lnTo>
                    <a:pt x="17" y="8"/>
                  </a:lnTo>
                  <a:lnTo>
                    <a:pt x="17" y="10"/>
                  </a:lnTo>
                  <a:lnTo>
                    <a:pt x="17" y="12"/>
                  </a:lnTo>
                  <a:lnTo>
                    <a:pt x="15" y="14"/>
                  </a:lnTo>
                  <a:lnTo>
                    <a:pt x="14" y="15"/>
                  </a:lnTo>
                  <a:lnTo>
                    <a:pt x="12" y="16"/>
                  </a:lnTo>
                  <a:lnTo>
                    <a:pt x="9" y="17"/>
                  </a:lnTo>
                  <a:lnTo>
                    <a:pt x="6" y="16"/>
                  </a:lnTo>
                  <a:lnTo>
                    <a:pt x="3" y="14"/>
                  </a:lnTo>
                  <a:lnTo>
                    <a:pt x="2" y="13"/>
                  </a:lnTo>
                  <a:lnTo>
                    <a:pt x="1" y="12"/>
                  </a:lnTo>
                  <a:lnTo>
                    <a:pt x="1" y="10"/>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1" name="Freeform 6"/>
            <p:cNvSpPr>
              <a:spLocks/>
            </p:cNvSpPr>
            <p:nvPr/>
          </p:nvSpPr>
          <p:spPr bwMode="gray">
            <a:xfrm>
              <a:off x="6901720" y="191158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2" name="Freeform 7"/>
            <p:cNvSpPr>
              <a:spLocks/>
            </p:cNvSpPr>
            <p:nvPr/>
          </p:nvSpPr>
          <p:spPr bwMode="gray">
            <a:xfrm>
              <a:off x="6950933" y="1243248"/>
              <a:ext cx="127000" cy="22225"/>
            </a:xfrm>
            <a:custGeom>
              <a:avLst/>
              <a:gdLst/>
              <a:ahLst/>
              <a:cxnLst>
                <a:cxn ang="0">
                  <a:pos x="8" y="0"/>
                </a:cxn>
                <a:cxn ang="0">
                  <a:pos x="73" y="0"/>
                </a:cxn>
                <a:cxn ang="0">
                  <a:pos x="76" y="1"/>
                </a:cxn>
                <a:cxn ang="0">
                  <a:pos x="78" y="2"/>
                </a:cxn>
                <a:cxn ang="0">
                  <a:pos x="80" y="5"/>
                </a:cxn>
                <a:cxn ang="0">
                  <a:pos x="80" y="7"/>
                </a:cxn>
                <a:cxn ang="0">
                  <a:pos x="80" y="10"/>
                </a:cxn>
                <a:cxn ang="0">
                  <a:pos x="78" y="12"/>
                </a:cxn>
                <a:cxn ang="0">
                  <a:pos x="76" y="14"/>
                </a:cxn>
                <a:cxn ang="0">
                  <a:pos x="74" y="14"/>
                </a:cxn>
                <a:cxn ang="0">
                  <a:pos x="73" y="14"/>
                </a:cxn>
                <a:cxn ang="0">
                  <a:pos x="8" y="14"/>
                </a:cxn>
                <a:cxn ang="0">
                  <a:pos x="5" y="14"/>
                </a:cxn>
                <a:cxn ang="0">
                  <a:pos x="2" y="12"/>
                </a:cxn>
                <a:cxn ang="0">
                  <a:pos x="1" y="10"/>
                </a:cxn>
                <a:cxn ang="0">
                  <a:pos x="0" y="7"/>
                </a:cxn>
                <a:cxn ang="0">
                  <a:pos x="1" y="5"/>
                </a:cxn>
                <a:cxn ang="0">
                  <a:pos x="2" y="2"/>
                </a:cxn>
                <a:cxn ang="0">
                  <a:pos x="5" y="1"/>
                </a:cxn>
                <a:cxn ang="0">
                  <a:pos x="6" y="0"/>
                </a:cxn>
                <a:cxn ang="0">
                  <a:pos x="8" y="0"/>
                </a:cxn>
              </a:cxnLst>
              <a:rect l="0" t="0" r="r" b="b"/>
              <a:pathLst>
                <a:path w="80" h="14">
                  <a:moveTo>
                    <a:pt x="8" y="0"/>
                  </a:moveTo>
                  <a:lnTo>
                    <a:pt x="73" y="0"/>
                  </a:lnTo>
                  <a:lnTo>
                    <a:pt x="76" y="1"/>
                  </a:lnTo>
                  <a:lnTo>
                    <a:pt x="78" y="2"/>
                  </a:lnTo>
                  <a:lnTo>
                    <a:pt x="80" y="5"/>
                  </a:lnTo>
                  <a:lnTo>
                    <a:pt x="80" y="7"/>
                  </a:lnTo>
                  <a:lnTo>
                    <a:pt x="80" y="10"/>
                  </a:lnTo>
                  <a:lnTo>
                    <a:pt x="78" y="12"/>
                  </a:lnTo>
                  <a:lnTo>
                    <a:pt x="76" y="14"/>
                  </a:lnTo>
                  <a:lnTo>
                    <a:pt x="74" y="14"/>
                  </a:lnTo>
                  <a:lnTo>
                    <a:pt x="73" y="14"/>
                  </a:lnTo>
                  <a:lnTo>
                    <a:pt x="8" y="14"/>
                  </a:lnTo>
                  <a:lnTo>
                    <a:pt x="5" y="14"/>
                  </a:lnTo>
                  <a:lnTo>
                    <a:pt x="2" y="12"/>
                  </a:lnTo>
                  <a:lnTo>
                    <a:pt x="1" y="10"/>
                  </a:lnTo>
                  <a:lnTo>
                    <a:pt x="0" y="7"/>
                  </a:lnTo>
                  <a:lnTo>
                    <a:pt x="1" y="5"/>
                  </a:lnTo>
                  <a:lnTo>
                    <a:pt x="2" y="2"/>
                  </a:lnTo>
                  <a:lnTo>
                    <a:pt x="5" y="1"/>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3" name="Freeform 8"/>
            <p:cNvSpPr>
              <a:spLocks/>
            </p:cNvSpPr>
            <p:nvPr/>
          </p:nvSpPr>
          <p:spPr bwMode="gray">
            <a:xfrm>
              <a:off x="6901720" y="1289285"/>
              <a:ext cx="26988" cy="26988"/>
            </a:xfrm>
            <a:custGeom>
              <a:avLst/>
              <a:gdLst/>
              <a:ahLst/>
              <a:cxnLst>
                <a:cxn ang="0">
                  <a:pos x="0" y="8"/>
                </a:cxn>
                <a:cxn ang="0">
                  <a:pos x="1" y="6"/>
                </a:cxn>
                <a:cxn ang="0">
                  <a:pos x="1" y="5"/>
                </a:cxn>
                <a:cxn ang="0">
                  <a:pos x="3" y="2"/>
                </a:cxn>
                <a:cxn ang="0">
                  <a:pos x="4" y="1"/>
                </a:cxn>
                <a:cxn ang="0">
                  <a:pos x="6" y="0"/>
                </a:cxn>
                <a:cxn ang="0">
                  <a:pos x="9" y="0"/>
                </a:cxn>
                <a:cxn ang="0">
                  <a:pos x="12" y="0"/>
                </a:cxn>
                <a:cxn ang="0">
                  <a:pos x="15" y="2"/>
                </a:cxn>
                <a:cxn ang="0">
                  <a:pos x="16" y="3"/>
                </a:cxn>
                <a:cxn ang="0">
                  <a:pos x="17" y="5"/>
                </a:cxn>
                <a:cxn ang="0">
                  <a:pos x="17" y="6"/>
                </a:cxn>
                <a:cxn ang="0">
                  <a:pos x="17" y="8"/>
                </a:cxn>
                <a:cxn ang="0">
                  <a:pos x="17" y="11"/>
                </a:cxn>
                <a:cxn ang="0">
                  <a:pos x="17" y="12"/>
                </a:cxn>
                <a:cxn ang="0">
                  <a:pos x="15" y="15"/>
                </a:cxn>
                <a:cxn ang="0">
                  <a:pos x="14" y="16"/>
                </a:cxn>
                <a:cxn ang="0">
                  <a:pos x="12" y="17"/>
                </a:cxn>
                <a:cxn ang="0">
                  <a:pos x="9" y="17"/>
                </a:cxn>
                <a:cxn ang="0">
                  <a:pos x="6" y="17"/>
                </a:cxn>
                <a:cxn ang="0">
                  <a:pos x="3" y="15"/>
                </a:cxn>
                <a:cxn ang="0">
                  <a:pos x="2" y="14"/>
                </a:cxn>
                <a:cxn ang="0">
                  <a:pos x="1" y="12"/>
                </a:cxn>
                <a:cxn ang="0">
                  <a:pos x="1" y="11"/>
                </a:cxn>
                <a:cxn ang="0">
                  <a:pos x="0" y="8"/>
                </a:cxn>
              </a:cxnLst>
              <a:rect l="0" t="0" r="r" b="b"/>
              <a:pathLst>
                <a:path w="17" h="17">
                  <a:moveTo>
                    <a:pt x="0" y="8"/>
                  </a:moveTo>
                  <a:lnTo>
                    <a:pt x="1" y="6"/>
                  </a:lnTo>
                  <a:lnTo>
                    <a:pt x="1" y="5"/>
                  </a:lnTo>
                  <a:lnTo>
                    <a:pt x="3" y="2"/>
                  </a:lnTo>
                  <a:lnTo>
                    <a:pt x="4" y="1"/>
                  </a:lnTo>
                  <a:lnTo>
                    <a:pt x="6" y="0"/>
                  </a:lnTo>
                  <a:lnTo>
                    <a:pt x="9" y="0"/>
                  </a:lnTo>
                  <a:lnTo>
                    <a:pt x="12" y="0"/>
                  </a:lnTo>
                  <a:lnTo>
                    <a:pt x="15" y="2"/>
                  </a:lnTo>
                  <a:lnTo>
                    <a:pt x="16" y="3"/>
                  </a:lnTo>
                  <a:lnTo>
                    <a:pt x="17" y="5"/>
                  </a:lnTo>
                  <a:lnTo>
                    <a:pt x="17" y="6"/>
                  </a:lnTo>
                  <a:lnTo>
                    <a:pt x="17" y="8"/>
                  </a:lnTo>
                  <a:lnTo>
                    <a:pt x="17" y="11"/>
                  </a:lnTo>
                  <a:lnTo>
                    <a:pt x="17" y="12"/>
                  </a:lnTo>
                  <a:lnTo>
                    <a:pt x="15" y="15"/>
                  </a:lnTo>
                  <a:lnTo>
                    <a:pt x="14" y="16"/>
                  </a:lnTo>
                  <a:lnTo>
                    <a:pt x="12" y="17"/>
                  </a:lnTo>
                  <a:lnTo>
                    <a:pt x="9" y="17"/>
                  </a:lnTo>
                  <a:lnTo>
                    <a:pt x="6" y="17"/>
                  </a:lnTo>
                  <a:lnTo>
                    <a:pt x="3" y="15"/>
                  </a:lnTo>
                  <a:lnTo>
                    <a:pt x="2" y="14"/>
                  </a:lnTo>
                  <a:lnTo>
                    <a:pt x="1" y="12"/>
                  </a:lnTo>
                  <a:lnTo>
                    <a:pt x="1" y="11"/>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4" name="Freeform 9"/>
            <p:cNvSpPr>
              <a:spLocks/>
            </p:cNvSpPr>
            <p:nvPr/>
          </p:nvSpPr>
          <p:spPr bwMode="gray">
            <a:xfrm>
              <a:off x="6950933" y="1290873"/>
              <a:ext cx="127000" cy="23813"/>
            </a:xfrm>
            <a:custGeom>
              <a:avLst/>
              <a:gdLst/>
              <a:ahLst/>
              <a:cxnLst>
                <a:cxn ang="0">
                  <a:pos x="8" y="0"/>
                </a:cxn>
                <a:cxn ang="0">
                  <a:pos x="73" y="0"/>
                </a:cxn>
                <a:cxn ang="0">
                  <a:pos x="76" y="0"/>
                </a:cxn>
                <a:cxn ang="0">
                  <a:pos x="78" y="2"/>
                </a:cxn>
                <a:cxn ang="0">
                  <a:pos x="80" y="4"/>
                </a:cxn>
                <a:cxn ang="0">
                  <a:pos x="80" y="7"/>
                </a:cxn>
                <a:cxn ang="0">
                  <a:pos x="80" y="11"/>
                </a:cxn>
                <a:cxn ang="0">
                  <a:pos x="78" y="13"/>
                </a:cxn>
                <a:cxn ang="0">
                  <a:pos x="76" y="15"/>
                </a:cxn>
                <a:cxn ang="0">
                  <a:pos x="74" y="15"/>
                </a:cxn>
                <a:cxn ang="0">
                  <a:pos x="73" y="15"/>
                </a:cxn>
                <a:cxn ang="0">
                  <a:pos x="8" y="15"/>
                </a:cxn>
                <a:cxn ang="0">
                  <a:pos x="5" y="15"/>
                </a:cxn>
                <a:cxn ang="0">
                  <a:pos x="2" y="13"/>
                </a:cxn>
                <a:cxn ang="0">
                  <a:pos x="1" y="11"/>
                </a:cxn>
                <a:cxn ang="0">
                  <a:pos x="0" y="7"/>
                </a:cxn>
                <a:cxn ang="0">
                  <a:pos x="1" y="4"/>
                </a:cxn>
                <a:cxn ang="0">
                  <a:pos x="2" y="2"/>
                </a:cxn>
                <a:cxn ang="0">
                  <a:pos x="5" y="0"/>
                </a:cxn>
                <a:cxn ang="0">
                  <a:pos x="6" y="0"/>
                </a:cxn>
                <a:cxn ang="0">
                  <a:pos x="8" y="0"/>
                </a:cxn>
              </a:cxnLst>
              <a:rect l="0" t="0" r="r" b="b"/>
              <a:pathLst>
                <a:path w="80" h="15">
                  <a:moveTo>
                    <a:pt x="8" y="0"/>
                  </a:moveTo>
                  <a:lnTo>
                    <a:pt x="73" y="0"/>
                  </a:lnTo>
                  <a:lnTo>
                    <a:pt x="76" y="0"/>
                  </a:lnTo>
                  <a:lnTo>
                    <a:pt x="78" y="2"/>
                  </a:lnTo>
                  <a:lnTo>
                    <a:pt x="80" y="4"/>
                  </a:lnTo>
                  <a:lnTo>
                    <a:pt x="80" y="7"/>
                  </a:lnTo>
                  <a:lnTo>
                    <a:pt x="80" y="11"/>
                  </a:lnTo>
                  <a:lnTo>
                    <a:pt x="78" y="13"/>
                  </a:lnTo>
                  <a:lnTo>
                    <a:pt x="76" y="15"/>
                  </a:lnTo>
                  <a:lnTo>
                    <a:pt x="74" y="15"/>
                  </a:lnTo>
                  <a:lnTo>
                    <a:pt x="73" y="15"/>
                  </a:lnTo>
                  <a:lnTo>
                    <a:pt x="8" y="15"/>
                  </a:lnTo>
                  <a:lnTo>
                    <a:pt x="5" y="15"/>
                  </a:lnTo>
                  <a:lnTo>
                    <a:pt x="2" y="13"/>
                  </a:lnTo>
                  <a:lnTo>
                    <a:pt x="1" y="11"/>
                  </a:lnTo>
                  <a:lnTo>
                    <a:pt x="0" y="7"/>
                  </a:lnTo>
                  <a:lnTo>
                    <a:pt x="1" y="4"/>
                  </a:lnTo>
                  <a:lnTo>
                    <a:pt x="2" y="2"/>
                  </a:lnTo>
                  <a:lnTo>
                    <a:pt x="5" y="0"/>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5" name="Freeform 10"/>
            <p:cNvSpPr>
              <a:spLocks/>
            </p:cNvSpPr>
            <p:nvPr/>
          </p:nvSpPr>
          <p:spPr bwMode="gray">
            <a:xfrm>
              <a:off x="6901720" y="187507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6" name="Freeform 11"/>
            <p:cNvSpPr>
              <a:spLocks/>
            </p:cNvSpPr>
            <p:nvPr/>
          </p:nvSpPr>
          <p:spPr bwMode="gray">
            <a:xfrm>
              <a:off x="6901720" y="183856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7" name="Freeform 12"/>
            <p:cNvSpPr>
              <a:spLocks/>
            </p:cNvSpPr>
            <p:nvPr/>
          </p:nvSpPr>
          <p:spPr bwMode="gray">
            <a:xfrm>
              <a:off x="6901720" y="180204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8" name="Freeform 13"/>
            <p:cNvSpPr>
              <a:spLocks/>
            </p:cNvSpPr>
            <p:nvPr/>
          </p:nvSpPr>
          <p:spPr bwMode="gray">
            <a:xfrm>
              <a:off x="6901720" y="176553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9" name="Freeform 14"/>
            <p:cNvSpPr>
              <a:spLocks/>
            </p:cNvSpPr>
            <p:nvPr/>
          </p:nvSpPr>
          <p:spPr bwMode="gray">
            <a:xfrm>
              <a:off x="6901720" y="172902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0" name="Freeform 15"/>
            <p:cNvSpPr>
              <a:spLocks/>
            </p:cNvSpPr>
            <p:nvPr/>
          </p:nvSpPr>
          <p:spPr bwMode="gray">
            <a:xfrm>
              <a:off x="6901720" y="169251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1" name="Freeform 16"/>
            <p:cNvSpPr>
              <a:spLocks/>
            </p:cNvSpPr>
            <p:nvPr/>
          </p:nvSpPr>
          <p:spPr bwMode="gray">
            <a:xfrm>
              <a:off x="6901720" y="165599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242" name="Gruppieren 104"/>
          <p:cNvGrpSpPr/>
          <p:nvPr>
            <p:custDataLst>
              <p:tags r:id="rId13"/>
            </p:custDataLst>
          </p:nvPr>
        </p:nvGrpSpPr>
        <p:grpSpPr bwMode="gray">
          <a:xfrm>
            <a:off x="3209801" y="1172460"/>
            <a:ext cx="177020" cy="357790"/>
            <a:chOff x="6876320" y="1203560"/>
            <a:chExt cx="374650" cy="757238"/>
          </a:xfrm>
        </p:grpSpPr>
        <p:sp>
          <p:nvSpPr>
            <p:cNvPr id="243" name="Freeform 4"/>
            <p:cNvSpPr>
              <a:spLocks/>
            </p:cNvSpPr>
            <p:nvPr/>
          </p:nvSpPr>
          <p:spPr bwMode="gray">
            <a:xfrm>
              <a:off x="6876320" y="1203560"/>
              <a:ext cx="374650" cy="757238"/>
            </a:xfrm>
            <a:custGeom>
              <a:avLst/>
              <a:gdLst/>
              <a:ahLst/>
              <a:cxnLst>
                <a:cxn ang="0">
                  <a:pos x="0" y="3"/>
                </a:cxn>
                <a:cxn ang="0">
                  <a:pos x="0" y="2"/>
                </a:cxn>
                <a:cxn ang="0">
                  <a:pos x="1" y="1"/>
                </a:cxn>
                <a:cxn ang="0">
                  <a:pos x="2" y="0"/>
                </a:cxn>
                <a:cxn ang="0">
                  <a:pos x="3" y="0"/>
                </a:cxn>
                <a:cxn ang="0">
                  <a:pos x="233" y="0"/>
                </a:cxn>
                <a:cxn ang="0">
                  <a:pos x="234" y="0"/>
                </a:cxn>
                <a:cxn ang="0">
                  <a:pos x="235" y="1"/>
                </a:cxn>
                <a:cxn ang="0">
                  <a:pos x="236" y="2"/>
                </a:cxn>
                <a:cxn ang="0">
                  <a:pos x="236" y="3"/>
                </a:cxn>
                <a:cxn ang="0">
                  <a:pos x="236" y="474"/>
                </a:cxn>
                <a:cxn ang="0">
                  <a:pos x="236" y="475"/>
                </a:cxn>
                <a:cxn ang="0">
                  <a:pos x="235" y="476"/>
                </a:cxn>
                <a:cxn ang="0">
                  <a:pos x="234" y="476"/>
                </a:cxn>
                <a:cxn ang="0">
                  <a:pos x="233" y="477"/>
                </a:cxn>
                <a:cxn ang="0">
                  <a:pos x="3" y="477"/>
                </a:cxn>
                <a:cxn ang="0">
                  <a:pos x="2" y="476"/>
                </a:cxn>
                <a:cxn ang="0">
                  <a:pos x="1" y="476"/>
                </a:cxn>
                <a:cxn ang="0">
                  <a:pos x="0" y="475"/>
                </a:cxn>
                <a:cxn ang="0">
                  <a:pos x="0" y="474"/>
                </a:cxn>
                <a:cxn ang="0">
                  <a:pos x="0" y="3"/>
                </a:cxn>
              </a:cxnLst>
              <a:rect l="0" t="0" r="r" b="b"/>
              <a:pathLst>
                <a:path w="236" h="477">
                  <a:moveTo>
                    <a:pt x="0" y="3"/>
                  </a:moveTo>
                  <a:lnTo>
                    <a:pt x="0" y="2"/>
                  </a:lnTo>
                  <a:lnTo>
                    <a:pt x="1" y="1"/>
                  </a:lnTo>
                  <a:lnTo>
                    <a:pt x="2" y="0"/>
                  </a:lnTo>
                  <a:lnTo>
                    <a:pt x="3" y="0"/>
                  </a:lnTo>
                  <a:lnTo>
                    <a:pt x="233" y="0"/>
                  </a:lnTo>
                  <a:lnTo>
                    <a:pt x="234" y="0"/>
                  </a:lnTo>
                  <a:lnTo>
                    <a:pt x="235" y="1"/>
                  </a:lnTo>
                  <a:lnTo>
                    <a:pt x="236" y="2"/>
                  </a:lnTo>
                  <a:lnTo>
                    <a:pt x="236" y="3"/>
                  </a:lnTo>
                  <a:lnTo>
                    <a:pt x="236" y="474"/>
                  </a:lnTo>
                  <a:lnTo>
                    <a:pt x="236" y="475"/>
                  </a:lnTo>
                  <a:lnTo>
                    <a:pt x="235" y="476"/>
                  </a:lnTo>
                  <a:lnTo>
                    <a:pt x="234" y="476"/>
                  </a:lnTo>
                  <a:lnTo>
                    <a:pt x="233" y="477"/>
                  </a:lnTo>
                  <a:lnTo>
                    <a:pt x="3" y="477"/>
                  </a:lnTo>
                  <a:lnTo>
                    <a:pt x="2" y="476"/>
                  </a:lnTo>
                  <a:lnTo>
                    <a:pt x="1" y="476"/>
                  </a:lnTo>
                  <a:lnTo>
                    <a:pt x="0" y="475"/>
                  </a:lnTo>
                  <a:lnTo>
                    <a:pt x="0" y="474"/>
                  </a:lnTo>
                  <a:lnTo>
                    <a:pt x="0" y="3"/>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4" name="Freeform 5"/>
            <p:cNvSpPr>
              <a:spLocks/>
            </p:cNvSpPr>
            <p:nvPr/>
          </p:nvSpPr>
          <p:spPr bwMode="gray">
            <a:xfrm>
              <a:off x="6901720" y="1241660"/>
              <a:ext cx="26988" cy="26988"/>
            </a:xfrm>
            <a:custGeom>
              <a:avLst/>
              <a:gdLst/>
              <a:ahLst/>
              <a:cxnLst>
                <a:cxn ang="0">
                  <a:pos x="0" y="8"/>
                </a:cxn>
                <a:cxn ang="0">
                  <a:pos x="1" y="7"/>
                </a:cxn>
                <a:cxn ang="0">
                  <a:pos x="1" y="5"/>
                </a:cxn>
                <a:cxn ang="0">
                  <a:pos x="3" y="2"/>
                </a:cxn>
                <a:cxn ang="0">
                  <a:pos x="4" y="1"/>
                </a:cxn>
                <a:cxn ang="0">
                  <a:pos x="6" y="0"/>
                </a:cxn>
                <a:cxn ang="0">
                  <a:pos x="9" y="0"/>
                </a:cxn>
                <a:cxn ang="0">
                  <a:pos x="12" y="0"/>
                </a:cxn>
                <a:cxn ang="0">
                  <a:pos x="15" y="2"/>
                </a:cxn>
                <a:cxn ang="0">
                  <a:pos x="16" y="4"/>
                </a:cxn>
                <a:cxn ang="0">
                  <a:pos x="17" y="5"/>
                </a:cxn>
                <a:cxn ang="0">
                  <a:pos x="17" y="7"/>
                </a:cxn>
                <a:cxn ang="0">
                  <a:pos x="17" y="8"/>
                </a:cxn>
                <a:cxn ang="0">
                  <a:pos x="17" y="10"/>
                </a:cxn>
                <a:cxn ang="0">
                  <a:pos x="17" y="12"/>
                </a:cxn>
                <a:cxn ang="0">
                  <a:pos x="15" y="14"/>
                </a:cxn>
                <a:cxn ang="0">
                  <a:pos x="14" y="15"/>
                </a:cxn>
                <a:cxn ang="0">
                  <a:pos x="12" y="16"/>
                </a:cxn>
                <a:cxn ang="0">
                  <a:pos x="9" y="17"/>
                </a:cxn>
                <a:cxn ang="0">
                  <a:pos x="6" y="16"/>
                </a:cxn>
                <a:cxn ang="0">
                  <a:pos x="3" y="14"/>
                </a:cxn>
                <a:cxn ang="0">
                  <a:pos x="2" y="13"/>
                </a:cxn>
                <a:cxn ang="0">
                  <a:pos x="1" y="12"/>
                </a:cxn>
                <a:cxn ang="0">
                  <a:pos x="1" y="10"/>
                </a:cxn>
                <a:cxn ang="0">
                  <a:pos x="0" y="8"/>
                </a:cxn>
              </a:cxnLst>
              <a:rect l="0" t="0" r="r" b="b"/>
              <a:pathLst>
                <a:path w="17" h="17">
                  <a:moveTo>
                    <a:pt x="0" y="8"/>
                  </a:moveTo>
                  <a:lnTo>
                    <a:pt x="1" y="7"/>
                  </a:lnTo>
                  <a:lnTo>
                    <a:pt x="1" y="5"/>
                  </a:lnTo>
                  <a:lnTo>
                    <a:pt x="3" y="2"/>
                  </a:lnTo>
                  <a:lnTo>
                    <a:pt x="4" y="1"/>
                  </a:lnTo>
                  <a:lnTo>
                    <a:pt x="6" y="0"/>
                  </a:lnTo>
                  <a:lnTo>
                    <a:pt x="9" y="0"/>
                  </a:lnTo>
                  <a:lnTo>
                    <a:pt x="12" y="0"/>
                  </a:lnTo>
                  <a:lnTo>
                    <a:pt x="15" y="2"/>
                  </a:lnTo>
                  <a:lnTo>
                    <a:pt x="16" y="4"/>
                  </a:lnTo>
                  <a:lnTo>
                    <a:pt x="17" y="5"/>
                  </a:lnTo>
                  <a:lnTo>
                    <a:pt x="17" y="7"/>
                  </a:lnTo>
                  <a:lnTo>
                    <a:pt x="17" y="8"/>
                  </a:lnTo>
                  <a:lnTo>
                    <a:pt x="17" y="10"/>
                  </a:lnTo>
                  <a:lnTo>
                    <a:pt x="17" y="12"/>
                  </a:lnTo>
                  <a:lnTo>
                    <a:pt x="15" y="14"/>
                  </a:lnTo>
                  <a:lnTo>
                    <a:pt x="14" y="15"/>
                  </a:lnTo>
                  <a:lnTo>
                    <a:pt x="12" y="16"/>
                  </a:lnTo>
                  <a:lnTo>
                    <a:pt x="9" y="17"/>
                  </a:lnTo>
                  <a:lnTo>
                    <a:pt x="6" y="16"/>
                  </a:lnTo>
                  <a:lnTo>
                    <a:pt x="3" y="14"/>
                  </a:lnTo>
                  <a:lnTo>
                    <a:pt x="2" y="13"/>
                  </a:lnTo>
                  <a:lnTo>
                    <a:pt x="1" y="12"/>
                  </a:lnTo>
                  <a:lnTo>
                    <a:pt x="1" y="10"/>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5" name="Freeform 6"/>
            <p:cNvSpPr>
              <a:spLocks/>
            </p:cNvSpPr>
            <p:nvPr/>
          </p:nvSpPr>
          <p:spPr bwMode="gray">
            <a:xfrm>
              <a:off x="6901720" y="191158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6" name="Freeform 7"/>
            <p:cNvSpPr>
              <a:spLocks/>
            </p:cNvSpPr>
            <p:nvPr/>
          </p:nvSpPr>
          <p:spPr bwMode="gray">
            <a:xfrm>
              <a:off x="6950933" y="1243248"/>
              <a:ext cx="127000" cy="22225"/>
            </a:xfrm>
            <a:custGeom>
              <a:avLst/>
              <a:gdLst/>
              <a:ahLst/>
              <a:cxnLst>
                <a:cxn ang="0">
                  <a:pos x="8" y="0"/>
                </a:cxn>
                <a:cxn ang="0">
                  <a:pos x="73" y="0"/>
                </a:cxn>
                <a:cxn ang="0">
                  <a:pos x="76" y="1"/>
                </a:cxn>
                <a:cxn ang="0">
                  <a:pos x="78" y="2"/>
                </a:cxn>
                <a:cxn ang="0">
                  <a:pos x="80" y="5"/>
                </a:cxn>
                <a:cxn ang="0">
                  <a:pos x="80" y="7"/>
                </a:cxn>
                <a:cxn ang="0">
                  <a:pos x="80" y="10"/>
                </a:cxn>
                <a:cxn ang="0">
                  <a:pos x="78" y="12"/>
                </a:cxn>
                <a:cxn ang="0">
                  <a:pos x="76" y="14"/>
                </a:cxn>
                <a:cxn ang="0">
                  <a:pos x="74" y="14"/>
                </a:cxn>
                <a:cxn ang="0">
                  <a:pos x="73" y="14"/>
                </a:cxn>
                <a:cxn ang="0">
                  <a:pos x="8" y="14"/>
                </a:cxn>
                <a:cxn ang="0">
                  <a:pos x="5" y="14"/>
                </a:cxn>
                <a:cxn ang="0">
                  <a:pos x="2" y="12"/>
                </a:cxn>
                <a:cxn ang="0">
                  <a:pos x="1" y="10"/>
                </a:cxn>
                <a:cxn ang="0">
                  <a:pos x="0" y="7"/>
                </a:cxn>
                <a:cxn ang="0">
                  <a:pos x="1" y="5"/>
                </a:cxn>
                <a:cxn ang="0">
                  <a:pos x="2" y="2"/>
                </a:cxn>
                <a:cxn ang="0">
                  <a:pos x="5" y="1"/>
                </a:cxn>
                <a:cxn ang="0">
                  <a:pos x="6" y="0"/>
                </a:cxn>
                <a:cxn ang="0">
                  <a:pos x="8" y="0"/>
                </a:cxn>
              </a:cxnLst>
              <a:rect l="0" t="0" r="r" b="b"/>
              <a:pathLst>
                <a:path w="80" h="14">
                  <a:moveTo>
                    <a:pt x="8" y="0"/>
                  </a:moveTo>
                  <a:lnTo>
                    <a:pt x="73" y="0"/>
                  </a:lnTo>
                  <a:lnTo>
                    <a:pt x="76" y="1"/>
                  </a:lnTo>
                  <a:lnTo>
                    <a:pt x="78" y="2"/>
                  </a:lnTo>
                  <a:lnTo>
                    <a:pt x="80" y="5"/>
                  </a:lnTo>
                  <a:lnTo>
                    <a:pt x="80" y="7"/>
                  </a:lnTo>
                  <a:lnTo>
                    <a:pt x="80" y="10"/>
                  </a:lnTo>
                  <a:lnTo>
                    <a:pt x="78" y="12"/>
                  </a:lnTo>
                  <a:lnTo>
                    <a:pt x="76" y="14"/>
                  </a:lnTo>
                  <a:lnTo>
                    <a:pt x="74" y="14"/>
                  </a:lnTo>
                  <a:lnTo>
                    <a:pt x="73" y="14"/>
                  </a:lnTo>
                  <a:lnTo>
                    <a:pt x="8" y="14"/>
                  </a:lnTo>
                  <a:lnTo>
                    <a:pt x="5" y="14"/>
                  </a:lnTo>
                  <a:lnTo>
                    <a:pt x="2" y="12"/>
                  </a:lnTo>
                  <a:lnTo>
                    <a:pt x="1" y="10"/>
                  </a:lnTo>
                  <a:lnTo>
                    <a:pt x="0" y="7"/>
                  </a:lnTo>
                  <a:lnTo>
                    <a:pt x="1" y="5"/>
                  </a:lnTo>
                  <a:lnTo>
                    <a:pt x="2" y="2"/>
                  </a:lnTo>
                  <a:lnTo>
                    <a:pt x="5" y="1"/>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7" name="Freeform 8"/>
            <p:cNvSpPr>
              <a:spLocks/>
            </p:cNvSpPr>
            <p:nvPr/>
          </p:nvSpPr>
          <p:spPr bwMode="gray">
            <a:xfrm>
              <a:off x="6901720" y="1289285"/>
              <a:ext cx="26988" cy="26988"/>
            </a:xfrm>
            <a:custGeom>
              <a:avLst/>
              <a:gdLst/>
              <a:ahLst/>
              <a:cxnLst>
                <a:cxn ang="0">
                  <a:pos x="0" y="8"/>
                </a:cxn>
                <a:cxn ang="0">
                  <a:pos x="1" y="6"/>
                </a:cxn>
                <a:cxn ang="0">
                  <a:pos x="1" y="5"/>
                </a:cxn>
                <a:cxn ang="0">
                  <a:pos x="3" y="2"/>
                </a:cxn>
                <a:cxn ang="0">
                  <a:pos x="4" y="1"/>
                </a:cxn>
                <a:cxn ang="0">
                  <a:pos x="6" y="0"/>
                </a:cxn>
                <a:cxn ang="0">
                  <a:pos x="9" y="0"/>
                </a:cxn>
                <a:cxn ang="0">
                  <a:pos x="12" y="0"/>
                </a:cxn>
                <a:cxn ang="0">
                  <a:pos x="15" y="2"/>
                </a:cxn>
                <a:cxn ang="0">
                  <a:pos x="16" y="3"/>
                </a:cxn>
                <a:cxn ang="0">
                  <a:pos x="17" y="5"/>
                </a:cxn>
                <a:cxn ang="0">
                  <a:pos x="17" y="6"/>
                </a:cxn>
                <a:cxn ang="0">
                  <a:pos x="17" y="8"/>
                </a:cxn>
                <a:cxn ang="0">
                  <a:pos x="17" y="11"/>
                </a:cxn>
                <a:cxn ang="0">
                  <a:pos x="17" y="12"/>
                </a:cxn>
                <a:cxn ang="0">
                  <a:pos x="15" y="15"/>
                </a:cxn>
                <a:cxn ang="0">
                  <a:pos x="14" y="16"/>
                </a:cxn>
                <a:cxn ang="0">
                  <a:pos x="12" y="17"/>
                </a:cxn>
                <a:cxn ang="0">
                  <a:pos x="9" y="17"/>
                </a:cxn>
                <a:cxn ang="0">
                  <a:pos x="6" y="17"/>
                </a:cxn>
                <a:cxn ang="0">
                  <a:pos x="3" y="15"/>
                </a:cxn>
                <a:cxn ang="0">
                  <a:pos x="2" y="14"/>
                </a:cxn>
                <a:cxn ang="0">
                  <a:pos x="1" y="12"/>
                </a:cxn>
                <a:cxn ang="0">
                  <a:pos x="1" y="11"/>
                </a:cxn>
                <a:cxn ang="0">
                  <a:pos x="0" y="8"/>
                </a:cxn>
              </a:cxnLst>
              <a:rect l="0" t="0" r="r" b="b"/>
              <a:pathLst>
                <a:path w="17" h="17">
                  <a:moveTo>
                    <a:pt x="0" y="8"/>
                  </a:moveTo>
                  <a:lnTo>
                    <a:pt x="1" y="6"/>
                  </a:lnTo>
                  <a:lnTo>
                    <a:pt x="1" y="5"/>
                  </a:lnTo>
                  <a:lnTo>
                    <a:pt x="3" y="2"/>
                  </a:lnTo>
                  <a:lnTo>
                    <a:pt x="4" y="1"/>
                  </a:lnTo>
                  <a:lnTo>
                    <a:pt x="6" y="0"/>
                  </a:lnTo>
                  <a:lnTo>
                    <a:pt x="9" y="0"/>
                  </a:lnTo>
                  <a:lnTo>
                    <a:pt x="12" y="0"/>
                  </a:lnTo>
                  <a:lnTo>
                    <a:pt x="15" y="2"/>
                  </a:lnTo>
                  <a:lnTo>
                    <a:pt x="16" y="3"/>
                  </a:lnTo>
                  <a:lnTo>
                    <a:pt x="17" y="5"/>
                  </a:lnTo>
                  <a:lnTo>
                    <a:pt x="17" y="6"/>
                  </a:lnTo>
                  <a:lnTo>
                    <a:pt x="17" y="8"/>
                  </a:lnTo>
                  <a:lnTo>
                    <a:pt x="17" y="11"/>
                  </a:lnTo>
                  <a:lnTo>
                    <a:pt x="17" y="12"/>
                  </a:lnTo>
                  <a:lnTo>
                    <a:pt x="15" y="15"/>
                  </a:lnTo>
                  <a:lnTo>
                    <a:pt x="14" y="16"/>
                  </a:lnTo>
                  <a:lnTo>
                    <a:pt x="12" y="17"/>
                  </a:lnTo>
                  <a:lnTo>
                    <a:pt x="9" y="17"/>
                  </a:lnTo>
                  <a:lnTo>
                    <a:pt x="6" y="17"/>
                  </a:lnTo>
                  <a:lnTo>
                    <a:pt x="3" y="15"/>
                  </a:lnTo>
                  <a:lnTo>
                    <a:pt x="2" y="14"/>
                  </a:lnTo>
                  <a:lnTo>
                    <a:pt x="1" y="12"/>
                  </a:lnTo>
                  <a:lnTo>
                    <a:pt x="1" y="11"/>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8" name="Freeform 9"/>
            <p:cNvSpPr>
              <a:spLocks/>
            </p:cNvSpPr>
            <p:nvPr/>
          </p:nvSpPr>
          <p:spPr bwMode="gray">
            <a:xfrm>
              <a:off x="6950933" y="1290873"/>
              <a:ext cx="127000" cy="23813"/>
            </a:xfrm>
            <a:custGeom>
              <a:avLst/>
              <a:gdLst/>
              <a:ahLst/>
              <a:cxnLst>
                <a:cxn ang="0">
                  <a:pos x="8" y="0"/>
                </a:cxn>
                <a:cxn ang="0">
                  <a:pos x="73" y="0"/>
                </a:cxn>
                <a:cxn ang="0">
                  <a:pos x="76" y="0"/>
                </a:cxn>
                <a:cxn ang="0">
                  <a:pos x="78" y="2"/>
                </a:cxn>
                <a:cxn ang="0">
                  <a:pos x="80" y="4"/>
                </a:cxn>
                <a:cxn ang="0">
                  <a:pos x="80" y="7"/>
                </a:cxn>
                <a:cxn ang="0">
                  <a:pos x="80" y="11"/>
                </a:cxn>
                <a:cxn ang="0">
                  <a:pos x="78" y="13"/>
                </a:cxn>
                <a:cxn ang="0">
                  <a:pos x="76" y="15"/>
                </a:cxn>
                <a:cxn ang="0">
                  <a:pos x="74" y="15"/>
                </a:cxn>
                <a:cxn ang="0">
                  <a:pos x="73" y="15"/>
                </a:cxn>
                <a:cxn ang="0">
                  <a:pos x="8" y="15"/>
                </a:cxn>
                <a:cxn ang="0">
                  <a:pos x="5" y="15"/>
                </a:cxn>
                <a:cxn ang="0">
                  <a:pos x="2" y="13"/>
                </a:cxn>
                <a:cxn ang="0">
                  <a:pos x="1" y="11"/>
                </a:cxn>
                <a:cxn ang="0">
                  <a:pos x="0" y="7"/>
                </a:cxn>
                <a:cxn ang="0">
                  <a:pos x="1" y="4"/>
                </a:cxn>
                <a:cxn ang="0">
                  <a:pos x="2" y="2"/>
                </a:cxn>
                <a:cxn ang="0">
                  <a:pos x="5" y="0"/>
                </a:cxn>
                <a:cxn ang="0">
                  <a:pos x="6" y="0"/>
                </a:cxn>
                <a:cxn ang="0">
                  <a:pos x="8" y="0"/>
                </a:cxn>
              </a:cxnLst>
              <a:rect l="0" t="0" r="r" b="b"/>
              <a:pathLst>
                <a:path w="80" h="15">
                  <a:moveTo>
                    <a:pt x="8" y="0"/>
                  </a:moveTo>
                  <a:lnTo>
                    <a:pt x="73" y="0"/>
                  </a:lnTo>
                  <a:lnTo>
                    <a:pt x="76" y="0"/>
                  </a:lnTo>
                  <a:lnTo>
                    <a:pt x="78" y="2"/>
                  </a:lnTo>
                  <a:lnTo>
                    <a:pt x="80" y="4"/>
                  </a:lnTo>
                  <a:lnTo>
                    <a:pt x="80" y="7"/>
                  </a:lnTo>
                  <a:lnTo>
                    <a:pt x="80" y="11"/>
                  </a:lnTo>
                  <a:lnTo>
                    <a:pt x="78" y="13"/>
                  </a:lnTo>
                  <a:lnTo>
                    <a:pt x="76" y="15"/>
                  </a:lnTo>
                  <a:lnTo>
                    <a:pt x="74" y="15"/>
                  </a:lnTo>
                  <a:lnTo>
                    <a:pt x="73" y="15"/>
                  </a:lnTo>
                  <a:lnTo>
                    <a:pt x="8" y="15"/>
                  </a:lnTo>
                  <a:lnTo>
                    <a:pt x="5" y="15"/>
                  </a:lnTo>
                  <a:lnTo>
                    <a:pt x="2" y="13"/>
                  </a:lnTo>
                  <a:lnTo>
                    <a:pt x="1" y="11"/>
                  </a:lnTo>
                  <a:lnTo>
                    <a:pt x="0" y="7"/>
                  </a:lnTo>
                  <a:lnTo>
                    <a:pt x="1" y="4"/>
                  </a:lnTo>
                  <a:lnTo>
                    <a:pt x="2" y="2"/>
                  </a:lnTo>
                  <a:lnTo>
                    <a:pt x="5" y="0"/>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9" name="Freeform 10"/>
            <p:cNvSpPr>
              <a:spLocks/>
            </p:cNvSpPr>
            <p:nvPr/>
          </p:nvSpPr>
          <p:spPr bwMode="gray">
            <a:xfrm>
              <a:off x="6901720" y="187507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0" name="Freeform 11"/>
            <p:cNvSpPr>
              <a:spLocks/>
            </p:cNvSpPr>
            <p:nvPr/>
          </p:nvSpPr>
          <p:spPr bwMode="gray">
            <a:xfrm>
              <a:off x="6901720" y="183856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1" name="Freeform 12"/>
            <p:cNvSpPr>
              <a:spLocks/>
            </p:cNvSpPr>
            <p:nvPr/>
          </p:nvSpPr>
          <p:spPr bwMode="gray">
            <a:xfrm>
              <a:off x="6901720" y="180204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2" name="Freeform 13"/>
            <p:cNvSpPr>
              <a:spLocks/>
            </p:cNvSpPr>
            <p:nvPr/>
          </p:nvSpPr>
          <p:spPr bwMode="gray">
            <a:xfrm>
              <a:off x="6901720" y="176553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3" name="Freeform 14"/>
            <p:cNvSpPr>
              <a:spLocks/>
            </p:cNvSpPr>
            <p:nvPr/>
          </p:nvSpPr>
          <p:spPr bwMode="gray">
            <a:xfrm>
              <a:off x="6901720" y="172902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4" name="Freeform 15"/>
            <p:cNvSpPr>
              <a:spLocks/>
            </p:cNvSpPr>
            <p:nvPr/>
          </p:nvSpPr>
          <p:spPr bwMode="gray">
            <a:xfrm>
              <a:off x="6901720" y="169251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5" name="Freeform 16"/>
            <p:cNvSpPr>
              <a:spLocks/>
            </p:cNvSpPr>
            <p:nvPr/>
          </p:nvSpPr>
          <p:spPr bwMode="gray">
            <a:xfrm>
              <a:off x="6901720" y="165599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256" name="Gruppieren 118"/>
          <p:cNvGrpSpPr/>
          <p:nvPr>
            <p:custDataLst>
              <p:tags r:id="rId14"/>
            </p:custDataLst>
          </p:nvPr>
        </p:nvGrpSpPr>
        <p:grpSpPr bwMode="gray">
          <a:xfrm>
            <a:off x="3748406" y="1172460"/>
            <a:ext cx="177020" cy="357790"/>
            <a:chOff x="6876320" y="1203560"/>
            <a:chExt cx="374650" cy="757238"/>
          </a:xfrm>
        </p:grpSpPr>
        <p:sp>
          <p:nvSpPr>
            <p:cNvPr id="257" name="Freeform 4"/>
            <p:cNvSpPr>
              <a:spLocks/>
            </p:cNvSpPr>
            <p:nvPr/>
          </p:nvSpPr>
          <p:spPr bwMode="gray">
            <a:xfrm>
              <a:off x="6876320" y="1203560"/>
              <a:ext cx="374650" cy="757238"/>
            </a:xfrm>
            <a:custGeom>
              <a:avLst/>
              <a:gdLst/>
              <a:ahLst/>
              <a:cxnLst>
                <a:cxn ang="0">
                  <a:pos x="0" y="3"/>
                </a:cxn>
                <a:cxn ang="0">
                  <a:pos x="0" y="2"/>
                </a:cxn>
                <a:cxn ang="0">
                  <a:pos x="1" y="1"/>
                </a:cxn>
                <a:cxn ang="0">
                  <a:pos x="2" y="0"/>
                </a:cxn>
                <a:cxn ang="0">
                  <a:pos x="3" y="0"/>
                </a:cxn>
                <a:cxn ang="0">
                  <a:pos x="233" y="0"/>
                </a:cxn>
                <a:cxn ang="0">
                  <a:pos x="234" y="0"/>
                </a:cxn>
                <a:cxn ang="0">
                  <a:pos x="235" y="1"/>
                </a:cxn>
                <a:cxn ang="0">
                  <a:pos x="236" y="2"/>
                </a:cxn>
                <a:cxn ang="0">
                  <a:pos x="236" y="3"/>
                </a:cxn>
                <a:cxn ang="0">
                  <a:pos x="236" y="474"/>
                </a:cxn>
                <a:cxn ang="0">
                  <a:pos x="236" y="475"/>
                </a:cxn>
                <a:cxn ang="0">
                  <a:pos x="235" y="476"/>
                </a:cxn>
                <a:cxn ang="0">
                  <a:pos x="234" y="476"/>
                </a:cxn>
                <a:cxn ang="0">
                  <a:pos x="233" y="477"/>
                </a:cxn>
                <a:cxn ang="0">
                  <a:pos x="3" y="477"/>
                </a:cxn>
                <a:cxn ang="0">
                  <a:pos x="2" y="476"/>
                </a:cxn>
                <a:cxn ang="0">
                  <a:pos x="1" y="476"/>
                </a:cxn>
                <a:cxn ang="0">
                  <a:pos x="0" y="475"/>
                </a:cxn>
                <a:cxn ang="0">
                  <a:pos x="0" y="474"/>
                </a:cxn>
                <a:cxn ang="0">
                  <a:pos x="0" y="3"/>
                </a:cxn>
              </a:cxnLst>
              <a:rect l="0" t="0" r="r" b="b"/>
              <a:pathLst>
                <a:path w="236" h="477">
                  <a:moveTo>
                    <a:pt x="0" y="3"/>
                  </a:moveTo>
                  <a:lnTo>
                    <a:pt x="0" y="2"/>
                  </a:lnTo>
                  <a:lnTo>
                    <a:pt x="1" y="1"/>
                  </a:lnTo>
                  <a:lnTo>
                    <a:pt x="2" y="0"/>
                  </a:lnTo>
                  <a:lnTo>
                    <a:pt x="3" y="0"/>
                  </a:lnTo>
                  <a:lnTo>
                    <a:pt x="233" y="0"/>
                  </a:lnTo>
                  <a:lnTo>
                    <a:pt x="234" y="0"/>
                  </a:lnTo>
                  <a:lnTo>
                    <a:pt x="235" y="1"/>
                  </a:lnTo>
                  <a:lnTo>
                    <a:pt x="236" y="2"/>
                  </a:lnTo>
                  <a:lnTo>
                    <a:pt x="236" y="3"/>
                  </a:lnTo>
                  <a:lnTo>
                    <a:pt x="236" y="474"/>
                  </a:lnTo>
                  <a:lnTo>
                    <a:pt x="236" y="475"/>
                  </a:lnTo>
                  <a:lnTo>
                    <a:pt x="235" y="476"/>
                  </a:lnTo>
                  <a:lnTo>
                    <a:pt x="234" y="476"/>
                  </a:lnTo>
                  <a:lnTo>
                    <a:pt x="233" y="477"/>
                  </a:lnTo>
                  <a:lnTo>
                    <a:pt x="3" y="477"/>
                  </a:lnTo>
                  <a:lnTo>
                    <a:pt x="2" y="476"/>
                  </a:lnTo>
                  <a:lnTo>
                    <a:pt x="1" y="476"/>
                  </a:lnTo>
                  <a:lnTo>
                    <a:pt x="0" y="475"/>
                  </a:lnTo>
                  <a:lnTo>
                    <a:pt x="0" y="474"/>
                  </a:lnTo>
                  <a:lnTo>
                    <a:pt x="0" y="3"/>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8" name="Freeform 5"/>
            <p:cNvSpPr>
              <a:spLocks/>
            </p:cNvSpPr>
            <p:nvPr/>
          </p:nvSpPr>
          <p:spPr bwMode="gray">
            <a:xfrm>
              <a:off x="6901720" y="1241660"/>
              <a:ext cx="26988" cy="26988"/>
            </a:xfrm>
            <a:custGeom>
              <a:avLst/>
              <a:gdLst/>
              <a:ahLst/>
              <a:cxnLst>
                <a:cxn ang="0">
                  <a:pos x="0" y="8"/>
                </a:cxn>
                <a:cxn ang="0">
                  <a:pos x="1" y="7"/>
                </a:cxn>
                <a:cxn ang="0">
                  <a:pos x="1" y="5"/>
                </a:cxn>
                <a:cxn ang="0">
                  <a:pos x="3" y="2"/>
                </a:cxn>
                <a:cxn ang="0">
                  <a:pos x="4" y="1"/>
                </a:cxn>
                <a:cxn ang="0">
                  <a:pos x="6" y="0"/>
                </a:cxn>
                <a:cxn ang="0">
                  <a:pos x="9" y="0"/>
                </a:cxn>
                <a:cxn ang="0">
                  <a:pos x="12" y="0"/>
                </a:cxn>
                <a:cxn ang="0">
                  <a:pos x="15" y="2"/>
                </a:cxn>
                <a:cxn ang="0">
                  <a:pos x="16" y="4"/>
                </a:cxn>
                <a:cxn ang="0">
                  <a:pos x="17" y="5"/>
                </a:cxn>
                <a:cxn ang="0">
                  <a:pos x="17" y="7"/>
                </a:cxn>
                <a:cxn ang="0">
                  <a:pos x="17" y="8"/>
                </a:cxn>
                <a:cxn ang="0">
                  <a:pos x="17" y="10"/>
                </a:cxn>
                <a:cxn ang="0">
                  <a:pos x="17" y="12"/>
                </a:cxn>
                <a:cxn ang="0">
                  <a:pos x="15" y="14"/>
                </a:cxn>
                <a:cxn ang="0">
                  <a:pos x="14" y="15"/>
                </a:cxn>
                <a:cxn ang="0">
                  <a:pos x="12" y="16"/>
                </a:cxn>
                <a:cxn ang="0">
                  <a:pos x="9" y="17"/>
                </a:cxn>
                <a:cxn ang="0">
                  <a:pos x="6" y="16"/>
                </a:cxn>
                <a:cxn ang="0">
                  <a:pos x="3" y="14"/>
                </a:cxn>
                <a:cxn ang="0">
                  <a:pos x="2" y="13"/>
                </a:cxn>
                <a:cxn ang="0">
                  <a:pos x="1" y="12"/>
                </a:cxn>
                <a:cxn ang="0">
                  <a:pos x="1" y="10"/>
                </a:cxn>
                <a:cxn ang="0">
                  <a:pos x="0" y="8"/>
                </a:cxn>
              </a:cxnLst>
              <a:rect l="0" t="0" r="r" b="b"/>
              <a:pathLst>
                <a:path w="17" h="17">
                  <a:moveTo>
                    <a:pt x="0" y="8"/>
                  </a:moveTo>
                  <a:lnTo>
                    <a:pt x="1" y="7"/>
                  </a:lnTo>
                  <a:lnTo>
                    <a:pt x="1" y="5"/>
                  </a:lnTo>
                  <a:lnTo>
                    <a:pt x="3" y="2"/>
                  </a:lnTo>
                  <a:lnTo>
                    <a:pt x="4" y="1"/>
                  </a:lnTo>
                  <a:lnTo>
                    <a:pt x="6" y="0"/>
                  </a:lnTo>
                  <a:lnTo>
                    <a:pt x="9" y="0"/>
                  </a:lnTo>
                  <a:lnTo>
                    <a:pt x="12" y="0"/>
                  </a:lnTo>
                  <a:lnTo>
                    <a:pt x="15" y="2"/>
                  </a:lnTo>
                  <a:lnTo>
                    <a:pt x="16" y="4"/>
                  </a:lnTo>
                  <a:lnTo>
                    <a:pt x="17" y="5"/>
                  </a:lnTo>
                  <a:lnTo>
                    <a:pt x="17" y="7"/>
                  </a:lnTo>
                  <a:lnTo>
                    <a:pt x="17" y="8"/>
                  </a:lnTo>
                  <a:lnTo>
                    <a:pt x="17" y="10"/>
                  </a:lnTo>
                  <a:lnTo>
                    <a:pt x="17" y="12"/>
                  </a:lnTo>
                  <a:lnTo>
                    <a:pt x="15" y="14"/>
                  </a:lnTo>
                  <a:lnTo>
                    <a:pt x="14" y="15"/>
                  </a:lnTo>
                  <a:lnTo>
                    <a:pt x="12" y="16"/>
                  </a:lnTo>
                  <a:lnTo>
                    <a:pt x="9" y="17"/>
                  </a:lnTo>
                  <a:lnTo>
                    <a:pt x="6" y="16"/>
                  </a:lnTo>
                  <a:lnTo>
                    <a:pt x="3" y="14"/>
                  </a:lnTo>
                  <a:lnTo>
                    <a:pt x="2" y="13"/>
                  </a:lnTo>
                  <a:lnTo>
                    <a:pt x="1" y="12"/>
                  </a:lnTo>
                  <a:lnTo>
                    <a:pt x="1" y="10"/>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9" name="Freeform 6"/>
            <p:cNvSpPr>
              <a:spLocks/>
            </p:cNvSpPr>
            <p:nvPr/>
          </p:nvSpPr>
          <p:spPr bwMode="gray">
            <a:xfrm>
              <a:off x="6901720" y="191158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0" name="Freeform 7"/>
            <p:cNvSpPr>
              <a:spLocks/>
            </p:cNvSpPr>
            <p:nvPr/>
          </p:nvSpPr>
          <p:spPr bwMode="gray">
            <a:xfrm>
              <a:off x="6950933" y="1243248"/>
              <a:ext cx="127000" cy="22225"/>
            </a:xfrm>
            <a:custGeom>
              <a:avLst/>
              <a:gdLst/>
              <a:ahLst/>
              <a:cxnLst>
                <a:cxn ang="0">
                  <a:pos x="8" y="0"/>
                </a:cxn>
                <a:cxn ang="0">
                  <a:pos x="73" y="0"/>
                </a:cxn>
                <a:cxn ang="0">
                  <a:pos x="76" y="1"/>
                </a:cxn>
                <a:cxn ang="0">
                  <a:pos x="78" y="2"/>
                </a:cxn>
                <a:cxn ang="0">
                  <a:pos x="80" y="5"/>
                </a:cxn>
                <a:cxn ang="0">
                  <a:pos x="80" y="7"/>
                </a:cxn>
                <a:cxn ang="0">
                  <a:pos x="80" y="10"/>
                </a:cxn>
                <a:cxn ang="0">
                  <a:pos x="78" y="12"/>
                </a:cxn>
                <a:cxn ang="0">
                  <a:pos x="76" y="14"/>
                </a:cxn>
                <a:cxn ang="0">
                  <a:pos x="74" y="14"/>
                </a:cxn>
                <a:cxn ang="0">
                  <a:pos x="73" y="14"/>
                </a:cxn>
                <a:cxn ang="0">
                  <a:pos x="8" y="14"/>
                </a:cxn>
                <a:cxn ang="0">
                  <a:pos x="5" y="14"/>
                </a:cxn>
                <a:cxn ang="0">
                  <a:pos x="2" y="12"/>
                </a:cxn>
                <a:cxn ang="0">
                  <a:pos x="1" y="10"/>
                </a:cxn>
                <a:cxn ang="0">
                  <a:pos x="0" y="7"/>
                </a:cxn>
                <a:cxn ang="0">
                  <a:pos x="1" y="5"/>
                </a:cxn>
                <a:cxn ang="0">
                  <a:pos x="2" y="2"/>
                </a:cxn>
                <a:cxn ang="0">
                  <a:pos x="5" y="1"/>
                </a:cxn>
                <a:cxn ang="0">
                  <a:pos x="6" y="0"/>
                </a:cxn>
                <a:cxn ang="0">
                  <a:pos x="8" y="0"/>
                </a:cxn>
              </a:cxnLst>
              <a:rect l="0" t="0" r="r" b="b"/>
              <a:pathLst>
                <a:path w="80" h="14">
                  <a:moveTo>
                    <a:pt x="8" y="0"/>
                  </a:moveTo>
                  <a:lnTo>
                    <a:pt x="73" y="0"/>
                  </a:lnTo>
                  <a:lnTo>
                    <a:pt x="76" y="1"/>
                  </a:lnTo>
                  <a:lnTo>
                    <a:pt x="78" y="2"/>
                  </a:lnTo>
                  <a:lnTo>
                    <a:pt x="80" y="5"/>
                  </a:lnTo>
                  <a:lnTo>
                    <a:pt x="80" y="7"/>
                  </a:lnTo>
                  <a:lnTo>
                    <a:pt x="80" y="10"/>
                  </a:lnTo>
                  <a:lnTo>
                    <a:pt x="78" y="12"/>
                  </a:lnTo>
                  <a:lnTo>
                    <a:pt x="76" y="14"/>
                  </a:lnTo>
                  <a:lnTo>
                    <a:pt x="74" y="14"/>
                  </a:lnTo>
                  <a:lnTo>
                    <a:pt x="73" y="14"/>
                  </a:lnTo>
                  <a:lnTo>
                    <a:pt x="8" y="14"/>
                  </a:lnTo>
                  <a:lnTo>
                    <a:pt x="5" y="14"/>
                  </a:lnTo>
                  <a:lnTo>
                    <a:pt x="2" y="12"/>
                  </a:lnTo>
                  <a:lnTo>
                    <a:pt x="1" y="10"/>
                  </a:lnTo>
                  <a:lnTo>
                    <a:pt x="0" y="7"/>
                  </a:lnTo>
                  <a:lnTo>
                    <a:pt x="1" y="5"/>
                  </a:lnTo>
                  <a:lnTo>
                    <a:pt x="2" y="2"/>
                  </a:lnTo>
                  <a:lnTo>
                    <a:pt x="5" y="1"/>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1" name="Freeform 8"/>
            <p:cNvSpPr>
              <a:spLocks/>
            </p:cNvSpPr>
            <p:nvPr/>
          </p:nvSpPr>
          <p:spPr bwMode="gray">
            <a:xfrm>
              <a:off x="6901720" y="1289285"/>
              <a:ext cx="26988" cy="26988"/>
            </a:xfrm>
            <a:custGeom>
              <a:avLst/>
              <a:gdLst/>
              <a:ahLst/>
              <a:cxnLst>
                <a:cxn ang="0">
                  <a:pos x="0" y="8"/>
                </a:cxn>
                <a:cxn ang="0">
                  <a:pos x="1" y="6"/>
                </a:cxn>
                <a:cxn ang="0">
                  <a:pos x="1" y="5"/>
                </a:cxn>
                <a:cxn ang="0">
                  <a:pos x="3" y="2"/>
                </a:cxn>
                <a:cxn ang="0">
                  <a:pos x="4" y="1"/>
                </a:cxn>
                <a:cxn ang="0">
                  <a:pos x="6" y="0"/>
                </a:cxn>
                <a:cxn ang="0">
                  <a:pos x="9" y="0"/>
                </a:cxn>
                <a:cxn ang="0">
                  <a:pos x="12" y="0"/>
                </a:cxn>
                <a:cxn ang="0">
                  <a:pos x="15" y="2"/>
                </a:cxn>
                <a:cxn ang="0">
                  <a:pos x="16" y="3"/>
                </a:cxn>
                <a:cxn ang="0">
                  <a:pos x="17" y="5"/>
                </a:cxn>
                <a:cxn ang="0">
                  <a:pos x="17" y="6"/>
                </a:cxn>
                <a:cxn ang="0">
                  <a:pos x="17" y="8"/>
                </a:cxn>
                <a:cxn ang="0">
                  <a:pos x="17" y="11"/>
                </a:cxn>
                <a:cxn ang="0">
                  <a:pos x="17" y="12"/>
                </a:cxn>
                <a:cxn ang="0">
                  <a:pos x="15" y="15"/>
                </a:cxn>
                <a:cxn ang="0">
                  <a:pos x="14" y="16"/>
                </a:cxn>
                <a:cxn ang="0">
                  <a:pos x="12" y="17"/>
                </a:cxn>
                <a:cxn ang="0">
                  <a:pos x="9" y="17"/>
                </a:cxn>
                <a:cxn ang="0">
                  <a:pos x="6" y="17"/>
                </a:cxn>
                <a:cxn ang="0">
                  <a:pos x="3" y="15"/>
                </a:cxn>
                <a:cxn ang="0">
                  <a:pos x="2" y="14"/>
                </a:cxn>
                <a:cxn ang="0">
                  <a:pos x="1" y="12"/>
                </a:cxn>
                <a:cxn ang="0">
                  <a:pos x="1" y="11"/>
                </a:cxn>
                <a:cxn ang="0">
                  <a:pos x="0" y="8"/>
                </a:cxn>
              </a:cxnLst>
              <a:rect l="0" t="0" r="r" b="b"/>
              <a:pathLst>
                <a:path w="17" h="17">
                  <a:moveTo>
                    <a:pt x="0" y="8"/>
                  </a:moveTo>
                  <a:lnTo>
                    <a:pt x="1" y="6"/>
                  </a:lnTo>
                  <a:lnTo>
                    <a:pt x="1" y="5"/>
                  </a:lnTo>
                  <a:lnTo>
                    <a:pt x="3" y="2"/>
                  </a:lnTo>
                  <a:lnTo>
                    <a:pt x="4" y="1"/>
                  </a:lnTo>
                  <a:lnTo>
                    <a:pt x="6" y="0"/>
                  </a:lnTo>
                  <a:lnTo>
                    <a:pt x="9" y="0"/>
                  </a:lnTo>
                  <a:lnTo>
                    <a:pt x="12" y="0"/>
                  </a:lnTo>
                  <a:lnTo>
                    <a:pt x="15" y="2"/>
                  </a:lnTo>
                  <a:lnTo>
                    <a:pt x="16" y="3"/>
                  </a:lnTo>
                  <a:lnTo>
                    <a:pt x="17" y="5"/>
                  </a:lnTo>
                  <a:lnTo>
                    <a:pt x="17" y="6"/>
                  </a:lnTo>
                  <a:lnTo>
                    <a:pt x="17" y="8"/>
                  </a:lnTo>
                  <a:lnTo>
                    <a:pt x="17" y="11"/>
                  </a:lnTo>
                  <a:lnTo>
                    <a:pt x="17" y="12"/>
                  </a:lnTo>
                  <a:lnTo>
                    <a:pt x="15" y="15"/>
                  </a:lnTo>
                  <a:lnTo>
                    <a:pt x="14" y="16"/>
                  </a:lnTo>
                  <a:lnTo>
                    <a:pt x="12" y="17"/>
                  </a:lnTo>
                  <a:lnTo>
                    <a:pt x="9" y="17"/>
                  </a:lnTo>
                  <a:lnTo>
                    <a:pt x="6" y="17"/>
                  </a:lnTo>
                  <a:lnTo>
                    <a:pt x="3" y="15"/>
                  </a:lnTo>
                  <a:lnTo>
                    <a:pt x="2" y="14"/>
                  </a:lnTo>
                  <a:lnTo>
                    <a:pt x="1" y="12"/>
                  </a:lnTo>
                  <a:lnTo>
                    <a:pt x="1" y="11"/>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2" name="Freeform 9"/>
            <p:cNvSpPr>
              <a:spLocks/>
            </p:cNvSpPr>
            <p:nvPr/>
          </p:nvSpPr>
          <p:spPr bwMode="gray">
            <a:xfrm>
              <a:off x="6950933" y="1290873"/>
              <a:ext cx="127000" cy="23813"/>
            </a:xfrm>
            <a:custGeom>
              <a:avLst/>
              <a:gdLst/>
              <a:ahLst/>
              <a:cxnLst>
                <a:cxn ang="0">
                  <a:pos x="8" y="0"/>
                </a:cxn>
                <a:cxn ang="0">
                  <a:pos x="73" y="0"/>
                </a:cxn>
                <a:cxn ang="0">
                  <a:pos x="76" y="0"/>
                </a:cxn>
                <a:cxn ang="0">
                  <a:pos x="78" y="2"/>
                </a:cxn>
                <a:cxn ang="0">
                  <a:pos x="80" y="4"/>
                </a:cxn>
                <a:cxn ang="0">
                  <a:pos x="80" y="7"/>
                </a:cxn>
                <a:cxn ang="0">
                  <a:pos x="80" y="11"/>
                </a:cxn>
                <a:cxn ang="0">
                  <a:pos x="78" y="13"/>
                </a:cxn>
                <a:cxn ang="0">
                  <a:pos x="76" y="15"/>
                </a:cxn>
                <a:cxn ang="0">
                  <a:pos x="74" y="15"/>
                </a:cxn>
                <a:cxn ang="0">
                  <a:pos x="73" y="15"/>
                </a:cxn>
                <a:cxn ang="0">
                  <a:pos x="8" y="15"/>
                </a:cxn>
                <a:cxn ang="0">
                  <a:pos x="5" y="15"/>
                </a:cxn>
                <a:cxn ang="0">
                  <a:pos x="2" y="13"/>
                </a:cxn>
                <a:cxn ang="0">
                  <a:pos x="1" y="11"/>
                </a:cxn>
                <a:cxn ang="0">
                  <a:pos x="0" y="7"/>
                </a:cxn>
                <a:cxn ang="0">
                  <a:pos x="1" y="4"/>
                </a:cxn>
                <a:cxn ang="0">
                  <a:pos x="2" y="2"/>
                </a:cxn>
                <a:cxn ang="0">
                  <a:pos x="5" y="0"/>
                </a:cxn>
                <a:cxn ang="0">
                  <a:pos x="6" y="0"/>
                </a:cxn>
                <a:cxn ang="0">
                  <a:pos x="8" y="0"/>
                </a:cxn>
              </a:cxnLst>
              <a:rect l="0" t="0" r="r" b="b"/>
              <a:pathLst>
                <a:path w="80" h="15">
                  <a:moveTo>
                    <a:pt x="8" y="0"/>
                  </a:moveTo>
                  <a:lnTo>
                    <a:pt x="73" y="0"/>
                  </a:lnTo>
                  <a:lnTo>
                    <a:pt x="76" y="0"/>
                  </a:lnTo>
                  <a:lnTo>
                    <a:pt x="78" y="2"/>
                  </a:lnTo>
                  <a:lnTo>
                    <a:pt x="80" y="4"/>
                  </a:lnTo>
                  <a:lnTo>
                    <a:pt x="80" y="7"/>
                  </a:lnTo>
                  <a:lnTo>
                    <a:pt x="80" y="11"/>
                  </a:lnTo>
                  <a:lnTo>
                    <a:pt x="78" y="13"/>
                  </a:lnTo>
                  <a:lnTo>
                    <a:pt x="76" y="15"/>
                  </a:lnTo>
                  <a:lnTo>
                    <a:pt x="74" y="15"/>
                  </a:lnTo>
                  <a:lnTo>
                    <a:pt x="73" y="15"/>
                  </a:lnTo>
                  <a:lnTo>
                    <a:pt x="8" y="15"/>
                  </a:lnTo>
                  <a:lnTo>
                    <a:pt x="5" y="15"/>
                  </a:lnTo>
                  <a:lnTo>
                    <a:pt x="2" y="13"/>
                  </a:lnTo>
                  <a:lnTo>
                    <a:pt x="1" y="11"/>
                  </a:lnTo>
                  <a:lnTo>
                    <a:pt x="0" y="7"/>
                  </a:lnTo>
                  <a:lnTo>
                    <a:pt x="1" y="4"/>
                  </a:lnTo>
                  <a:lnTo>
                    <a:pt x="2" y="2"/>
                  </a:lnTo>
                  <a:lnTo>
                    <a:pt x="5" y="0"/>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3" name="Freeform 10"/>
            <p:cNvSpPr>
              <a:spLocks/>
            </p:cNvSpPr>
            <p:nvPr/>
          </p:nvSpPr>
          <p:spPr bwMode="gray">
            <a:xfrm>
              <a:off x="6901720" y="187507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4" name="Freeform 11"/>
            <p:cNvSpPr>
              <a:spLocks/>
            </p:cNvSpPr>
            <p:nvPr/>
          </p:nvSpPr>
          <p:spPr bwMode="gray">
            <a:xfrm>
              <a:off x="6901720" y="183856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5" name="Freeform 12"/>
            <p:cNvSpPr>
              <a:spLocks/>
            </p:cNvSpPr>
            <p:nvPr/>
          </p:nvSpPr>
          <p:spPr bwMode="gray">
            <a:xfrm>
              <a:off x="6901720" y="180204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6" name="Freeform 13"/>
            <p:cNvSpPr>
              <a:spLocks/>
            </p:cNvSpPr>
            <p:nvPr/>
          </p:nvSpPr>
          <p:spPr bwMode="gray">
            <a:xfrm>
              <a:off x="6901720" y="176553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7" name="Freeform 14"/>
            <p:cNvSpPr>
              <a:spLocks/>
            </p:cNvSpPr>
            <p:nvPr/>
          </p:nvSpPr>
          <p:spPr bwMode="gray">
            <a:xfrm>
              <a:off x="6901720" y="172902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8" name="Freeform 15"/>
            <p:cNvSpPr>
              <a:spLocks/>
            </p:cNvSpPr>
            <p:nvPr/>
          </p:nvSpPr>
          <p:spPr bwMode="gray">
            <a:xfrm>
              <a:off x="6901720" y="169251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9" name="Freeform 16"/>
            <p:cNvSpPr>
              <a:spLocks/>
            </p:cNvSpPr>
            <p:nvPr/>
          </p:nvSpPr>
          <p:spPr bwMode="gray">
            <a:xfrm>
              <a:off x="6901720" y="165599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pic>
        <p:nvPicPr>
          <p:cNvPr id="321" name="Picture 5" descr="D:\k16\grafika\illustrator\ikony\fts\ikona_fts_01.png"/>
          <p:cNvPicPr>
            <a:picLocks noChangeAspect="1" noChangeArrowheads="1"/>
          </p:cNvPicPr>
          <p:nvPr>
            <p:custDataLst>
              <p:tags r:id="rId15"/>
            </p:custDataLst>
          </p:nvPr>
        </p:nvPicPr>
        <p:blipFill>
          <a:blip r:embed="rId83" cstate="email">
            <a:extLst>
              <a:ext uri="{28A0092B-C50C-407E-A947-70E740481C1C}">
                <a14:useLocalDpi xmlns:a14="http://schemas.microsoft.com/office/drawing/2010/main"/>
              </a:ext>
            </a:extLst>
          </a:blip>
          <a:srcRect/>
          <a:stretch>
            <a:fillRect/>
          </a:stretch>
        </p:blipFill>
        <p:spPr bwMode="gray">
          <a:xfrm>
            <a:off x="4179487" y="1114287"/>
            <a:ext cx="467350" cy="467350"/>
          </a:xfrm>
          <a:prstGeom prst="rect">
            <a:avLst/>
          </a:prstGeom>
          <a:noFill/>
        </p:spPr>
      </p:pic>
      <p:pic>
        <p:nvPicPr>
          <p:cNvPr id="322" name="Picture 5" descr="D:\k16\grafika\illustrator\ikony\fts\ikona_fts_01.png"/>
          <p:cNvPicPr>
            <a:picLocks noChangeAspect="1" noChangeArrowheads="1"/>
          </p:cNvPicPr>
          <p:nvPr>
            <p:custDataLst>
              <p:tags r:id="rId16"/>
            </p:custDataLst>
          </p:nvPr>
        </p:nvPicPr>
        <p:blipFill>
          <a:blip r:embed="rId83" cstate="email">
            <a:extLst>
              <a:ext uri="{28A0092B-C50C-407E-A947-70E740481C1C}">
                <a14:useLocalDpi xmlns:a14="http://schemas.microsoft.com/office/drawing/2010/main"/>
              </a:ext>
            </a:extLst>
          </a:blip>
          <a:srcRect/>
          <a:stretch>
            <a:fillRect/>
          </a:stretch>
        </p:blipFill>
        <p:spPr bwMode="gray">
          <a:xfrm>
            <a:off x="4720277" y="1114287"/>
            <a:ext cx="467350" cy="467350"/>
          </a:xfrm>
          <a:prstGeom prst="rect">
            <a:avLst/>
          </a:prstGeom>
          <a:noFill/>
        </p:spPr>
      </p:pic>
      <p:pic>
        <p:nvPicPr>
          <p:cNvPr id="323" name="Picture 5" descr="D:\k16\grafika\illustrator\ikony\fts\ikona_fts_01.png"/>
          <p:cNvPicPr>
            <a:picLocks noChangeAspect="1" noChangeArrowheads="1"/>
          </p:cNvPicPr>
          <p:nvPr>
            <p:custDataLst>
              <p:tags r:id="rId17"/>
            </p:custDataLst>
          </p:nvPr>
        </p:nvPicPr>
        <p:blipFill>
          <a:blip r:embed="rId83" cstate="email">
            <a:extLst>
              <a:ext uri="{28A0092B-C50C-407E-A947-70E740481C1C}">
                <a14:useLocalDpi xmlns:a14="http://schemas.microsoft.com/office/drawing/2010/main"/>
              </a:ext>
            </a:extLst>
          </a:blip>
          <a:srcRect/>
          <a:stretch>
            <a:fillRect/>
          </a:stretch>
        </p:blipFill>
        <p:spPr bwMode="gray">
          <a:xfrm>
            <a:off x="5261822" y="1114287"/>
            <a:ext cx="467350" cy="467350"/>
          </a:xfrm>
          <a:prstGeom prst="rect">
            <a:avLst/>
          </a:prstGeom>
          <a:noFill/>
        </p:spPr>
      </p:pic>
      <p:pic>
        <p:nvPicPr>
          <p:cNvPr id="324" name="Picture 5" descr="D:\k16\grafika\illustrator\ikony\fts\ikona_fts_01.png"/>
          <p:cNvPicPr>
            <a:picLocks noChangeAspect="1" noChangeArrowheads="1"/>
          </p:cNvPicPr>
          <p:nvPr>
            <p:custDataLst>
              <p:tags r:id="rId18"/>
            </p:custDataLst>
          </p:nvPr>
        </p:nvPicPr>
        <p:blipFill>
          <a:blip r:embed="rId83" cstate="email">
            <a:extLst>
              <a:ext uri="{28A0092B-C50C-407E-A947-70E740481C1C}">
                <a14:useLocalDpi xmlns:a14="http://schemas.microsoft.com/office/drawing/2010/main"/>
              </a:ext>
            </a:extLst>
          </a:blip>
          <a:srcRect/>
          <a:stretch>
            <a:fillRect/>
          </a:stretch>
        </p:blipFill>
        <p:spPr bwMode="gray">
          <a:xfrm>
            <a:off x="5800427" y="1114287"/>
            <a:ext cx="467350" cy="467350"/>
          </a:xfrm>
          <a:prstGeom prst="rect">
            <a:avLst/>
          </a:prstGeom>
          <a:noFill/>
        </p:spPr>
      </p:pic>
      <p:grpSp>
        <p:nvGrpSpPr>
          <p:cNvPr id="325" name="Gruppieren 90"/>
          <p:cNvGrpSpPr/>
          <p:nvPr>
            <p:custDataLst>
              <p:tags r:id="rId19"/>
            </p:custDataLst>
          </p:nvPr>
        </p:nvGrpSpPr>
        <p:grpSpPr bwMode="gray">
          <a:xfrm>
            <a:off x="4865442" y="1167174"/>
            <a:ext cx="177020" cy="357790"/>
            <a:chOff x="6876320" y="1203560"/>
            <a:chExt cx="374650" cy="757238"/>
          </a:xfrm>
        </p:grpSpPr>
        <p:sp>
          <p:nvSpPr>
            <p:cNvPr id="326" name="Freeform 4"/>
            <p:cNvSpPr>
              <a:spLocks/>
            </p:cNvSpPr>
            <p:nvPr/>
          </p:nvSpPr>
          <p:spPr bwMode="gray">
            <a:xfrm>
              <a:off x="6876320" y="1203560"/>
              <a:ext cx="374650" cy="757238"/>
            </a:xfrm>
            <a:custGeom>
              <a:avLst/>
              <a:gdLst/>
              <a:ahLst/>
              <a:cxnLst>
                <a:cxn ang="0">
                  <a:pos x="0" y="3"/>
                </a:cxn>
                <a:cxn ang="0">
                  <a:pos x="0" y="2"/>
                </a:cxn>
                <a:cxn ang="0">
                  <a:pos x="1" y="1"/>
                </a:cxn>
                <a:cxn ang="0">
                  <a:pos x="2" y="0"/>
                </a:cxn>
                <a:cxn ang="0">
                  <a:pos x="3" y="0"/>
                </a:cxn>
                <a:cxn ang="0">
                  <a:pos x="233" y="0"/>
                </a:cxn>
                <a:cxn ang="0">
                  <a:pos x="234" y="0"/>
                </a:cxn>
                <a:cxn ang="0">
                  <a:pos x="235" y="1"/>
                </a:cxn>
                <a:cxn ang="0">
                  <a:pos x="236" y="2"/>
                </a:cxn>
                <a:cxn ang="0">
                  <a:pos x="236" y="3"/>
                </a:cxn>
                <a:cxn ang="0">
                  <a:pos x="236" y="474"/>
                </a:cxn>
                <a:cxn ang="0">
                  <a:pos x="236" y="475"/>
                </a:cxn>
                <a:cxn ang="0">
                  <a:pos x="235" y="476"/>
                </a:cxn>
                <a:cxn ang="0">
                  <a:pos x="234" y="476"/>
                </a:cxn>
                <a:cxn ang="0">
                  <a:pos x="233" y="477"/>
                </a:cxn>
                <a:cxn ang="0">
                  <a:pos x="3" y="477"/>
                </a:cxn>
                <a:cxn ang="0">
                  <a:pos x="2" y="476"/>
                </a:cxn>
                <a:cxn ang="0">
                  <a:pos x="1" y="476"/>
                </a:cxn>
                <a:cxn ang="0">
                  <a:pos x="0" y="475"/>
                </a:cxn>
                <a:cxn ang="0">
                  <a:pos x="0" y="474"/>
                </a:cxn>
                <a:cxn ang="0">
                  <a:pos x="0" y="3"/>
                </a:cxn>
              </a:cxnLst>
              <a:rect l="0" t="0" r="r" b="b"/>
              <a:pathLst>
                <a:path w="236" h="477">
                  <a:moveTo>
                    <a:pt x="0" y="3"/>
                  </a:moveTo>
                  <a:lnTo>
                    <a:pt x="0" y="2"/>
                  </a:lnTo>
                  <a:lnTo>
                    <a:pt x="1" y="1"/>
                  </a:lnTo>
                  <a:lnTo>
                    <a:pt x="2" y="0"/>
                  </a:lnTo>
                  <a:lnTo>
                    <a:pt x="3" y="0"/>
                  </a:lnTo>
                  <a:lnTo>
                    <a:pt x="233" y="0"/>
                  </a:lnTo>
                  <a:lnTo>
                    <a:pt x="234" y="0"/>
                  </a:lnTo>
                  <a:lnTo>
                    <a:pt x="235" y="1"/>
                  </a:lnTo>
                  <a:lnTo>
                    <a:pt x="236" y="2"/>
                  </a:lnTo>
                  <a:lnTo>
                    <a:pt x="236" y="3"/>
                  </a:lnTo>
                  <a:lnTo>
                    <a:pt x="236" y="474"/>
                  </a:lnTo>
                  <a:lnTo>
                    <a:pt x="236" y="475"/>
                  </a:lnTo>
                  <a:lnTo>
                    <a:pt x="235" y="476"/>
                  </a:lnTo>
                  <a:lnTo>
                    <a:pt x="234" y="476"/>
                  </a:lnTo>
                  <a:lnTo>
                    <a:pt x="233" y="477"/>
                  </a:lnTo>
                  <a:lnTo>
                    <a:pt x="3" y="477"/>
                  </a:lnTo>
                  <a:lnTo>
                    <a:pt x="2" y="476"/>
                  </a:lnTo>
                  <a:lnTo>
                    <a:pt x="1" y="476"/>
                  </a:lnTo>
                  <a:lnTo>
                    <a:pt x="0" y="475"/>
                  </a:lnTo>
                  <a:lnTo>
                    <a:pt x="0" y="474"/>
                  </a:lnTo>
                  <a:lnTo>
                    <a:pt x="0" y="3"/>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7" name="Freeform 5"/>
            <p:cNvSpPr>
              <a:spLocks/>
            </p:cNvSpPr>
            <p:nvPr/>
          </p:nvSpPr>
          <p:spPr bwMode="gray">
            <a:xfrm>
              <a:off x="6901720" y="1241660"/>
              <a:ext cx="26988" cy="26988"/>
            </a:xfrm>
            <a:custGeom>
              <a:avLst/>
              <a:gdLst/>
              <a:ahLst/>
              <a:cxnLst>
                <a:cxn ang="0">
                  <a:pos x="0" y="8"/>
                </a:cxn>
                <a:cxn ang="0">
                  <a:pos x="1" y="7"/>
                </a:cxn>
                <a:cxn ang="0">
                  <a:pos x="1" y="5"/>
                </a:cxn>
                <a:cxn ang="0">
                  <a:pos x="3" y="2"/>
                </a:cxn>
                <a:cxn ang="0">
                  <a:pos x="4" y="1"/>
                </a:cxn>
                <a:cxn ang="0">
                  <a:pos x="6" y="0"/>
                </a:cxn>
                <a:cxn ang="0">
                  <a:pos x="9" y="0"/>
                </a:cxn>
                <a:cxn ang="0">
                  <a:pos x="12" y="0"/>
                </a:cxn>
                <a:cxn ang="0">
                  <a:pos x="15" y="2"/>
                </a:cxn>
                <a:cxn ang="0">
                  <a:pos x="16" y="4"/>
                </a:cxn>
                <a:cxn ang="0">
                  <a:pos x="17" y="5"/>
                </a:cxn>
                <a:cxn ang="0">
                  <a:pos x="17" y="7"/>
                </a:cxn>
                <a:cxn ang="0">
                  <a:pos x="17" y="8"/>
                </a:cxn>
                <a:cxn ang="0">
                  <a:pos x="17" y="10"/>
                </a:cxn>
                <a:cxn ang="0">
                  <a:pos x="17" y="12"/>
                </a:cxn>
                <a:cxn ang="0">
                  <a:pos x="15" y="14"/>
                </a:cxn>
                <a:cxn ang="0">
                  <a:pos x="14" y="15"/>
                </a:cxn>
                <a:cxn ang="0">
                  <a:pos x="12" y="16"/>
                </a:cxn>
                <a:cxn ang="0">
                  <a:pos x="9" y="17"/>
                </a:cxn>
                <a:cxn ang="0">
                  <a:pos x="6" y="16"/>
                </a:cxn>
                <a:cxn ang="0">
                  <a:pos x="3" y="14"/>
                </a:cxn>
                <a:cxn ang="0">
                  <a:pos x="2" y="13"/>
                </a:cxn>
                <a:cxn ang="0">
                  <a:pos x="1" y="12"/>
                </a:cxn>
                <a:cxn ang="0">
                  <a:pos x="1" y="10"/>
                </a:cxn>
                <a:cxn ang="0">
                  <a:pos x="0" y="8"/>
                </a:cxn>
              </a:cxnLst>
              <a:rect l="0" t="0" r="r" b="b"/>
              <a:pathLst>
                <a:path w="17" h="17">
                  <a:moveTo>
                    <a:pt x="0" y="8"/>
                  </a:moveTo>
                  <a:lnTo>
                    <a:pt x="1" y="7"/>
                  </a:lnTo>
                  <a:lnTo>
                    <a:pt x="1" y="5"/>
                  </a:lnTo>
                  <a:lnTo>
                    <a:pt x="3" y="2"/>
                  </a:lnTo>
                  <a:lnTo>
                    <a:pt x="4" y="1"/>
                  </a:lnTo>
                  <a:lnTo>
                    <a:pt x="6" y="0"/>
                  </a:lnTo>
                  <a:lnTo>
                    <a:pt x="9" y="0"/>
                  </a:lnTo>
                  <a:lnTo>
                    <a:pt x="12" y="0"/>
                  </a:lnTo>
                  <a:lnTo>
                    <a:pt x="15" y="2"/>
                  </a:lnTo>
                  <a:lnTo>
                    <a:pt x="16" y="4"/>
                  </a:lnTo>
                  <a:lnTo>
                    <a:pt x="17" y="5"/>
                  </a:lnTo>
                  <a:lnTo>
                    <a:pt x="17" y="7"/>
                  </a:lnTo>
                  <a:lnTo>
                    <a:pt x="17" y="8"/>
                  </a:lnTo>
                  <a:lnTo>
                    <a:pt x="17" y="10"/>
                  </a:lnTo>
                  <a:lnTo>
                    <a:pt x="17" y="12"/>
                  </a:lnTo>
                  <a:lnTo>
                    <a:pt x="15" y="14"/>
                  </a:lnTo>
                  <a:lnTo>
                    <a:pt x="14" y="15"/>
                  </a:lnTo>
                  <a:lnTo>
                    <a:pt x="12" y="16"/>
                  </a:lnTo>
                  <a:lnTo>
                    <a:pt x="9" y="17"/>
                  </a:lnTo>
                  <a:lnTo>
                    <a:pt x="6" y="16"/>
                  </a:lnTo>
                  <a:lnTo>
                    <a:pt x="3" y="14"/>
                  </a:lnTo>
                  <a:lnTo>
                    <a:pt x="2" y="13"/>
                  </a:lnTo>
                  <a:lnTo>
                    <a:pt x="1" y="12"/>
                  </a:lnTo>
                  <a:lnTo>
                    <a:pt x="1" y="10"/>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8" name="Freeform 6"/>
            <p:cNvSpPr>
              <a:spLocks/>
            </p:cNvSpPr>
            <p:nvPr/>
          </p:nvSpPr>
          <p:spPr bwMode="gray">
            <a:xfrm>
              <a:off x="6901720" y="191158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9" name="Freeform 7"/>
            <p:cNvSpPr>
              <a:spLocks/>
            </p:cNvSpPr>
            <p:nvPr/>
          </p:nvSpPr>
          <p:spPr bwMode="gray">
            <a:xfrm>
              <a:off x="6950933" y="1243248"/>
              <a:ext cx="127000" cy="22225"/>
            </a:xfrm>
            <a:custGeom>
              <a:avLst/>
              <a:gdLst/>
              <a:ahLst/>
              <a:cxnLst>
                <a:cxn ang="0">
                  <a:pos x="8" y="0"/>
                </a:cxn>
                <a:cxn ang="0">
                  <a:pos x="73" y="0"/>
                </a:cxn>
                <a:cxn ang="0">
                  <a:pos x="76" y="1"/>
                </a:cxn>
                <a:cxn ang="0">
                  <a:pos x="78" y="2"/>
                </a:cxn>
                <a:cxn ang="0">
                  <a:pos x="80" y="5"/>
                </a:cxn>
                <a:cxn ang="0">
                  <a:pos x="80" y="7"/>
                </a:cxn>
                <a:cxn ang="0">
                  <a:pos x="80" y="10"/>
                </a:cxn>
                <a:cxn ang="0">
                  <a:pos x="78" y="12"/>
                </a:cxn>
                <a:cxn ang="0">
                  <a:pos x="76" y="14"/>
                </a:cxn>
                <a:cxn ang="0">
                  <a:pos x="74" y="14"/>
                </a:cxn>
                <a:cxn ang="0">
                  <a:pos x="73" y="14"/>
                </a:cxn>
                <a:cxn ang="0">
                  <a:pos x="8" y="14"/>
                </a:cxn>
                <a:cxn ang="0">
                  <a:pos x="5" y="14"/>
                </a:cxn>
                <a:cxn ang="0">
                  <a:pos x="2" y="12"/>
                </a:cxn>
                <a:cxn ang="0">
                  <a:pos x="1" y="10"/>
                </a:cxn>
                <a:cxn ang="0">
                  <a:pos x="0" y="7"/>
                </a:cxn>
                <a:cxn ang="0">
                  <a:pos x="1" y="5"/>
                </a:cxn>
                <a:cxn ang="0">
                  <a:pos x="2" y="2"/>
                </a:cxn>
                <a:cxn ang="0">
                  <a:pos x="5" y="1"/>
                </a:cxn>
                <a:cxn ang="0">
                  <a:pos x="6" y="0"/>
                </a:cxn>
                <a:cxn ang="0">
                  <a:pos x="8" y="0"/>
                </a:cxn>
              </a:cxnLst>
              <a:rect l="0" t="0" r="r" b="b"/>
              <a:pathLst>
                <a:path w="80" h="14">
                  <a:moveTo>
                    <a:pt x="8" y="0"/>
                  </a:moveTo>
                  <a:lnTo>
                    <a:pt x="73" y="0"/>
                  </a:lnTo>
                  <a:lnTo>
                    <a:pt x="76" y="1"/>
                  </a:lnTo>
                  <a:lnTo>
                    <a:pt x="78" y="2"/>
                  </a:lnTo>
                  <a:lnTo>
                    <a:pt x="80" y="5"/>
                  </a:lnTo>
                  <a:lnTo>
                    <a:pt x="80" y="7"/>
                  </a:lnTo>
                  <a:lnTo>
                    <a:pt x="80" y="10"/>
                  </a:lnTo>
                  <a:lnTo>
                    <a:pt x="78" y="12"/>
                  </a:lnTo>
                  <a:lnTo>
                    <a:pt x="76" y="14"/>
                  </a:lnTo>
                  <a:lnTo>
                    <a:pt x="74" y="14"/>
                  </a:lnTo>
                  <a:lnTo>
                    <a:pt x="73" y="14"/>
                  </a:lnTo>
                  <a:lnTo>
                    <a:pt x="8" y="14"/>
                  </a:lnTo>
                  <a:lnTo>
                    <a:pt x="5" y="14"/>
                  </a:lnTo>
                  <a:lnTo>
                    <a:pt x="2" y="12"/>
                  </a:lnTo>
                  <a:lnTo>
                    <a:pt x="1" y="10"/>
                  </a:lnTo>
                  <a:lnTo>
                    <a:pt x="0" y="7"/>
                  </a:lnTo>
                  <a:lnTo>
                    <a:pt x="1" y="5"/>
                  </a:lnTo>
                  <a:lnTo>
                    <a:pt x="2" y="2"/>
                  </a:lnTo>
                  <a:lnTo>
                    <a:pt x="5" y="1"/>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0" name="Freeform 8"/>
            <p:cNvSpPr>
              <a:spLocks/>
            </p:cNvSpPr>
            <p:nvPr/>
          </p:nvSpPr>
          <p:spPr bwMode="gray">
            <a:xfrm>
              <a:off x="6901720" y="1289285"/>
              <a:ext cx="26988" cy="26988"/>
            </a:xfrm>
            <a:custGeom>
              <a:avLst/>
              <a:gdLst/>
              <a:ahLst/>
              <a:cxnLst>
                <a:cxn ang="0">
                  <a:pos x="0" y="8"/>
                </a:cxn>
                <a:cxn ang="0">
                  <a:pos x="1" y="6"/>
                </a:cxn>
                <a:cxn ang="0">
                  <a:pos x="1" y="5"/>
                </a:cxn>
                <a:cxn ang="0">
                  <a:pos x="3" y="2"/>
                </a:cxn>
                <a:cxn ang="0">
                  <a:pos x="4" y="1"/>
                </a:cxn>
                <a:cxn ang="0">
                  <a:pos x="6" y="0"/>
                </a:cxn>
                <a:cxn ang="0">
                  <a:pos x="9" y="0"/>
                </a:cxn>
                <a:cxn ang="0">
                  <a:pos x="12" y="0"/>
                </a:cxn>
                <a:cxn ang="0">
                  <a:pos x="15" y="2"/>
                </a:cxn>
                <a:cxn ang="0">
                  <a:pos x="16" y="3"/>
                </a:cxn>
                <a:cxn ang="0">
                  <a:pos x="17" y="5"/>
                </a:cxn>
                <a:cxn ang="0">
                  <a:pos x="17" y="6"/>
                </a:cxn>
                <a:cxn ang="0">
                  <a:pos x="17" y="8"/>
                </a:cxn>
                <a:cxn ang="0">
                  <a:pos x="17" y="11"/>
                </a:cxn>
                <a:cxn ang="0">
                  <a:pos x="17" y="12"/>
                </a:cxn>
                <a:cxn ang="0">
                  <a:pos x="15" y="15"/>
                </a:cxn>
                <a:cxn ang="0">
                  <a:pos x="14" y="16"/>
                </a:cxn>
                <a:cxn ang="0">
                  <a:pos x="12" y="17"/>
                </a:cxn>
                <a:cxn ang="0">
                  <a:pos x="9" y="17"/>
                </a:cxn>
                <a:cxn ang="0">
                  <a:pos x="6" y="17"/>
                </a:cxn>
                <a:cxn ang="0">
                  <a:pos x="3" y="15"/>
                </a:cxn>
                <a:cxn ang="0">
                  <a:pos x="2" y="14"/>
                </a:cxn>
                <a:cxn ang="0">
                  <a:pos x="1" y="12"/>
                </a:cxn>
                <a:cxn ang="0">
                  <a:pos x="1" y="11"/>
                </a:cxn>
                <a:cxn ang="0">
                  <a:pos x="0" y="8"/>
                </a:cxn>
              </a:cxnLst>
              <a:rect l="0" t="0" r="r" b="b"/>
              <a:pathLst>
                <a:path w="17" h="17">
                  <a:moveTo>
                    <a:pt x="0" y="8"/>
                  </a:moveTo>
                  <a:lnTo>
                    <a:pt x="1" y="6"/>
                  </a:lnTo>
                  <a:lnTo>
                    <a:pt x="1" y="5"/>
                  </a:lnTo>
                  <a:lnTo>
                    <a:pt x="3" y="2"/>
                  </a:lnTo>
                  <a:lnTo>
                    <a:pt x="4" y="1"/>
                  </a:lnTo>
                  <a:lnTo>
                    <a:pt x="6" y="0"/>
                  </a:lnTo>
                  <a:lnTo>
                    <a:pt x="9" y="0"/>
                  </a:lnTo>
                  <a:lnTo>
                    <a:pt x="12" y="0"/>
                  </a:lnTo>
                  <a:lnTo>
                    <a:pt x="15" y="2"/>
                  </a:lnTo>
                  <a:lnTo>
                    <a:pt x="16" y="3"/>
                  </a:lnTo>
                  <a:lnTo>
                    <a:pt x="17" y="5"/>
                  </a:lnTo>
                  <a:lnTo>
                    <a:pt x="17" y="6"/>
                  </a:lnTo>
                  <a:lnTo>
                    <a:pt x="17" y="8"/>
                  </a:lnTo>
                  <a:lnTo>
                    <a:pt x="17" y="11"/>
                  </a:lnTo>
                  <a:lnTo>
                    <a:pt x="17" y="12"/>
                  </a:lnTo>
                  <a:lnTo>
                    <a:pt x="15" y="15"/>
                  </a:lnTo>
                  <a:lnTo>
                    <a:pt x="14" y="16"/>
                  </a:lnTo>
                  <a:lnTo>
                    <a:pt x="12" y="17"/>
                  </a:lnTo>
                  <a:lnTo>
                    <a:pt x="9" y="17"/>
                  </a:lnTo>
                  <a:lnTo>
                    <a:pt x="6" y="17"/>
                  </a:lnTo>
                  <a:lnTo>
                    <a:pt x="3" y="15"/>
                  </a:lnTo>
                  <a:lnTo>
                    <a:pt x="2" y="14"/>
                  </a:lnTo>
                  <a:lnTo>
                    <a:pt x="1" y="12"/>
                  </a:lnTo>
                  <a:lnTo>
                    <a:pt x="1" y="11"/>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1" name="Freeform 9"/>
            <p:cNvSpPr>
              <a:spLocks/>
            </p:cNvSpPr>
            <p:nvPr/>
          </p:nvSpPr>
          <p:spPr bwMode="gray">
            <a:xfrm>
              <a:off x="6950933" y="1290873"/>
              <a:ext cx="127000" cy="23813"/>
            </a:xfrm>
            <a:custGeom>
              <a:avLst/>
              <a:gdLst/>
              <a:ahLst/>
              <a:cxnLst>
                <a:cxn ang="0">
                  <a:pos x="8" y="0"/>
                </a:cxn>
                <a:cxn ang="0">
                  <a:pos x="73" y="0"/>
                </a:cxn>
                <a:cxn ang="0">
                  <a:pos x="76" y="0"/>
                </a:cxn>
                <a:cxn ang="0">
                  <a:pos x="78" y="2"/>
                </a:cxn>
                <a:cxn ang="0">
                  <a:pos x="80" y="4"/>
                </a:cxn>
                <a:cxn ang="0">
                  <a:pos x="80" y="7"/>
                </a:cxn>
                <a:cxn ang="0">
                  <a:pos x="80" y="11"/>
                </a:cxn>
                <a:cxn ang="0">
                  <a:pos x="78" y="13"/>
                </a:cxn>
                <a:cxn ang="0">
                  <a:pos x="76" y="15"/>
                </a:cxn>
                <a:cxn ang="0">
                  <a:pos x="74" y="15"/>
                </a:cxn>
                <a:cxn ang="0">
                  <a:pos x="73" y="15"/>
                </a:cxn>
                <a:cxn ang="0">
                  <a:pos x="8" y="15"/>
                </a:cxn>
                <a:cxn ang="0">
                  <a:pos x="5" y="15"/>
                </a:cxn>
                <a:cxn ang="0">
                  <a:pos x="2" y="13"/>
                </a:cxn>
                <a:cxn ang="0">
                  <a:pos x="1" y="11"/>
                </a:cxn>
                <a:cxn ang="0">
                  <a:pos x="0" y="7"/>
                </a:cxn>
                <a:cxn ang="0">
                  <a:pos x="1" y="4"/>
                </a:cxn>
                <a:cxn ang="0">
                  <a:pos x="2" y="2"/>
                </a:cxn>
                <a:cxn ang="0">
                  <a:pos x="5" y="0"/>
                </a:cxn>
                <a:cxn ang="0">
                  <a:pos x="6" y="0"/>
                </a:cxn>
                <a:cxn ang="0">
                  <a:pos x="8" y="0"/>
                </a:cxn>
              </a:cxnLst>
              <a:rect l="0" t="0" r="r" b="b"/>
              <a:pathLst>
                <a:path w="80" h="15">
                  <a:moveTo>
                    <a:pt x="8" y="0"/>
                  </a:moveTo>
                  <a:lnTo>
                    <a:pt x="73" y="0"/>
                  </a:lnTo>
                  <a:lnTo>
                    <a:pt x="76" y="0"/>
                  </a:lnTo>
                  <a:lnTo>
                    <a:pt x="78" y="2"/>
                  </a:lnTo>
                  <a:lnTo>
                    <a:pt x="80" y="4"/>
                  </a:lnTo>
                  <a:lnTo>
                    <a:pt x="80" y="7"/>
                  </a:lnTo>
                  <a:lnTo>
                    <a:pt x="80" y="11"/>
                  </a:lnTo>
                  <a:lnTo>
                    <a:pt x="78" y="13"/>
                  </a:lnTo>
                  <a:lnTo>
                    <a:pt x="76" y="15"/>
                  </a:lnTo>
                  <a:lnTo>
                    <a:pt x="74" y="15"/>
                  </a:lnTo>
                  <a:lnTo>
                    <a:pt x="73" y="15"/>
                  </a:lnTo>
                  <a:lnTo>
                    <a:pt x="8" y="15"/>
                  </a:lnTo>
                  <a:lnTo>
                    <a:pt x="5" y="15"/>
                  </a:lnTo>
                  <a:lnTo>
                    <a:pt x="2" y="13"/>
                  </a:lnTo>
                  <a:lnTo>
                    <a:pt x="1" y="11"/>
                  </a:lnTo>
                  <a:lnTo>
                    <a:pt x="0" y="7"/>
                  </a:lnTo>
                  <a:lnTo>
                    <a:pt x="1" y="4"/>
                  </a:lnTo>
                  <a:lnTo>
                    <a:pt x="2" y="2"/>
                  </a:lnTo>
                  <a:lnTo>
                    <a:pt x="5" y="0"/>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2" name="Freeform 10"/>
            <p:cNvSpPr>
              <a:spLocks/>
            </p:cNvSpPr>
            <p:nvPr/>
          </p:nvSpPr>
          <p:spPr bwMode="gray">
            <a:xfrm>
              <a:off x="6901720" y="187507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3" name="Freeform 11"/>
            <p:cNvSpPr>
              <a:spLocks/>
            </p:cNvSpPr>
            <p:nvPr/>
          </p:nvSpPr>
          <p:spPr bwMode="gray">
            <a:xfrm>
              <a:off x="6901720" y="183856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4" name="Freeform 12"/>
            <p:cNvSpPr>
              <a:spLocks/>
            </p:cNvSpPr>
            <p:nvPr/>
          </p:nvSpPr>
          <p:spPr bwMode="gray">
            <a:xfrm>
              <a:off x="6901720" y="180204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5" name="Freeform 13"/>
            <p:cNvSpPr>
              <a:spLocks/>
            </p:cNvSpPr>
            <p:nvPr/>
          </p:nvSpPr>
          <p:spPr bwMode="gray">
            <a:xfrm>
              <a:off x="6901720" y="176553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6" name="Freeform 14"/>
            <p:cNvSpPr>
              <a:spLocks/>
            </p:cNvSpPr>
            <p:nvPr/>
          </p:nvSpPr>
          <p:spPr bwMode="gray">
            <a:xfrm>
              <a:off x="6901720" y="172902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7" name="Freeform 15"/>
            <p:cNvSpPr>
              <a:spLocks/>
            </p:cNvSpPr>
            <p:nvPr/>
          </p:nvSpPr>
          <p:spPr bwMode="gray">
            <a:xfrm>
              <a:off x="6901720" y="169251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8" name="Freeform 16"/>
            <p:cNvSpPr>
              <a:spLocks/>
            </p:cNvSpPr>
            <p:nvPr/>
          </p:nvSpPr>
          <p:spPr bwMode="gray">
            <a:xfrm>
              <a:off x="6901720" y="165599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339" name="Gruppieren 104"/>
          <p:cNvGrpSpPr/>
          <p:nvPr>
            <p:custDataLst>
              <p:tags r:id="rId20"/>
            </p:custDataLst>
          </p:nvPr>
        </p:nvGrpSpPr>
        <p:grpSpPr bwMode="gray">
          <a:xfrm>
            <a:off x="5406987" y="1167174"/>
            <a:ext cx="177020" cy="357790"/>
            <a:chOff x="6876320" y="1203560"/>
            <a:chExt cx="374650" cy="757238"/>
          </a:xfrm>
        </p:grpSpPr>
        <p:sp>
          <p:nvSpPr>
            <p:cNvPr id="340" name="Freeform 4"/>
            <p:cNvSpPr>
              <a:spLocks/>
            </p:cNvSpPr>
            <p:nvPr/>
          </p:nvSpPr>
          <p:spPr bwMode="gray">
            <a:xfrm>
              <a:off x="6876320" y="1203560"/>
              <a:ext cx="374650" cy="757238"/>
            </a:xfrm>
            <a:custGeom>
              <a:avLst/>
              <a:gdLst/>
              <a:ahLst/>
              <a:cxnLst>
                <a:cxn ang="0">
                  <a:pos x="0" y="3"/>
                </a:cxn>
                <a:cxn ang="0">
                  <a:pos x="0" y="2"/>
                </a:cxn>
                <a:cxn ang="0">
                  <a:pos x="1" y="1"/>
                </a:cxn>
                <a:cxn ang="0">
                  <a:pos x="2" y="0"/>
                </a:cxn>
                <a:cxn ang="0">
                  <a:pos x="3" y="0"/>
                </a:cxn>
                <a:cxn ang="0">
                  <a:pos x="233" y="0"/>
                </a:cxn>
                <a:cxn ang="0">
                  <a:pos x="234" y="0"/>
                </a:cxn>
                <a:cxn ang="0">
                  <a:pos x="235" y="1"/>
                </a:cxn>
                <a:cxn ang="0">
                  <a:pos x="236" y="2"/>
                </a:cxn>
                <a:cxn ang="0">
                  <a:pos x="236" y="3"/>
                </a:cxn>
                <a:cxn ang="0">
                  <a:pos x="236" y="474"/>
                </a:cxn>
                <a:cxn ang="0">
                  <a:pos x="236" y="475"/>
                </a:cxn>
                <a:cxn ang="0">
                  <a:pos x="235" y="476"/>
                </a:cxn>
                <a:cxn ang="0">
                  <a:pos x="234" y="476"/>
                </a:cxn>
                <a:cxn ang="0">
                  <a:pos x="233" y="477"/>
                </a:cxn>
                <a:cxn ang="0">
                  <a:pos x="3" y="477"/>
                </a:cxn>
                <a:cxn ang="0">
                  <a:pos x="2" y="476"/>
                </a:cxn>
                <a:cxn ang="0">
                  <a:pos x="1" y="476"/>
                </a:cxn>
                <a:cxn ang="0">
                  <a:pos x="0" y="475"/>
                </a:cxn>
                <a:cxn ang="0">
                  <a:pos x="0" y="474"/>
                </a:cxn>
                <a:cxn ang="0">
                  <a:pos x="0" y="3"/>
                </a:cxn>
              </a:cxnLst>
              <a:rect l="0" t="0" r="r" b="b"/>
              <a:pathLst>
                <a:path w="236" h="477">
                  <a:moveTo>
                    <a:pt x="0" y="3"/>
                  </a:moveTo>
                  <a:lnTo>
                    <a:pt x="0" y="2"/>
                  </a:lnTo>
                  <a:lnTo>
                    <a:pt x="1" y="1"/>
                  </a:lnTo>
                  <a:lnTo>
                    <a:pt x="2" y="0"/>
                  </a:lnTo>
                  <a:lnTo>
                    <a:pt x="3" y="0"/>
                  </a:lnTo>
                  <a:lnTo>
                    <a:pt x="233" y="0"/>
                  </a:lnTo>
                  <a:lnTo>
                    <a:pt x="234" y="0"/>
                  </a:lnTo>
                  <a:lnTo>
                    <a:pt x="235" y="1"/>
                  </a:lnTo>
                  <a:lnTo>
                    <a:pt x="236" y="2"/>
                  </a:lnTo>
                  <a:lnTo>
                    <a:pt x="236" y="3"/>
                  </a:lnTo>
                  <a:lnTo>
                    <a:pt x="236" y="474"/>
                  </a:lnTo>
                  <a:lnTo>
                    <a:pt x="236" y="475"/>
                  </a:lnTo>
                  <a:lnTo>
                    <a:pt x="235" y="476"/>
                  </a:lnTo>
                  <a:lnTo>
                    <a:pt x="234" y="476"/>
                  </a:lnTo>
                  <a:lnTo>
                    <a:pt x="233" y="477"/>
                  </a:lnTo>
                  <a:lnTo>
                    <a:pt x="3" y="477"/>
                  </a:lnTo>
                  <a:lnTo>
                    <a:pt x="2" y="476"/>
                  </a:lnTo>
                  <a:lnTo>
                    <a:pt x="1" y="476"/>
                  </a:lnTo>
                  <a:lnTo>
                    <a:pt x="0" y="475"/>
                  </a:lnTo>
                  <a:lnTo>
                    <a:pt x="0" y="474"/>
                  </a:lnTo>
                  <a:lnTo>
                    <a:pt x="0" y="3"/>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1" name="Freeform 5"/>
            <p:cNvSpPr>
              <a:spLocks/>
            </p:cNvSpPr>
            <p:nvPr/>
          </p:nvSpPr>
          <p:spPr bwMode="gray">
            <a:xfrm>
              <a:off x="6901720" y="1241660"/>
              <a:ext cx="26988" cy="26988"/>
            </a:xfrm>
            <a:custGeom>
              <a:avLst/>
              <a:gdLst/>
              <a:ahLst/>
              <a:cxnLst>
                <a:cxn ang="0">
                  <a:pos x="0" y="8"/>
                </a:cxn>
                <a:cxn ang="0">
                  <a:pos x="1" y="7"/>
                </a:cxn>
                <a:cxn ang="0">
                  <a:pos x="1" y="5"/>
                </a:cxn>
                <a:cxn ang="0">
                  <a:pos x="3" y="2"/>
                </a:cxn>
                <a:cxn ang="0">
                  <a:pos x="4" y="1"/>
                </a:cxn>
                <a:cxn ang="0">
                  <a:pos x="6" y="0"/>
                </a:cxn>
                <a:cxn ang="0">
                  <a:pos x="9" y="0"/>
                </a:cxn>
                <a:cxn ang="0">
                  <a:pos x="12" y="0"/>
                </a:cxn>
                <a:cxn ang="0">
                  <a:pos x="15" y="2"/>
                </a:cxn>
                <a:cxn ang="0">
                  <a:pos x="16" y="4"/>
                </a:cxn>
                <a:cxn ang="0">
                  <a:pos x="17" y="5"/>
                </a:cxn>
                <a:cxn ang="0">
                  <a:pos x="17" y="7"/>
                </a:cxn>
                <a:cxn ang="0">
                  <a:pos x="17" y="8"/>
                </a:cxn>
                <a:cxn ang="0">
                  <a:pos x="17" y="10"/>
                </a:cxn>
                <a:cxn ang="0">
                  <a:pos x="17" y="12"/>
                </a:cxn>
                <a:cxn ang="0">
                  <a:pos x="15" y="14"/>
                </a:cxn>
                <a:cxn ang="0">
                  <a:pos x="14" y="15"/>
                </a:cxn>
                <a:cxn ang="0">
                  <a:pos x="12" y="16"/>
                </a:cxn>
                <a:cxn ang="0">
                  <a:pos x="9" y="17"/>
                </a:cxn>
                <a:cxn ang="0">
                  <a:pos x="6" y="16"/>
                </a:cxn>
                <a:cxn ang="0">
                  <a:pos x="3" y="14"/>
                </a:cxn>
                <a:cxn ang="0">
                  <a:pos x="2" y="13"/>
                </a:cxn>
                <a:cxn ang="0">
                  <a:pos x="1" y="12"/>
                </a:cxn>
                <a:cxn ang="0">
                  <a:pos x="1" y="10"/>
                </a:cxn>
                <a:cxn ang="0">
                  <a:pos x="0" y="8"/>
                </a:cxn>
              </a:cxnLst>
              <a:rect l="0" t="0" r="r" b="b"/>
              <a:pathLst>
                <a:path w="17" h="17">
                  <a:moveTo>
                    <a:pt x="0" y="8"/>
                  </a:moveTo>
                  <a:lnTo>
                    <a:pt x="1" y="7"/>
                  </a:lnTo>
                  <a:lnTo>
                    <a:pt x="1" y="5"/>
                  </a:lnTo>
                  <a:lnTo>
                    <a:pt x="3" y="2"/>
                  </a:lnTo>
                  <a:lnTo>
                    <a:pt x="4" y="1"/>
                  </a:lnTo>
                  <a:lnTo>
                    <a:pt x="6" y="0"/>
                  </a:lnTo>
                  <a:lnTo>
                    <a:pt x="9" y="0"/>
                  </a:lnTo>
                  <a:lnTo>
                    <a:pt x="12" y="0"/>
                  </a:lnTo>
                  <a:lnTo>
                    <a:pt x="15" y="2"/>
                  </a:lnTo>
                  <a:lnTo>
                    <a:pt x="16" y="4"/>
                  </a:lnTo>
                  <a:lnTo>
                    <a:pt x="17" y="5"/>
                  </a:lnTo>
                  <a:lnTo>
                    <a:pt x="17" y="7"/>
                  </a:lnTo>
                  <a:lnTo>
                    <a:pt x="17" y="8"/>
                  </a:lnTo>
                  <a:lnTo>
                    <a:pt x="17" y="10"/>
                  </a:lnTo>
                  <a:lnTo>
                    <a:pt x="17" y="12"/>
                  </a:lnTo>
                  <a:lnTo>
                    <a:pt x="15" y="14"/>
                  </a:lnTo>
                  <a:lnTo>
                    <a:pt x="14" y="15"/>
                  </a:lnTo>
                  <a:lnTo>
                    <a:pt x="12" y="16"/>
                  </a:lnTo>
                  <a:lnTo>
                    <a:pt x="9" y="17"/>
                  </a:lnTo>
                  <a:lnTo>
                    <a:pt x="6" y="16"/>
                  </a:lnTo>
                  <a:lnTo>
                    <a:pt x="3" y="14"/>
                  </a:lnTo>
                  <a:lnTo>
                    <a:pt x="2" y="13"/>
                  </a:lnTo>
                  <a:lnTo>
                    <a:pt x="1" y="12"/>
                  </a:lnTo>
                  <a:lnTo>
                    <a:pt x="1" y="10"/>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2" name="Freeform 6"/>
            <p:cNvSpPr>
              <a:spLocks/>
            </p:cNvSpPr>
            <p:nvPr/>
          </p:nvSpPr>
          <p:spPr bwMode="gray">
            <a:xfrm>
              <a:off x="6901720" y="191158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3" name="Freeform 7"/>
            <p:cNvSpPr>
              <a:spLocks/>
            </p:cNvSpPr>
            <p:nvPr/>
          </p:nvSpPr>
          <p:spPr bwMode="gray">
            <a:xfrm>
              <a:off x="6950933" y="1243248"/>
              <a:ext cx="127000" cy="22225"/>
            </a:xfrm>
            <a:custGeom>
              <a:avLst/>
              <a:gdLst/>
              <a:ahLst/>
              <a:cxnLst>
                <a:cxn ang="0">
                  <a:pos x="8" y="0"/>
                </a:cxn>
                <a:cxn ang="0">
                  <a:pos x="73" y="0"/>
                </a:cxn>
                <a:cxn ang="0">
                  <a:pos x="76" y="1"/>
                </a:cxn>
                <a:cxn ang="0">
                  <a:pos x="78" y="2"/>
                </a:cxn>
                <a:cxn ang="0">
                  <a:pos x="80" y="5"/>
                </a:cxn>
                <a:cxn ang="0">
                  <a:pos x="80" y="7"/>
                </a:cxn>
                <a:cxn ang="0">
                  <a:pos x="80" y="10"/>
                </a:cxn>
                <a:cxn ang="0">
                  <a:pos x="78" y="12"/>
                </a:cxn>
                <a:cxn ang="0">
                  <a:pos x="76" y="14"/>
                </a:cxn>
                <a:cxn ang="0">
                  <a:pos x="74" y="14"/>
                </a:cxn>
                <a:cxn ang="0">
                  <a:pos x="73" y="14"/>
                </a:cxn>
                <a:cxn ang="0">
                  <a:pos x="8" y="14"/>
                </a:cxn>
                <a:cxn ang="0">
                  <a:pos x="5" y="14"/>
                </a:cxn>
                <a:cxn ang="0">
                  <a:pos x="2" y="12"/>
                </a:cxn>
                <a:cxn ang="0">
                  <a:pos x="1" y="10"/>
                </a:cxn>
                <a:cxn ang="0">
                  <a:pos x="0" y="7"/>
                </a:cxn>
                <a:cxn ang="0">
                  <a:pos x="1" y="5"/>
                </a:cxn>
                <a:cxn ang="0">
                  <a:pos x="2" y="2"/>
                </a:cxn>
                <a:cxn ang="0">
                  <a:pos x="5" y="1"/>
                </a:cxn>
                <a:cxn ang="0">
                  <a:pos x="6" y="0"/>
                </a:cxn>
                <a:cxn ang="0">
                  <a:pos x="8" y="0"/>
                </a:cxn>
              </a:cxnLst>
              <a:rect l="0" t="0" r="r" b="b"/>
              <a:pathLst>
                <a:path w="80" h="14">
                  <a:moveTo>
                    <a:pt x="8" y="0"/>
                  </a:moveTo>
                  <a:lnTo>
                    <a:pt x="73" y="0"/>
                  </a:lnTo>
                  <a:lnTo>
                    <a:pt x="76" y="1"/>
                  </a:lnTo>
                  <a:lnTo>
                    <a:pt x="78" y="2"/>
                  </a:lnTo>
                  <a:lnTo>
                    <a:pt x="80" y="5"/>
                  </a:lnTo>
                  <a:lnTo>
                    <a:pt x="80" y="7"/>
                  </a:lnTo>
                  <a:lnTo>
                    <a:pt x="80" y="10"/>
                  </a:lnTo>
                  <a:lnTo>
                    <a:pt x="78" y="12"/>
                  </a:lnTo>
                  <a:lnTo>
                    <a:pt x="76" y="14"/>
                  </a:lnTo>
                  <a:lnTo>
                    <a:pt x="74" y="14"/>
                  </a:lnTo>
                  <a:lnTo>
                    <a:pt x="73" y="14"/>
                  </a:lnTo>
                  <a:lnTo>
                    <a:pt x="8" y="14"/>
                  </a:lnTo>
                  <a:lnTo>
                    <a:pt x="5" y="14"/>
                  </a:lnTo>
                  <a:lnTo>
                    <a:pt x="2" y="12"/>
                  </a:lnTo>
                  <a:lnTo>
                    <a:pt x="1" y="10"/>
                  </a:lnTo>
                  <a:lnTo>
                    <a:pt x="0" y="7"/>
                  </a:lnTo>
                  <a:lnTo>
                    <a:pt x="1" y="5"/>
                  </a:lnTo>
                  <a:lnTo>
                    <a:pt x="2" y="2"/>
                  </a:lnTo>
                  <a:lnTo>
                    <a:pt x="5" y="1"/>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4" name="Freeform 8"/>
            <p:cNvSpPr>
              <a:spLocks/>
            </p:cNvSpPr>
            <p:nvPr/>
          </p:nvSpPr>
          <p:spPr bwMode="gray">
            <a:xfrm>
              <a:off x="6901720" y="1289285"/>
              <a:ext cx="26988" cy="26988"/>
            </a:xfrm>
            <a:custGeom>
              <a:avLst/>
              <a:gdLst/>
              <a:ahLst/>
              <a:cxnLst>
                <a:cxn ang="0">
                  <a:pos x="0" y="8"/>
                </a:cxn>
                <a:cxn ang="0">
                  <a:pos x="1" y="6"/>
                </a:cxn>
                <a:cxn ang="0">
                  <a:pos x="1" y="5"/>
                </a:cxn>
                <a:cxn ang="0">
                  <a:pos x="3" y="2"/>
                </a:cxn>
                <a:cxn ang="0">
                  <a:pos x="4" y="1"/>
                </a:cxn>
                <a:cxn ang="0">
                  <a:pos x="6" y="0"/>
                </a:cxn>
                <a:cxn ang="0">
                  <a:pos x="9" y="0"/>
                </a:cxn>
                <a:cxn ang="0">
                  <a:pos x="12" y="0"/>
                </a:cxn>
                <a:cxn ang="0">
                  <a:pos x="15" y="2"/>
                </a:cxn>
                <a:cxn ang="0">
                  <a:pos x="16" y="3"/>
                </a:cxn>
                <a:cxn ang="0">
                  <a:pos x="17" y="5"/>
                </a:cxn>
                <a:cxn ang="0">
                  <a:pos x="17" y="6"/>
                </a:cxn>
                <a:cxn ang="0">
                  <a:pos x="17" y="8"/>
                </a:cxn>
                <a:cxn ang="0">
                  <a:pos x="17" y="11"/>
                </a:cxn>
                <a:cxn ang="0">
                  <a:pos x="17" y="12"/>
                </a:cxn>
                <a:cxn ang="0">
                  <a:pos x="15" y="15"/>
                </a:cxn>
                <a:cxn ang="0">
                  <a:pos x="14" y="16"/>
                </a:cxn>
                <a:cxn ang="0">
                  <a:pos x="12" y="17"/>
                </a:cxn>
                <a:cxn ang="0">
                  <a:pos x="9" y="17"/>
                </a:cxn>
                <a:cxn ang="0">
                  <a:pos x="6" y="17"/>
                </a:cxn>
                <a:cxn ang="0">
                  <a:pos x="3" y="15"/>
                </a:cxn>
                <a:cxn ang="0">
                  <a:pos x="2" y="14"/>
                </a:cxn>
                <a:cxn ang="0">
                  <a:pos x="1" y="12"/>
                </a:cxn>
                <a:cxn ang="0">
                  <a:pos x="1" y="11"/>
                </a:cxn>
                <a:cxn ang="0">
                  <a:pos x="0" y="8"/>
                </a:cxn>
              </a:cxnLst>
              <a:rect l="0" t="0" r="r" b="b"/>
              <a:pathLst>
                <a:path w="17" h="17">
                  <a:moveTo>
                    <a:pt x="0" y="8"/>
                  </a:moveTo>
                  <a:lnTo>
                    <a:pt x="1" y="6"/>
                  </a:lnTo>
                  <a:lnTo>
                    <a:pt x="1" y="5"/>
                  </a:lnTo>
                  <a:lnTo>
                    <a:pt x="3" y="2"/>
                  </a:lnTo>
                  <a:lnTo>
                    <a:pt x="4" y="1"/>
                  </a:lnTo>
                  <a:lnTo>
                    <a:pt x="6" y="0"/>
                  </a:lnTo>
                  <a:lnTo>
                    <a:pt x="9" y="0"/>
                  </a:lnTo>
                  <a:lnTo>
                    <a:pt x="12" y="0"/>
                  </a:lnTo>
                  <a:lnTo>
                    <a:pt x="15" y="2"/>
                  </a:lnTo>
                  <a:lnTo>
                    <a:pt x="16" y="3"/>
                  </a:lnTo>
                  <a:lnTo>
                    <a:pt x="17" y="5"/>
                  </a:lnTo>
                  <a:lnTo>
                    <a:pt x="17" y="6"/>
                  </a:lnTo>
                  <a:lnTo>
                    <a:pt x="17" y="8"/>
                  </a:lnTo>
                  <a:lnTo>
                    <a:pt x="17" y="11"/>
                  </a:lnTo>
                  <a:lnTo>
                    <a:pt x="17" y="12"/>
                  </a:lnTo>
                  <a:lnTo>
                    <a:pt x="15" y="15"/>
                  </a:lnTo>
                  <a:lnTo>
                    <a:pt x="14" y="16"/>
                  </a:lnTo>
                  <a:lnTo>
                    <a:pt x="12" y="17"/>
                  </a:lnTo>
                  <a:lnTo>
                    <a:pt x="9" y="17"/>
                  </a:lnTo>
                  <a:lnTo>
                    <a:pt x="6" y="17"/>
                  </a:lnTo>
                  <a:lnTo>
                    <a:pt x="3" y="15"/>
                  </a:lnTo>
                  <a:lnTo>
                    <a:pt x="2" y="14"/>
                  </a:lnTo>
                  <a:lnTo>
                    <a:pt x="1" y="12"/>
                  </a:lnTo>
                  <a:lnTo>
                    <a:pt x="1" y="11"/>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5" name="Freeform 9"/>
            <p:cNvSpPr>
              <a:spLocks/>
            </p:cNvSpPr>
            <p:nvPr/>
          </p:nvSpPr>
          <p:spPr bwMode="gray">
            <a:xfrm>
              <a:off x="6950933" y="1290873"/>
              <a:ext cx="127000" cy="23813"/>
            </a:xfrm>
            <a:custGeom>
              <a:avLst/>
              <a:gdLst/>
              <a:ahLst/>
              <a:cxnLst>
                <a:cxn ang="0">
                  <a:pos x="8" y="0"/>
                </a:cxn>
                <a:cxn ang="0">
                  <a:pos x="73" y="0"/>
                </a:cxn>
                <a:cxn ang="0">
                  <a:pos x="76" y="0"/>
                </a:cxn>
                <a:cxn ang="0">
                  <a:pos x="78" y="2"/>
                </a:cxn>
                <a:cxn ang="0">
                  <a:pos x="80" y="4"/>
                </a:cxn>
                <a:cxn ang="0">
                  <a:pos x="80" y="7"/>
                </a:cxn>
                <a:cxn ang="0">
                  <a:pos x="80" y="11"/>
                </a:cxn>
                <a:cxn ang="0">
                  <a:pos x="78" y="13"/>
                </a:cxn>
                <a:cxn ang="0">
                  <a:pos x="76" y="15"/>
                </a:cxn>
                <a:cxn ang="0">
                  <a:pos x="74" y="15"/>
                </a:cxn>
                <a:cxn ang="0">
                  <a:pos x="73" y="15"/>
                </a:cxn>
                <a:cxn ang="0">
                  <a:pos x="8" y="15"/>
                </a:cxn>
                <a:cxn ang="0">
                  <a:pos x="5" y="15"/>
                </a:cxn>
                <a:cxn ang="0">
                  <a:pos x="2" y="13"/>
                </a:cxn>
                <a:cxn ang="0">
                  <a:pos x="1" y="11"/>
                </a:cxn>
                <a:cxn ang="0">
                  <a:pos x="0" y="7"/>
                </a:cxn>
                <a:cxn ang="0">
                  <a:pos x="1" y="4"/>
                </a:cxn>
                <a:cxn ang="0">
                  <a:pos x="2" y="2"/>
                </a:cxn>
                <a:cxn ang="0">
                  <a:pos x="5" y="0"/>
                </a:cxn>
                <a:cxn ang="0">
                  <a:pos x="6" y="0"/>
                </a:cxn>
                <a:cxn ang="0">
                  <a:pos x="8" y="0"/>
                </a:cxn>
              </a:cxnLst>
              <a:rect l="0" t="0" r="r" b="b"/>
              <a:pathLst>
                <a:path w="80" h="15">
                  <a:moveTo>
                    <a:pt x="8" y="0"/>
                  </a:moveTo>
                  <a:lnTo>
                    <a:pt x="73" y="0"/>
                  </a:lnTo>
                  <a:lnTo>
                    <a:pt x="76" y="0"/>
                  </a:lnTo>
                  <a:lnTo>
                    <a:pt x="78" y="2"/>
                  </a:lnTo>
                  <a:lnTo>
                    <a:pt x="80" y="4"/>
                  </a:lnTo>
                  <a:lnTo>
                    <a:pt x="80" y="7"/>
                  </a:lnTo>
                  <a:lnTo>
                    <a:pt x="80" y="11"/>
                  </a:lnTo>
                  <a:lnTo>
                    <a:pt x="78" y="13"/>
                  </a:lnTo>
                  <a:lnTo>
                    <a:pt x="76" y="15"/>
                  </a:lnTo>
                  <a:lnTo>
                    <a:pt x="74" y="15"/>
                  </a:lnTo>
                  <a:lnTo>
                    <a:pt x="73" y="15"/>
                  </a:lnTo>
                  <a:lnTo>
                    <a:pt x="8" y="15"/>
                  </a:lnTo>
                  <a:lnTo>
                    <a:pt x="5" y="15"/>
                  </a:lnTo>
                  <a:lnTo>
                    <a:pt x="2" y="13"/>
                  </a:lnTo>
                  <a:lnTo>
                    <a:pt x="1" y="11"/>
                  </a:lnTo>
                  <a:lnTo>
                    <a:pt x="0" y="7"/>
                  </a:lnTo>
                  <a:lnTo>
                    <a:pt x="1" y="4"/>
                  </a:lnTo>
                  <a:lnTo>
                    <a:pt x="2" y="2"/>
                  </a:lnTo>
                  <a:lnTo>
                    <a:pt x="5" y="0"/>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6" name="Freeform 10"/>
            <p:cNvSpPr>
              <a:spLocks/>
            </p:cNvSpPr>
            <p:nvPr/>
          </p:nvSpPr>
          <p:spPr bwMode="gray">
            <a:xfrm>
              <a:off x="6901720" y="187507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7" name="Freeform 11"/>
            <p:cNvSpPr>
              <a:spLocks/>
            </p:cNvSpPr>
            <p:nvPr/>
          </p:nvSpPr>
          <p:spPr bwMode="gray">
            <a:xfrm>
              <a:off x="6901720" y="183856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8" name="Freeform 12"/>
            <p:cNvSpPr>
              <a:spLocks/>
            </p:cNvSpPr>
            <p:nvPr/>
          </p:nvSpPr>
          <p:spPr bwMode="gray">
            <a:xfrm>
              <a:off x="6901720" y="180204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9" name="Freeform 13"/>
            <p:cNvSpPr>
              <a:spLocks/>
            </p:cNvSpPr>
            <p:nvPr/>
          </p:nvSpPr>
          <p:spPr bwMode="gray">
            <a:xfrm>
              <a:off x="6901720" y="176553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0" name="Freeform 14"/>
            <p:cNvSpPr>
              <a:spLocks/>
            </p:cNvSpPr>
            <p:nvPr/>
          </p:nvSpPr>
          <p:spPr bwMode="gray">
            <a:xfrm>
              <a:off x="6901720" y="172902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1" name="Freeform 15"/>
            <p:cNvSpPr>
              <a:spLocks/>
            </p:cNvSpPr>
            <p:nvPr/>
          </p:nvSpPr>
          <p:spPr bwMode="gray">
            <a:xfrm>
              <a:off x="6901720" y="169251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2" name="Freeform 16"/>
            <p:cNvSpPr>
              <a:spLocks/>
            </p:cNvSpPr>
            <p:nvPr/>
          </p:nvSpPr>
          <p:spPr bwMode="gray">
            <a:xfrm>
              <a:off x="6901720" y="165599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353" name="Gruppieren 118"/>
          <p:cNvGrpSpPr/>
          <p:nvPr>
            <p:custDataLst>
              <p:tags r:id="rId21"/>
            </p:custDataLst>
          </p:nvPr>
        </p:nvGrpSpPr>
        <p:grpSpPr bwMode="gray">
          <a:xfrm>
            <a:off x="5945592" y="1167174"/>
            <a:ext cx="177020" cy="357790"/>
            <a:chOff x="6876320" y="1203560"/>
            <a:chExt cx="374650" cy="757238"/>
          </a:xfrm>
        </p:grpSpPr>
        <p:sp>
          <p:nvSpPr>
            <p:cNvPr id="354" name="Freeform 4"/>
            <p:cNvSpPr>
              <a:spLocks/>
            </p:cNvSpPr>
            <p:nvPr/>
          </p:nvSpPr>
          <p:spPr bwMode="gray">
            <a:xfrm>
              <a:off x="6876320" y="1203560"/>
              <a:ext cx="374650" cy="757238"/>
            </a:xfrm>
            <a:custGeom>
              <a:avLst/>
              <a:gdLst/>
              <a:ahLst/>
              <a:cxnLst>
                <a:cxn ang="0">
                  <a:pos x="0" y="3"/>
                </a:cxn>
                <a:cxn ang="0">
                  <a:pos x="0" y="2"/>
                </a:cxn>
                <a:cxn ang="0">
                  <a:pos x="1" y="1"/>
                </a:cxn>
                <a:cxn ang="0">
                  <a:pos x="2" y="0"/>
                </a:cxn>
                <a:cxn ang="0">
                  <a:pos x="3" y="0"/>
                </a:cxn>
                <a:cxn ang="0">
                  <a:pos x="233" y="0"/>
                </a:cxn>
                <a:cxn ang="0">
                  <a:pos x="234" y="0"/>
                </a:cxn>
                <a:cxn ang="0">
                  <a:pos x="235" y="1"/>
                </a:cxn>
                <a:cxn ang="0">
                  <a:pos x="236" y="2"/>
                </a:cxn>
                <a:cxn ang="0">
                  <a:pos x="236" y="3"/>
                </a:cxn>
                <a:cxn ang="0">
                  <a:pos x="236" y="474"/>
                </a:cxn>
                <a:cxn ang="0">
                  <a:pos x="236" y="475"/>
                </a:cxn>
                <a:cxn ang="0">
                  <a:pos x="235" y="476"/>
                </a:cxn>
                <a:cxn ang="0">
                  <a:pos x="234" y="476"/>
                </a:cxn>
                <a:cxn ang="0">
                  <a:pos x="233" y="477"/>
                </a:cxn>
                <a:cxn ang="0">
                  <a:pos x="3" y="477"/>
                </a:cxn>
                <a:cxn ang="0">
                  <a:pos x="2" y="476"/>
                </a:cxn>
                <a:cxn ang="0">
                  <a:pos x="1" y="476"/>
                </a:cxn>
                <a:cxn ang="0">
                  <a:pos x="0" y="475"/>
                </a:cxn>
                <a:cxn ang="0">
                  <a:pos x="0" y="474"/>
                </a:cxn>
                <a:cxn ang="0">
                  <a:pos x="0" y="3"/>
                </a:cxn>
              </a:cxnLst>
              <a:rect l="0" t="0" r="r" b="b"/>
              <a:pathLst>
                <a:path w="236" h="477">
                  <a:moveTo>
                    <a:pt x="0" y="3"/>
                  </a:moveTo>
                  <a:lnTo>
                    <a:pt x="0" y="2"/>
                  </a:lnTo>
                  <a:lnTo>
                    <a:pt x="1" y="1"/>
                  </a:lnTo>
                  <a:lnTo>
                    <a:pt x="2" y="0"/>
                  </a:lnTo>
                  <a:lnTo>
                    <a:pt x="3" y="0"/>
                  </a:lnTo>
                  <a:lnTo>
                    <a:pt x="233" y="0"/>
                  </a:lnTo>
                  <a:lnTo>
                    <a:pt x="234" y="0"/>
                  </a:lnTo>
                  <a:lnTo>
                    <a:pt x="235" y="1"/>
                  </a:lnTo>
                  <a:lnTo>
                    <a:pt x="236" y="2"/>
                  </a:lnTo>
                  <a:lnTo>
                    <a:pt x="236" y="3"/>
                  </a:lnTo>
                  <a:lnTo>
                    <a:pt x="236" y="474"/>
                  </a:lnTo>
                  <a:lnTo>
                    <a:pt x="236" y="475"/>
                  </a:lnTo>
                  <a:lnTo>
                    <a:pt x="235" y="476"/>
                  </a:lnTo>
                  <a:lnTo>
                    <a:pt x="234" y="476"/>
                  </a:lnTo>
                  <a:lnTo>
                    <a:pt x="233" y="477"/>
                  </a:lnTo>
                  <a:lnTo>
                    <a:pt x="3" y="477"/>
                  </a:lnTo>
                  <a:lnTo>
                    <a:pt x="2" y="476"/>
                  </a:lnTo>
                  <a:lnTo>
                    <a:pt x="1" y="476"/>
                  </a:lnTo>
                  <a:lnTo>
                    <a:pt x="0" y="475"/>
                  </a:lnTo>
                  <a:lnTo>
                    <a:pt x="0" y="474"/>
                  </a:lnTo>
                  <a:lnTo>
                    <a:pt x="0" y="3"/>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5" name="Freeform 5"/>
            <p:cNvSpPr>
              <a:spLocks/>
            </p:cNvSpPr>
            <p:nvPr/>
          </p:nvSpPr>
          <p:spPr bwMode="gray">
            <a:xfrm>
              <a:off x="6901720" y="1241660"/>
              <a:ext cx="26988" cy="26988"/>
            </a:xfrm>
            <a:custGeom>
              <a:avLst/>
              <a:gdLst/>
              <a:ahLst/>
              <a:cxnLst>
                <a:cxn ang="0">
                  <a:pos x="0" y="8"/>
                </a:cxn>
                <a:cxn ang="0">
                  <a:pos x="1" y="7"/>
                </a:cxn>
                <a:cxn ang="0">
                  <a:pos x="1" y="5"/>
                </a:cxn>
                <a:cxn ang="0">
                  <a:pos x="3" y="2"/>
                </a:cxn>
                <a:cxn ang="0">
                  <a:pos x="4" y="1"/>
                </a:cxn>
                <a:cxn ang="0">
                  <a:pos x="6" y="0"/>
                </a:cxn>
                <a:cxn ang="0">
                  <a:pos x="9" y="0"/>
                </a:cxn>
                <a:cxn ang="0">
                  <a:pos x="12" y="0"/>
                </a:cxn>
                <a:cxn ang="0">
                  <a:pos x="15" y="2"/>
                </a:cxn>
                <a:cxn ang="0">
                  <a:pos x="16" y="4"/>
                </a:cxn>
                <a:cxn ang="0">
                  <a:pos x="17" y="5"/>
                </a:cxn>
                <a:cxn ang="0">
                  <a:pos x="17" y="7"/>
                </a:cxn>
                <a:cxn ang="0">
                  <a:pos x="17" y="8"/>
                </a:cxn>
                <a:cxn ang="0">
                  <a:pos x="17" y="10"/>
                </a:cxn>
                <a:cxn ang="0">
                  <a:pos x="17" y="12"/>
                </a:cxn>
                <a:cxn ang="0">
                  <a:pos x="15" y="14"/>
                </a:cxn>
                <a:cxn ang="0">
                  <a:pos x="14" y="15"/>
                </a:cxn>
                <a:cxn ang="0">
                  <a:pos x="12" y="16"/>
                </a:cxn>
                <a:cxn ang="0">
                  <a:pos x="9" y="17"/>
                </a:cxn>
                <a:cxn ang="0">
                  <a:pos x="6" y="16"/>
                </a:cxn>
                <a:cxn ang="0">
                  <a:pos x="3" y="14"/>
                </a:cxn>
                <a:cxn ang="0">
                  <a:pos x="2" y="13"/>
                </a:cxn>
                <a:cxn ang="0">
                  <a:pos x="1" y="12"/>
                </a:cxn>
                <a:cxn ang="0">
                  <a:pos x="1" y="10"/>
                </a:cxn>
                <a:cxn ang="0">
                  <a:pos x="0" y="8"/>
                </a:cxn>
              </a:cxnLst>
              <a:rect l="0" t="0" r="r" b="b"/>
              <a:pathLst>
                <a:path w="17" h="17">
                  <a:moveTo>
                    <a:pt x="0" y="8"/>
                  </a:moveTo>
                  <a:lnTo>
                    <a:pt x="1" y="7"/>
                  </a:lnTo>
                  <a:lnTo>
                    <a:pt x="1" y="5"/>
                  </a:lnTo>
                  <a:lnTo>
                    <a:pt x="3" y="2"/>
                  </a:lnTo>
                  <a:lnTo>
                    <a:pt x="4" y="1"/>
                  </a:lnTo>
                  <a:lnTo>
                    <a:pt x="6" y="0"/>
                  </a:lnTo>
                  <a:lnTo>
                    <a:pt x="9" y="0"/>
                  </a:lnTo>
                  <a:lnTo>
                    <a:pt x="12" y="0"/>
                  </a:lnTo>
                  <a:lnTo>
                    <a:pt x="15" y="2"/>
                  </a:lnTo>
                  <a:lnTo>
                    <a:pt x="16" y="4"/>
                  </a:lnTo>
                  <a:lnTo>
                    <a:pt x="17" y="5"/>
                  </a:lnTo>
                  <a:lnTo>
                    <a:pt x="17" y="7"/>
                  </a:lnTo>
                  <a:lnTo>
                    <a:pt x="17" y="8"/>
                  </a:lnTo>
                  <a:lnTo>
                    <a:pt x="17" y="10"/>
                  </a:lnTo>
                  <a:lnTo>
                    <a:pt x="17" y="12"/>
                  </a:lnTo>
                  <a:lnTo>
                    <a:pt x="15" y="14"/>
                  </a:lnTo>
                  <a:lnTo>
                    <a:pt x="14" y="15"/>
                  </a:lnTo>
                  <a:lnTo>
                    <a:pt x="12" y="16"/>
                  </a:lnTo>
                  <a:lnTo>
                    <a:pt x="9" y="17"/>
                  </a:lnTo>
                  <a:lnTo>
                    <a:pt x="6" y="16"/>
                  </a:lnTo>
                  <a:lnTo>
                    <a:pt x="3" y="14"/>
                  </a:lnTo>
                  <a:lnTo>
                    <a:pt x="2" y="13"/>
                  </a:lnTo>
                  <a:lnTo>
                    <a:pt x="1" y="12"/>
                  </a:lnTo>
                  <a:lnTo>
                    <a:pt x="1" y="10"/>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6" name="Freeform 6"/>
            <p:cNvSpPr>
              <a:spLocks/>
            </p:cNvSpPr>
            <p:nvPr/>
          </p:nvSpPr>
          <p:spPr bwMode="gray">
            <a:xfrm>
              <a:off x="6901720" y="191158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7" name="Freeform 7"/>
            <p:cNvSpPr>
              <a:spLocks/>
            </p:cNvSpPr>
            <p:nvPr/>
          </p:nvSpPr>
          <p:spPr bwMode="gray">
            <a:xfrm>
              <a:off x="6950933" y="1243248"/>
              <a:ext cx="127000" cy="22225"/>
            </a:xfrm>
            <a:custGeom>
              <a:avLst/>
              <a:gdLst/>
              <a:ahLst/>
              <a:cxnLst>
                <a:cxn ang="0">
                  <a:pos x="8" y="0"/>
                </a:cxn>
                <a:cxn ang="0">
                  <a:pos x="73" y="0"/>
                </a:cxn>
                <a:cxn ang="0">
                  <a:pos x="76" y="1"/>
                </a:cxn>
                <a:cxn ang="0">
                  <a:pos x="78" y="2"/>
                </a:cxn>
                <a:cxn ang="0">
                  <a:pos x="80" y="5"/>
                </a:cxn>
                <a:cxn ang="0">
                  <a:pos x="80" y="7"/>
                </a:cxn>
                <a:cxn ang="0">
                  <a:pos x="80" y="10"/>
                </a:cxn>
                <a:cxn ang="0">
                  <a:pos x="78" y="12"/>
                </a:cxn>
                <a:cxn ang="0">
                  <a:pos x="76" y="14"/>
                </a:cxn>
                <a:cxn ang="0">
                  <a:pos x="74" y="14"/>
                </a:cxn>
                <a:cxn ang="0">
                  <a:pos x="73" y="14"/>
                </a:cxn>
                <a:cxn ang="0">
                  <a:pos x="8" y="14"/>
                </a:cxn>
                <a:cxn ang="0">
                  <a:pos x="5" y="14"/>
                </a:cxn>
                <a:cxn ang="0">
                  <a:pos x="2" y="12"/>
                </a:cxn>
                <a:cxn ang="0">
                  <a:pos x="1" y="10"/>
                </a:cxn>
                <a:cxn ang="0">
                  <a:pos x="0" y="7"/>
                </a:cxn>
                <a:cxn ang="0">
                  <a:pos x="1" y="5"/>
                </a:cxn>
                <a:cxn ang="0">
                  <a:pos x="2" y="2"/>
                </a:cxn>
                <a:cxn ang="0">
                  <a:pos x="5" y="1"/>
                </a:cxn>
                <a:cxn ang="0">
                  <a:pos x="6" y="0"/>
                </a:cxn>
                <a:cxn ang="0">
                  <a:pos x="8" y="0"/>
                </a:cxn>
              </a:cxnLst>
              <a:rect l="0" t="0" r="r" b="b"/>
              <a:pathLst>
                <a:path w="80" h="14">
                  <a:moveTo>
                    <a:pt x="8" y="0"/>
                  </a:moveTo>
                  <a:lnTo>
                    <a:pt x="73" y="0"/>
                  </a:lnTo>
                  <a:lnTo>
                    <a:pt x="76" y="1"/>
                  </a:lnTo>
                  <a:lnTo>
                    <a:pt x="78" y="2"/>
                  </a:lnTo>
                  <a:lnTo>
                    <a:pt x="80" y="5"/>
                  </a:lnTo>
                  <a:lnTo>
                    <a:pt x="80" y="7"/>
                  </a:lnTo>
                  <a:lnTo>
                    <a:pt x="80" y="10"/>
                  </a:lnTo>
                  <a:lnTo>
                    <a:pt x="78" y="12"/>
                  </a:lnTo>
                  <a:lnTo>
                    <a:pt x="76" y="14"/>
                  </a:lnTo>
                  <a:lnTo>
                    <a:pt x="74" y="14"/>
                  </a:lnTo>
                  <a:lnTo>
                    <a:pt x="73" y="14"/>
                  </a:lnTo>
                  <a:lnTo>
                    <a:pt x="8" y="14"/>
                  </a:lnTo>
                  <a:lnTo>
                    <a:pt x="5" y="14"/>
                  </a:lnTo>
                  <a:lnTo>
                    <a:pt x="2" y="12"/>
                  </a:lnTo>
                  <a:lnTo>
                    <a:pt x="1" y="10"/>
                  </a:lnTo>
                  <a:lnTo>
                    <a:pt x="0" y="7"/>
                  </a:lnTo>
                  <a:lnTo>
                    <a:pt x="1" y="5"/>
                  </a:lnTo>
                  <a:lnTo>
                    <a:pt x="2" y="2"/>
                  </a:lnTo>
                  <a:lnTo>
                    <a:pt x="5" y="1"/>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8" name="Freeform 8"/>
            <p:cNvSpPr>
              <a:spLocks/>
            </p:cNvSpPr>
            <p:nvPr/>
          </p:nvSpPr>
          <p:spPr bwMode="gray">
            <a:xfrm>
              <a:off x="6901720" y="1289285"/>
              <a:ext cx="26988" cy="26988"/>
            </a:xfrm>
            <a:custGeom>
              <a:avLst/>
              <a:gdLst/>
              <a:ahLst/>
              <a:cxnLst>
                <a:cxn ang="0">
                  <a:pos x="0" y="8"/>
                </a:cxn>
                <a:cxn ang="0">
                  <a:pos x="1" y="6"/>
                </a:cxn>
                <a:cxn ang="0">
                  <a:pos x="1" y="5"/>
                </a:cxn>
                <a:cxn ang="0">
                  <a:pos x="3" y="2"/>
                </a:cxn>
                <a:cxn ang="0">
                  <a:pos x="4" y="1"/>
                </a:cxn>
                <a:cxn ang="0">
                  <a:pos x="6" y="0"/>
                </a:cxn>
                <a:cxn ang="0">
                  <a:pos x="9" y="0"/>
                </a:cxn>
                <a:cxn ang="0">
                  <a:pos x="12" y="0"/>
                </a:cxn>
                <a:cxn ang="0">
                  <a:pos x="15" y="2"/>
                </a:cxn>
                <a:cxn ang="0">
                  <a:pos x="16" y="3"/>
                </a:cxn>
                <a:cxn ang="0">
                  <a:pos x="17" y="5"/>
                </a:cxn>
                <a:cxn ang="0">
                  <a:pos x="17" y="6"/>
                </a:cxn>
                <a:cxn ang="0">
                  <a:pos x="17" y="8"/>
                </a:cxn>
                <a:cxn ang="0">
                  <a:pos x="17" y="11"/>
                </a:cxn>
                <a:cxn ang="0">
                  <a:pos x="17" y="12"/>
                </a:cxn>
                <a:cxn ang="0">
                  <a:pos x="15" y="15"/>
                </a:cxn>
                <a:cxn ang="0">
                  <a:pos x="14" y="16"/>
                </a:cxn>
                <a:cxn ang="0">
                  <a:pos x="12" y="17"/>
                </a:cxn>
                <a:cxn ang="0">
                  <a:pos x="9" y="17"/>
                </a:cxn>
                <a:cxn ang="0">
                  <a:pos x="6" y="17"/>
                </a:cxn>
                <a:cxn ang="0">
                  <a:pos x="3" y="15"/>
                </a:cxn>
                <a:cxn ang="0">
                  <a:pos x="2" y="14"/>
                </a:cxn>
                <a:cxn ang="0">
                  <a:pos x="1" y="12"/>
                </a:cxn>
                <a:cxn ang="0">
                  <a:pos x="1" y="11"/>
                </a:cxn>
                <a:cxn ang="0">
                  <a:pos x="0" y="8"/>
                </a:cxn>
              </a:cxnLst>
              <a:rect l="0" t="0" r="r" b="b"/>
              <a:pathLst>
                <a:path w="17" h="17">
                  <a:moveTo>
                    <a:pt x="0" y="8"/>
                  </a:moveTo>
                  <a:lnTo>
                    <a:pt x="1" y="6"/>
                  </a:lnTo>
                  <a:lnTo>
                    <a:pt x="1" y="5"/>
                  </a:lnTo>
                  <a:lnTo>
                    <a:pt x="3" y="2"/>
                  </a:lnTo>
                  <a:lnTo>
                    <a:pt x="4" y="1"/>
                  </a:lnTo>
                  <a:lnTo>
                    <a:pt x="6" y="0"/>
                  </a:lnTo>
                  <a:lnTo>
                    <a:pt x="9" y="0"/>
                  </a:lnTo>
                  <a:lnTo>
                    <a:pt x="12" y="0"/>
                  </a:lnTo>
                  <a:lnTo>
                    <a:pt x="15" y="2"/>
                  </a:lnTo>
                  <a:lnTo>
                    <a:pt x="16" y="3"/>
                  </a:lnTo>
                  <a:lnTo>
                    <a:pt x="17" y="5"/>
                  </a:lnTo>
                  <a:lnTo>
                    <a:pt x="17" y="6"/>
                  </a:lnTo>
                  <a:lnTo>
                    <a:pt x="17" y="8"/>
                  </a:lnTo>
                  <a:lnTo>
                    <a:pt x="17" y="11"/>
                  </a:lnTo>
                  <a:lnTo>
                    <a:pt x="17" y="12"/>
                  </a:lnTo>
                  <a:lnTo>
                    <a:pt x="15" y="15"/>
                  </a:lnTo>
                  <a:lnTo>
                    <a:pt x="14" y="16"/>
                  </a:lnTo>
                  <a:lnTo>
                    <a:pt x="12" y="17"/>
                  </a:lnTo>
                  <a:lnTo>
                    <a:pt x="9" y="17"/>
                  </a:lnTo>
                  <a:lnTo>
                    <a:pt x="6" y="17"/>
                  </a:lnTo>
                  <a:lnTo>
                    <a:pt x="3" y="15"/>
                  </a:lnTo>
                  <a:lnTo>
                    <a:pt x="2" y="14"/>
                  </a:lnTo>
                  <a:lnTo>
                    <a:pt x="1" y="12"/>
                  </a:lnTo>
                  <a:lnTo>
                    <a:pt x="1" y="11"/>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9" name="Freeform 9"/>
            <p:cNvSpPr>
              <a:spLocks/>
            </p:cNvSpPr>
            <p:nvPr/>
          </p:nvSpPr>
          <p:spPr bwMode="gray">
            <a:xfrm>
              <a:off x="6950933" y="1290873"/>
              <a:ext cx="127000" cy="23813"/>
            </a:xfrm>
            <a:custGeom>
              <a:avLst/>
              <a:gdLst/>
              <a:ahLst/>
              <a:cxnLst>
                <a:cxn ang="0">
                  <a:pos x="8" y="0"/>
                </a:cxn>
                <a:cxn ang="0">
                  <a:pos x="73" y="0"/>
                </a:cxn>
                <a:cxn ang="0">
                  <a:pos x="76" y="0"/>
                </a:cxn>
                <a:cxn ang="0">
                  <a:pos x="78" y="2"/>
                </a:cxn>
                <a:cxn ang="0">
                  <a:pos x="80" y="4"/>
                </a:cxn>
                <a:cxn ang="0">
                  <a:pos x="80" y="7"/>
                </a:cxn>
                <a:cxn ang="0">
                  <a:pos x="80" y="11"/>
                </a:cxn>
                <a:cxn ang="0">
                  <a:pos x="78" y="13"/>
                </a:cxn>
                <a:cxn ang="0">
                  <a:pos x="76" y="15"/>
                </a:cxn>
                <a:cxn ang="0">
                  <a:pos x="74" y="15"/>
                </a:cxn>
                <a:cxn ang="0">
                  <a:pos x="73" y="15"/>
                </a:cxn>
                <a:cxn ang="0">
                  <a:pos x="8" y="15"/>
                </a:cxn>
                <a:cxn ang="0">
                  <a:pos x="5" y="15"/>
                </a:cxn>
                <a:cxn ang="0">
                  <a:pos x="2" y="13"/>
                </a:cxn>
                <a:cxn ang="0">
                  <a:pos x="1" y="11"/>
                </a:cxn>
                <a:cxn ang="0">
                  <a:pos x="0" y="7"/>
                </a:cxn>
                <a:cxn ang="0">
                  <a:pos x="1" y="4"/>
                </a:cxn>
                <a:cxn ang="0">
                  <a:pos x="2" y="2"/>
                </a:cxn>
                <a:cxn ang="0">
                  <a:pos x="5" y="0"/>
                </a:cxn>
                <a:cxn ang="0">
                  <a:pos x="6" y="0"/>
                </a:cxn>
                <a:cxn ang="0">
                  <a:pos x="8" y="0"/>
                </a:cxn>
              </a:cxnLst>
              <a:rect l="0" t="0" r="r" b="b"/>
              <a:pathLst>
                <a:path w="80" h="15">
                  <a:moveTo>
                    <a:pt x="8" y="0"/>
                  </a:moveTo>
                  <a:lnTo>
                    <a:pt x="73" y="0"/>
                  </a:lnTo>
                  <a:lnTo>
                    <a:pt x="76" y="0"/>
                  </a:lnTo>
                  <a:lnTo>
                    <a:pt x="78" y="2"/>
                  </a:lnTo>
                  <a:lnTo>
                    <a:pt x="80" y="4"/>
                  </a:lnTo>
                  <a:lnTo>
                    <a:pt x="80" y="7"/>
                  </a:lnTo>
                  <a:lnTo>
                    <a:pt x="80" y="11"/>
                  </a:lnTo>
                  <a:lnTo>
                    <a:pt x="78" y="13"/>
                  </a:lnTo>
                  <a:lnTo>
                    <a:pt x="76" y="15"/>
                  </a:lnTo>
                  <a:lnTo>
                    <a:pt x="74" y="15"/>
                  </a:lnTo>
                  <a:lnTo>
                    <a:pt x="73" y="15"/>
                  </a:lnTo>
                  <a:lnTo>
                    <a:pt x="8" y="15"/>
                  </a:lnTo>
                  <a:lnTo>
                    <a:pt x="5" y="15"/>
                  </a:lnTo>
                  <a:lnTo>
                    <a:pt x="2" y="13"/>
                  </a:lnTo>
                  <a:lnTo>
                    <a:pt x="1" y="11"/>
                  </a:lnTo>
                  <a:lnTo>
                    <a:pt x="0" y="7"/>
                  </a:lnTo>
                  <a:lnTo>
                    <a:pt x="1" y="4"/>
                  </a:lnTo>
                  <a:lnTo>
                    <a:pt x="2" y="2"/>
                  </a:lnTo>
                  <a:lnTo>
                    <a:pt x="5" y="0"/>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0" name="Freeform 10"/>
            <p:cNvSpPr>
              <a:spLocks/>
            </p:cNvSpPr>
            <p:nvPr/>
          </p:nvSpPr>
          <p:spPr bwMode="gray">
            <a:xfrm>
              <a:off x="6901720" y="187507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1" name="Freeform 11"/>
            <p:cNvSpPr>
              <a:spLocks/>
            </p:cNvSpPr>
            <p:nvPr/>
          </p:nvSpPr>
          <p:spPr bwMode="gray">
            <a:xfrm>
              <a:off x="6901720" y="183856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2" name="Freeform 12"/>
            <p:cNvSpPr>
              <a:spLocks/>
            </p:cNvSpPr>
            <p:nvPr/>
          </p:nvSpPr>
          <p:spPr bwMode="gray">
            <a:xfrm>
              <a:off x="6901720" y="180204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3" name="Freeform 13"/>
            <p:cNvSpPr>
              <a:spLocks/>
            </p:cNvSpPr>
            <p:nvPr/>
          </p:nvSpPr>
          <p:spPr bwMode="gray">
            <a:xfrm>
              <a:off x="6901720" y="176553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4" name="Freeform 14"/>
            <p:cNvSpPr>
              <a:spLocks/>
            </p:cNvSpPr>
            <p:nvPr/>
          </p:nvSpPr>
          <p:spPr bwMode="gray">
            <a:xfrm>
              <a:off x="6901720" y="172902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5" name="Freeform 15"/>
            <p:cNvSpPr>
              <a:spLocks/>
            </p:cNvSpPr>
            <p:nvPr/>
          </p:nvSpPr>
          <p:spPr bwMode="gray">
            <a:xfrm>
              <a:off x="6901720" y="169251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6" name="Freeform 16"/>
            <p:cNvSpPr>
              <a:spLocks/>
            </p:cNvSpPr>
            <p:nvPr/>
          </p:nvSpPr>
          <p:spPr bwMode="gray">
            <a:xfrm>
              <a:off x="6901720" y="165599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367" name="Gruppieren 89"/>
          <p:cNvGrpSpPr/>
          <p:nvPr>
            <p:custDataLst>
              <p:tags r:id="rId22"/>
            </p:custDataLst>
          </p:nvPr>
        </p:nvGrpSpPr>
        <p:grpSpPr bwMode="gray">
          <a:xfrm>
            <a:off x="4324652" y="1167174"/>
            <a:ext cx="177020" cy="357790"/>
            <a:chOff x="6876320" y="1203560"/>
            <a:chExt cx="374650" cy="757238"/>
          </a:xfrm>
        </p:grpSpPr>
        <p:sp>
          <p:nvSpPr>
            <p:cNvPr id="368" name="Freeform 4"/>
            <p:cNvSpPr>
              <a:spLocks/>
            </p:cNvSpPr>
            <p:nvPr/>
          </p:nvSpPr>
          <p:spPr bwMode="gray">
            <a:xfrm>
              <a:off x="6876320" y="1203560"/>
              <a:ext cx="374650" cy="757238"/>
            </a:xfrm>
            <a:custGeom>
              <a:avLst/>
              <a:gdLst/>
              <a:ahLst/>
              <a:cxnLst>
                <a:cxn ang="0">
                  <a:pos x="0" y="3"/>
                </a:cxn>
                <a:cxn ang="0">
                  <a:pos x="0" y="2"/>
                </a:cxn>
                <a:cxn ang="0">
                  <a:pos x="1" y="1"/>
                </a:cxn>
                <a:cxn ang="0">
                  <a:pos x="2" y="0"/>
                </a:cxn>
                <a:cxn ang="0">
                  <a:pos x="3" y="0"/>
                </a:cxn>
                <a:cxn ang="0">
                  <a:pos x="233" y="0"/>
                </a:cxn>
                <a:cxn ang="0">
                  <a:pos x="234" y="0"/>
                </a:cxn>
                <a:cxn ang="0">
                  <a:pos x="235" y="1"/>
                </a:cxn>
                <a:cxn ang="0">
                  <a:pos x="236" y="2"/>
                </a:cxn>
                <a:cxn ang="0">
                  <a:pos x="236" y="3"/>
                </a:cxn>
                <a:cxn ang="0">
                  <a:pos x="236" y="474"/>
                </a:cxn>
                <a:cxn ang="0">
                  <a:pos x="236" y="475"/>
                </a:cxn>
                <a:cxn ang="0">
                  <a:pos x="235" y="476"/>
                </a:cxn>
                <a:cxn ang="0">
                  <a:pos x="234" y="476"/>
                </a:cxn>
                <a:cxn ang="0">
                  <a:pos x="233" y="477"/>
                </a:cxn>
                <a:cxn ang="0">
                  <a:pos x="3" y="477"/>
                </a:cxn>
                <a:cxn ang="0">
                  <a:pos x="2" y="476"/>
                </a:cxn>
                <a:cxn ang="0">
                  <a:pos x="1" y="476"/>
                </a:cxn>
                <a:cxn ang="0">
                  <a:pos x="0" y="475"/>
                </a:cxn>
                <a:cxn ang="0">
                  <a:pos x="0" y="474"/>
                </a:cxn>
                <a:cxn ang="0">
                  <a:pos x="0" y="3"/>
                </a:cxn>
              </a:cxnLst>
              <a:rect l="0" t="0" r="r" b="b"/>
              <a:pathLst>
                <a:path w="236" h="477">
                  <a:moveTo>
                    <a:pt x="0" y="3"/>
                  </a:moveTo>
                  <a:lnTo>
                    <a:pt x="0" y="2"/>
                  </a:lnTo>
                  <a:lnTo>
                    <a:pt x="1" y="1"/>
                  </a:lnTo>
                  <a:lnTo>
                    <a:pt x="2" y="0"/>
                  </a:lnTo>
                  <a:lnTo>
                    <a:pt x="3" y="0"/>
                  </a:lnTo>
                  <a:lnTo>
                    <a:pt x="233" y="0"/>
                  </a:lnTo>
                  <a:lnTo>
                    <a:pt x="234" y="0"/>
                  </a:lnTo>
                  <a:lnTo>
                    <a:pt x="235" y="1"/>
                  </a:lnTo>
                  <a:lnTo>
                    <a:pt x="236" y="2"/>
                  </a:lnTo>
                  <a:lnTo>
                    <a:pt x="236" y="3"/>
                  </a:lnTo>
                  <a:lnTo>
                    <a:pt x="236" y="474"/>
                  </a:lnTo>
                  <a:lnTo>
                    <a:pt x="236" y="475"/>
                  </a:lnTo>
                  <a:lnTo>
                    <a:pt x="235" y="476"/>
                  </a:lnTo>
                  <a:lnTo>
                    <a:pt x="234" y="476"/>
                  </a:lnTo>
                  <a:lnTo>
                    <a:pt x="233" y="477"/>
                  </a:lnTo>
                  <a:lnTo>
                    <a:pt x="3" y="477"/>
                  </a:lnTo>
                  <a:lnTo>
                    <a:pt x="2" y="476"/>
                  </a:lnTo>
                  <a:lnTo>
                    <a:pt x="1" y="476"/>
                  </a:lnTo>
                  <a:lnTo>
                    <a:pt x="0" y="475"/>
                  </a:lnTo>
                  <a:lnTo>
                    <a:pt x="0" y="474"/>
                  </a:lnTo>
                  <a:lnTo>
                    <a:pt x="0" y="3"/>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9" name="Freeform 5"/>
            <p:cNvSpPr>
              <a:spLocks/>
            </p:cNvSpPr>
            <p:nvPr/>
          </p:nvSpPr>
          <p:spPr bwMode="gray">
            <a:xfrm>
              <a:off x="6901720" y="1241660"/>
              <a:ext cx="26988" cy="26988"/>
            </a:xfrm>
            <a:custGeom>
              <a:avLst/>
              <a:gdLst/>
              <a:ahLst/>
              <a:cxnLst>
                <a:cxn ang="0">
                  <a:pos x="0" y="8"/>
                </a:cxn>
                <a:cxn ang="0">
                  <a:pos x="1" y="7"/>
                </a:cxn>
                <a:cxn ang="0">
                  <a:pos x="1" y="5"/>
                </a:cxn>
                <a:cxn ang="0">
                  <a:pos x="3" y="2"/>
                </a:cxn>
                <a:cxn ang="0">
                  <a:pos x="4" y="1"/>
                </a:cxn>
                <a:cxn ang="0">
                  <a:pos x="6" y="0"/>
                </a:cxn>
                <a:cxn ang="0">
                  <a:pos x="9" y="0"/>
                </a:cxn>
                <a:cxn ang="0">
                  <a:pos x="12" y="0"/>
                </a:cxn>
                <a:cxn ang="0">
                  <a:pos x="15" y="2"/>
                </a:cxn>
                <a:cxn ang="0">
                  <a:pos x="16" y="4"/>
                </a:cxn>
                <a:cxn ang="0">
                  <a:pos x="17" y="5"/>
                </a:cxn>
                <a:cxn ang="0">
                  <a:pos x="17" y="7"/>
                </a:cxn>
                <a:cxn ang="0">
                  <a:pos x="17" y="8"/>
                </a:cxn>
                <a:cxn ang="0">
                  <a:pos x="17" y="10"/>
                </a:cxn>
                <a:cxn ang="0">
                  <a:pos x="17" y="12"/>
                </a:cxn>
                <a:cxn ang="0">
                  <a:pos x="15" y="14"/>
                </a:cxn>
                <a:cxn ang="0">
                  <a:pos x="14" y="15"/>
                </a:cxn>
                <a:cxn ang="0">
                  <a:pos x="12" y="16"/>
                </a:cxn>
                <a:cxn ang="0">
                  <a:pos x="9" y="17"/>
                </a:cxn>
                <a:cxn ang="0">
                  <a:pos x="6" y="16"/>
                </a:cxn>
                <a:cxn ang="0">
                  <a:pos x="3" y="14"/>
                </a:cxn>
                <a:cxn ang="0">
                  <a:pos x="2" y="13"/>
                </a:cxn>
                <a:cxn ang="0">
                  <a:pos x="1" y="12"/>
                </a:cxn>
                <a:cxn ang="0">
                  <a:pos x="1" y="10"/>
                </a:cxn>
                <a:cxn ang="0">
                  <a:pos x="0" y="8"/>
                </a:cxn>
              </a:cxnLst>
              <a:rect l="0" t="0" r="r" b="b"/>
              <a:pathLst>
                <a:path w="17" h="17">
                  <a:moveTo>
                    <a:pt x="0" y="8"/>
                  </a:moveTo>
                  <a:lnTo>
                    <a:pt x="1" y="7"/>
                  </a:lnTo>
                  <a:lnTo>
                    <a:pt x="1" y="5"/>
                  </a:lnTo>
                  <a:lnTo>
                    <a:pt x="3" y="2"/>
                  </a:lnTo>
                  <a:lnTo>
                    <a:pt x="4" y="1"/>
                  </a:lnTo>
                  <a:lnTo>
                    <a:pt x="6" y="0"/>
                  </a:lnTo>
                  <a:lnTo>
                    <a:pt x="9" y="0"/>
                  </a:lnTo>
                  <a:lnTo>
                    <a:pt x="12" y="0"/>
                  </a:lnTo>
                  <a:lnTo>
                    <a:pt x="15" y="2"/>
                  </a:lnTo>
                  <a:lnTo>
                    <a:pt x="16" y="4"/>
                  </a:lnTo>
                  <a:lnTo>
                    <a:pt x="17" y="5"/>
                  </a:lnTo>
                  <a:lnTo>
                    <a:pt x="17" y="7"/>
                  </a:lnTo>
                  <a:lnTo>
                    <a:pt x="17" y="8"/>
                  </a:lnTo>
                  <a:lnTo>
                    <a:pt x="17" y="10"/>
                  </a:lnTo>
                  <a:lnTo>
                    <a:pt x="17" y="12"/>
                  </a:lnTo>
                  <a:lnTo>
                    <a:pt x="15" y="14"/>
                  </a:lnTo>
                  <a:lnTo>
                    <a:pt x="14" y="15"/>
                  </a:lnTo>
                  <a:lnTo>
                    <a:pt x="12" y="16"/>
                  </a:lnTo>
                  <a:lnTo>
                    <a:pt x="9" y="17"/>
                  </a:lnTo>
                  <a:lnTo>
                    <a:pt x="6" y="16"/>
                  </a:lnTo>
                  <a:lnTo>
                    <a:pt x="3" y="14"/>
                  </a:lnTo>
                  <a:lnTo>
                    <a:pt x="2" y="13"/>
                  </a:lnTo>
                  <a:lnTo>
                    <a:pt x="1" y="12"/>
                  </a:lnTo>
                  <a:lnTo>
                    <a:pt x="1" y="10"/>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0" name="Freeform 6"/>
            <p:cNvSpPr>
              <a:spLocks/>
            </p:cNvSpPr>
            <p:nvPr/>
          </p:nvSpPr>
          <p:spPr bwMode="gray">
            <a:xfrm>
              <a:off x="6901720" y="191158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1" name="Freeform 7"/>
            <p:cNvSpPr>
              <a:spLocks/>
            </p:cNvSpPr>
            <p:nvPr/>
          </p:nvSpPr>
          <p:spPr bwMode="gray">
            <a:xfrm>
              <a:off x="6950933" y="1243248"/>
              <a:ext cx="127000" cy="22225"/>
            </a:xfrm>
            <a:custGeom>
              <a:avLst/>
              <a:gdLst/>
              <a:ahLst/>
              <a:cxnLst>
                <a:cxn ang="0">
                  <a:pos x="8" y="0"/>
                </a:cxn>
                <a:cxn ang="0">
                  <a:pos x="73" y="0"/>
                </a:cxn>
                <a:cxn ang="0">
                  <a:pos x="76" y="1"/>
                </a:cxn>
                <a:cxn ang="0">
                  <a:pos x="78" y="2"/>
                </a:cxn>
                <a:cxn ang="0">
                  <a:pos x="80" y="5"/>
                </a:cxn>
                <a:cxn ang="0">
                  <a:pos x="80" y="7"/>
                </a:cxn>
                <a:cxn ang="0">
                  <a:pos x="80" y="10"/>
                </a:cxn>
                <a:cxn ang="0">
                  <a:pos x="78" y="12"/>
                </a:cxn>
                <a:cxn ang="0">
                  <a:pos x="76" y="14"/>
                </a:cxn>
                <a:cxn ang="0">
                  <a:pos x="74" y="14"/>
                </a:cxn>
                <a:cxn ang="0">
                  <a:pos x="73" y="14"/>
                </a:cxn>
                <a:cxn ang="0">
                  <a:pos x="8" y="14"/>
                </a:cxn>
                <a:cxn ang="0">
                  <a:pos x="5" y="14"/>
                </a:cxn>
                <a:cxn ang="0">
                  <a:pos x="2" y="12"/>
                </a:cxn>
                <a:cxn ang="0">
                  <a:pos x="1" y="10"/>
                </a:cxn>
                <a:cxn ang="0">
                  <a:pos x="0" y="7"/>
                </a:cxn>
                <a:cxn ang="0">
                  <a:pos x="1" y="5"/>
                </a:cxn>
                <a:cxn ang="0">
                  <a:pos x="2" y="2"/>
                </a:cxn>
                <a:cxn ang="0">
                  <a:pos x="5" y="1"/>
                </a:cxn>
                <a:cxn ang="0">
                  <a:pos x="6" y="0"/>
                </a:cxn>
                <a:cxn ang="0">
                  <a:pos x="8" y="0"/>
                </a:cxn>
              </a:cxnLst>
              <a:rect l="0" t="0" r="r" b="b"/>
              <a:pathLst>
                <a:path w="80" h="14">
                  <a:moveTo>
                    <a:pt x="8" y="0"/>
                  </a:moveTo>
                  <a:lnTo>
                    <a:pt x="73" y="0"/>
                  </a:lnTo>
                  <a:lnTo>
                    <a:pt x="76" y="1"/>
                  </a:lnTo>
                  <a:lnTo>
                    <a:pt x="78" y="2"/>
                  </a:lnTo>
                  <a:lnTo>
                    <a:pt x="80" y="5"/>
                  </a:lnTo>
                  <a:lnTo>
                    <a:pt x="80" y="7"/>
                  </a:lnTo>
                  <a:lnTo>
                    <a:pt x="80" y="10"/>
                  </a:lnTo>
                  <a:lnTo>
                    <a:pt x="78" y="12"/>
                  </a:lnTo>
                  <a:lnTo>
                    <a:pt x="76" y="14"/>
                  </a:lnTo>
                  <a:lnTo>
                    <a:pt x="74" y="14"/>
                  </a:lnTo>
                  <a:lnTo>
                    <a:pt x="73" y="14"/>
                  </a:lnTo>
                  <a:lnTo>
                    <a:pt x="8" y="14"/>
                  </a:lnTo>
                  <a:lnTo>
                    <a:pt x="5" y="14"/>
                  </a:lnTo>
                  <a:lnTo>
                    <a:pt x="2" y="12"/>
                  </a:lnTo>
                  <a:lnTo>
                    <a:pt x="1" y="10"/>
                  </a:lnTo>
                  <a:lnTo>
                    <a:pt x="0" y="7"/>
                  </a:lnTo>
                  <a:lnTo>
                    <a:pt x="1" y="5"/>
                  </a:lnTo>
                  <a:lnTo>
                    <a:pt x="2" y="2"/>
                  </a:lnTo>
                  <a:lnTo>
                    <a:pt x="5" y="1"/>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2" name="Freeform 8"/>
            <p:cNvSpPr>
              <a:spLocks/>
            </p:cNvSpPr>
            <p:nvPr/>
          </p:nvSpPr>
          <p:spPr bwMode="gray">
            <a:xfrm>
              <a:off x="6901720" y="1289285"/>
              <a:ext cx="26988" cy="26988"/>
            </a:xfrm>
            <a:custGeom>
              <a:avLst/>
              <a:gdLst/>
              <a:ahLst/>
              <a:cxnLst>
                <a:cxn ang="0">
                  <a:pos x="0" y="8"/>
                </a:cxn>
                <a:cxn ang="0">
                  <a:pos x="1" y="6"/>
                </a:cxn>
                <a:cxn ang="0">
                  <a:pos x="1" y="5"/>
                </a:cxn>
                <a:cxn ang="0">
                  <a:pos x="3" y="2"/>
                </a:cxn>
                <a:cxn ang="0">
                  <a:pos x="4" y="1"/>
                </a:cxn>
                <a:cxn ang="0">
                  <a:pos x="6" y="0"/>
                </a:cxn>
                <a:cxn ang="0">
                  <a:pos x="9" y="0"/>
                </a:cxn>
                <a:cxn ang="0">
                  <a:pos x="12" y="0"/>
                </a:cxn>
                <a:cxn ang="0">
                  <a:pos x="15" y="2"/>
                </a:cxn>
                <a:cxn ang="0">
                  <a:pos x="16" y="3"/>
                </a:cxn>
                <a:cxn ang="0">
                  <a:pos x="17" y="5"/>
                </a:cxn>
                <a:cxn ang="0">
                  <a:pos x="17" y="6"/>
                </a:cxn>
                <a:cxn ang="0">
                  <a:pos x="17" y="8"/>
                </a:cxn>
                <a:cxn ang="0">
                  <a:pos x="17" y="11"/>
                </a:cxn>
                <a:cxn ang="0">
                  <a:pos x="17" y="12"/>
                </a:cxn>
                <a:cxn ang="0">
                  <a:pos x="15" y="15"/>
                </a:cxn>
                <a:cxn ang="0">
                  <a:pos x="14" y="16"/>
                </a:cxn>
                <a:cxn ang="0">
                  <a:pos x="12" y="17"/>
                </a:cxn>
                <a:cxn ang="0">
                  <a:pos x="9" y="17"/>
                </a:cxn>
                <a:cxn ang="0">
                  <a:pos x="6" y="17"/>
                </a:cxn>
                <a:cxn ang="0">
                  <a:pos x="3" y="15"/>
                </a:cxn>
                <a:cxn ang="0">
                  <a:pos x="2" y="14"/>
                </a:cxn>
                <a:cxn ang="0">
                  <a:pos x="1" y="12"/>
                </a:cxn>
                <a:cxn ang="0">
                  <a:pos x="1" y="11"/>
                </a:cxn>
                <a:cxn ang="0">
                  <a:pos x="0" y="8"/>
                </a:cxn>
              </a:cxnLst>
              <a:rect l="0" t="0" r="r" b="b"/>
              <a:pathLst>
                <a:path w="17" h="17">
                  <a:moveTo>
                    <a:pt x="0" y="8"/>
                  </a:moveTo>
                  <a:lnTo>
                    <a:pt x="1" y="6"/>
                  </a:lnTo>
                  <a:lnTo>
                    <a:pt x="1" y="5"/>
                  </a:lnTo>
                  <a:lnTo>
                    <a:pt x="3" y="2"/>
                  </a:lnTo>
                  <a:lnTo>
                    <a:pt x="4" y="1"/>
                  </a:lnTo>
                  <a:lnTo>
                    <a:pt x="6" y="0"/>
                  </a:lnTo>
                  <a:lnTo>
                    <a:pt x="9" y="0"/>
                  </a:lnTo>
                  <a:lnTo>
                    <a:pt x="12" y="0"/>
                  </a:lnTo>
                  <a:lnTo>
                    <a:pt x="15" y="2"/>
                  </a:lnTo>
                  <a:lnTo>
                    <a:pt x="16" y="3"/>
                  </a:lnTo>
                  <a:lnTo>
                    <a:pt x="17" y="5"/>
                  </a:lnTo>
                  <a:lnTo>
                    <a:pt x="17" y="6"/>
                  </a:lnTo>
                  <a:lnTo>
                    <a:pt x="17" y="8"/>
                  </a:lnTo>
                  <a:lnTo>
                    <a:pt x="17" y="11"/>
                  </a:lnTo>
                  <a:lnTo>
                    <a:pt x="17" y="12"/>
                  </a:lnTo>
                  <a:lnTo>
                    <a:pt x="15" y="15"/>
                  </a:lnTo>
                  <a:lnTo>
                    <a:pt x="14" y="16"/>
                  </a:lnTo>
                  <a:lnTo>
                    <a:pt x="12" y="17"/>
                  </a:lnTo>
                  <a:lnTo>
                    <a:pt x="9" y="17"/>
                  </a:lnTo>
                  <a:lnTo>
                    <a:pt x="6" y="17"/>
                  </a:lnTo>
                  <a:lnTo>
                    <a:pt x="3" y="15"/>
                  </a:lnTo>
                  <a:lnTo>
                    <a:pt x="2" y="14"/>
                  </a:lnTo>
                  <a:lnTo>
                    <a:pt x="1" y="12"/>
                  </a:lnTo>
                  <a:lnTo>
                    <a:pt x="1" y="11"/>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3" name="Freeform 9"/>
            <p:cNvSpPr>
              <a:spLocks/>
            </p:cNvSpPr>
            <p:nvPr/>
          </p:nvSpPr>
          <p:spPr bwMode="gray">
            <a:xfrm>
              <a:off x="6950933" y="1290873"/>
              <a:ext cx="127000" cy="23813"/>
            </a:xfrm>
            <a:custGeom>
              <a:avLst/>
              <a:gdLst/>
              <a:ahLst/>
              <a:cxnLst>
                <a:cxn ang="0">
                  <a:pos x="8" y="0"/>
                </a:cxn>
                <a:cxn ang="0">
                  <a:pos x="73" y="0"/>
                </a:cxn>
                <a:cxn ang="0">
                  <a:pos x="76" y="0"/>
                </a:cxn>
                <a:cxn ang="0">
                  <a:pos x="78" y="2"/>
                </a:cxn>
                <a:cxn ang="0">
                  <a:pos x="80" y="4"/>
                </a:cxn>
                <a:cxn ang="0">
                  <a:pos x="80" y="7"/>
                </a:cxn>
                <a:cxn ang="0">
                  <a:pos x="80" y="11"/>
                </a:cxn>
                <a:cxn ang="0">
                  <a:pos x="78" y="13"/>
                </a:cxn>
                <a:cxn ang="0">
                  <a:pos x="76" y="15"/>
                </a:cxn>
                <a:cxn ang="0">
                  <a:pos x="74" y="15"/>
                </a:cxn>
                <a:cxn ang="0">
                  <a:pos x="73" y="15"/>
                </a:cxn>
                <a:cxn ang="0">
                  <a:pos x="8" y="15"/>
                </a:cxn>
                <a:cxn ang="0">
                  <a:pos x="5" y="15"/>
                </a:cxn>
                <a:cxn ang="0">
                  <a:pos x="2" y="13"/>
                </a:cxn>
                <a:cxn ang="0">
                  <a:pos x="1" y="11"/>
                </a:cxn>
                <a:cxn ang="0">
                  <a:pos x="0" y="7"/>
                </a:cxn>
                <a:cxn ang="0">
                  <a:pos x="1" y="4"/>
                </a:cxn>
                <a:cxn ang="0">
                  <a:pos x="2" y="2"/>
                </a:cxn>
                <a:cxn ang="0">
                  <a:pos x="5" y="0"/>
                </a:cxn>
                <a:cxn ang="0">
                  <a:pos x="6" y="0"/>
                </a:cxn>
                <a:cxn ang="0">
                  <a:pos x="8" y="0"/>
                </a:cxn>
              </a:cxnLst>
              <a:rect l="0" t="0" r="r" b="b"/>
              <a:pathLst>
                <a:path w="80" h="15">
                  <a:moveTo>
                    <a:pt x="8" y="0"/>
                  </a:moveTo>
                  <a:lnTo>
                    <a:pt x="73" y="0"/>
                  </a:lnTo>
                  <a:lnTo>
                    <a:pt x="76" y="0"/>
                  </a:lnTo>
                  <a:lnTo>
                    <a:pt x="78" y="2"/>
                  </a:lnTo>
                  <a:lnTo>
                    <a:pt x="80" y="4"/>
                  </a:lnTo>
                  <a:lnTo>
                    <a:pt x="80" y="7"/>
                  </a:lnTo>
                  <a:lnTo>
                    <a:pt x="80" y="11"/>
                  </a:lnTo>
                  <a:lnTo>
                    <a:pt x="78" y="13"/>
                  </a:lnTo>
                  <a:lnTo>
                    <a:pt x="76" y="15"/>
                  </a:lnTo>
                  <a:lnTo>
                    <a:pt x="74" y="15"/>
                  </a:lnTo>
                  <a:lnTo>
                    <a:pt x="73" y="15"/>
                  </a:lnTo>
                  <a:lnTo>
                    <a:pt x="8" y="15"/>
                  </a:lnTo>
                  <a:lnTo>
                    <a:pt x="5" y="15"/>
                  </a:lnTo>
                  <a:lnTo>
                    <a:pt x="2" y="13"/>
                  </a:lnTo>
                  <a:lnTo>
                    <a:pt x="1" y="11"/>
                  </a:lnTo>
                  <a:lnTo>
                    <a:pt x="0" y="7"/>
                  </a:lnTo>
                  <a:lnTo>
                    <a:pt x="1" y="4"/>
                  </a:lnTo>
                  <a:lnTo>
                    <a:pt x="2" y="2"/>
                  </a:lnTo>
                  <a:lnTo>
                    <a:pt x="5" y="0"/>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43" name="Freeform 10"/>
            <p:cNvSpPr>
              <a:spLocks/>
            </p:cNvSpPr>
            <p:nvPr/>
          </p:nvSpPr>
          <p:spPr bwMode="gray">
            <a:xfrm>
              <a:off x="6901720" y="187507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44" name="Freeform 11"/>
            <p:cNvSpPr>
              <a:spLocks/>
            </p:cNvSpPr>
            <p:nvPr/>
          </p:nvSpPr>
          <p:spPr bwMode="gray">
            <a:xfrm>
              <a:off x="6901720" y="183856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48" name="Freeform 12"/>
            <p:cNvSpPr>
              <a:spLocks/>
            </p:cNvSpPr>
            <p:nvPr/>
          </p:nvSpPr>
          <p:spPr bwMode="gray">
            <a:xfrm>
              <a:off x="6901720" y="180204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52" name="Freeform 13"/>
            <p:cNvSpPr>
              <a:spLocks/>
            </p:cNvSpPr>
            <p:nvPr/>
          </p:nvSpPr>
          <p:spPr bwMode="gray">
            <a:xfrm>
              <a:off x="6901720" y="176553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53" name="Freeform 14"/>
            <p:cNvSpPr>
              <a:spLocks/>
            </p:cNvSpPr>
            <p:nvPr/>
          </p:nvSpPr>
          <p:spPr bwMode="gray">
            <a:xfrm>
              <a:off x="6901720" y="172902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54" name="Freeform 15"/>
            <p:cNvSpPr>
              <a:spLocks/>
            </p:cNvSpPr>
            <p:nvPr/>
          </p:nvSpPr>
          <p:spPr bwMode="gray">
            <a:xfrm>
              <a:off x="6901720" y="169251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55" name="Freeform 16"/>
            <p:cNvSpPr>
              <a:spLocks/>
            </p:cNvSpPr>
            <p:nvPr/>
          </p:nvSpPr>
          <p:spPr bwMode="gray">
            <a:xfrm>
              <a:off x="6901720" y="165599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pic>
        <p:nvPicPr>
          <p:cNvPr id="456" name="Picture 5" descr="D:\k16\grafika\illustrator\ikony\fts\ikona_fts_01.png"/>
          <p:cNvPicPr>
            <a:picLocks noChangeAspect="1" noChangeArrowheads="1"/>
          </p:cNvPicPr>
          <p:nvPr>
            <p:custDataLst>
              <p:tags r:id="rId23"/>
            </p:custDataLst>
          </p:nvPr>
        </p:nvPicPr>
        <p:blipFill>
          <a:blip r:embed="rId83" cstate="email">
            <a:extLst>
              <a:ext uri="{28A0092B-C50C-407E-A947-70E740481C1C}">
                <a14:useLocalDpi xmlns:a14="http://schemas.microsoft.com/office/drawing/2010/main"/>
              </a:ext>
            </a:extLst>
          </a:blip>
          <a:srcRect/>
          <a:stretch>
            <a:fillRect/>
          </a:stretch>
        </p:blipFill>
        <p:spPr bwMode="gray">
          <a:xfrm>
            <a:off x="6347479" y="1119573"/>
            <a:ext cx="467350" cy="467350"/>
          </a:xfrm>
          <a:prstGeom prst="rect">
            <a:avLst/>
          </a:prstGeom>
          <a:noFill/>
        </p:spPr>
      </p:pic>
      <p:pic>
        <p:nvPicPr>
          <p:cNvPr id="457" name="Picture 5" descr="D:\k16\grafika\illustrator\ikony\fts\ikona_fts_01.png"/>
          <p:cNvPicPr>
            <a:picLocks noChangeAspect="1" noChangeArrowheads="1"/>
          </p:cNvPicPr>
          <p:nvPr>
            <p:custDataLst>
              <p:tags r:id="rId24"/>
            </p:custDataLst>
          </p:nvPr>
        </p:nvPicPr>
        <p:blipFill>
          <a:blip r:embed="rId83" cstate="email">
            <a:extLst>
              <a:ext uri="{28A0092B-C50C-407E-A947-70E740481C1C}">
                <a14:useLocalDpi xmlns:a14="http://schemas.microsoft.com/office/drawing/2010/main"/>
              </a:ext>
            </a:extLst>
          </a:blip>
          <a:srcRect/>
          <a:stretch>
            <a:fillRect/>
          </a:stretch>
        </p:blipFill>
        <p:spPr bwMode="gray">
          <a:xfrm>
            <a:off x="6888269" y="1119573"/>
            <a:ext cx="467350" cy="467350"/>
          </a:xfrm>
          <a:prstGeom prst="rect">
            <a:avLst/>
          </a:prstGeom>
          <a:noFill/>
        </p:spPr>
      </p:pic>
      <p:pic>
        <p:nvPicPr>
          <p:cNvPr id="460" name="Picture 5" descr="D:\k16\grafika\illustrator\ikony\fts\ikona_fts_01.png"/>
          <p:cNvPicPr>
            <a:picLocks noChangeAspect="1" noChangeArrowheads="1"/>
          </p:cNvPicPr>
          <p:nvPr>
            <p:custDataLst>
              <p:tags r:id="rId25"/>
            </p:custDataLst>
          </p:nvPr>
        </p:nvPicPr>
        <p:blipFill>
          <a:blip r:embed="rId83" cstate="email">
            <a:extLst>
              <a:ext uri="{28A0092B-C50C-407E-A947-70E740481C1C}">
                <a14:useLocalDpi xmlns:a14="http://schemas.microsoft.com/office/drawing/2010/main"/>
              </a:ext>
            </a:extLst>
          </a:blip>
          <a:srcRect/>
          <a:stretch>
            <a:fillRect/>
          </a:stretch>
        </p:blipFill>
        <p:spPr bwMode="gray">
          <a:xfrm>
            <a:off x="7429814" y="1119573"/>
            <a:ext cx="467350" cy="467350"/>
          </a:xfrm>
          <a:prstGeom prst="rect">
            <a:avLst/>
          </a:prstGeom>
          <a:noFill/>
        </p:spPr>
      </p:pic>
      <p:pic>
        <p:nvPicPr>
          <p:cNvPr id="461" name="Picture 5" descr="D:\k16\grafika\illustrator\ikony\fts\ikona_fts_01.png"/>
          <p:cNvPicPr>
            <a:picLocks noChangeAspect="1" noChangeArrowheads="1"/>
          </p:cNvPicPr>
          <p:nvPr>
            <p:custDataLst>
              <p:tags r:id="rId26"/>
            </p:custDataLst>
          </p:nvPr>
        </p:nvPicPr>
        <p:blipFill>
          <a:blip r:embed="rId83" cstate="email">
            <a:extLst>
              <a:ext uri="{28A0092B-C50C-407E-A947-70E740481C1C}">
                <a14:useLocalDpi xmlns:a14="http://schemas.microsoft.com/office/drawing/2010/main"/>
              </a:ext>
            </a:extLst>
          </a:blip>
          <a:srcRect/>
          <a:stretch>
            <a:fillRect/>
          </a:stretch>
        </p:blipFill>
        <p:spPr bwMode="gray">
          <a:xfrm>
            <a:off x="7968419" y="1119573"/>
            <a:ext cx="467350" cy="467350"/>
          </a:xfrm>
          <a:prstGeom prst="rect">
            <a:avLst/>
          </a:prstGeom>
          <a:noFill/>
        </p:spPr>
      </p:pic>
      <p:grpSp>
        <p:nvGrpSpPr>
          <p:cNvPr id="462" name="Gruppieren 90"/>
          <p:cNvGrpSpPr/>
          <p:nvPr>
            <p:custDataLst>
              <p:tags r:id="rId27"/>
            </p:custDataLst>
          </p:nvPr>
        </p:nvGrpSpPr>
        <p:grpSpPr bwMode="gray">
          <a:xfrm>
            <a:off x="7033434" y="1172460"/>
            <a:ext cx="177020" cy="357790"/>
            <a:chOff x="6876320" y="1203560"/>
            <a:chExt cx="374650" cy="757238"/>
          </a:xfrm>
        </p:grpSpPr>
        <p:sp>
          <p:nvSpPr>
            <p:cNvPr id="463" name="Freeform 4"/>
            <p:cNvSpPr>
              <a:spLocks/>
            </p:cNvSpPr>
            <p:nvPr/>
          </p:nvSpPr>
          <p:spPr bwMode="gray">
            <a:xfrm>
              <a:off x="6876320" y="1203560"/>
              <a:ext cx="374650" cy="757238"/>
            </a:xfrm>
            <a:custGeom>
              <a:avLst/>
              <a:gdLst/>
              <a:ahLst/>
              <a:cxnLst>
                <a:cxn ang="0">
                  <a:pos x="0" y="3"/>
                </a:cxn>
                <a:cxn ang="0">
                  <a:pos x="0" y="2"/>
                </a:cxn>
                <a:cxn ang="0">
                  <a:pos x="1" y="1"/>
                </a:cxn>
                <a:cxn ang="0">
                  <a:pos x="2" y="0"/>
                </a:cxn>
                <a:cxn ang="0">
                  <a:pos x="3" y="0"/>
                </a:cxn>
                <a:cxn ang="0">
                  <a:pos x="233" y="0"/>
                </a:cxn>
                <a:cxn ang="0">
                  <a:pos x="234" y="0"/>
                </a:cxn>
                <a:cxn ang="0">
                  <a:pos x="235" y="1"/>
                </a:cxn>
                <a:cxn ang="0">
                  <a:pos x="236" y="2"/>
                </a:cxn>
                <a:cxn ang="0">
                  <a:pos x="236" y="3"/>
                </a:cxn>
                <a:cxn ang="0">
                  <a:pos x="236" y="474"/>
                </a:cxn>
                <a:cxn ang="0">
                  <a:pos x="236" y="475"/>
                </a:cxn>
                <a:cxn ang="0">
                  <a:pos x="235" y="476"/>
                </a:cxn>
                <a:cxn ang="0">
                  <a:pos x="234" y="476"/>
                </a:cxn>
                <a:cxn ang="0">
                  <a:pos x="233" y="477"/>
                </a:cxn>
                <a:cxn ang="0">
                  <a:pos x="3" y="477"/>
                </a:cxn>
                <a:cxn ang="0">
                  <a:pos x="2" y="476"/>
                </a:cxn>
                <a:cxn ang="0">
                  <a:pos x="1" y="476"/>
                </a:cxn>
                <a:cxn ang="0">
                  <a:pos x="0" y="475"/>
                </a:cxn>
                <a:cxn ang="0">
                  <a:pos x="0" y="474"/>
                </a:cxn>
                <a:cxn ang="0">
                  <a:pos x="0" y="3"/>
                </a:cxn>
              </a:cxnLst>
              <a:rect l="0" t="0" r="r" b="b"/>
              <a:pathLst>
                <a:path w="236" h="477">
                  <a:moveTo>
                    <a:pt x="0" y="3"/>
                  </a:moveTo>
                  <a:lnTo>
                    <a:pt x="0" y="2"/>
                  </a:lnTo>
                  <a:lnTo>
                    <a:pt x="1" y="1"/>
                  </a:lnTo>
                  <a:lnTo>
                    <a:pt x="2" y="0"/>
                  </a:lnTo>
                  <a:lnTo>
                    <a:pt x="3" y="0"/>
                  </a:lnTo>
                  <a:lnTo>
                    <a:pt x="233" y="0"/>
                  </a:lnTo>
                  <a:lnTo>
                    <a:pt x="234" y="0"/>
                  </a:lnTo>
                  <a:lnTo>
                    <a:pt x="235" y="1"/>
                  </a:lnTo>
                  <a:lnTo>
                    <a:pt x="236" y="2"/>
                  </a:lnTo>
                  <a:lnTo>
                    <a:pt x="236" y="3"/>
                  </a:lnTo>
                  <a:lnTo>
                    <a:pt x="236" y="474"/>
                  </a:lnTo>
                  <a:lnTo>
                    <a:pt x="236" y="475"/>
                  </a:lnTo>
                  <a:lnTo>
                    <a:pt x="235" y="476"/>
                  </a:lnTo>
                  <a:lnTo>
                    <a:pt x="234" y="476"/>
                  </a:lnTo>
                  <a:lnTo>
                    <a:pt x="233" y="477"/>
                  </a:lnTo>
                  <a:lnTo>
                    <a:pt x="3" y="477"/>
                  </a:lnTo>
                  <a:lnTo>
                    <a:pt x="2" y="476"/>
                  </a:lnTo>
                  <a:lnTo>
                    <a:pt x="1" y="476"/>
                  </a:lnTo>
                  <a:lnTo>
                    <a:pt x="0" y="475"/>
                  </a:lnTo>
                  <a:lnTo>
                    <a:pt x="0" y="474"/>
                  </a:lnTo>
                  <a:lnTo>
                    <a:pt x="0" y="3"/>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69" name="Freeform 5"/>
            <p:cNvSpPr>
              <a:spLocks/>
            </p:cNvSpPr>
            <p:nvPr/>
          </p:nvSpPr>
          <p:spPr bwMode="gray">
            <a:xfrm>
              <a:off x="6901720" y="1241660"/>
              <a:ext cx="26988" cy="26988"/>
            </a:xfrm>
            <a:custGeom>
              <a:avLst/>
              <a:gdLst/>
              <a:ahLst/>
              <a:cxnLst>
                <a:cxn ang="0">
                  <a:pos x="0" y="8"/>
                </a:cxn>
                <a:cxn ang="0">
                  <a:pos x="1" y="7"/>
                </a:cxn>
                <a:cxn ang="0">
                  <a:pos x="1" y="5"/>
                </a:cxn>
                <a:cxn ang="0">
                  <a:pos x="3" y="2"/>
                </a:cxn>
                <a:cxn ang="0">
                  <a:pos x="4" y="1"/>
                </a:cxn>
                <a:cxn ang="0">
                  <a:pos x="6" y="0"/>
                </a:cxn>
                <a:cxn ang="0">
                  <a:pos x="9" y="0"/>
                </a:cxn>
                <a:cxn ang="0">
                  <a:pos x="12" y="0"/>
                </a:cxn>
                <a:cxn ang="0">
                  <a:pos x="15" y="2"/>
                </a:cxn>
                <a:cxn ang="0">
                  <a:pos x="16" y="4"/>
                </a:cxn>
                <a:cxn ang="0">
                  <a:pos x="17" y="5"/>
                </a:cxn>
                <a:cxn ang="0">
                  <a:pos x="17" y="7"/>
                </a:cxn>
                <a:cxn ang="0">
                  <a:pos x="17" y="8"/>
                </a:cxn>
                <a:cxn ang="0">
                  <a:pos x="17" y="10"/>
                </a:cxn>
                <a:cxn ang="0">
                  <a:pos x="17" y="12"/>
                </a:cxn>
                <a:cxn ang="0">
                  <a:pos x="15" y="14"/>
                </a:cxn>
                <a:cxn ang="0">
                  <a:pos x="14" y="15"/>
                </a:cxn>
                <a:cxn ang="0">
                  <a:pos x="12" y="16"/>
                </a:cxn>
                <a:cxn ang="0">
                  <a:pos x="9" y="17"/>
                </a:cxn>
                <a:cxn ang="0">
                  <a:pos x="6" y="16"/>
                </a:cxn>
                <a:cxn ang="0">
                  <a:pos x="3" y="14"/>
                </a:cxn>
                <a:cxn ang="0">
                  <a:pos x="2" y="13"/>
                </a:cxn>
                <a:cxn ang="0">
                  <a:pos x="1" y="12"/>
                </a:cxn>
                <a:cxn ang="0">
                  <a:pos x="1" y="10"/>
                </a:cxn>
                <a:cxn ang="0">
                  <a:pos x="0" y="8"/>
                </a:cxn>
              </a:cxnLst>
              <a:rect l="0" t="0" r="r" b="b"/>
              <a:pathLst>
                <a:path w="17" h="17">
                  <a:moveTo>
                    <a:pt x="0" y="8"/>
                  </a:moveTo>
                  <a:lnTo>
                    <a:pt x="1" y="7"/>
                  </a:lnTo>
                  <a:lnTo>
                    <a:pt x="1" y="5"/>
                  </a:lnTo>
                  <a:lnTo>
                    <a:pt x="3" y="2"/>
                  </a:lnTo>
                  <a:lnTo>
                    <a:pt x="4" y="1"/>
                  </a:lnTo>
                  <a:lnTo>
                    <a:pt x="6" y="0"/>
                  </a:lnTo>
                  <a:lnTo>
                    <a:pt x="9" y="0"/>
                  </a:lnTo>
                  <a:lnTo>
                    <a:pt x="12" y="0"/>
                  </a:lnTo>
                  <a:lnTo>
                    <a:pt x="15" y="2"/>
                  </a:lnTo>
                  <a:lnTo>
                    <a:pt x="16" y="4"/>
                  </a:lnTo>
                  <a:lnTo>
                    <a:pt x="17" y="5"/>
                  </a:lnTo>
                  <a:lnTo>
                    <a:pt x="17" y="7"/>
                  </a:lnTo>
                  <a:lnTo>
                    <a:pt x="17" y="8"/>
                  </a:lnTo>
                  <a:lnTo>
                    <a:pt x="17" y="10"/>
                  </a:lnTo>
                  <a:lnTo>
                    <a:pt x="17" y="12"/>
                  </a:lnTo>
                  <a:lnTo>
                    <a:pt x="15" y="14"/>
                  </a:lnTo>
                  <a:lnTo>
                    <a:pt x="14" y="15"/>
                  </a:lnTo>
                  <a:lnTo>
                    <a:pt x="12" y="16"/>
                  </a:lnTo>
                  <a:lnTo>
                    <a:pt x="9" y="17"/>
                  </a:lnTo>
                  <a:lnTo>
                    <a:pt x="6" y="16"/>
                  </a:lnTo>
                  <a:lnTo>
                    <a:pt x="3" y="14"/>
                  </a:lnTo>
                  <a:lnTo>
                    <a:pt x="2" y="13"/>
                  </a:lnTo>
                  <a:lnTo>
                    <a:pt x="1" y="12"/>
                  </a:lnTo>
                  <a:lnTo>
                    <a:pt x="1" y="10"/>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71" name="Freeform 6"/>
            <p:cNvSpPr>
              <a:spLocks/>
            </p:cNvSpPr>
            <p:nvPr/>
          </p:nvSpPr>
          <p:spPr bwMode="gray">
            <a:xfrm>
              <a:off x="6901720" y="191158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72" name="Freeform 7"/>
            <p:cNvSpPr>
              <a:spLocks/>
            </p:cNvSpPr>
            <p:nvPr/>
          </p:nvSpPr>
          <p:spPr bwMode="gray">
            <a:xfrm>
              <a:off x="6950933" y="1243248"/>
              <a:ext cx="127000" cy="22225"/>
            </a:xfrm>
            <a:custGeom>
              <a:avLst/>
              <a:gdLst/>
              <a:ahLst/>
              <a:cxnLst>
                <a:cxn ang="0">
                  <a:pos x="8" y="0"/>
                </a:cxn>
                <a:cxn ang="0">
                  <a:pos x="73" y="0"/>
                </a:cxn>
                <a:cxn ang="0">
                  <a:pos x="76" y="1"/>
                </a:cxn>
                <a:cxn ang="0">
                  <a:pos x="78" y="2"/>
                </a:cxn>
                <a:cxn ang="0">
                  <a:pos x="80" y="5"/>
                </a:cxn>
                <a:cxn ang="0">
                  <a:pos x="80" y="7"/>
                </a:cxn>
                <a:cxn ang="0">
                  <a:pos x="80" y="10"/>
                </a:cxn>
                <a:cxn ang="0">
                  <a:pos x="78" y="12"/>
                </a:cxn>
                <a:cxn ang="0">
                  <a:pos x="76" y="14"/>
                </a:cxn>
                <a:cxn ang="0">
                  <a:pos x="74" y="14"/>
                </a:cxn>
                <a:cxn ang="0">
                  <a:pos x="73" y="14"/>
                </a:cxn>
                <a:cxn ang="0">
                  <a:pos x="8" y="14"/>
                </a:cxn>
                <a:cxn ang="0">
                  <a:pos x="5" y="14"/>
                </a:cxn>
                <a:cxn ang="0">
                  <a:pos x="2" y="12"/>
                </a:cxn>
                <a:cxn ang="0">
                  <a:pos x="1" y="10"/>
                </a:cxn>
                <a:cxn ang="0">
                  <a:pos x="0" y="7"/>
                </a:cxn>
                <a:cxn ang="0">
                  <a:pos x="1" y="5"/>
                </a:cxn>
                <a:cxn ang="0">
                  <a:pos x="2" y="2"/>
                </a:cxn>
                <a:cxn ang="0">
                  <a:pos x="5" y="1"/>
                </a:cxn>
                <a:cxn ang="0">
                  <a:pos x="6" y="0"/>
                </a:cxn>
                <a:cxn ang="0">
                  <a:pos x="8" y="0"/>
                </a:cxn>
              </a:cxnLst>
              <a:rect l="0" t="0" r="r" b="b"/>
              <a:pathLst>
                <a:path w="80" h="14">
                  <a:moveTo>
                    <a:pt x="8" y="0"/>
                  </a:moveTo>
                  <a:lnTo>
                    <a:pt x="73" y="0"/>
                  </a:lnTo>
                  <a:lnTo>
                    <a:pt x="76" y="1"/>
                  </a:lnTo>
                  <a:lnTo>
                    <a:pt x="78" y="2"/>
                  </a:lnTo>
                  <a:lnTo>
                    <a:pt x="80" y="5"/>
                  </a:lnTo>
                  <a:lnTo>
                    <a:pt x="80" y="7"/>
                  </a:lnTo>
                  <a:lnTo>
                    <a:pt x="80" y="10"/>
                  </a:lnTo>
                  <a:lnTo>
                    <a:pt x="78" y="12"/>
                  </a:lnTo>
                  <a:lnTo>
                    <a:pt x="76" y="14"/>
                  </a:lnTo>
                  <a:lnTo>
                    <a:pt x="74" y="14"/>
                  </a:lnTo>
                  <a:lnTo>
                    <a:pt x="73" y="14"/>
                  </a:lnTo>
                  <a:lnTo>
                    <a:pt x="8" y="14"/>
                  </a:lnTo>
                  <a:lnTo>
                    <a:pt x="5" y="14"/>
                  </a:lnTo>
                  <a:lnTo>
                    <a:pt x="2" y="12"/>
                  </a:lnTo>
                  <a:lnTo>
                    <a:pt x="1" y="10"/>
                  </a:lnTo>
                  <a:lnTo>
                    <a:pt x="0" y="7"/>
                  </a:lnTo>
                  <a:lnTo>
                    <a:pt x="1" y="5"/>
                  </a:lnTo>
                  <a:lnTo>
                    <a:pt x="2" y="2"/>
                  </a:lnTo>
                  <a:lnTo>
                    <a:pt x="5" y="1"/>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73" name="Freeform 8"/>
            <p:cNvSpPr>
              <a:spLocks/>
            </p:cNvSpPr>
            <p:nvPr/>
          </p:nvSpPr>
          <p:spPr bwMode="gray">
            <a:xfrm>
              <a:off x="6901720" y="1289285"/>
              <a:ext cx="26988" cy="26988"/>
            </a:xfrm>
            <a:custGeom>
              <a:avLst/>
              <a:gdLst/>
              <a:ahLst/>
              <a:cxnLst>
                <a:cxn ang="0">
                  <a:pos x="0" y="8"/>
                </a:cxn>
                <a:cxn ang="0">
                  <a:pos x="1" y="6"/>
                </a:cxn>
                <a:cxn ang="0">
                  <a:pos x="1" y="5"/>
                </a:cxn>
                <a:cxn ang="0">
                  <a:pos x="3" y="2"/>
                </a:cxn>
                <a:cxn ang="0">
                  <a:pos x="4" y="1"/>
                </a:cxn>
                <a:cxn ang="0">
                  <a:pos x="6" y="0"/>
                </a:cxn>
                <a:cxn ang="0">
                  <a:pos x="9" y="0"/>
                </a:cxn>
                <a:cxn ang="0">
                  <a:pos x="12" y="0"/>
                </a:cxn>
                <a:cxn ang="0">
                  <a:pos x="15" y="2"/>
                </a:cxn>
                <a:cxn ang="0">
                  <a:pos x="16" y="3"/>
                </a:cxn>
                <a:cxn ang="0">
                  <a:pos x="17" y="5"/>
                </a:cxn>
                <a:cxn ang="0">
                  <a:pos x="17" y="6"/>
                </a:cxn>
                <a:cxn ang="0">
                  <a:pos x="17" y="8"/>
                </a:cxn>
                <a:cxn ang="0">
                  <a:pos x="17" y="11"/>
                </a:cxn>
                <a:cxn ang="0">
                  <a:pos x="17" y="12"/>
                </a:cxn>
                <a:cxn ang="0">
                  <a:pos x="15" y="15"/>
                </a:cxn>
                <a:cxn ang="0">
                  <a:pos x="14" y="16"/>
                </a:cxn>
                <a:cxn ang="0">
                  <a:pos x="12" y="17"/>
                </a:cxn>
                <a:cxn ang="0">
                  <a:pos x="9" y="17"/>
                </a:cxn>
                <a:cxn ang="0">
                  <a:pos x="6" y="17"/>
                </a:cxn>
                <a:cxn ang="0">
                  <a:pos x="3" y="15"/>
                </a:cxn>
                <a:cxn ang="0">
                  <a:pos x="2" y="14"/>
                </a:cxn>
                <a:cxn ang="0">
                  <a:pos x="1" y="12"/>
                </a:cxn>
                <a:cxn ang="0">
                  <a:pos x="1" y="11"/>
                </a:cxn>
                <a:cxn ang="0">
                  <a:pos x="0" y="8"/>
                </a:cxn>
              </a:cxnLst>
              <a:rect l="0" t="0" r="r" b="b"/>
              <a:pathLst>
                <a:path w="17" h="17">
                  <a:moveTo>
                    <a:pt x="0" y="8"/>
                  </a:moveTo>
                  <a:lnTo>
                    <a:pt x="1" y="6"/>
                  </a:lnTo>
                  <a:lnTo>
                    <a:pt x="1" y="5"/>
                  </a:lnTo>
                  <a:lnTo>
                    <a:pt x="3" y="2"/>
                  </a:lnTo>
                  <a:lnTo>
                    <a:pt x="4" y="1"/>
                  </a:lnTo>
                  <a:lnTo>
                    <a:pt x="6" y="0"/>
                  </a:lnTo>
                  <a:lnTo>
                    <a:pt x="9" y="0"/>
                  </a:lnTo>
                  <a:lnTo>
                    <a:pt x="12" y="0"/>
                  </a:lnTo>
                  <a:lnTo>
                    <a:pt x="15" y="2"/>
                  </a:lnTo>
                  <a:lnTo>
                    <a:pt x="16" y="3"/>
                  </a:lnTo>
                  <a:lnTo>
                    <a:pt x="17" y="5"/>
                  </a:lnTo>
                  <a:lnTo>
                    <a:pt x="17" y="6"/>
                  </a:lnTo>
                  <a:lnTo>
                    <a:pt x="17" y="8"/>
                  </a:lnTo>
                  <a:lnTo>
                    <a:pt x="17" y="11"/>
                  </a:lnTo>
                  <a:lnTo>
                    <a:pt x="17" y="12"/>
                  </a:lnTo>
                  <a:lnTo>
                    <a:pt x="15" y="15"/>
                  </a:lnTo>
                  <a:lnTo>
                    <a:pt x="14" y="16"/>
                  </a:lnTo>
                  <a:lnTo>
                    <a:pt x="12" y="17"/>
                  </a:lnTo>
                  <a:lnTo>
                    <a:pt x="9" y="17"/>
                  </a:lnTo>
                  <a:lnTo>
                    <a:pt x="6" y="17"/>
                  </a:lnTo>
                  <a:lnTo>
                    <a:pt x="3" y="15"/>
                  </a:lnTo>
                  <a:lnTo>
                    <a:pt x="2" y="14"/>
                  </a:lnTo>
                  <a:lnTo>
                    <a:pt x="1" y="12"/>
                  </a:lnTo>
                  <a:lnTo>
                    <a:pt x="1" y="11"/>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74" name="Freeform 9"/>
            <p:cNvSpPr>
              <a:spLocks/>
            </p:cNvSpPr>
            <p:nvPr/>
          </p:nvSpPr>
          <p:spPr bwMode="gray">
            <a:xfrm>
              <a:off x="6950933" y="1290873"/>
              <a:ext cx="127000" cy="23813"/>
            </a:xfrm>
            <a:custGeom>
              <a:avLst/>
              <a:gdLst/>
              <a:ahLst/>
              <a:cxnLst>
                <a:cxn ang="0">
                  <a:pos x="8" y="0"/>
                </a:cxn>
                <a:cxn ang="0">
                  <a:pos x="73" y="0"/>
                </a:cxn>
                <a:cxn ang="0">
                  <a:pos x="76" y="0"/>
                </a:cxn>
                <a:cxn ang="0">
                  <a:pos x="78" y="2"/>
                </a:cxn>
                <a:cxn ang="0">
                  <a:pos x="80" y="4"/>
                </a:cxn>
                <a:cxn ang="0">
                  <a:pos x="80" y="7"/>
                </a:cxn>
                <a:cxn ang="0">
                  <a:pos x="80" y="11"/>
                </a:cxn>
                <a:cxn ang="0">
                  <a:pos x="78" y="13"/>
                </a:cxn>
                <a:cxn ang="0">
                  <a:pos x="76" y="15"/>
                </a:cxn>
                <a:cxn ang="0">
                  <a:pos x="74" y="15"/>
                </a:cxn>
                <a:cxn ang="0">
                  <a:pos x="73" y="15"/>
                </a:cxn>
                <a:cxn ang="0">
                  <a:pos x="8" y="15"/>
                </a:cxn>
                <a:cxn ang="0">
                  <a:pos x="5" y="15"/>
                </a:cxn>
                <a:cxn ang="0">
                  <a:pos x="2" y="13"/>
                </a:cxn>
                <a:cxn ang="0">
                  <a:pos x="1" y="11"/>
                </a:cxn>
                <a:cxn ang="0">
                  <a:pos x="0" y="7"/>
                </a:cxn>
                <a:cxn ang="0">
                  <a:pos x="1" y="4"/>
                </a:cxn>
                <a:cxn ang="0">
                  <a:pos x="2" y="2"/>
                </a:cxn>
                <a:cxn ang="0">
                  <a:pos x="5" y="0"/>
                </a:cxn>
                <a:cxn ang="0">
                  <a:pos x="6" y="0"/>
                </a:cxn>
                <a:cxn ang="0">
                  <a:pos x="8" y="0"/>
                </a:cxn>
              </a:cxnLst>
              <a:rect l="0" t="0" r="r" b="b"/>
              <a:pathLst>
                <a:path w="80" h="15">
                  <a:moveTo>
                    <a:pt x="8" y="0"/>
                  </a:moveTo>
                  <a:lnTo>
                    <a:pt x="73" y="0"/>
                  </a:lnTo>
                  <a:lnTo>
                    <a:pt x="76" y="0"/>
                  </a:lnTo>
                  <a:lnTo>
                    <a:pt x="78" y="2"/>
                  </a:lnTo>
                  <a:lnTo>
                    <a:pt x="80" y="4"/>
                  </a:lnTo>
                  <a:lnTo>
                    <a:pt x="80" y="7"/>
                  </a:lnTo>
                  <a:lnTo>
                    <a:pt x="80" y="11"/>
                  </a:lnTo>
                  <a:lnTo>
                    <a:pt x="78" y="13"/>
                  </a:lnTo>
                  <a:lnTo>
                    <a:pt x="76" y="15"/>
                  </a:lnTo>
                  <a:lnTo>
                    <a:pt x="74" y="15"/>
                  </a:lnTo>
                  <a:lnTo>
                    <a:pt x="73" y="15"/>
                  </a:lnTo>
                  <a:lnTo>
                    <a:pt x="8" y="15"/>
                  </a:lnTo>
                  <a:lnTo>
                    <a:pt x="5" y="15"/>
                  </a:lnTo>
                  <a:lnTo>
                    <a:pt x="2" y="13"/>
                  </a:lnTo>
                  <a:lnTo>
                    <a:pt x="1" y="11"/>
                  </a:lnTo>
                  <a:lnTo>
                    <a:pt x="0" y="7"/>
                  </a:lnTo>
                  <a:lnTo>
                    <a:pt x="1" y="4"/>
                  </a:lnTo>
                  <a:lnTo>
                    <a:pt x="2" y="2"/>
                  </a:lnTo>
                  <a:lnTo>
                    <a:pt x="5" y="0"/>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75" name="Freeform 10"/>
            <p:cNvSpPr>
              <a:spLocks/>
            </p:cNvSpPr>
            <p:nvPr/>
          </p:nvSpPr>
          <p:spPr bwMode="gray">
            <a:xfrm>
              <a:off x="6901720" y="187507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76" name="Freeform 11"/>
            <p:cNvSpPr>
              <a:spLocks/>
            </p:cNvSpPr>
            <p:nvPr/>
          </p:nvSpPr>
          <p:spPr bwMode="gray">
            <a:xfrm>
              <a:off x="6901720" y="183856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77" name="Freeform 12"/>
            <p:cNvSpPr>
              <a:spLocks/>
            </p:cNvSpPr>
            <p:nvPr/>
          </p:nvSpPr>
          <p:spPr bwMode="gray">
            <a:xfrm>
              <a:off x="6901720" y="180204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78" name="Freeform 13"/>
            <p:cNvSpPr>
              <a:spLocks/>
            </p:cNvSpPr>
            <p:nvPr/>
          </p:nvSpPr>
          <p:spPr bwMode="gray">
            <a:xfrm>
              <a:off x="6901720" y="176553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79" name="Freeform 14"/>
            <p:cNvSpPr>
              <a:spLocks/>
            </p:cNvSpPr>
            <p:nvPr/>
          </p:nvSpPr>
          <p:spPr bwMode="gray">
            <a:xfrm>
              <a:off x="6901720" y="172902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80" name="Freeform 15"/>
            <p:cNvSpPr>
              <a:spLocks/>
            </p:cNvSpPr>
            <p:nvPr/>
          </p:nvSpPr>
          <p:spPr bwMode="gray">
            <a:xfrm>
              <a:off x="6901720" y="169251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81" name="Freeform 16"/>
            <p:cNvSpPr>
              <a:spLocks/>
            </p:cNvSpPr>
            <p:nvPr/>
          </p:nvSpPr>
          <p:spPr bwMode="gray">
            <a:xfrm>
              <a:off x="6901720" y="165599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482" name="Gruppieren 104"/>
          <p:cNvGrpSpPr/>
          <p:nvPr>
            <p:custDataLst>
              <p:tags r:id="rId28"/>
            </p:custDataLst>
          </p:nvPr>
        </p:nvGrpSpPr>
        <p:grpSpPr bwMode="gray">
          <a:xfrm>
            <a:off x="7574979" y="1172460"/>
            <a:ext cx="177020" cy="357790"/>
            <a:chOff x="6876320" y="1203560"/>
            <a:chExt cx="374650" cy="757238"/>
          </a:xfrm>
        </p:grpSpPr>
        <p:sp>
          <p:nvSpPr>
            <p:cNvPr id="483" name="Freeform 4"/>
            <p:cNvSpPr>
              <a:spLocks/>
            </p:cNvSpPr>
            <p:nvPr/>
          </p:nvSpPr>
          <p:spPr bwMode="gray">
            <a:xfrm>
              <a:off x="6876320" y="1203560"/>
              <a:ext cx="374650" cy="757238"/>
            </a:xfrm>
            <a:custGeom>
              <a:avLst/>
              <a:gdLst/>
              <a:ahLst/>
              <a:cxnLst>
                <a:cxn ang="0">
                  <a:pos x="0" y="3"/>
                </a:cxn>
                <a:cxn ang="0">
                  <a:pos x="0" y="2"/>
                </a:cxn>
                <a:cxn ang="0">
                  <a:pos x="1" y="1"/>
                </a:cxn>
                <a:cxn ang="0">
                  <a:pos x="2" y="0"/>
                </a:cxn>
                <a:cxn ang="0">
                  <a:pos x="3" y="0"/>
                </a:cxn>
                <a:cxn ang="0">
                  <a:pos x="233" y="0"/>
                </a:cxn>
                <a:cxn ang="0">
                  <a:pos x="234" y="0"/>
                </a:cxn>
                <a:cxn ang="0">
                  <a:pos x="235" y="1"/>
                </a:cxn>
                <a:cxn ang="0">
                  <a:pos x="236" y="2"/>
                </a:cxn>
                <a:cxn ang="0">
                  <a:pos x="236" y="3"/>
                </a:cxn>
                <a:cxn ang="0">
                  <a:pos x="236" y="474"/>
                </a:cxn>
                <a:cxn ang="0">
                  <a:pos x="236" y="475"/>
                </a:cxn>
                <a:cxn ang="0">
                  <a:pos x="235" y="476"/>
                </a:cxn>
                <a:cxn ang="0">
                  <a:pos x="234" y="476"/>
                </a:cxn>
                <a:cxn ang="0">
                  <a:pos x="233" y="477"/>
                </a:cxn>
                <a:cxn ang="0">
                  <a:pos x="3" y="477"/>
                </a:cxn>
                <a:cxn ang="0">
                  <a:pos x="2" y="476"/>
                </a:cxn>
                <a:cxn ang="0">
                  <a:pos x="1" y="476"/>
                </a:cxn>
                <a:cxn ang="0">
                  <a:pos x="0" y="475"/>
                </a:cxn>
                <a:cxn ang="0">
                  <a:pos x="0" y="474"/>
                </a:cxn>
                <a:cxn ang="0">
                  <a:pos x="0" y="3"/>
                </a:cxn>
              </a:cxnLst>
              <a:rect l="0" t="0" r="r" b="b"/>
              <a:pathLst>
                <a:path w="236" h="477">
                  <a:moveTo>
                    <a:pt x="0" y="3"/>
                  </a:moveTo>
                  <a:lnTo>
                    <a:pt x="0" y="2"/>
                  </a:lnTo>
                  <a:lnTo>
                    <a:pt x="1" y="1"/>
                  </a:lnTo>
                  <a:lnTo>
                    <a:pt x="2" y="0"/>
                  </a:lnTo>
                  <a:lnTo>
                    <a:pt x="3" y="0"/>
                  </a:lnTo>
                  <a:lnTo>
                    <a:pt x="233" y="0"/>
                  </a:lnTo>
                  <a:lnTo>
                    <a:pt x="234" y="0"/>
                  </a:lnTo>
                  <a:lnTo>
                    <a:pt x="235" y="1"/>
                  </a:lnTo>
                  <a:lnTo>
                    <a:pt x="236" y="2"/>
                  </a:lnTo>
                  <a:lnTo>
                    <a:pt x="236" y="3"/>
                  </a:lnTo>
                  <a:lnTo>
                    <a:pt x="236" y="474"/>
                  </a:lnTo>
                  <a:lnTo>
                    <a:pt x="236" y="475"/>
                  </a:lnTo>
                  <a:lnTo>
                    <a:pt x="235" y="476"/>
                  </a:lnTo>
                  <a:lnTo>
                    <a:pt x="234" y="476"/>
                  </a:lnTo>
                  <a:lnTo>
                    <a:pt x="233" y="477"/>
                  </a:lnTo>
                  <a:lnTo>
                    <a:pt x="3" y="477"/>
                  </a:lnTo>
                  <a:lnTo>
                    <a:pt x="2" y="476"/>
                  </a:lnTo>
                  <a:lnTo>
                    <a:pt x="1" y="476"/>
                  </a:lnTo>
                  <a:lnTo>
                    <a:pt x="0" y="475"/>
                  </a:lnTo>
                  <a:lnTo>
                    <a:pt x="0" y="474"/>
                  </a:lnTo>
                  <a:lnTo>
                    <a:pt x="0" y="3"/>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84" name="Freeform 5"/>
            <p:cNvSpPr>
              <a:spLocks/>
            </p:cNvSpPr>
            <p:nvPr/>
          </p:nvSpPr>
          <p:spPr bwMode="gray">
            <a:xfrm>
              <a:off x="6901720" y="1241660"/>
              <a:ext cx="26988" cy="26988"/>
            </a:xfrm>
            <a:custGeom>
              <a:avLst/>
              <a:gdLst/>
              <a:ahLst/>
              <a:cxnLst>
                <a:cxn ang="0">
                  <a:pos x="0" y="8"/>
                </a:cxn>
                <a:cxn ang="0">
                  <a:pos x="1" y="7"/>
                </a:cxn>
                <a:cxn ang="0">
                  <a:pos x="1" y="5"/>
                </a:cxn>
                <a:cxn ang="0">
                  <a:pos x="3" y="2"/>
                </a:cxn>
                <a:cxn ang="0">
                  <a:pos x="4" y="1"/>
                </a:cxn>
                <a:cxn ang="0">
                  <a:pos x="6" y="0"/>
                </a:cxn>
                <a:cxn ang="0">
                  <a:pos x="9" y="0"/>
                </a:cxn>
                <a:cxn ang="0">
                  <a:pos x="12" y="0"/>
                </a:cxn>
                <a:cxn ang="0">
                  <a:pos x="15" y="2"/>
                </a:cxn>
                <a:cxn ang="0">
                  <a:pos x="16" y="4"/>
                </a:cxn>
                <a:cxn ang="0">
                  <a:pos x="17" y="5"/>
                </a:cxn>
                <a:cxn ang="0">
                  <a:pos x="17" y="7"/>
                </a:cxn>
                <a:cxn ang="0">
                  <a:pos x="17" y="8"/>
                </a:cxn>
                <a:cxn ang="0">
                  <a:pos x="17" y="10"/>
                </a:cxn>
                <a:cxn ang="0">
                  <a:pos x="17" y="12"/>
                </a:cxn>
                <a:cxn ang="0">
                  <a:pos x="15" y="14"/>
                </a:cxn>
                <a:cxn ang="0">
                  <a:pos x="14" y="15"/>
                </a:cxn>
                <a:cxn ang="0">
                  <a:pos x="12" y="16"/>
                </a:cxn>
                <a:cxn ang="0">
                  <a:pos x="9" y="17"/>
                </a:cxn>
                <a:cxn ang="0">
                  <a:pos x="6" y="16"/>
                </a:cxn>
                <a:cxn ang="0">
                  <a:pos x="3" y="14"/>
                </a:cxn>
                <a:cxn ang="0">
                  <a:pos x="2" y="13"/>
                </a:cxn>
                <a:cxn ang="0">
                  <a:pos x="1" y="12"/>
                </a:cxn>
                <a:cxn ang="0">
                  <a:pos x="1" y="10"/>
                </a:cxn>
                <a:cxn ang="0">
                  <a:pos x="0" y="8"/>
                </a:cxn>
              </a:cxnLst>
              <a:rect l="0" t="0" r="r" b="b"/>
              <a:pathLst>
                <a:path w="17" h="17">
                  <a:moveTo>
                    <a:pt x="0" y="8"/>
                  </a:moveTo>
                  <a:lnTo>
                    <a:pt x="1" y="7"/>
                  </a:lnTo>
                  <a:lnTo>
                    <a:pt x="1" y="5"/>
                  </a:lnTo>
                  <a:lnTo>
                    <a:pt x="3" y="2"/>
                  </a:lnTo>
                  <a:lnTo>
                    <a:pt x="4" y="1"/>
                  </a:lnTo>
                  <a:lnTo>
                    <a:pt x="6" y="0"/>
                  </a:lnTo>
                  <a:lnTo>
                    <a:pt x="9" y="0"/>
                  </a:lnTo>
                  <a:lnTo>
                    <a:pt x="12" y="0"/>
                  </a:lnTo>
                  <a:lnTo>
                    <a:pt x="15" y="2"/>
                  </a:lnTo>
                  <a:lnTo>
                    <a:pt x="16" y="4"/>
                  </a:lnTo>
                  <a:lnTo>
                    <a:pt x="17" y="5"/>
                  </a:lnTo>
                  <a:lnTo>
                    <a:pt x="17" y="7"/>
                  </a:lnTo>
                  <a:lnTo>
                    <a:pt x="17" y="8"/>
                  </a:lnTo>
                  <a:lnTo>
                    <a:pt x="17" y="10"/>
                  </a:lnTo>
                  <a:lnTo>
                    <a:pt x="17" y="12"/>
                  </a:lnTo>
                  <a:lnTo>
                    <a:pt x="15" y="14"/>
                  </a:lnTo>
                  <a:lnTo>
                    <a:pt x="14" y="15"/>
                  </a:lnTo>
                  <a:lnTo>
                    <a:pt x="12" y="16"/>
                  </a:lnTo>
                  <a:lnTo>
                    <a:pt x="9" y="17"/>
                  </a:lnTo>
                  <a:lnTo>
                    <a:pt x="6" y="16"/>
                  </a:lnTo>
                  <a:lnTo>
                    <a:pt x="3" y="14"/>
                  </a:lnTo>
                  <a:lnTo>
                    <a:pt x="2" y="13"/>
                  </a:lnTo>
                  <a:lnTo>
                    <a:pt x="1" y="12"/>
                  </a:lnTo>
                  <a:lnTo>
                    <a:pt x="1" y="10"/>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85" name="Freeform 6"/>
            <p:cNvSpPr>
              <a:spLocks/>
            </p:cNvSpPr>
            <p:nvPr/>
          </p:nvSpPr>
          <p:spPr bwMode="gray">
            <a:xfrm>
              <a:off x="6901720" y="191158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86" name="Freeform 7"/>
            <p:cNvSpPr>
              <a:spLocks/>
            </p:cNvSpPr>
            <p:nvPr/>
          </p:nvSpPr>
          <p:spPr bwMode="gray">
            <a:xfrm>
              <a:off x="6950933" y="1243248"/>
              <a:ext cx="127000" cy="22225"/>
            </a:xfrm>
            <a:custGeom>
              <a:avLst/>
              <a:gdLst/>
              <a:ahLst/>
              <a:cxnLst>
                <a:cxn ang="0">
                  <a:pos x="8" y="0"/>
                </a:cxn>
                <a:cxn ang="0">
                  <a:pos x="73" y="0"/>
                </a:cxn>
                <a:cxn ang="0">
                  <a:pos x="76" y="1"/>
                </a:cxn>
                <a:cxn ang="0">
                  <a:pos x="78" y="2"/>
                </a:cxn>
                <a:cxn ang="0">
                  <a:pos x="80" y="5"/>
                </a:cxn>
                <a:cxn ang="0">
                  <a:pos x="80" y="7"/>
                </a:cxn>
                <a:cxn ang="0">
                  <a:pos x="80" y="10"/>
                </a:cxn>
                <a:cxn ang="0">
                  <a:pos x="78" y="12"/>
                </a:cxn>
                <a:cxn ang="0">
                  <a:pos x="76" y="14"/>
                </a:cxn>
                <a:cxn ang="0">
                  <a:pos x="74" y="14"/>
                </a:cxn>
                <a:cxn ang="0">
                  <a:pos x="73" y="14"/>
                </a:cxn>
                <a:cxn ang="0">
                  <a:pos x="8" y="14"/>
                </a:cxn>
                <a:cxn ang="0">
                  <a:pos x="5" y="14"/>
                </a:cxn>
                <a:cxn ang="0">
                  <a:pos x="2" y="12"/>
                </a:cxn>
                <a:cxn ang="0">
                  <a:pos x="1" y="10"/>
                </a:cxn>
                <a:cxn ang="0">
                  <a:pos x="0" y="7"/>
                </a:cxn>
                <a:cxn ang="0">
                  <a:pos x="1" y="5"/>
                </a:cxn>
                <a:cxn ang="0">
                  <a:pos x="2" y="2"/>
                </a:cxn>
                <a:cxn ang="0">
                  <a:pos x="5" y="1"/>
                </a:cxn>
                <a:cxn ang="0">
                  <a:pos x="6" y="0"/>
                </a:cxn>
                <a:cxn ang="0">
                  <a:pos x="8" y="0"/>
                </a:cxn>
              </a:cxnLst>
              <a:rect l="0" t="0" r="r" b="b"/>
              <a:pathLst>
                <a:path w="80" h="14">
                  <a:moveTo>
                    <a:pt x="8" y="0"/>
                  </a:moveTo>
                  <a:lnTo>
                    <a:pt x="73" y="0"/>
                  </a:lnTo>
                  <a:lnTo>
                    <a:pt x="76" y="1"/>
                  </a:lnTo>
                  <a:lnTo>
                    <a:pt x="78" y="2"/>
                  </a:lnTo>
                  <a:lnTo>
                    <a:pt x="80" y="5"/>
                  </a:lnTo>
                  <a:lnTo>
                    <a:pt x="80" y="7"/>
                  </a:lnTo>
                  <a:lnTo>
                    <a:pt x="80" y="10"/>
                  </a:lnTo>
                  <a:lnTo>
                    <a:pt x="78" y="12"/>
                  </a:lnTo>
                  <a:lnTo>
                    <a:pt x="76" y="14"/>
                  </a:lnTo>
                  <a:lnTo>
                    <a:pt x="74" y="14"/>
                  </a:lnTo>
                  <a:lnTo>
                    <a:pt x="73" y="14"/>
                  </a:lnTo>
                  <a:lnTo>
                    <a:pt x="8" y="14"/>
                  </a:lnTo>
                  <a:lnTo>
                    <a:pt x="5" y="14"/>
                  </a:lnTo>
                  <a:lnTo>
                    <a:pt x="2" y="12"/>
                  </a:lnTo>
                  <a:lnTo>
                    <a:pt x="1" y="10"/>
                  </a:lnTo>
                  <a:lnTo>
                    <a:pt x="0" y="7"/>
                  </a:lnTo>
                  <a:lnTo>
                    <a:pt x="1" y="5"/>
                  </a:lnTo>
                  <a:lnTo>
                    <a:pt x="2" y="2"/>
                  </a:lnTo>
                  <a:lnTo>
                    <a:pt x="5" y="1"/>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87" name="Freeform 8"/>
            <p:cNvSpPr>
              <a:spLocks/>
            </p:cNvSpPr>
            <p:nvPr/>
          </p:nvSpPr>
          <p:spPr bwMode="gray">
            <a:xfrm>
              <a:off x="6901720" y="1289285"/>
              <a:ext cx="26988" cy="26988"/>
            </a:xfrm>
            <a:custGeom>
              <a:avLst/>
              <a:gdLst/>
              <a:ahLst/>
              <a:cxnLst>
                <a:cxn ang="0">
                  <a:pos x="0" y="8"/>
                </a:cxn>
                <a:cxn ang="0">
                  <a:pos x="1" y="6"/>
                </a:cxn>
                <a:cxn ang="0">
                  <a:pos x="1" y="5"/>
                </a:cxn>
                <a:cxn ang="0">
                  <a:pos x="3" y="2"/>
                </a:cxn>
                <a:cxn ang="0">
                  <a:pos x="4" y="1"/>
                </a:cxn>
                <a:cxn ang="0">
                  <a:pos x="6" y="0"/>
                </a:cxn>
                <a:cxn ang="0">
                  <a:pos x="9" y="0"/>
                </a:cxn>
                <a:cxn ang="0">
                  <a:pos x="12" y="0"/>
                </a:cxn>
                <a:cxn ang="0">
                  <a:pos x="15" y="2"/>
                </a:cxn>
                <a:cxn ang="0">
                  <a:pos x="16" y="3"/>
                </a:cxn>
                <a:cxn ang="0">
                  <a:pos x="17" y="5"/>
                </a:cxn>
                <a:cxn ang="0">
                  <a:pos x="17" y="6"/>
                </a:cxn>
                <a:cxn ang="0">
                  <a:pos x="17" y="8"/>
                </a:cxn>
                <a:cxn ang="0">
                  <a:pos x="17" y="11"/>
                </a:cxn>
                <a:cxn ang="0">
                  <a:pos x="17" y="12"/>
                </a:cxn>
                <a:cxn ang="0">
                  <a:pos x="15" y="15"/>
                </a:cxn>
                <a:cxn ang="0">
                  <a:pos x="14" y="16"/>
                </a:cxn>
                <a:cxn ang="0">
                  <a:pos x="12" y="17"/>
                </a:cxn>
                <a:cxn ang="0">
                  <a:pos x="9" y="17"/>
                </a:cxn>
                <a:cxn ang="0">
                  <a:pos x="6" y="17"/>
                </a:cxn>
                <a:cxn ang="0">
                  <a:pos x="3" y="15"/>
                </a:cxn>
                <a:cxn ang="0">
                  <a:pos x="2" y="14"/>
                </a:cxn>
                <a:cxn ang="0">
                  <a:pos x="1" y="12"/>
                </a:cxn>
                <a:cxn ang="0">
                  <a:pos x="1" y="11"/>
                </a:cxn>
                <a:cxn ang="0">
                  <a:pos x="0" y="8"/>
                </a:cxn>
              </a:cxnLst>
              <a:rect l="0" t="0" r="r" b="b"/>
              <a:pathLst>
                <a:path w="17" h="17">
                  <a:moveTo>
                    <a:pt x="0" y="8"/>
                  </a:moveTo>
                  <a:lnTo>
                    <a:pt x="1" y="6"/>
                  </a:lnTo>
                  <a:lnTo>
                    <a:pt x="1" y="5"/>
                  </a:lnTo>
                  <a:lnTo>
                    <a:pt x="3" y="2"/>
                  </a:lnTo>
                  <a:lnTo>
                    <a:pt x="4" y="1"/>
                  </a:lnTo>
                  <a:lnTo>
                    <a:pt x="6" y="0"/>
                  </a:lnTo>
                  <a:lnTo>
                    <a:pt x="9" y="0"/>
                  </a:lnTo>
                  <a:lnTo>
                    <a:pt x="12" y="0"/>
                  </a:lnTo>
                  <a:lnTo>
                    <a:pt x="15" y="2"/>
                  </a:lnTo>
                  <a:lnTo>
                    <a:pt x="16" y="3"/>
                  </a:lnTo>
                  <a:lnTo>
                    <a:pt x="17" y="5"/>
                  </a:lnTo>
                  <a:lnTo>
                    <a:pt x="17" y="6"/>
                  </a:lnTo>
                  <a:lnTo>
                    <a:pt x="17" y="8"/>
                  </a:lnTo>
                  <a:lnTo>
                    <a:pt x="17" y="11"/>
                  </a:lnTo>
                  <a:lnTo>
                    <a:pt x="17" y="12"/>
                  </a:lnTo>
                  <a:lnTo>
                    <a:pt x="15" y="15"/>
                  </a:lnTo>
                  <a:lnTo>
                    <a:pt x="14" y="16"/>
                  </a:lnTo>
                  <a:lnTo>
                    <a:pt x="12" y="17"/>
                  </a:lnTo>
                  <a:lnTo>
                    <a:pt x="9" y="17"/>
                  </a:lnTo>
                  <a:lnTo>
                    <a:pt x="6" y="17"/>
                  </a:lnTo>
                  <a:lnTo>
                    <a:pt x="3" y="15"/>
                  </a:lnTo>
                  <a:lnTo>
                    <a:pt x="2" y="14"/>
                  </a:lnTo>
                  <a:lnTo>
                    <a:pt x="1" y="12"/>
                  </a:lnTo>
                  <a:lnTo>
                    <a:pt x="1" y="11"/>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88" name="Freeform 9"/>
            <p:cNvSpPr>
              <a:spLocks/>
            </p:cNvSpPr>
            <p:nvPr/>
          </p:nvSpPr>
          <p:spPr bwMode="gray">
            <a:xfrm>
              <a:off x="6950933" y="1290873"/>
              <a:ext cx="127000" cy="23813"/>
            </a:xfrm>
            <a:custGeom>
              <a:avLst/>
              <a:gdLst/>
              <a:ahLst/>
              <a:cxnLst>
                <a:cxn ang="0">
                  <a:pos x="8" y="0"/>
                </a:cxn>
                <a:cxn ang="0">
                  <a:pos x="73" y="0"/>
                </a:cxn>
                <a:cxn ang="0">
                  <a:pos x="76" y="0"/>
                </a:cxn>
                <a:cxn ang="0">
                  <a:pos x="78" y="2"/>
                </a:cxn>
                <a:cxn ang="0">
                  <a:pos x="80" y="4"/>
                </a:cxn>
                <a:cxn ang="0">
                  <a:pos x="80" y="7"/>
                </a:cxn>
                <a:cxn ang="0">
                  <a:pos x="80" y="11"/>
                </a:cxn>
                <a:cxn ang="0">
                  <a:pos x="78" y="13"/>
                </a:cxn>
                <a:cxn ang="0">
                  <a:pos x="76" y="15"/>
                </a:cxn>
                <a:cxn ang="0">
                  <a:pos x="74" y="15"/>
                </a:cxn>
                <a:cxn ang="0">
                  <a:pos x="73" y="15"/>
                </a:cxn>
                <a:cxn ang="0">
                  <a:pos x="8" y="15"/>
                </a:cxn>
                <a:cxn ang="0">
                  <a:pos x="5" y="15"/>
                </a:cxn>
                <a:cxn ang="0">
                  <a:pos x="2" y="13"/>
                </a:cxn>
                <a:cxn ang="0">
                  <a:pos x="1" y="11"/>
                </a:cxn>
                <a:cxn ang="0">
                  <a:pos x="0" y="7"/>
                </a:cxn>
                <a:cxn ang="0">
                  <a:pos x="1" y="4"/>
                </a:cxn>
                <a:cxn ang="0">
                  <a:pos x="2" y="2"/>
                </a:cxn>
                <a:cxn ang="0">
                  <a:pos x="5" y="0"/>
                </a:cxn>
                <a:cxn ang="0">
                  <a:pos x="6" y="0"/>
                </a:cxn>
                <a:cxn ang="0">
                  <a:pos x="8" y="0"/>
                </a:cxn>
              </a:cxnLst>
              <a:rect l="0" t="0" r="r" b="b"/>
              <a:pathLst>
                <a:path w="80" h="15">
                  <a:moveTo>
                    <a:pt x="8" y="0"/>
                  </a:moveTo>
                  <a:lnTo>
                    <a:pt x="73" y="0"/>
                  </a:lnTo>
                  <a:lnTo>
                    <a:pt x="76" y="0"/>
                  </a:lnTo>
                  <a:lnTo>
                    <a:pt x="78" y="2"/>
                  </a:lnTo>
                  <a:lnTo>
                    <a:pt x="80" y="4"/>
                  </a:lnTo>
                  <a:lnTo>
                    <a:pt x="80" y="7"/>
                  </a:lnTo>
                  <a:lnTo>
                    <a:pt x="80" y="11"/>
                  </a:lnTo>
                  <a:lnTo>
                    <a:pt x="78" y="13"/>
                  </a:lnTo>
                  <a:lnTo>
                    <a:pt x="76" y="15"/>
                  </a:lnTo>
                  <a:lnTo>
                    <a:pt x="74" y="15"/>
                  </a:lnTo>
                  <a:lnTo>
                    <a:pt x="73" y="15"/>
                  </a:lnTo>
                  <a:lnTo>
                    <a:pt x="8" y="15"/>
                  </a:lnTo>
                  <a:lnTo>
                    <a:pt x="5" y="15"/>
                  </a:lnTo>
                  <a:lnTo>
                    <a:pt x="2" y="13"/>
                  </a:lnTo>
                  <a:lnTo>
                    <a:pt x="1" y="11"/>
                  </a:lnTo>
                  <a:lnTo>
                    <a:pt x="0" y="7"/>
                  </a:lnTo>
                  <a:lnTo>
                    <a:pt x="1" y="4"/>
                  </a:lnTo>
                  <a:lnTo>
                    <a:pt x="2" y="2"/>
                  </a:lnTo>
                  <a:lnTo>
                    <a:pt x="5" y="0"/>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89" name="Freeform 10"/>
            <p:cNvSpPr>
              <a:spLocks/>
            </p:cNvSpPr>
            <p:nvPr/>
          </p:nvSpPr>
          <p:spPr bwMode="gray">
            <a:xfrm>
              <a:off x="6901720" y="187507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90" name="Freeform 11"/>
            <p:cNvSpPr>
              <a:spLocks/>
            </p:cNvSpPr>
            <p:nvPr/>
          </p:nvSpPr>
          <p:spPr bwMode="gray">
            <a:xfrm>
              <a:off x="6901720" y="183856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91" name="Freeform 12"/>
            <p:cNvSpPr>
              <a:spLocks/>
            </p:cNvSpPr>
            <p:nvPr/>
          </p:nvSpPr>
          <p:spPr bwMode="gray">
            <a:xfrm>
              <a:off x="6901720" y="180204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92" name="Freeform 13"/>
            <p:cNvSpPr>
              <a:spLocks/>
            </p:cNvSpPr>
            <p:nvPr/>
          </p:nvSpPr>
          <p:spPr bwMode="gray">
            <a:xfrm>
              <a:off x="6901720" y="176553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93" name="Freeform 14"/>
            <p:cNvSpPr>
              <a:spLocks/>
            </p:cNvSpPr>
            <p:nvPr/>
          </p:nvSpPr>
          <p:spPr bwMode="gray">
            <a:xfrm>
              <a:off x="6901720" y="172902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94" name="Freeform 15"/>
            <p:cNvSpPr>
              <a:spLocks/>
            </p:cNvSpPr>
            <p:nvPr/>
          </p:nvSpPr>
          <p:spPr bwMode="gray">
            <a:xfrm>
              <a:off x="6901720" y="169251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95" name="Freeform 16"/>
            <p:cNvSpPr>
              <a:spLocks/>
            </p:cNvSpPr>
            <p:nvPr/>
          </p:nvSpPr>
          <p:spPr bwMode="gray">
            <a:xfrm>
              <a:off x="6901720" y="165599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496" name="Gruppieren 118"/>
          <p:cNvGrpSpPr/>
          <p:nvPr>
            <p:custDataLst>
              <p:tags r:id="rId29"/>
            </p:custDataLst>
          </p:nvPr>
        </p:nvGrpSpPr>
        <p:grpSpPr bwMode="gray">
          <a:xfrm>
            <a:off x="8113584" y="1172460"/>
            <a:ext cx="177020" cy="357790"/>
            <a:chOff x="6876320" y="1203560"/>
            <a:chExt cx="374650" cy="757238"/>
          </a:xfrm>
        </p:grpSpPr>
        <p:sp>
          <p:nvSpPr>
            <p:cNvPr id="497" name="Freeform 4"/>
            <p:cNvSpPr>
              <a:spLocks/>
            </p:cNvSpPr>
            <p:nvPr/>
          </p:nvSpPr>
          <p:spPr bwMode="gray">
            <a:xfrm>
              <a:off x="6876320" y="1203560"/>
              <a:ext cx="374650" cy="757238"/>
            </a:xfrm>
            <a:custGeom>
              <a:avLst/>
              <a:gdLst/>
              <a:ahLst/>
              <a:cxnLst>
                <a:cxn ang="0">
                  <a:pos x="0" y="3"/>
                </a:cxn>
                <a:cxn ang="0">
                  <a:pos x="0" y="2"/>
                </a:cxn>
                <a:cxn ang="0">
                  <a:pos x="1" y="1"/>
                </a:cxn>
                <a:cxn ang="0">
                  <a:pos x="2" y="0"/>
                </a:cxn>
                <a:cxn ang="0">
                  <a:pos x="3" y="0"/>
                </a:cxn>
                <a:cxn ang="0">
                  <a:pos x="233" y="0"/>
                </a:cxn>
                <a:cxn ang="0">
                  <a:pos x="234" y="0"/>
                </a:cxn>
                <a:cxn ang="0">
                  <a:pos x="235" y="1"/>
                </a:cxn>
                <a:cxn ang="0">
                  <a:pos x="236" y="2"/>
                </a:cxn>
                <a:cxn ang="0">
                  <a:pos x="236" y="3"/>
                </a:cxn>
                <a:cxn ang="0">
                  <a:pos x="236" y="474"/>
                </a:cxn>
                <a:cxn ang="0">
                  <a:pos x="236" y="475"/>
                </a:cxn>
                <a:cxn ang="0">
                  <a:pos x="235" y="476"/>
                </a:cxn>
                <a:cxn ang="0">
                  <a:pos x="234" y="476"/>
                </a:cxn>
                <a:cxn ang="0">
                  <a:pos x="233" y="477"/>
                </a:cxn>
                <a:cxn ang="0">
                  <a:pos x="3" y="477"/>
                </a:cxn>
                <a:cxn ang="0">
                  <a:pos x="2" y="476"/>
                </a:cxn>
                <a:cxn ang="0">
                  <a:pos x="1" y="476"/>
                </a:cxn>
                <a:cxn ang="0">
                  <a:pos x="0" y="475"/>
                </a:cxn>
                <a:cxn ang="0">
                  <a:pos x="0" y="474"/>
                </a:cxn>
                <a:cxn ang="0">
                  <a:pos x="0" y="3"/>
                </a:cxn>
              </a:cxnLst>
              <a:rect l="0" t="0" r="r" b="b"/>
              <a:pathLst>
                <a:path w="236" h="477">
                  <a:moveTo>
                    <a:pt x="0" y="3"/>
                  </a:moveTo>
                  <a:lnTo>
                    <a:pt x="0" y="2"/>
                  </a:lnTo>
                  <a:lnTo>
                    <a:pt x="1" y="1"/>
                  </a:lnTo>
                  <a:lnTo>
                    <a:pt x="2" y="0"/>
                  </a:lnTo>
                  <a:lnTo>
                    <a:pt x="3" y="0"/>
                  </a:lnTo>
                  <a:lnTo>
                    <a:pt x="233" y="0"/>
                  </a:lnTo>
                  <a:lnTo>
                    <a:pt x="234" y="0"/>
                  </a:lnTo>
                  <a:lnTo>
                    <a:pt x="235" y="1"/>
                  </a:lnTo>
                  <a:lnTo>
                    <a:pt x="236" y="2"/>
                  </a:lnTo>
                  <a:lnTo>
                    <a:pt x="236" y="3"/>
                  </a:lnTo>
                  <a:lnTo>
                    <a:pt x="236" y="474"/>
                  </a:lnTo>
                  <a:lnTo>
                    <a:pt x="236" y="475"/>
                  </a:lnTo>
                  <a:lnTo>
                    <a:pt x="235" y="476"/>
                  </a:lnTo>
                  <a:lnTo>
                    <a:pt x="234" y="476"/>
                  </a:lnTo>
                  <a:lnTo>
                    <a:pt x="233" y="477"/>
                  </a:lnTo>
                  <a:lnTo>
                    <a:pt x="3" y="477"/>
                  </a:lnTo>
                  <a:lnTo>
                    <a:pt x="2" y="476"/>
                  </a:lnTo>
                  <a:lnTo>
                    <a:pt x="1" y="476"/>
                  </a:lnTo>
                  <a:lnTo>
                    <a:pt x="0" y="475"/>
                  </a:lnTo>
                  <a:lnTo>
                    <a:pt x="0" y="474"/>
                  </a:lnTo>
                  <a:lnTo>
                    <a:pt x="0" y="3"/>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98" name="Freeform 5"/>
            <p:cNvSpPr>
              <a:spLocks/>
            </p:cNvSpPr>
            <p:nvPr/>
          </p:nvSpPr>
          <p:spPr bwMode="gray">
            <a:xfrm>
              <a:off x="6901720" y="1241660"/>
              <a:ext cx="26988" cy="26988"/>
            </a:xfrm>
            <a:custGeom>
              <a:avLst/>
              <a:gdLst/>
              <a:ahLst/>
              <a:cxnLst>
                <a:cxn ang="0">
                  <a:pos x="0" y="8"/>
                </a:cxn>
                <a:cxn ang="0">
                  <a:pos x="1" y="7"/>
                </a:cxn>
                <a:cxn ang="0">
                  <a:pos x="1" y="5"/>
                </a:cxn>
                <a:cxn ang="0">
                  <a:pos x="3" y="2"/>
                </a:cxn>
                <a:cxn ang="0">
                  <a:pos x="4" y="1"/>
                </a:cxn>
                <a:cxn ang="0">
                  <a:pos x="6" y="0"/>
                </a:cxn>
                <a:cxn ang="0">
                  <a:pos x="9" y="0"/>
                </a:cxn>
                <a:cxn ang="0">
                  <a:pos x="12" y="0"/>
                </a:cxn>
                <a:cxn ang="0">
                  <a:pos x="15" y="2"/>
                </a:cxn>
                <a:cxn ang="0">
                  <a:pos x="16" y="4"/>
                </a:cxn>
                <a:cxn ang="0">
                  <a:pos x="17" y="5"/>
                </a:cxn>
                <a:cxn ang="0">
                  <a:pos x="17" y="7"/>
                </a:cxn>
                <a:cxn ang="0">
                  <a:pos x="17" y="8"/>
                </a:cxn>
                <a:cxn ang="0">
                  <a:pos x="17" y="10"/>
                </a:cxn>
                <a:cxn ang="0">
                  <a:pos x="17" y="12"/>
                </a:cxn>
                <a:cxn ang="0">
                  <a:pos x="15" y="14"/>
                </a:cxn>
                <a:cxn ang="0">
                  <a:pos x="14" y="15"/>
                </a:cxn>
                <a:cxn ang="0">
                  <a:pos x="12" y="16"/>
                </a:cxn>
                <a:cxn ang="0">
                  <a:pos x="9" y="17"/>
                </a:cxn>
                <a:cxn ang="0">
                  <a:pos x="6" y="16"/>
                </a:cxn>
                <a:cxn ang="0">
                  <a:pos x="3" y="14"/>
                </a:cxn>
                <a:cxn ang="0">
                  <a:pos x="2" y="13"/>
                </a:cxn>
                <a:cxn ang="0">
                  <a:pos x="1" y="12"/>
                </a:cxn>
                <a:cxn ang="0">
                  <a:pos x="1" y="10"/>
                </a:cxn>
                <a:cxn ang="0">
                  <a:pos x="0" y="8"/>
                </a:cxn>
              </a:cxnLst>
              <a:rect l="0" t="0" r="r" b="b"/>
              <a:pathLst>
                <a:path w="17" h="17">
                  <a:moveTo>
                    <a:pt x="0" y="8"/>
                  </a:moveTo>
                  <a:lnTo>
                    <a:pt x="1" y="7"/>
                  </a:lnTo>
                  <a:lnTo>
                    <a:pt x="1" y="5"/>
                  </a:lnTo>
                  <a:lnTo>
                    <a:pt x="3" y="2"/>
                  </a:lnTo>
                  <a:lnTo>
                    <a:pt x="4" y="1"/>
                  </a:lnTo>
                  <a:lnTo>
                    <a:pt x="6" y="0"/>
                  </a:lnTo>
                  <a:lnTo>
                    <a:pt x="9" y="0"/>
                  </a:lnTo>
                  <a:lnTo>
                    <a:pt x="12" y="0"/>
                  </a:lnTo>
                  <a:lnTo>
                    <a:pt x="15" y="2"/>
                  </a:lnTo>
                  <a:lnTo>
                    <a:pt x="16" y="4"/>
                  </a:lnTo>
                  <a:lnTo>
                    <a:pt x="17" y="5"/>
                  </a:lnTo>
                  <a:lnTo>
                    <a:pt x="17" y="7"/>
                  </a:lnTo>
                  <a:lnTo>
                    <a:pt x="17" y="8"/>
                  </a:lnTo>
                  <a:lnTo>
                    <a:pt x="17" y="10"/>
                  </a:lnTo>
                  <a:lnTo>
                    <a:pt x="17" y="12"/>
                  </a:lnTo>
                  <a:lnTo>
                    <a:pt x="15" y="14"/>
                  </a:lnTo>
                  <a:lnTo>
                    <a:pt x="14" y="15"/>
                  </a:lnTo>
                  <a:lnTo>
                    <a:pt x="12" y="16"/>
                  </a:lnTo>
                  <a:lnTo>
                    <a:pt x="9" y="17"/>
                  </a:lnTo>
                  <a:lnTo>
                    <a:pt x="6" y="16"/>
                  </a:lnTo>
                  <a:lnTo>
                    <a:pt x="3" y="14"/>
                  </a:lnTo>
                  <a:lnTo>
                    <a:pt x="2" y="13"/>
                  </a:lnTo>
                  <a:lnTo>
                    <a:pt x="1" y="12"/>
                  </a:lnTo>
                  <a:lnTo>
                    <a:pt x="1" y="10"/>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99" name="Freeform 6"/>
            <p:cNvSpPr>
              <a:spLocks/>
            </p:cNvSpPr>
            <p:nvPr/>
          </p:nvSpPr>
          <p:spPr bwMode="gray">
            <a:xfrm>
              <a:off x="6901720" y="191158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00" name="Freeform 7"/>
            <p:cNvSpPr>
              <a:spLocks/>
            </p:cNvSpPr>
            <p:nvPr/>
          </p:nvSpPr>
          <p:spPr bwMode="gray">
            <a:xfrm>
              <a:off x="6950933" y="1243248"/>
              <a:ext cx="127000" cy="22225"/>
            </a:xfrm>
            <a:custGeom>
              <a:avLst/>
              <a:gdLst/>
              <a:ahLst/>
              <a:cxnLst>
                <a:cxn ang="0">
                  <a:pos x="8" y="0"/>
                </a:cxn>
                <a:cxn ang="0">
                  <a:pos x="73" y="0"/>
                </a:cxn>
                <a:cxn ang="0">
                  <a:pos x="76" y="1"/>
                </a:cxn>
                <a:cxn ang="0">
                  <a:pos x="78" y="2"/>
                </a:cxn>
                <a:cxn ang="0">
                  <a:pos x="80" y="5"/>
                </a:cxn>
                <a:cxn ang="0">
                  <a:pos x="80" y="7"/>
                </a:cxn>
                <a:cxn ang="0">
                  <a:pos x="80" y="10"/>
                </a:cxn>
                <a:cxn ang="0">
                  <a:pos x="78" y="12"/>
                </a:cxn>
                <a:cxn ang="0">
                  <a:pos x="76" y="14"/>
                </a:cxn>
                <a:cxn ang="0">
                  <a:pos x="74" y="14"/>
                </a:cxn>
                <a:cxn ang="0">
                  <a:pos x="73" y="14"/>
                </a:cxn>
                <a:cxn ang="0">
                  <a:pos x="8" y="14"/>
                </a:cxn>
                <a:cxn ang="0">
                  <a:pos x="5" y="14"/>
                </a:cxn>
                <a:cxn ang="0">
                  <a:pos x="2" y="12"/>
                </a:cxn>
                <a:cxn ang="0">
                  <a:pos x="1" y="10"/>
                </a:cxn>
                <a:cxn ang="0">
                  <a:pos x="0" y="7"/>
                </a:cxn>
                <a:cxn ang="0">
                  <a:pos x="1" y="5"/>
                </a:cxn>
                <a:cxn ang="0">
                  <a:pos x="2" y="2"/>
                </a:cxn>
                <a:cxn ang="0">
                  <a:pos x="5" y="1"/>
                </a:cxn>
                <a:cxn ang="0">
                  <a:pos x="6" y="0"/>
                </a:cxn>
                <a:cxn ang="0">
                  <a:pos x="8" y="0"/>
                </a:cxn>
              </a:cxnLst>
              <a:rect l="0" t="0" r="r" b="b"/>
              <a:pathLst>
                <a:path w="80" h="14">
                  <a:moveTo>
                    <a:pt x="8" y="0"/>
                  </a:moveTo>
                  <a:lnTo>
                    <a:pt x="73" y="0"/>
                  </a:lnTo>
                  <a:lnTo>
                    <a:pt x="76" y="1"/>
                  </a:lnTo>
                  <a:lnTo>
                    <a:pt x="78" y="2"/>
                  </a:lnTo>
                  <a:lnTo>
                    <a:pt x="80" y="5"/>
                  </a:lnTo>
                  <a:lnTo>
                    <a:pt x="80" y="7"/>
                  </a:lnTo>
                  <a:lnTo>
                    <a:pt x="80" y="10"/>
                  </a:lnTo>
                  <a:lnTo>
                    <a:pt x="78" y="12"/>
                  </a:lnTo>
                  <a:lnTo>
                    <a:pt x="76" y="14"/>
                  </a:lnTo>
                  <a:lnTo>
                    <a:pt x="74" y="14"/>
                  </a:lnTo>
                  <a:lnTo>
                    <a:pt x="73" y="14"/>
                  </a:lnTo>
                  <a:lnTo>
                    <a:pt x="8" y="14"/>
                  </a:lnTo>
                  <a:lnTo>
                    <a:pt x="5" y="14"/>
                  </a:lnTo>
                  <a:lnTo>
                    <a:pt x="2" y="12"/>
                  </a:lnTo>
                  <a:lnTo>
                    <a:pt x="1" y="10"/>
                  </a:lnTo>
                  <a:lnTo>
                    <a:pt x="0" y="7"/>
                  </a:lnTo>
                  <a:lnTo>
                    <a:pt x="1" y="5"/>
                  </a:lnTo>
                  <a:lnTo>
                    <a:pt x="2" y="2"/>
                  </a:lnTo>
                  <a:lnTo>
                    <a:pt x="5" y="1"/>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01" name="Freeform 8"/>
            <p:cNvSpPr>
              <a:spLocks/>
            </p:cNvSpPr>
            <p:nvPr/>
          </p:nvSpPr>
          <p:spPr bwMode="gray">
            <a:xfrm>
              <a:off x="6901720" y="1289285"/>
              <a:ext cx="26988" cy="26988"/>
            </a:xfrm>
            <a:custGeom>
              <a:avLst/>
              <a:gdLst/>
              <a:ahLst/>
              <a:cxnLst>
                <a:cxn ang="0">
                  <a:pos x="0" y="8"/>
                </a:cxn>
                <a:cxn ang="0">
                  <a:pos x="1" y="6"/>
                </a:cxn>
                <a:cxn ang="0">
                  <a:pos x="1" y="5"/>
                </a:cxn>
                <a:cxn ang="0">
                  <a:pos x="3" y="2"/>
                </a:cxn>
                <a:cxn ang="0">
                  <a:pos x="4" y="1"/>
                </a:cxn>
                <a:cxn ang="0">
                  <a:pos x="6" y="0"/>
                </a:cxn>
                <a:cxn ang="0">
                  <a:pos x="9" y="0"/>
                </a:cxn>
                <a:cxn ang="0">
                  <a:pos x="12" y="0"/>
                </a:cxn>
                <a:cxn ang="0">
                  <a:pos x="15" y="2"/>
                </a:cxn>
                <a:cxn ang="0">
                  <a:pos x="16" y="3"/>
                </a:cxn>
                <a:cxn ang="0">
                  <a:pos x="17" y="5"/>
                </a:cxn>
                <a:cxn ang="0">
                  <a:pos x="17" y="6"/>
                </a:cxn>
                <a:cxn ang="0">
                  <a:pos x="17" y="8"/>
                </a:cxn>
                <a:cxn ang="0">
                  <a:pos x="17" y="11"/>
                </a:cxn>
                <a:cxn ang="0">
                  <a:pos x="17" y="12"/>
                </a:cxn>
                <a:cxn ang="0">
                  <a:pos x="15" y="15"/>
                </a:cxn>
                <a:cxn ang="0">
                  <a:pos x="14" y="16"/>
                </a:cxn>
                <a:cxn ang="0">
                  <a:pos x="12" y="17"/>
                </a:cxn>
                <a:cxn ang="0">
                  <a:pos x="9" y="17"/>
                </a:cxn>
                <a:cxn ang="0">
                  <a:pos x="6" y="17"/>
                </a:cxn>
                <a:cxn ang="0">
                  <a:pos x="3" y="15"/>
                </a:cxn>
                <a:cxn ang="0">
                  <a:pos x="2" y="14"/>
                </a:cxn>
                <a:cxn ang="0">
                  <a:pos x="1" y="12"/>
                </a:cxn>
                <a:cxn ang="0">
                  <a:pos x="1" y="11"/>
                </a:cxn>
                <a:cxn ang="0">
                  <a:pos x="0" y="8"/>
                </a:cxn>
              </a:cxnLst>
              <a:rect l="0" t="0" r="r" b="b"/>
              <a:pathLst>
                <a:path w="17" h="17">
                  <a:moveTo>
                    <a:pt x="0" y="8"/>
                  </a:moveTo>
                  <a:lnTo>
                    <a:pt x="1" y="6"/>
                  </a:lnTo>
                  <a:lnTo>
                    <a:pt x="1" y="5"/>
                  </a:lnTo>
                  <a:lnTo>
                    <a:pt x="3" y="2"/>
                  </a:lnTo>
                  <a:lnTo>
                    <a:pt x="4" y="1"/>
                  </a:lnTo>
                  <a:lnTo>
                    <a:pt x="6" y="0"/>
                  </a:lnTo>
                  <a:lnTo>
                    <a:pt x="9" y="0"/>
                  </a:lnTo>
                  <a:lnTo>
                    <a:pt x="12" y="0"/>
                  </a:lnTo>
                  <a:lnTo>
                    <a:pt x="15" y="2"/>
                  </a:lnTo>
                  <a:lnTo>
                    <a:pt x="16" y="3"/>
                  </a:lnTo>
                  <a:lnTo>
                    <a:pt x="17" y="5"/>
                  </a:lnTo>
                  <a:lnTo>
                    <a:pt x="17" y="6"/>
                  </a:lnTo>
                  <a:lnTo>
                    <a:pt x="17" y="8"/>
                  </a:lnTo>
                  <a:lnTo>
                    <a:pt x="17" y="11"/>
                  </a:lnTo>
                  <a:lnTo>
                    <a:pt x="17" y="12"/>
                  </a:lnTo>
                  <a:lnTo>
                    <a:pt x="15" y="15"/>
                  </a:lnTo>
                  <a:lnTo>
                    <a:pt x="14" y="16"/>
                  </a:lnTo>
                  <a:lnTo>
                    <a:pt x="12" y="17"/>
                  </a:lnTo>
                  <a:lnTo>
                    <a:pt x="9" y="17"/>
                  </a:lnTo>
                  <a:lnTo>
                    <a:pt x="6" y="17"/>
                  </a:lnTo>
                  <a:lnTo>
                    <a:pt x="3" y="15"/>
                  </a:lnTo>
                  <a:lnTo>
                    <a:pt x="2" y="14"/>
                  </a:lnTo>
                  <a:lnTo>
                    <a:pt x="1" y="12"/>
                  </a:lnTo>
                  <a:lnTo>
                    <a:pt x="1" y="11"/>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02" name="Freeform 9"/>
            <p:cNvSpPr>
              <a:spLocks/>
            </p:cNvSpPr>
            <p:nvPr/>
          </p:nvSpPr>
          <p:spPr bwMode="gray">
            <a:xfrm>
              <a:off x="6950933" y="1290873"/>
              <a:ext cx="127000" cy="23813"/>
            </a:xfrm>
            <a:custGeom>
              <a:avLst/>
              <a:gdLst/>
              <a:ahLst/>
              <a:cxnLst>
                <a:cxn ang="0">
                  <a:pos x="8" y="0"/>
                </a:cxn>
                <a:cxn ang="0">
                  <a:pos x="73" y="0"/>
                </a:cxn>
                <a:cxn ang="0">
                  <a:pos x="76" y="0"/>
                </a:cxn>
                <a:cxn ang="0">
                  <a:pos x="78" y="2"/>
                </a:cxn>
                <a:cxn ang="0">
                  <a:pos x="80" y="4"/>
                </a:cxn>
                <a:cxn ang="0">
                  <a:pos x="80" y="7"/>
                </a:cxn>
                <a:cxn ang="0">
                  <a:pos x="80" y="11"/>
                </a:cxn>
                <a:cxn ang="0">
                  <a:pos x="78" y="13"/>
                </a:cxn>
                <a:cxn ang="0">
                  <a:pos x="76" y="15"/>
                </a:cxn>
                <a:cxn ang="0">
                  <a:pos x="74" y="15"/>
                </a:cxn>
                <a:cxn ang="0">
                  <a:pos x="73" y="15"/>
                </a:cxn>
                <a:cxn ang="0">
                  <a:pos x="8" y="15"/>
                </a:cxn>
                <a:cxn ang="0">
                  <a:pos x="5" y="15"/>
                </a:cxn>
                <a:cxn ang="0">
                  <a:pos x="2" y="13"/>
                </a:cxn>
                <a:cxn ang="0">
                  <a:pos x="1" y="11"/>
                </a:cxn>
                <a:cxn ang="0">
                  <a:pos x="0" y="7"/>
                </a:cxn>
                <a:cxn ang="0">
                  <a:pos x="1" y="4"/>
                </a:cxn>
                <a:cxn ang="0">
                  <a:pos x="2" y="2"/>
                </a:cxn>
                <a:cxn ang="0">
                  <a:pos x="5" y="0"/>
                </a:cxn>
                <a:cxn ang="0">
                  <a:pos x="6" y="0"/>
                </a:cxn>
                <a:cxn ang="0">
                  <a:pos x="8" y="0"/>
                </a:cxn>
              </a:cxnLst>
              <a:rect l="0" t="0" r="r" b="b"/>
              <a:pathLst>
                <a:path w="80" h="15">
                  <a:moveTo>
                    <a:pt x="8" y="0"/>
                  </a:moveTo>
                  <a:lnTo>
                    <a:pt x="73" y="0"/>
                  </a:lnTo>
                  <a:lnTo>
                    <a:pt x="76" y="0"/>
                  </a:lnTo>
                  <a:lnTo>
                    <a:pt x="78" y="2"/>
                  </a:lnTo>
                  <a:lnTo>
                    <a:pt x="80" y="4"/>
                  </a:lnTo>
                  <a:lnTo>
                    <a:pt x="80" y="7"/>
                  </a:lnTo>
                  <a:lnTo>
                    <a:pt x="80" y="11"/>
                  </a:lnTo>
                  <a:lnTo>
                    <a:pt x="78" y="13"/>
                  </a:lnTo>
                  <a:lnTo>
                    <a:pt x="76" y="15"/>
                  </a:lnTo>
                  <a:lnTo>
                    <a:pt x="74" y="15"/>
                  </a:lnTo>
                  <a:lnTo>
                    <a:pt x="73" y="15"/>
                  </a:lnTo>
                  <a:lnTo>
                    <a:pt x="8" y="15"/>
                  </a:lnTo>
                  <a:lnTo>
                    <a:pt x="5" y="15"/>
                  </a:lnTo>
                  <a:lnTo>
                    <a:pt x="2" y="13"/>
                  </a:lnTo>
                  <a:lnTo>
                    <a:pt x="1" y="11"/>
                  </a:lnTo>
                  <a:lnTo>
                    <a:pt x="0" y="7"/>
                  </a:lnTo>
                  <a:lnTo>
                    <a:pt x="1" y="4"/>
                  </a:lnTo>
                  <a:lnTo>
                    <a:pt x="2" y="2"/>
                  </a:lnTo>
                  <a:lnTo>
                    <a:pt x="5" y="0"/>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03" name="Freeform 10"/>
            <p:cNvSpPr>
              <a:spLocks/>
            </p:cNvSpPr>
            <p:nvPr/>
          </p:nvSpPr>
          <p:spPr bwMode="gray">
            <a:xfrm>
              <a:off x="6901720" y="187507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04" name="Freeform 11"/>
            <p:cNvSpPr>
              <a:spLocks/>
            </p:cNvSpPr>
            <p:nvPr/>
          </p:nvSpPr>
          <p:spPr bwMode="gray">
            <a:xfrm>
              <a:off x="6901720" y="183856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05" name="Freeform 12"/>
            <p:cNvSpPr>
              <a:spLocks/>
            </p:cNvSpPr>
            <p:nvPr/>
          </p:nvSpPr>
          <p:spPr bwMode="gray">
            <a:xfrm>
              <a:off x="6901720" y="180204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06" name="Freeform 13"/>
            <p:cNvSpPr>
              <a:spLocks/>
            </p:cNvSpPr>
            <p:nvPr/>
          </p:nvSpPr>
          <p:spPr bwMode="gray">
            <a:xfrm>
              <a:off x="6901720" y="176553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07" name="Freeform 14"/>
            <p:cNvSpPr>
              <a:spLocks/>
            </p:cNvSpPr>
            <p:nvPr/>
          </p:nvSpPr>
          <p:spPr bwMode="gray">
            <a:xfrm>
              <a:off x="6901720" y="172902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08" name="Freeform 15"/>
            <p:cNvSpPr>
              <a:spLocks/>
            </p:cNvSpPr>
            <p:nvPr/>
          </p:nvSpPr>
          <p:spPr bwMode="gray">
            <a:xfrm>
              <a:off x="6901720" y="169251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09" name="Freeform 16"/>
            <p:cNvSpPr>
              <a:spLocks/>
            </p:cNvSpPr>
            <p:nvPr/>
          </p:nvSpPr>
          <p:spPr bwMode="gray">
            <a:xfrm>
              <a:off x="6901720" y="165599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510" name="Gruppieren 89"/>
          <p:cNvGrpSpPr/>
          <p:nvPr>
            <p:custDataLst>
              <p:tags r:id="rId30"/>
            </p:custDataLst>
          </p:nvPr>
        </p:nvGrpSpPr>
        <p:grpSpPr bwMode="gray">
          <a:xfrm>
            <a:off x="6492644" y="1172460"/>
            <a:ext cx="177020" cy="357790"/>
            <a:chOff x="6876320" y="1203560"/>
            <a:chExt cx="374650" cy="757238"/>
          </a:xfrm>
        </p:grpSpPr>
        <p:sp>
          <p:nvSpPr>
            <p:cNvPr id="511" name="Freeform 4"/>
            <p:cNvSpPr>
              <a:spLocks/>
            </p:cNvSpPr>
            <p:nvPr/>
          </p:nvSpPr>
          <p:spPr bwMode="gray">
            <a:xfrm>
              <a:off x="6876320" y="1203560"/>
              <a:ext cx="374650" cy="757238"/>
            </a:xfrm>
            <a:custGeom>
              <a:avLst/>
              <a:gdLst/>
              <a:ahLst/>
              <a:cxnLst>
                <a:cxn ang="0">
                  <a:pos x="0" y="3"/>
                </a:cxn>
                <a:cxn ang="0">
                  <a:pos x="0" y="2"/>
                </a:cxn>
                <a:cxn ang="0">
                  <a:pos x="1" y="1"/>
                </a:cxn>
                <a:cxn ang="0">
                  <a:pos x="2" y="0"/>
                </a:cxn>
                <a:cxn ang="0">
                  <a:pos x="3" y="0"/>
                </a:cxn>
                <a:cxn ang="0">
                  <a:pos x="233" y="0"/>
                </a:cxn>
                <a:cxn ang="0">
                  <a:pos x="234" y="0"/>
                </a:cxn>
                <a:cxn ang="0">
                  <a:pos x="235" y="1"/>
                </a:cxn>
                <a:cxn ang="0">
                  <a:pos x="236" y="2"/>
                </a:cxn>
                <a:cxn ang="0">
                  <a:pos x="236" y="3"/>
                </a:cxn>
                <a:cxn ang="0">
                  <a:pos x="236" y="474"/>
                </a:cxn>
                <a:cxn ang="0">
                  <a:pos x="236" y="475"/>
                </a:cxn>
                <a:cxn ang="0">
                  <a:pos x="235" y="476"/>
                </a:cxn>
                <a:cxn ang="0">
                  <a:pos x="234" y="476"/>
                </a:cxn>
                <a:cxn ang="0">
                  <a:pos x="233" y="477"/>
                </a:cxn>
                <a:cxn ang="0">
                  <a:pos x="3" y="477"/>
                </a:cxn>
                <a:cxn ang="0">
                  <a:pos x="2" y="476"/>
                </a:cxn>
                <a:cxn ang="0">
                  <a:pos x="1" y="476"/>
                </a:cxn>
                <a:cxn ang="0">
                  <a:pos x="0" y="475"/>
                </a:cxn>
                <a:cxn ang="0">
                  <a:pos x="0" y="474"/>
                </a:cxn>
                <a:cxn ang="0">
                  <a:pos x="0" y="3"/>
                </a:cxn>
              </a:cxnLst>
              <a:rect l="0" t="0" r="r" b="b"/>
              <a:pathLst>
                <a:path w="236" h="477">
                  <a:moveTo>
                    <a:pt x="0" y="3"/>
                  </a:moveTo>
                  <a:lnTo>
                    <a:pt x="0" y="2"/>
                  </a:lnTo>
                  <a:lnTo>
                    <a:pt x="1" y="1"/>
                  </a:lnTo>
                  <a:lnTo>
                    <a:pt x="2" y="0"/>
                  </a:lnTo>
                  <a:lnTo>
                    <a:pt x="3" y="0"/>
                  </a:lnTo>
                  <a:lnTo>
                    <a:pt x="233" y="0"/>
                  </a:lnTo>
                  <a:lnTo>
                    <a:pt x="234" y="0"/>
                  </a:lnTo>
                  <a:lnTo>
                    <a:pt x="235" y="1"/>
                  </a:lnTo>
                  <a:lnTo>
                    <a:pt x="236" y="2"/>
                  </a:lnTo>
                  <a:lnTo>
                    <a:pt x="236" y="3"/>
                  </a:lnTo>
                  <a:lnTo>
                    <a:pt x="236" y="474"/>
                  </a:lnTo>
                  <a:lnTo>
                    <a:pt x="236" y="475"/>
                  </a:lnTo>
                  <a:lnTo>
                    <a:pt x="235" y="476"/>
                  </a:lnTo>
                  <a:lnTo>
                    <a:pt x="234" y="476"/>
                  </a:lnTo>
                  <a:lnTo>
                    <a:pt x="233" y="477"/>
                  </a:lnTo>
                  <a:lnTo>
                    <a:pt x="3" y="477"/>
                  </a:lnTo>
                  <a:lnTo>
                    <a:pt x="2" y="476"/>
                  </a:lnTo>
                  <a:lnTo>
                    <a:pt x="1" y="476"/>
                  </a:lnTo>
                  <a:lnTo>
                    <a:pt x="0" y="475"/>
                  </a:lnTo>
                  <a:lnTo>
                    <a:pt x="0" y="474"/>
                  </a:lnTo>
                  <a:lnTo>
                    <a:pt x="0" y="3"/>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12" name="Freeform 5"/>
            <p:cNvSpPr>
              <a:spLocks/>
            </p:cNvSpPr>
            <p:nvPr/>
          </p:nvSpPr>
          <p:spPr bwMode="gray">
            <a:xfrm>
              <a:off x="6901720" y="1241660"/>
              <a:ext cx="26988" cy="26988"/>
            </a:xfrm>
            <a:custGeom>
              <a:avLst/>
              <a:gdLst/>
              <a:ahLst/>
              <a:cxnLst>
                <a:cxn ang="0">
                  <a:pos x="0" y="8"/>
                </a:cxn>
                <a:cxn ang="0">
                  <a:pos x="1" y="7"/>
                </a:cxn>
                <a:cxn ang="0">
                  <a:pos x="1" y="5"/>
                </a:cxn>
                <a:cxn ang="0">
                  <a:pos x="3" y="2"/>
                </a:cxn>
                <a:cxn ang="0">
                  <a:pos x="4" y="1"/>
                </a:cxn>
                <a:cxn ang="0">
                  <a:pos x="6" y="0"/>
                </a:cxn>
                <a:cxn ang="0">
                  <a:pos x="9" y="0"/>
                </a:cxn>
                <a:cxn ang="0">
                  <a:pos x="12" y="0"/>
                </a:cxn>
                <a:cxn ang="0">
                  <a:pos x="15" y="2"/>
                </a:cxn>
                <a:cxn ang="0">
                  <a:pos x="16" y="4"/>
                </a:cxn>
                <a:cxn ang="0">
                  <a:pos x="17" y="5"/>
                </a:cxn>
                <a:cxn ang="0">
                  <a:pos x="17" y="7"/>
                </a:cxn>
                <a:cxn ang="0">
                  <a:pos x="17" y="8"/>
                </a:cxn>
                <a:cxn ang="0">
                  <a:pos x="17" y="10"/>
                </a:cxn>
                <a:cxn ang="0">
                  <a:pos x="17" y="12"/>
                </a:cxn>
                <a:cxn ang="0">
                  <a:pos x="15" y="14"/>
                </a:cxn>
                <a:cxn ang="0">
                  <a:pos x="14" y="15"/>
                </a:cxn>
                <a:cxn ang="0">
                  <a:pos x="12" y="16"/>
                </a:cxn>
                <a:cxn ang="0">
                  <a:pos x="9" y="17"/>
                </a:cxn>
                <a:cxn ang="0">
                  <a:pos x="6" y="16"/>
                </a:cxn>
                <a:cxn ang="0">
                  <a:pos x="3" y="14"/>
                </a:cxn>
                <a:cxn ang="0">
                  <a:pos x="2" y="13"/>
                </a:cxn>
                <a:cxn ang="0">
                  <a:pos x="1" y="12"/>
                </a:cxn>
                <a:cxn ang="0">
                  <a:pos x="1" y="10"/>
                </a:cxn>
                <a:cxn ang="0">
                  <a:pos x="0" y="8"/>
                </a:cxn>
              </a:cxnLst>
              <a:rect l="0" t="0" r="r" b="b"/>
              <a:pathLst>
                <a:path w="17" h="17">
                  <a:moveTo>
                    <a:pt x="0" y="8"/>
                  </a:moveTo>
                  <a:lnTo>
                    <a:pt x="1" y="7"/>
                  </a:lnTo>
                  <a:lnTo>
                    <a:pt x="1" y="5"/>
                  </a:lnTo>
                  <a:lnTo>
                    <a:pt x="3" y="2"/>
                  </a:lnTo>
                  <a:lnTo>
                    <a:pt x="4" y="1"/>
                  </a:lnTo>
                  <a:lnTo>
                    <a:pt x="6" y="0"/>
                  </a:lnTo>
                  <a:lnTo>
                    <a:pt x="9" y="0"/>
                  </a:lnTo>
                  <a:lnTo>
                    <a:pt x="12" y="0"/>
                  </a:lnTo>
                  <a:lnTo>
                    <a:pt x="15" y="2"/>
                  </a:lnTo>
                  <a:lnTo>
                    <a:pt x="16" y="4"/>
                  </a:lnTo>
                  <a:lnTo>
                    <a:pt x="17" y="5"/>
                  </a:lnTo>
                  <a:lnTo>
                    <a:pt x="17" y="7"/>
                  </a:lnTo>
                  <a:lnTo>
                    <a:pt x="17" y="8"/>
                  </a:lnTo>
                  <a:lnTo>
                    <a:pt x="17" y="10"/>
                  </a:lnTo>
                  <a:lnTo>
                    <a:pt x="17" y="12"/>
                  </a:lnTo>
                  <a:lnTo>
                    <a:pt x="15" y="14"/>
                  </a:lnTo>
                  <a:lnTo>
                    <a:pt x="14" y="15"/>
                  </a:lnTo>
                  <a:lnTo>
                    <a:pt x="12" y="16"/>
                  </a:lnTo>
                  <a:lnTo>
                    <a:pt x="9" y="17"/>
                  </a:lnTo>
                  <a:lnTo>
                    <a:pt x="6" y="16"/>
                  </a:lnTo>
                  <a:lnTo>
                    <a:pt x="3" y="14"/>
                  </a:lnTo>
                  <a:lnTo>
                    <a:pt x="2" y="13"/>
                  </a:lnTo>
                  <a:lnTo>
                    <a:pt x="1" y="12"/>
                  </a:lnTo>
                  <a:lnTo>
                    <a:pt x="1" y="10"/>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13" name="Freeform 6"/>
            <p:cNvSpPr>
              <a:spLocks/>
            </p:cNvSpPr>
            <p:nvPr/>
          </p:nvSpPr>
          <p:spPr bwMode="gray">
            <a:xfrm>
              <a:off x="6901720" y="191158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14" name="Freeform 7"/>
            <p:cNvSpPr>
              <a:spLocks/>
            </p:cNvSpPr>
            <p:nvPr/>
          </p:nvSpPr>
          <p:spPr bwMode="gray">
            <a:xfrm>
              <a:off x="6950933" y="1243248"/>
              <a:ext cx="127000" cy="22225"/>
            </a:xfrm>
            <a:custGeom>
              <a:avLst/>
              <a:gdLst/>
              <a:ahLst/>
              <a:cxnLst>
                <a:cxn ang="0">
                  <a:pos x="8" y="0"/>
                </a:cxn>
                <a:cxn ang="0">
                  <a:pos x="73" y="0"/>
                </a:cxn>
                <a:cxn ang="0">
                  <a:pos x="76" y="1"/>
                </a:cxn>
                <a:cxn ang="0">
                  <a:pos x="78" y="2"/>
                </a:cxn>
                <a:cxn ang="0">
                  <a:pos x="80" y="5"/>
                </a:cxn>
                <a:cxn ang="0">
                  <a:pos x="80" y="7"/>
                </a:cxn>
                <a:cxn ang="0">
                  <a:pos x="80" y="10"/>
                </a:cxn>
                <a:cxn ang="0">
                  <a:pos x="78" y="12"/>
                </a:cxn>
                <a:cxn ang="0">
                  <a:pos x="76" y="14"/>
                </a:cxn>
                <a:cxn ang="0">
                  <a:pos x="74" y="14"/>
                </a:cxn>
                <a:cxn ang="0">
                  <a:pos x="73" y="14"/>
                </a:cxn>
                <a:cxn ang="0">
                  <a:pos x="8" y="14"/>
                </a:cxn>
                <a:cxn ang="0">
                  <a:pos x="5" y="14"/>
                </a:cxn>
                <a:cxn ang="0">
                  <a:pos x="2" y="12"/>
                </a:cxn>
                <a:cxn ang="0">
                  <a:pos x="1" y="10"/>
                </a:cxn>
                <a:cxn ang="0">
                  <a:pos x="0" y="7"/>
                </a:cxn>
                <a:cxn ang="0">
                  <a:pos x="1" y="5"/>
                </a:cxn>
                <a:cxn ang="0">
                  <a:pos x="2" y="2"/>
                </a:cxn>
                <a:cxn ang="0">
                  <a:pos x="5" y="1"/>
                </a:cxn>
                <a:cxn ang="0">
                  <a:pos x="6" y="0"/>
                </a:cxn>
                <a:cxn ang="0">
                  <a:pos x="8" y="0"/>
                </a:cxn>
              </a:cxnLst>
              <a:rect l="0" t="0" r="r" b="b"/>
              <a:pathLst>
                <a:path w="80" h="14">
                  <a:moveTo>
                    <a:pt x="8" y="0"/>
                  </a:moveTo>
                  <a:lnTo>
                    <a:pt x="73" y="0"/>
                  </a:lnTo>
                  <a:lnTo>
                    <a:pt x="76" y="1"/>
                  </a:lnTo>
                  <a:lnTo>
                    <a:pt x="78" y="2"/>
                  </a:lnTo>
                  <a:lnTo>
                    <a:pt x="80" y="5"/>
                  </a:lnTo>
                  <a:lnTo>
                    <a:pt x="80" y="7"/>
                  </a:lnTo>
                  <a:lnTo>
                    <a:pt x="80" y="10"/>
                  </a:lnTo>
                  <a:lnTo>
                    <a:pt x="78" y="12"/>
                  </a:lnTo>
                  <a:lnTo>
                    <a:pt x="76" y="14"/>
                  </a:lnTo>
                  <a:lnTo>
                    <a:pt x="74" y="14"/>
                  </a:lnTo>
                  <a:lnTo>
                    <a:pt x="73" y="14"/>
                  </a:lnTo>
                  <a:lnTo>
                    <a:pt x="8" y="14"/>
                  </a:lnTo>
                  <a:lnTo>
                    <a:pt x="5" y="14"/>
                  </a:lnTo>
                  <a:lnTo>
                    <a:pt x="2" y="12"/>
                  </a:lnTo>
                  <a:lnTo>
                    <a:pt x="1" y="10"/>
                  </a:lnTo>
                  <a:lnTo>
                    <a:pt x="0" y="7"/>
                  </a:lnTo>
                  <a:lnTo>
                    <a:pt x="1" y="5"/>
                  </a:lnTo>
                  <a:lnTo>
                    <a:pt x="2" y="2"/>
                  </a:lnTo>
                  <a:lnTo>
                    <a:pt x="5" y="1"/>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15" name="Freeform 8"/>
            <p:cNvSpPr>
              <a:spLocks/>
            </p:cNvSpPr>
            <p:nvPr/>
          </p:nvSpPr>
          <p:spPr bwMode="gray">
            <a:xfrm>
              <a:off x="6901720" y="1289285"/>
              <a:ext cx="26988" cy="26988"/>
            </a:xfrm>
            <a:custGeom>
              <a:avLst/>
              <a:gdLst/>
              <a:ahLst/>
              <a:cxnLst>
                <a:cxn ang="0">
                  <a:pos x="0" y="8"/>
                </a:cxn>
                <a:cxn ang="0">
                  <a:pos x="1" y="6"/>
                </a:cxn>
                <a:cxn ang="0">
                  <a:pos x="1" y="5"/>
                </a:cxn>
                <a:cxn ang="0">
                  <a:pos x="3" y="2"/>
                </a:cxn>
                <a:cxn ang="0">
                  <a:pos x="4" y="1"/>
                </a:cxn>
                <a:cxn ang="0">
                  <a:pos x="6" y="0"/>
                </a:cxn>
                <a:cxn ang="0">
                  <a:pos x="9" y="0"/>
                </a:cxn>
                <a:cxn ang="0">
                  <a:pos x="12" y="0"/>
                </a:cxn>
                <a:cxn ang="0">
                  <a:pos x="15" y="2"/>
                </a:cxn>
                <a:cxn ang="0">
                  <a:pos x="16" y="3"/>
                </a:cxn>
                <a:cxn ang="0">
                  <a:pos x="17" y="5"/>
                </a:cxn>
                <a:cxn ang="0">
                  <a:pos x="17" y="6"/>
                </a:cxn>
                <a:cxn ang="0">
                  <a:pos x="17" y="8"/>
                </a:cxn>
                <a:cxn ang="0">
                  <a:pos x="17" y="11"/>
                </a:cxn>
                <a:cxn ang="0">
                  <a:pos x="17" y="12"/>
                </a:cxn>
                <a:cxn ang="0">
                  <a:pos x="15" y="15"/>
                </a:cxn>
                <a:cxn ang="0">
                  <a:pos x="14" y="16"/>
                </a:cxn>
                <a:cxn ang="0">
                  <a:pos x="12" y="17"/>
                </a:cxn>
                <a:cxn ang="0">
                  <a:pos x="9" y="17"/>
                </a:cxn>
                <a:cxn ang="0">
                  <a:pos x="6" y="17"/>
                </a:cxn>
                <a:cxn ang="0">
                  <a:pos x="3" y="15"/>
                </a:cxn>
                <a:cxn ang="0">
                  <a:pos x="2" y="14"/>
                </a:cxn>
                <a:cxn ang="0">
                  <a:pos x="1" y="12"/>
                </a:cxn>
                <a:cxn ang="0">
                  <a:pos x="1" y="11"/>
                </a:cxn>
                <a:cxn ang="0">
                  <a:pos x="0" y="8"/>
                </a:cxn>
              </a:cxnLst>
              <a:rect l="0" t="0" r="r" b="b"/>
              <a:pathLst>
                <a:path w="17" h="17">
                  <a:moveTo>
                    <a:pt x="0" y="8"/>
                  </a:moveTo>
                  <a:lnTo>
                    <a:pt x="1" y="6"/>
                  </a:lnTo>
                  <a:lnTo>
                    <a:pt x="1" y="5"/>
                  </a:lnTo>
                  <a:lnTo>
                    <a:pt x="3" y="2"/>
                  </a:lnTo>
                  <a:lnTo>
                    <a:pt x="4" y="1"/>
                  </a:lnTo>
                  <a:lnTo>
                    <a:pt x="6" y="0"/>
                  </a:lnTo>
                  <a:lnTo>
                    <a:pt x="9" y="0"/>
                  </a:lnTo>
                  <a:lnTo>
                    <a:pt x="12" y="0"/>
                  </a:lnTo>
                  <a:lnTo>
                    <a:pt x="15" y="2"/>
                  </a:lnTo>
                  <a:lnTo>
                    <a:pt x="16" y="3"/>
                  </a:lnTo>
                  <a:lnTo>
                    <a:pt x="17" y="5"/>
                  </a:lnTo>
                  <a:lnTo>
                    <a:pt x="17" y="6"/>
                  </a:lnTo>
                  <a:lnTo>
                    <a:pt x="17" y="8"/>
                  </a:lnTo>
                  <a:lnTo>
                    <a:pt x="17" y="11"/>
                  </a:lnTo>
                  <a:lnTo>
                    <a:pt x="17" y="12"/>
                  </a:lnTo>
                  <a:lnTo>
                    <a:pt x="15" y="15"/>
                  </a:lnTo>
                  <a:lnTo>
                    <a:pt x="14" y="16"/>
                  </a:lnTo>
                  <a:lnTo>
                    <a:pt x="12" y="17"/>
                  </a:lnTo>
                  <a:lnTo>
                    <a:pt x="9" y="17"/>
                  </a:lnTo>
                  <a:lnTo>
                    <a:pt x="6" y="17"/>
                  </a:lnTo>
                  <a:lnTo>
                    <a:pt x="3" y="15"/>
                  </a:lnTo>
                  <a:lnTo>
                    <a:pt x="2" y="14"/>
                  </a:lnTo>
                  <a:lnTo>
                    <a:pt x="1" y="12"/>
                  </a:lnTo>
                  <a:lnTo>
                    <a:pt x="1" y="11"/>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16" name="Freeform 9"/>
            <p:cNvSpPr>
              <a:spLocks/>
            </p:cNvSpPr>
            <p:nvPr/>
          </p:nvSpPr>
          <p:spPr bwMode="gray">
            <a:xfrm>
              <a:off x="6950933" y="1290873"/>
              <a:ext cx="127000" cy="23813"/>
            </a:xfrm>
            <a:custGeom>
              <a:avLst/>
              <a:gdLst/>
              <a:ahLst/>
              <a:cxnLst>
                <a:cxn ang="0">
                  <a:pos x="8" y="0"/>
                </a:cxn>
                <a:cxn ang="0">
                  <a:pos x="73" y="0"/>
                </a:cxn>
                <a:cxn ang="0">
                  <a:pos x="76" y="0"/>
                </a:cxn>
                <a:cxn ang="0">
                  <a:pos x="78" y="2"/>
                </a:cxn>
                <a:cxn ang="0">
                  <a:pos x="80" y="4"/>
                </a:cxn>
                <a:cxn ang="0">
                  <a:pos x="80" y="7"/>
                </a:cxn>
                <a:cxn ang="0">
                  <a:pos x="80" y="11"/>
                </a:cxn>
                <a:cxn ang="0">
                  <a:pos x="78" y="13"/>
                </a:cxn>
                <a:cxn ang="0">
                  <a:pos x="76" y="15"/>
                </a:cxn>
                <a:cxn ang="0">
                  <a:pos x="74" y="15"/>
                </a:cxn>
                <a:cxn ang="0">
                  <a:pos x="73" y="15"/>
                </a:cxn>
                <a:cxn ang="0">
                  <a:pos x="8" y="15"/>
                </a:cxn>
                <a:cxn ang="0">
                  <a:pos x="5" y="15"/>
                </a:cxn>
                <a:cxn ang="0">
                  <a:pos x="2" y="13"/>
                </a:cxn>
                <a:cxn ang="0">
                  <a:pos x="1" y="11"/>
                </a:cxn>
                <a:cxn ang="0">
                  <a:pos x="0" y="7"/>
                </a:cxn>
                <a:cxn ang="0">
                  <a:pos x="1" y="4"/>
                </a:cxn>
                <a:cxn ang="0">
                  <a:pos x="2" y="2"/>
                </a:cxn>
                <a:cxn ang="0">
                  <a:pos x="5" y="0"/>
                </a:cxn>
                <a:cxn ang="0">
                  <a:pos x="6" y="0"/>
                </a:cxn>
                <a:cxn ang="0">
                  <a:pos x="8" y="0"/>
                </a:cxn>
              </a:cxnLst>
              <a:rect l="0" t="0" r="r" b="b"/>
              <a:pathLst>
                <a:path w="80" h="15">
                  <a:moveTo>
                    <a:pt x="8" y="0"/>
                  </a:moveTo>
                  <a:lnTo>
                    <a:pt x="73" y="0"/>
                  </a:lnTo>
                  <a:lnTo>
                    <a:pt x="76" y="0"/>
                  </a:lnTo>
                  <a:lnTo>
                    <a:pt x="78" y="2"/>
                  </a:lnTo>
                  <a:lnTo>
                    <a:pt x="80" y="4"/>
                  </a:lnTo>
                  <a:lnTo>
                    <a:pt x="80" y="7"/>
                  </a:lnTo>
                  <a:lnTo>
                    <a:pt x="80" y="11"/>
                  </a:lnTo>
                  <a:lnTo>
                    <a:pt x="78" y="13"/>
                  </a:lnTo>
                  <a:lnTo>
                    <a:pt x="76" y="15"/>
                  </a:lnTo>
                  <a:lnTo>
                    <a:pt x="74" y="15"/>
                  </a:lnTo>
                  <a:lnTo>
                    <a:pt x="73" y="15"/>
                  </a:lnTo>
                  <a:lnTo>
                    <a:pt x="8" y="15"/>
                  </a:lnTo>
                  <a:lnTo>
                    <a:pt x="5" y="15"/>
                  </a:lnTo>
                  <a:lnTo>
                    <a:pt x="2" y="13"/>
                  </a:lnTo>
                  <a:lnTo>
                    <a:pt x="1" y="11"/>
                  </a:lnTo>
                  <a:lnTo>
                    <a:pt x="0" y="7"/>
                  </a:lnTo>
                  <a:lnTo>
                    <a:pt x="1" y="4"/>
                  </a:lnTo>
                  <a:lnTo>
                    <a:pt x="2" y="2"/>
                  </a:lnTo>
                  <a:lnTo>
                    <a:pt x="5" y="0"/>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17" name="Freeform 10"/>
            <p:cNvSpPr>
              <a:spLocks/>
            </p:cNvSpPr>
            <p:nvPr/>
          </p:nvSpPr>
          <p:spPr bwMode="gray">
            <a:xfrm>
              <a:off x="6901720" y="187507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18" name="Freeform 11"/>
            <p:cNvSpPr>
              <a:spLocks/>
            </p:cNvSpPr>
            <p:nvPr/>
          </p:nvSpPr>
          <p:spPr bwMode="gray">
            <a:xfrm>
              <a:off x="6901720" y="183856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19" name="Freeform 12"/>
            <p:cNvSpPr>
              <a:spLocks/>
            </p:cNvSpPr>
            <p:nvPr/>
          </p:nvSpPr>
          <p:spPr bwMode="gray">
            <a:xfrm>
              <a:off x="6901720" y="180204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20" name="Freeform 13"/>
            <p:cNvSpPr>
              <a:spLocks/>
            </p:cNvSpPr>
            <p:nvPr/>
          </p:nvSpPr>
          <p:spPr bwMode="gray">
            <a:xfrm>
              <a:off x="6901720" y="176553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21" name="Freeform 14"/>
            <p:cNvSpPr>
              <a:spLocks/>
            </p:cNvSpPr>
            <p:nvPr/>
          </p:nvSpPr>
          <p:spPr bwMode="gray">
            <a:xfrm>
              <a:off x="6901720" y="172902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22" name="Freeform 15"/>
            <p:cNvSpPr>
              <a:spLocks/>
            </p:cNvSpPr>
            <p:nvPr/>
          </p:nvSpPr>
          <p:spPr bwMode="gray">
            <a:xfrm>
              <a:off x="6901720" y="169251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23" name="Freeform 16"/>
            <p:cNvSpPr>
              <a:spLocks/>
            </p:cNvSpPr>
            <p:nvPr/>
          </p:nvSpPr>
          <p:spPr bwMode="gray">
            <a:xfrm>
              <a:off x="6901720" y="165599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525" name="Rechteck 524"/>
          <p:cNvSpPr/>
          <p:nvPr>
            <p:custDataLst>
              <p:tags r:id="rId31"/>
            </p:custDataLst>
          </p:nvPr>
        </p:nvSpPr>
        <p:spPr bwMode="gray">
          <a:xfrm>
            <a:off x="1366160" y="2713829"/>
            <a:ext cx="1584176" cy="337179"/>
          </a:xfrm>
          <a:prstGeom prst="rect">
            <a:avLst/>
          </a:prstGeom>
          <a:noFill/>
          <a:ln w="9525" cap="flat" cmpd="sng" algn="ctr">
            <a:noFill/>
            <a:prstDash val="solid"/>
          </a:ln>
          <a:effectLst/>
        </p:spPr>
        <p:txBody>
          <a:bodyPr lIns="0" tIns="0" rIns="0" bIns="0" rtlCol="0" anchor="t" anchorCtr="0"/>
          <a:lstStyle/>
          <a:p>
            <a:pPr algn="ctr">
              <a:defRPr/>
            </a:pPr>
            <a:r>
              <a:rPr lang="ru-RU" sz="1100" kern="0" dirty="0" smtClean="0">
                <a:solidFill>
                  <a:srgbClr val="000000"/>
                </a:solidFill>
              </a:rPr>
              <a:t>ПО для резервного копирования</a:t>
            </a:r>
            <a:endParaRPr lang="en-US" sz="1050" kern="0" dirty="0" smtClean="0">
              <a:solidFill>
                <a:srgbClr val="000000"/>
              </a:solidFill>
            </a:endParaRPr>
          </a:p>
        </p:txBody>
      </p:sp>
      <p:grpSp>
        <p:nvGrpSpPr>
          <p:cNvPr id="11" name="Gruppieren 10"/>
          <p:cNvGrpSpPr/>
          <p:nvPr/>
        </p:nvGrpSpPr>
        <p:grpSpPr>
          <a:xfrm>
            <a:off x="3531568" y="2140208"/>
            <a:ext cx="2080328" cy="1080125"/>
            <a:chOff x="3531568" y="2140196"/>
            <a:chExt cx="2080328" cy="1080125"/>
          </a:xfrm>
        </p:grpSpPr>
        <p:sp>
          <p:nvSpPr>
            <p:cNvPr id="315" name="Pfeil nach oben und unten 314"/>
            <p:cNvSpPr/>
            <p:nvPr>
              <p:custDataLst>
                <p:tags r:id="rId74"/>
              </p:custDataLst>
            </p:nvPr>
          </p:nvSpPr>
          <p:spPr bwMode="gray">
            <a:xfrm>
              <a:off x="3892088" y="2140196"/>
              <a:ext cx="201628" cy="288040"/>
            </a:xfrm>
            <a:prstGeom prst="upDownArrow">
              <a:avLst>
                <a:gd name="adj1" fmla="val 52755"/>
                <a:gd name="adj2" fmla="val 41733"/>
              </a:avLst>
            </a:prstGeom>
            <a:solidFill>
              <a:schemeClr val="accent1"/>
            </a:solidFill>
            <a:ln w="12700">
              <a:solidFill>
                <a:schemeClr val="bg1"/>
              </a:solidFill>
              <a:round/>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smtClean="0">
                <a:solidFill>
                  <a:srgbClr val="000000"/>
                </a:solidFill>
              </a:endParaRPr>
            </a:p>
          </p:txBody>
        </p:sp>
        <p:sp>
          <p:nvSpPr>
            <p:cNvPr id="439" name="Pfeil nach oben und unten 438"/>
            <p:cNvSpPr/>
            <p:nvPr>
              <p:custDataLst>
                <p:tags r:id="rId75"/>
              </p:custDataLst>
            </p:nvPr>
          </p:nvSpPr>
          <p:spPr bwMode="gray">
            <a:xfrm>
              <a:off x="4747083" y="2140196"/>
              <a:ext cx="201628" cy="288040"/>
            </a:xfrm>
            <a:prstGeom prst="upDownArrow">
              <a:avLst>
                <a:gd name="adj1" fmla="val 52755"/>
                <a:gd name="adj2" fmla="val 41733"/>
              </a:avLst>
            </a:prstGeom>
            <a:solidFill>
              <a:schemeClr val="accent1"/>
            </a:solidFill>
            <a:ln w="12700">
              <a:solidFill>
                <a:schemeClr val="bg1"/>
              </a:solidFill>
              <a:round/>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smtClean="0">
                <a:solidFill>
                  <a:srgbClr val="000000"/>
                </a:solidFill>
              </a:endParaRPr>
            </a:p>
          </p:txBody>
        </p:sp>
        <p:sp>
          <p:nvSpPr>
            <p:cNvPr id="544" name="Abgerundetes Rechteck 543"/>
            <p:cNvSpPr/>
            <p:nvPr>
              <p:custDataLst>
                <p:tags r:id="rId76"/>
              </p:custDataLst>
            </p:nvPr>
          </p:nvSpPr>
          <p:spPr bwMode="gray">
            <a:xfrm>
              <a:off x="3531568" y="2547316"/>
              <a:ext cx="2060114" cy="673005"/>
            </a:xfrm>
            <a:prstGeom prst="roundRect">
              <a:avLst>
                <a:gd name="adj" fmla="val 0"/>
              </a:avLst>
            </a:prstGeom>
            <a:gradFill flip="none" rotWithShape="1">
              <a:gsLst>
                <a:gs pos="0">
                  <a:schemeClr val="bg2"/>
                </a:gs>
                <a:gs pos="50000">
                  <a:schemeClr val="bg1">
                    <a:lumMod val="95000"/>
                  </a:schemeClr>
                </a:gs>
                <a:gs pos="100000">
                  <a:schemeClr val="bg2"/>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r">
                <a:buClr>
                  <a:srgbClr val="A30B1A"/>
                </a:buClr>
              </a:pPr>
              <a:endParaRPr lang="en-US" sz="1200" dirty="0" smtClean="0">
                <a:solidFill>
                  <a:srgbClr val="000000"/>
                </a:solidFill>
              </a:endParaRPr>
            </a:p>
          </p:txBody>
        </p:sp>
        <p:pic>
          <p:nvPicPr>
            <p:cNvPr id="545" name="Picture 65" descr="D:\k16\grafika\illustrator\ikony\fts\ikona_fts_01.png"/>
            <p:cNvPicPr>
              <a:picLocks noChangeAspect="1" noChangeArrowheads="1"/>
            </p:cNvPicPr>
            <p:nvPr>
              <p:custDataLst>
                <p:tags r:id="rId77"/>
              </p:custDataLst>
            </p:nvPr>
          </p:nvPicPr>
          <p:blipFill>
            <a:blip r:embed="rId82" cstate="email">
              <a:extLst>
                <a:ext uri="{28A0092B-C50C-407E-A947-70E740481C1C}">
                  <a14:useLocalDpi xmlns:a14="http://schemas.microsoft.com/office/drawing/2010/main"/>
                </a:ext>
              </a:extLst>
            </a:blip>
            <a:srcRect/>
            <a:stretch>
              <a:fillRect/>
            </a:stretch>
          </p:blipFill>
          <p:spPr bwMode="gray">
            <a:xfrm>
              <a:off x="3590487" y="2642939"/>
              <a:ext cx="479480" cy="467350"/>
            </a:xfrm>
            <a:prstGeom prst="rect">
              <a:avLst/>
            </a:prstGeom>
            <a:noFill/>
          </p:spPr>
        </p:pic>
        <p:grpSp>
          <p:nvGrpSpPr>
            <p:cNvPr id="546" name="Gruppieren 89"/>
            <p:cNvGrpSpPr/>
            <p:nvPr>
              <p:custDataLst>
                <p:tags r:id="rId78"/>
              </p:custDataLst>
            </p:nvPr>
          </p:nvGrpSpPr>
          <p:grpSpPr bwMode="gray">
            <a:xfrm>
              <a:off x="3735651" y="2695826"/>
              <a:ext cx="177020" cy="357790"/>
              <a:chOff x="6876320" y="1203560"/>
              <a:chExt cx="374650" cy="757238"/>
            </a:xfrm>
          </p:grpSpPr>
          <p:sp>
            <p:nvSpPr>
              <p:cNvPr id="547" name="Freeform 4"/>
              <p:cNvSpPr>
                <a:spLocks/>
              </p:cNvSpPr>
              <p:nvPr/>
            </p:nvSpPr>
            <p:spPr bwMode="gray">
              <a:xfrm>
                <a:off x="6876320" y="1203560"/>
                <a:ext cx="374650" cy="757238"/>
              </a:xfrm>
              <a:custGeom>
                <a:avLst/>
                <a:gdLst/>
                <a:ahLst/>
                <a:cxnLst>
                  <a:cxn ang="0">
                    <a:pos x="0" y="3"/>
                  </a:cxn>
                  <a:cxn ang="0">
                    <a:pos x="0" y="2"/>
                  </a:cxn>
                  <a:cxn ang="0">
                    <a:pos x="1" y="1"/>
                  </a:cxn>
                  <a:cxn ang="0">
                    <a:pos x="2" y="0"/>
                  </a:cxn>
                  <a:cxn ang="0">
                    <a:pos x="3" y="0"/>
                  </a:cxn>
                  <a:cxn ang="0">
                    <a:pos x="233" y="0"/>
                  </a:cxn>
                  <a:cxn ang="0">
                    <a:pos x="234" y="0"/>
                  </a:cxn>
                  <a:cxn ang="0">
                    <a:pos x="235" y="1"/>
                  </a:cxn>
                  <a:cxn ang="0">
                    <a:pos x="236" y="2"/>
                  </a:cxn>
                  <a:cxn ang="0">
                    <a:pos x="236" y="3"/>
                  </a:cxn>
                  <a:cxn ang="0">
                    <a:pos x="236" y="474"/>
                  </a:cxn>
                  <a:cxn ang="0">
                    <a:pos x="236" y="475"/>
                  </a:cxn>
                  <a:cxn ang="0">
                    <a:pos x="235" y="476"/>
                  </a:cxn>
                  <a:cxn ang="0">
                    <a:pos x="234" y="476"/>
                  </a:cxn>
                  <a:cxn ang="0">
                    <a:pos x="233" y="477"/>
                  </a:cxn>
                  <a:cxn ang="0">
                    <a:pos x="3" y="477"/>
                  </a:cxn>
                  <a:cxn ang="0">
                    <a:pos x="2" y="476"/>
                  </a:cxn>
                  <a:cxn ang="0">
                    <a:pos x="1" y="476"/>
                  </a:cxn>
                  <a:cxn ang="0">
                    <a:pos x="0" y="475"/>
                  </a:cxn>
                  <a:cxn ang="0">
                    <a:pos x="0" y="474"/>
                  </a:cxn>
                  <a:cxn ang="0">
                    <a:pos x="0" y="3"/>
                  </a:cxn>
                </a:cxnLst>
                <a:rect l="0" t="0" r="r" b="b"/>
                <a:pathLst>
                  <a:path w="236" h="477">
                    <a:moveTo>
                      <a:pt x="0" y="3"/>
                    </a:moveTo>
                    <a:lnTo>
                      <a:pt x="0" y="2"/>
                    </a:lnTo>
                    <a:lnTo>
                      <a:pt x="1" y="1"/>
                    </a:lnTo>
                    <a:lnTo>
                      <a:pt x="2" y="0"/>
                    </a:lnTo>
                    <a:lnTo>
                      <a:pt x="3" y="0"/>
                    </a:lnTo>
                    <a:lnTo>
                      <a:pt x="233" y="0"/>
                    </a:lnTo>
                    <a:lnTo>
                      <a:pt x="234" y="0"/>
                    </a:lnTo>
                    <a:lnTo>
                      <a:pt x="235" y="1"/>
                    </a:lnTo>
                    <a:lnTo>
                      <a:pt x="236" y="2"/>
                    </a:lnTo>
                    <a:lnTo>
                      <a:pt x="236" y="3"/>
                    </a:lnTo>
                    <a:lnTo>
                      <a:pt x="236" y="474"/>
                    </a:lnTo>
                    <a:lnTo>
                      <a:pt x="236" y="475"/>
                    </a:lnTo>
                    <a:lnTo>
                      <a:pt x="235" y="476"/>
                    </a:lnTo>
                    <a:lnTo>
                      <a:pt x="234" y="476"/>
                    </a:lnTo>
                    <a:lnTo>
                      <a:pt x="233" y="477"/>
                    </a:lnTo>
                    <a:lnTo>
                      <a:pt x="3" y="477"/>
                    </a:lnTo>
                    <a:lnTo>
                      <a:pt x="2" y="476"/>
                    </a:lnTo>
                    <a:lnTo>
                      <a:pt x="1" y="476"/>
                    </a:lnTo>
                    <a:lnTo>
                      <a:pt x="0" y="475"/>
                    </a:lnTo>
                    <a:lnTo>
                      <a:pt x="0" y="474"/>
                    </a:lnTo>
                    <a:lnTo>
                      <a:pt x="0" y="3"/>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48" name="Freeform 5"/>
              <p:cNvSpPr>
                <a:spLocks/>
              </p:cNvSpPr>
              <p:nvPr/>
            </p:nvSpPr>
            <p:spPr bwMode="gray">
              <a:xfrm>
                <a:off x="6901720" y="1241660"/>
                <a:ext cx="26988" cy="26988"/>
              </a:xfrm>
              <a:custGeom>
                <a:avLst/>
                <a:gdLst/>
                <a:ahLst/>
                <a:cxnLst>
                  <a:cxn ang="0">
                    <a:pos x="0" y="8"/>
                  </a:cxn>
                  <a:cxn ang="0">
                    <a:pos x="1" y="7"/>
                  </a:cxn>
                  <a:cxn ang="0">
                    <a:pos x="1" y="5"/>
                  </a:cxn>
                  <a:cxn ang="0">
                    <a:pos x="3" y="2"/>
                  </a:cxn>
                  <a:cxn ang="0">
                    <a:pos x="4" y="1"/>
                  </a:cxn>
                  <a:cxn ang="0">
                    <a:pos x="6" y="0"/>
                  </a:cxn>
                  <a:cxn ang="0">
                    <a:pos x="9" y="0"/>
                  </a:cxn>
                  <a:cxn ang="0">
                    <a:pos x="12" y="0"/>
                  </a:cxn>
                  <a:cxn ang="0">
                    <a:pos x="15" y="2"/>
                  </a:cxn>
                  <a:cxn ang="0">
                    <a:pos x="16" y="4"/>
                  </a:cxn>
                  <a:cxn ang="0">
                    <a:pos x="17" y="5"/>
                  </a:cxn>
                  <a:cxn ang="0">
                    <a:pos x="17" y="7"/>
                  </a:cxn>
                  <a:cxn ang="0">
                    <a:pos x="17" y="8"/>
                  </a:cxn>
                  <a:cxn ang="0">
                    <a:pos x="17" y="10"/>
                  </a:cxn>
                  <a:cxn ang="0">
                    <a:pos x="17" y="12"/>
                  </a:cxn>
                  <a:cxn ang="0">
                    <a:pos x="15" y="14"/>
                  </a:cxn>
                  <a:cxn ang="0">
                    <a:pos x="14" y="15"/>
                  </a:cxn>
                  <a:cxn ang="0">
                    <a:pos x="12" y="16"/>
                  </a:cxn>
                  <a:cxn ang="0">
                    <a:pos x="9" y="17"/>
                  </a:cxn>
                  <a:cxn ang="0">
                    <a:pos x="6" y="16"/>
                  </a:cxn>
                  <a:cxn ang="0">
                    <a:pos x="3" y="14"/>
                  </a:cxn>
                  <a:cxn ang="0">
                    <a:pos x="2" y="13"/>
                  </a:cxn>
                  <a:cxn ang="0">
                    <a:pos x="1" y="12"/>
                  </a:cxn>
                  <a:cxn ang="0">
                    <a:pos x="1" y="10"/>
                  </a:cxn>
                  <a:cxn ang="0">
                    <a:pos x="0" y="8"/>
                  </a:cxn>
                </a:cxnLst>
                <a:rect l="0" t="0" r="r" b="b"/>
                <a:pathLst>
                  <a:path w="17" h="17">
                    <a:moveTo>
                      <a:pt x="0" y="8"/>
                    </a:moveTo>
                    <a:lnTo>
                      <a:pt x="1" y="7"/>
                    </a:lnTo>
                    <a:lnTo>
                      <a:pt x="1" y="5"/>
                    </a:lnTo>
                    <a:lnTo>
                      <a:pt x="3" y="2"/>
                    </a:lnTo>
                    <a:lnTo>
                      <a:pt x="4" y="1"/>
                    </a:lnTo>
                    <a:lnTo>
                      <a:pt x="6" y="0"/>
                    </a:lnTo>
                    <a:lnTo>
                      <a:pt x="9" y="0"/>
                    </a:lnTo>
                    <a:lnTo>
                      <a:pt x="12" y="0"/>
                    </a:lnTo>
                    <a:lnTo>
                      <a:pt x="15" y="2"/>
                    </a:lnTo>
                    <a:lnTo>
                      <a:pt x="16" y="4"/>
                    </a:lnTo>
                    <a:lnTo>
                      <a:pt x="17" y="5"/>
                    </a:lnTo>
                    <a:lnTo>
                      <a:pt x="17" y="7"/>
                    </a:lnTo>
                    <a:lnTo>
                      <a:pt x="17" y="8"/>
                    </a:lnTo>
                    <a:lnTo>
                      <a:pt x="17" y="10"/>
                    </a:lnTo>
                    <a:lnTo>
                      <a:pt x="17" y="12"/>
                    </a:lnTo>
                    <a:lnTo>
                      <a:pt x="15" y="14"/>
                    </a:lnTo>
                    <a:lnTo>
                      <a:pt x="14" y="15"/>
                    </a:lnTo>
                    <a:lnTo>
                      <a:pt x="12" y="16"/>
                    </a:lnTo>
                    <a:lnTo>
                      <a:pt x="9" y="17"/>
                    </a:lnTo>
                    <a:lnTo>
                      <a:pt x="6" y="16"/>
                    </a:lnTo>
                    <a:lnTo>
                      <a:pt x="3" y="14"/>
                    </a:lnTo>
                    <a:lnTo>
                      <a:pt x="2" y="13"/>
                    </a:lnTo>
                    <a:lnTo>
                      <a:pt x="1" y="12"/>
                    </a:lnTo>
                    <a:lnTo>
                      <a:pt x="1" y="10"/>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49" name="Freeform 6"/>
              <p:cNvSpPr>
                <a:spLocks/>
              </p:cNvSpPr>
              <p:nvPr/>
            </p:nvSpPr>
            <p:spPr bwMode="gray">
              <a:xfrm>
                <a:off x="6901720" y="191158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50" name="Freeform 7"/>
              <p:cNvSpPr>
                <a:spLocks/>
              </p:cNvSpPr>
              <p:nvPr/>
            </p:nvSpPr>
            <p:spPr bwMode="gray">
              <a:xfrm>
                <a:off x="6950933" y="1243248"/>
                <a:ext cx="127000" cy="22225"/>
              </a:xfrm>
              <a:custGeom>
                <a:avLst/>
                <a:gdLst/>
                <a:ahLst/>
                <a:cxnLst>
                  <a:cxn ang="0">
                    <a:pos x="8" y="0"/>
                  </a:cxn>
                  <a:cxn ang="0">
                    <a:pos x="73" y="0"/>
                  </a:cxn>
                  <a:cxn ang="0">
                    <a:pos x="76" y="1"/>
                  </a:cxn>
                  <a:cxn ang="0">
                    <a:pos x="78" y="2"/>
                  </a:cxn>
                  <a:cxn ang="0">
                    <a:pos x="80" y="5"/>
                  </a:cxn>
                  <a:cxn ang="0">
                    <a:pos x="80" y="7"/>
                  </a:cxn>
                  <a:cxn ang="0">
                    <a:pos x="80" y="10"/>
                  </a:cxn>
                  <a:cxn ang="0">
                    <a:pos x="78" y="12"/>
                  </a:cxn>
                  <a:cxn ang="0">
                    <a:pos x="76" y="14"/>
                  </a:cxn>
                  <a:cxn ang="0">
                    <a:pos x="74" y="14"/>
                  </a:cxn>
                  <a:cxn ang="0">
                    <a:pos x="73" y="14"/>
                  </a:cxn>
                  <a:cxn ang="0">
                    <a:pos x="8" y="14"/>
                  </a:cxn>
                  <a:cxn ang="0">
                    <a:pos x="5" y="14"/>
                  </a:cxn>
                  <a:cxn ang="0">
                    <a:pos x="2" y="12"/>
                  </a:cxn>
                  <a:cxn ang="0">
                    <a:pos x="1" y="10"/>
                  </a:cxn>
                  <a:cxn ang="0">
                    <a:pos x="0" y="7"/>
                  </a:cxn>
                  <a:cxn ang="0">
                    <a:pos x="1" y="5"/>
                  </a:cxn>
                  <a:cxn ang="0">
                    <a:pos x="2" y="2"/>
                  </a:cxn>
                  <a:cxn ang="0">
                    <a:pos x="5" y="1"/>
                  </a:cxn>
                  <a:cxn ang="0">
                    <a:pos x="6" y="0"/>
                  </a:cxn>
                  <a:cxn ang="0">
                    <a:pos x="8" y="0"/>
                  </a:cxn>
                </a:cxnLst>
                <a:rect l="0" t="0" r="r" b="b"/>
                <a:pathLst>
                  <a:path w="80" h="14">
                    <a:moveTo>
                      <a:pt x="8" y="0"/>
                    </a:moveTo>
                    <a:lnTo>
                      <a:pt x="73" y="0"/>
                    </a:lnTo>
                    <a:lnTo>
                      <a:pt x="76" y="1"/>
                    </a:lnTo>
                    <a:lnTo>
                      <a:pt x="78" y="2"/>
                    </a:lnTo>
                    <a:lnTo>
                      <a:pt x="80" y="5"/>
                    </a:lnTo>
                    <a:lnTo>
                      <a:pt x="80" y="7"/>
                    </a:lnTo>
                    <a:lnTo>
                      <a:pt x="80" y="10"/>
                    </a:lnTo>
                    <a:lnTo>
                      <a:pt x="78" y="12"/>
                    </a:lnTo>
                    <a:lnTo>
                      <a:pt x="76" y="14"/>
                    </a:lnTo>
                    <a:lnTo>
                      <a:pt x="74" y="14"/>
                    </a:lnTo>
                    <a:lnTo>
                      <a:pt x="73" y="14"/>
                    </a:lnTo>
                    <a:lnTo>
                      <a:pt x="8" y="14"/>
                    </a:lnTo>
                    <a:lnTo>
                      <a:pt x="5" y="14"/>
                    </a:lnTo>
                    <a:lnTo>
                      <a:pt x="2" y="12"/>
                    </a:lnTo>
                    <a:lnTo>
                      <a:pt x="1" y="10"/>
                    </a:lnTo>
                    <a:lnTo>
                      <a:pt x="0" y="7"/>
                    </a:lnTo>
                    <a:lnTo>
                      <a:pt x="1" y="5"/>
                    </a:lnTo>
                    <a:lnTo>
                      <a:pt x="2" y="2"/>
                    </a:lnTo>
                    <a:lnTo>
                      <a:pt x="5" y="1"/>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51" name="Freeform 8"/>
              <p:cNvSpPr>
                <a:spLocks/>
              </p:cNvSpPr>
              <p:nvPr/>
            </p:nvSpPr>
            <p:spPr bwMode="gray">
              <a:xfrm>
                <a:off x="6901720" y="1289285"/>
                <a:ext cx="26988" cy="26988"/>
              </a:xfrm>
              <a:custGeom>
                <a:avLst/>
                <a:gdLst/>
                <a:ahLst/>
                <a:cxnLst>
                  <a:cxn ang="0">
                    <a:pos x="0" y="8"/>
                  </a:cxn>
                  <a:cxn ang="0">
                    <a:pos x="1" y="6"/>
                  </a:cxn>
                  <a:cxn ang="0">
                    <a:pos x="1" y="5"/>
                  </a:cxn>
                  <a:cxn ang="0">
                    <a:pos x="3" y="2"/>
                  </a:cxn>
                  <a:cxn ang="0">
                    <a:pos x="4" y="1"/>
                  </a:cxn>
                  <a:cxn ang="0">
                    <a:pos x="6" y="0"/>
                  </a:cxn>
                  <a:cxn ang="0">
                    <a:pos x="9" y="0"/>
                  </a:cxn>
                  <a:cxn ang="0">
                    <a:pos x="12" y="0"/>
                  </a:cxn>
                  <a:cxn ang="0">
                    <a:pos x="15" y="2"/>
                  </a:cxn>
                  <a:cxn ang="0">
                    <a:pos x="16" y="3"/>
                  </a:cxn>
                  <a:cxn ang="0">
                    <a:pos x="17" y="5"/>
                  </a:cxn>
                  <a:cxn ang="0">
                    <a:pos x="17" y="6"/>
                  </a:cxn>
                  <a:cxn ang="0">
                    <a:pos x="17" y="8"/>
                  </a:cxn>
                  <a:cxn ang="0">
                    <a:pos x="17" y="11"/>
                  </a:cxn>
                  <a:cxn ang="0">
                    <a:pos x="17" y="12"/>
                  </a:cxn>
                  <a:cxn ang="0">
                    <a:pos x="15" y="15"/>
                  </a:cxn>
                  <a:cxn ang="0">
                    <a:pos x="14" y="16"/>
                  </a:cxn>
                  <a:cxn ang="0">
                    <a:pos x="12" y="17"/>
                  </a:cxn>
                  <a:cxn ang="0">
                    <a:pos x="9" y="17"/>
                  </a:cxn>
                  <a:cxn ang="0">
                    <a:pos x="6" y="17"/>
                  </a:cxn>
                  <a:cxn ang="0">
                    <a:pos x="3" y="15"/>
                  </a:cxn>
                  <a:cxn ang="0">
                    <a:pos x="2" y="14"/>
                  </a:cxn>
                  <a:cxn ang="0">
                    <a:pos x="1" y="12"/>
                  </a:cxn>
                  <a:cxn ang="0">
                    <a:pos x="1" y="11"/>
                  </a:cxn>
                  <a:cxn ang="0">
                    <a:pos x="0" y="8"/>
                  </a:cxn>
                </a:cxnLst>
                <a:rect l="0" t="0" r="r" b="b"/>
                <a:pathLst>
                  <a:path w="17" h="17">
                    <a:moveTo>
                      <a:pt x="0" y="8"/>
                    </a:moveTo>
                    <a:lnTo>
                      <a:pt x="1" y="6"/>
                    </a:lnTo>
                    <a:lnTo>
                      <a:pt x="1" y="5"/>
                    </a:lnTo>
                    <a:lnTo>
                      <a:pt x="3" y="2"/>
                    </a:lnTo>
                    <a:lnTo>
                      <a:pt x="4" y="1"/>
                    </a:lnTo>
                    <a:lnTo>
                      <a:pt x="6" y="0"/>
                    </a:lnTo>
                    <a:lnTo>
                      <a:pt x="9" y="0"/>
                    </a:lnTo>
                    <a:lnTo>
                      <a:pt x="12" y="0"/>
                    </a:lnTo>
                    <a:lnTo>
                      <a:pt x="15" y="2"/>
                    </a:lnTo>
                    <a:lnTo>
                      <a:pt x="16" y="3"/>
                    </a:lnTo>
                    <a:lnTo>
                      <a:pt x="17" y="5"/>
                    </a:lnTo>
                    <a:lnTo>
                      <a:pt x="17" y="6"/>
                    </a:lnTo>
                    <a:lnTo>
                      <a:pt x="17" y="8"/>
                    </a:lnTo>
                    <a:lnTo>
                      <a:pt x="17" y="11"/>
                    </a:lnTo>
                    <a:lnTo>
                      <a:pt x="17" y="12"/>
                    </a:lnTo>
                    <a:lnTo>
                      <a:pt x="15" y="15"/>
                    </a:lnTo>
                    <a:lnTo>
                      <a:pt x="14" y="16"/>
                    </a:lnTo>
                    <a:lnTo>
                      <a:pt x="12" y="17"/>
                    </a:lnTo>
                    <a:lnTo>
                      <a:pt x="9" y="17"/>
                    </a:lnTo>
                    <a:lnTo>
                      <a:pt x="6" y="17"/>
                    </a:lnTo>
                    <a:lnTo>
                      <a:pt x="3" y="15"/>
                    </a:lnTo>
                    <a:lnTo>
                      <a:pt x="2" y="14"/>
                    </a:lnTo>
                    <a:lnTo>
                      <a:pt x="1" y="12"/>
                    </a:lnTo>
                    <a:lnTo>
                      <a:pt x="1" y="11"/>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52" name="Freeform 9"/>
              <p:cNvSpPr>
                <a:spLocks/>
              </p:cNvSpPr>
              <p:nvPr/>
            </p:nvSpPr>
            <p:spPr bwMode="gray">
              <a:xfrm>
                <a:off x="6950933" y="1290873"/>
                <a:ext cx="127000" cy="23813"/>
              </a:xfrm>
              <a:custGeom>
                <a:avLst/>
                <a:gdLst/>
                <a:ahLst/>
                <a:cxnLst>
                  <a:cxn ang="0">
                    <a:pos x="8" y="0"/>
                  </a:cxn>
                  <a:cxn ang="0">
                    <a:pos x="73" y="0"/>
                  </a:cxn>
                  <a:cxn ang="0">
                    <a:pos x="76" y="0"/>
                  </a:cxn>
                  <a:cxn ang="0">
                    <a:pos x="78" y="2"/>
                  </a:cxn>
                  <a:cxn ang="0">
                    <a:pos x="80" y="4"/>
                  </a:cxn>
                  <a:cxn ang="0">
                    <a:pos x="80" y="7"/>
                  </a:cxn>
                  <a:cxn ang="0">
                    <a:pos x="80" y="11"/>
                  </a:cxn>
                  <a:cxn ang="0">
                    <a:pos x="78" y="13"/>
                  </a:cxn>
                  <a:cxn ang="0">
                    <a:pos x="76" y="15"/>
                  </a:cxn>
                  <a:cxn ang="0">
                    <a:pos x="74" y="15"/>
                  </a:cxn>
                  <a:cxn ang="0">
                    <a:pos x="73" y="15"/>
                  </a:cxn>
                  <a:cxn ang="0">
                    <a:pos x="8" y="15"/>
                  </a:cxn>
                  <a:cxn ang="0">
                    <a:pos x="5" y="15"/>
                  </a:cxn>
                  <a:cxn ang="0">
                    <a:pos x="2" y="13"/>
                  </a:cxn>
                  <a:cxn ang="0">
                    <a:pos x="1" y="11"/>
                  </a:cxn>
                  <a:cxn ang="0">
                    <a:pos x="0" y="7"/>
                  </a:cxn>
                  <a:cxn ang="0">
                    <a:pos x="1" y="4"/>
                  </a:cxn>
                  <a:cxn ang="0">
                    <a:pos x="2" y="2"/>
                  </a:cxn>
                  <a:cxn ang="0">
                    <a:pos x="5" y="0"/>
                  </a:cxn>
                  <a:cxn ang="0">
                    <a:pos x="6" y="0"/>
                  </a:cxn>
                  <a:cxn ang="0">
                    <a:pos x="8" y="0"/>
                  </a:cxn>
                </a:cxnLst>
                <a:rect l="0" t="0" r="r" b="b"/>
                <a:pathLst>
                  <a:path w="80" h="15">
                    <a:moveTo>
                      <a:pt x="8" y="0"/>
                    </a:moveTo>
                    <a:lnTo>
                      <a:pt x="73" y="0"/>
                    </a:lnTo>
                    <a:lnTo>
                      <a:pt x="76" y="0"/>
                    </a:lnTo>
                    <a:lnTo>
                      <a:pt x="78" y="2"/>
                    </a:lnTo>
                    <a:lnTo>
                      <a:pt x="80" y="4"/>
                    </a:lnTo>
                    <a:lnTo>
                      <a:pt x="80" y="7"/>
                    </a:lnTo>
                    <a:lnTo>
                      <a:pt x="80" y="11"/>
                    </a:lnTo>
                    <a:lnTo>
                      <a:pt x="78" y="13"/>
                    </a:lnTo>
                    <a:lnTo>
                      <a:pt x="76" y="15"/>
                    </a:lnTo>
                    <a:lnTo>
                      <a:pt x="74" y="15"/>
                    </a:lnTo>
                    <a:lnTo>
                      <a:pt x="73" y="15"/>
                    </a:lnTo>
                    <a:lnTo>
                      <a:pt x="8" y="15"/>
                    </a:lnTo>
                    <a:lnTo>
                      <a:pt x="5" y="15"/>
                    </a:lnTo>
                    <a:lnTo>
                      <a:pt x="2" y="13"/>
                    </a:lnTo>
                    <a:lnTo>
                      <a:pt x="1" y="11"/>
                    </a:lnTo>
                    <a:lnTo>
                      <a:pt x="0" y="7"/>
                    </a:lnTo>
                    <a:lnTo>
                      <a:pt x="1" y="4"/>
                    </a:lnTo>
                    <a:lnTo>
                      <a:pt x="2" y="2"/>
                    </a:lnTo>
                    <a:lnTo>
                      <a:pt x="5" y="0"/>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53" name="Freeform 10"/>
              <p:cNvSpPr>
                <a:spLocks/>
              </p:cNvSpPr>
              <p:nvPr/>
            </p:nvSpPr>
            <p:spPr bwMode="gray">
              <a:xfrm>
                <a:off x="6901720" y="187507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54" name="Freeform 11"/>
              <p:cNvSpPr>
                <a:spLocks/>
              </p:cNvSpPr>
              <p:nvPr/>
            </p:nvSpPr>
            <p:spPr bwMode="gray">
              <a:xfrm>
                <a:off x="6901720" y="183856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55" name="Freeform 12"/>
              <p:cNvSpPr>
                <a:spLocks/>
              </p:cNvSpPr>
              <p:nvPr/>
            </p:nvSpPr>
            <p:spPr bwMode="gray">
              <a:xfrm>
                <a:off x="6901720" y="180204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56" name="Freeform 13"/>
              <p:cNvSpPr>
                <a:spLocks/>
              </p:cNvSpPr>
              <p:nvPr/>
            </p:nvSpPr>
            <p:spPr bwMode="gray">
              <a:xfrm>
                <a:off x="6901720" y="1765535"/>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57" name="Freeform 14"/>
              <p:cNvSpPr>
                <a:spLocks/>
              </p:cNvSpPr>
              <p:nvPr/>
            </p:nvSpPr>
            <p:spPr bwMode="gray">
              <a:xfrm>
                <a:off x="6901720" y="1729023"/>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58" name="Freeform 15"/>
              <p:cNvSpPr>
                <a:spLocks/>
              </p:cNvSpPr>
              <p:nvPr/>
            </p:nvSpPr>
            <p:spPr bwMode="gray">
              <a:xfrm>
                <a:off x="6901720" y="1692510"/>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59" name="Freeform 16"/>
              <p:cNvSpPr>
                <a:spLocks/>
              </p:cNvSpPr>
              <p:nvPr/>
            </p:nvSpPr>
            <p:spPr bwMode="gray">
              <a:xfrm>
                <a:off x="6901720" y="1655998"/>
                <a:ext cx="320675" cy="19050"/>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561" name="Rechteck 560"/>
            <p:cNvSpPr/>
            <p:nvPr>
              <p:custDataLst>
                <p:tags r:id="rId79"/>
              </p:custDataLst>
            </p:nvPr>
          </p:nvSpPr>
          <p:spPr bwMode="gray">
            <a:xfrm>
              <a:off x="4027720" y="2713828"/>
              <a:ext cx="1584176" cy="337179"/>
            </a:xfrm>
            <a:prstGeom prst="rect">
              <a:avLst/>
            </a:prstGeom>
            <a:noFill/>
            <a:ln w="9525" cap="flat" cmpd="sng" algn="ctr">
              <a:noFill/>
              <a:prstDash val="solid"/>
            </a:ln>
            <a:effectLst/>
          </p:spPr>
          <p:txBody>
            <a:bodyPr lIns="0" tIns="0" rIns="0" bIns="0" rtlCol="0" anchor="t" anchorCtr="0"/>
            <a:lstStyle/>
            <a:p>
              <a:pPr algn="ctr">
                <a:defRPr/>
              </a:pPr>
              <a:r>
                <a:rPr lang="ru-RU" sz="1100" kern="0" dirty="0" smtClean="0">
                  <a:solidFill>
                    <a:srgbClr val="000000"/>
                  </a:solidFill>
                </a:rPr>
                <a:t>ПО для архивного хранения </a:t>
              </a:r>
              <a:endParaRPr lang="en-US" sz="1050" kern="0" dirty="0" smtClean="0">
                <a:solidFill>
                  <a:srgbClr val="000000"/>
                </a:solidFill>
              </a:endParaRPr>
            </a:p>
          </p:txBody>
        </p:sp>
      </p:grpSp>
      <p:grpSp>
        <p:nvGrpSpPr>
          <p:cNvPr id="8" name="Gruppieren 7"/>
          <p:cNvGrpSpPr/>
          <p:nvPr/>
        </p:nvGrpSpPr>
        <p:grpSpPr>
          <a:xfrm>
            <a:off x="2127467" y="3244978"/>
            <a:ext cx="3464216" cy="1622309"/>
            <a:chOff x="2127467" y="3244966"/>
            <a:chExt cx="3464216" cy="1622309"/>
          </a:xfrm>
        </p:grpSpPr>
        <p:sp>
          <p:nvSpPr>
            <p:cNvPr id="10" name="Pfeil nach oben und unten 9"/>
            <p:cNvSpPr/>
            <p:nvPr>
              <p:custDataLst>
                <p:tags r:id="rId55"/>
              </p:custDataLst>
            </p:nvPr>
          </p:nvSpPr>
          <p:spPr bwMode="gray">
            <a:xfrm>
              <a:off x="2762178" y="3267503"/>
              <a:ext cx="201628" cy="288040"/>
            </a:xfrm>
            <a:prstGeom prst="upDownArrow">
              <a:avLst>
                <a:gd name="adj1" fmla="val 52755"/>
                <a:gd name="adj2" fmla="val 41733"/>
              </a:avLst>
            </a:prstGeom>
            <a:solidFill>
              <a:schemeClr val="accent1"/>
            </a:solidFill>
            <a:ln w="12700">
              <a:solidFill>
                <a:schemeClr val="bg1"/>
              </a:solidFill>
              <a:round/>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smtClean="0">
                <a:solidFill>
                  <a:srgbClr val="000000"/>
                </a:solidFill>
              </a:endParaRPr>
            </a:p>
          </p:txBody>
        </p:sp>
        <p:sp>
          <p:nvSpPr>
            <p:cNvPr id="562" name="Pfeil nach oben und unten 561"/>
            <p:cNvSpPr/>
            <p:nvPr>
              <p:custDataLst>
                <p:tags r:id="rId56"/>
              </p:custDataLst>
            </p:nvPr>
          </p:nvSpPr>
          <p:spPr bwMode="gray">
            <a:xfrm>
              <a:off x="4553368" y="3244966"/>
              <a:ext cx="201628" cy="288040"/>
            </a:xfrm>
            <a:prstGeom prst="upDownArrow">
              <a:avLst>
                <a:gd name="adj1" fmla="val 52755"/>
                <a:gd name="adj2" fmla="val 41733"/>
              </a:avLst>
            </a:prstGeom>
            <a:solidFill>
              <a:schemeClr val="accent1"/>
            </a:solidFill>
            <a:ln w="12700">
              <a:solidFill>
                <a:schemeClr val="bg1"/>
              </a:solidFill>
              <a:round/>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smtClean="0">
                <a:solidFill>
                  <a:srgbClr val="000000"/>
                </a:solidFill>
              </a:endParaRPr>
            </a:p>
          </p:txBody>
        </p:sp>
        <p:sp>
          <p:nvSpPr>
            <p:cNvPr id="284" name="Abgerundetes Rechteck 283"/>
            <p:cNvSpPr/>
            <p:nvPr/>
          </p:nvSpPr>
          <p:spPr>
            <a:xfrm>
              <a:off x="2127467" y="3555543"/>
              <a:ext cx="3464216" cy="1311732"/>
            </a:xfrm>
            <a:prstGeom prst="roundRect">
              <a:avLst>
                <a:gd name="adj" fmla="val 0"/>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b" anchorCtr="0"/>
            <a:lstStyle/>
            <a:p>
              <a:pPr algn="ctr"/>
              <a:endParaRPr lang="en-US" sz="1050" dirty="0" smtClean="0">
                <a:solidFill>
                  <a:srgbClr val="FFFFFF"/>
                </a:solidFill>
              </a:endParaRPr>
            </a:p>
            <a:p>
              <a:pPr algn="ctr"/>
              <a:endParaRPr lang="en-US" sz="1050" dirty="0">
                <a:solidFill>
                  <a:srgbClr val="FFFFFF"/>
                </a:solidFill>
              </a:endParaRPr>
            </a:p>
            <a:p>
              <a:pPr algn="ctr"/>
              <a:endParaRPr lang="en-US" sz="1050" dirty="0" smtClean="0">
                <a:solidFill>
                  <a:srgbClr val="FFFFFF"/>
                </a:solidFill>
              </a:endParaRPr>
            </a:p>
            <a:p>
              <a:pPr algn="ctr"/>
              <a:endParaRPr lang="en-US" sz="1050" dirty="0" smtClean="0">
                <a:solidFill>
                  <a:srgbClr val="FFFFFF"/>
                </a:solidFill>
              </a:endParaRPr>
            </a:p>
            <a:p>
              <a:pPr algn="ctr"/>
              <a:endParaRPr lang="en-US" sz="1050" dirty="0">
                <a:solidFill>
                  <a:srgbClr val="FFFFFF"/>
                </a:solidFill>
              </a:endParaRPr>
            </a:p>
            <a:p>
              <a:pPr algn="ctr"/>
              <a:endParaRPr lang="en-US" sz="1050" dirty="0" smtClean="0">
                <a:solidFill>
                  <a:srgbClr val="FFFFFF"/>
                </a:solidFill>
              </a:endParaRPr>
            </a:p>
            <a:p>
              <a:pPr algn="ctr"/>
              <a:endParaRPr lang="en-US" sz="1050" dirty="0">
                <a:solidFill>
                  <a:srgbClr val="FFFFFF"/>
                </a:solidFill>
              </a:endParaRPr>
            </a:p>
          </p:txBody>
        </p:sp>
        <p:grpSp>
          <p:nvGrpSpPr>
            <p:cNvPr id="568" name="Gruppieren 345"/>
            <p:cNvGrpSpPr/>
            <p:nvPr>
              <p:custDataLst>
                <p:tags r:id="rId57"/>
              </p:custDataLst>
            </p:nvPr>
          </p:nvGrpSpPr>
          <p:grpSpPr bwMode="gray">
            <a:xfrm>
              <a:off x="2888359" y="3853522"/>
              <a:ext cx="523731" cy="528958"/>
              <a:chOff x="5184068" y="3867891"/>
              <a:chExt cx="360040" cy="360040"/>
            </a:xfrm>
          </p:grpSpPr>
          <p:pic>
            <p:nvPicPr>
              <p:cNvPr id="569" name="Picture 5" descr="D:\k16\grafika\illustrator\ikony\fts\ikona_fts_01.png"/>
              <p:cNvPicPr>
                <a:picLocks noChangeAspect="1" noChangeArrowheads="1"/>
              </p:cNvPicPr>
              <p:nvPr>
                <p:custDataLst>
                  <p:tags r:id="rId73"/>
                </p:custDataLst>
              </p:nvPr>
            </p:nvPicPr>
            <p:blipFill>
              <a:blip r:embed="rId84" cstate="screen">
                <a:extLst>
                  <a:ext uri="{28A0092B-C50C-407E-A947-70E740481C1C}">
                    <a14:useLocalDpi xmlns:a14="http://schemas.microsoft.com/office/drawing/2010/main"/>
                  </a:ext>
                </a:extLst>
              </a:blip>
              <a:srcRect/>
              <a:stretch>
                <a:fillRect/>
              </a:stretch>
            </p:blipFill>
            <p:spPr bwMode="gray">
              <a:xfrm>
                <a:off x="5184068" y="3867891"/>
                <a:ext cx="360040" cy="360040"/>
              </a:xfrm>
              <a:prstGeom prst="rect">
                <a:avLst/>
              </a:prstGeom>
              <a:noFill/>
            </p:spPr>
          </p:pic>
          <p:sp>
            <p:nvSpPr>
              <p:cNvPr id="570" name="Flussdiagramm: Datenträger mit sequenziellem Zugriff 569"/>
              <p:cNvSpPr/>
              <p:nvPr/>
            </p:nvSpPr>
            <p:spPr bwMode="gray">
              <a:xfrm>
                <a:off x="5256076" y="3939902"/>
                <a:ext cx="216024" cy="216024"/>
              </a:xfrm>
              <a:prstGeom prst="flowChartMagneticTape">
                <a:avLst/>
              </a:prstGeom>
              <a:solidFill>
                <a:srgbClr val="000000"/>
              </a:solidFill>
              <a:ln w="9525" cap="flat" cmpd="sng" algn="ctr">
                <a:noFill/>
                <a:prstDash val="solid"/>
              </a:ln>
              <a:effectLst/>
            </p:spPr>
            <p:txBody>
              <a:bodyPr rtlCol="0" anchor="t" anchorCtr="0"/>
              <a:lstStyle/>
              <a:p>
                <a:pPr algn="ctr">
                  <a:defRPr/>
                </a:pPr>
                <a:endParaRPr lang="en-US" sz="900" kern="0" dirty="0" smtClean="0">
                  <a:solidFill>
                    <a:srgbClr val="000000"/>
                  </a:solidFill>
                </a:endParaRPr>
              </a:p>
            </p:txBody>
          </p:sp>
        </p:grpSp>
        <p:grpSp>
          <p:nvGrpSpPr>
            <p:cNvPr id="571" name="Gruppieren 334"/>
            <p:cNvGrpSpPr/>
            <p:nvPr>
              <p:custDataLst>
                <p:tags r:id="rId58"/>
              </p:custDataLst>
            </p:nvPr>
          </p:nvGrpSpPr>
          <p:grpSpPr bwMode="gray">
            <a:xfrm>
              <a:off x="2215906" y="3853522"/>
              <a:ext cx="535162" cy="540501"/>
              <a:chOff x="7308304" y="1779787"/>
              <a:chExt cx="576064" cy="576064"/>
            </a:xfrm>
          </p:grpSpPr>
          <p:pic>
            <p:nvPicPr>
              <p:cNvPr id="572" name="Picture 5" descr="D:\k16\grafika\illustrator\ikony\fts\ikona_fts_01.png"/>
              <p:cNvPicPr>
                <a:picLocks noChangeAspect="1" noChangeArrowheads="1"/>
              </p:cNvPicPr>
              <p:nvPr>
                <p:custDataLst>
                  <p:tags r:id="rId71"/>
                </p:custDataLst>
              </p:nvPr>
            </p:nvPicPr>
            <p:blipFill>
              <a:blip r:embed="rId85" cstate="screen">
                <a:extLst>
                  <a:ext uri="{28A0092B-C50C-407E-A947-70E740481C1C}">
                    <a14:useLocalDpi xmlns:a14="http://schemas.microsoft.com/office/drawing/2010/main"/>
                  </a:ext>
                </a:extLst>
              </a:blip>
              <a:srcRect/>
              <a:stretch>
                <a:fillRect/>
              </a:stretch>
            </p:blipFill>
            <p:spPr bwMode="gray">
              <a:xfrm>
                <a:off x="7308304" y="1779787"/>
                <a:ext cx="576064" cy="576064"/>
              </a:xfrm>
              <a:prstGeom prst="rect">
                <a:avLst/>
              </a:prstGeom>
              <a:noFill/>
            </p:spPr>
          </p:pic>
          <p:grpSp>
            <p:nvGrpSpPr>
              <p:cNvPr id="573" name="Gruppieren 336"/>
              <p:cNvGrpSpPr/>
              <p:nvPr>
                <p:custDataLst>
                  <p:tags r:id="rId72"/>
                </p:custDataLst>
              </p:nvPr>
            </p:nvGrpSpPr>
            <p:grpSpPr bwMode="gray">
              <a:xfrm>
                <a:off x="7413774" y="1974157"/>
                <a:ext cx="365125" cy="187325"/>
                <a:chOff x="7987047" y="1582055"/>
                <a:chExt cx="365125" cy="187325"/>
              </a:xfrm>
            </p:grpSpPr>
            <p:sp>
              <p:nvSpPr>
                <p:cNvPr id="574" name="Freeform 48"/>
                <p:cNvSpPr>
                  <a:spLocks/>
                </p:cNvSpPr>
                <p:nvPr/>
              </p:nvSpPr>
              <p:spPr bwMode="gray">
                <a:xfrm>
                  <a:off x="7987047" y="1620155"/>
                  <a:ext cx="365125" cy="149225"/>
                </a:xfrm>
                <a:custGeom>
                  <a:avLst/>
                  <a:gdLst/>
                  <a:ahLst/>
                  <a:cxnLst>
                    <a:cxn ang="0">
                      <a:pos x="230" y="71"/>
                    </a:cxn>
                    <a:cxn ang="0">
                      <a:pos x="230" y="73"/>
                    </a:cxn>
                    <a:cxn ang="0">
                      <a:pos x="228" y="76"/>
                    </a:cxn>
                    <a:cxn ang="0">
                      <a:pos x="225" y="78"/>
                    </a:cxn>
                    <a:cxn ang="0">
                      <a:pos x="221" y="80"/>
                    </a:cxn>
                    <a:cxn ang="0">
                      <a:pos x="216" y="82"/>
                    </a:cxn>
                    <a:cxn ang="0">
                      <a:pos x="211" y="84"/>
                    </a:cxn>
                    <a:cxn ang="0">
                      <a:pos x="204" y="86"/>
                    </a:cxn>
                    <a:cxn ang="0">
                      <a:pos x="197" y="88"/>
                    </a:cxn>
                    <a:cxn ang="0">
                      <a:pos x="180" y="90"/>
                    </a:cxn>
                    <a:cxn ang="0">
                      <a:pos x="160" y="93"/>
                    </a:cxn>
                    <a:cxn ang="0">
                      <a:pos x="139" y="94"/>
                    </a:cxn>
                    <a:cxn ang="0">
                      <a:pos x="116" y="94"/>
                    </a:cxn>
                    <a:cxn ang="0">
                      <a:pos x="93" y="94"/>
                    </a:cxn>
                    <a:cxn ang="0">
                      <a:pos x="71" y="93"/>
                    </a:cxn>
                    <a:cxn ang="0">
                      <a:pos x="61" y="92"/>
                    </a:cxn>
                    <a:cxn ang="0">
                      <a:pos x="52" y="90"/>
                    </a:cxn>
                    <a:cxn ang="0">
                      <a:pos x="35" y="88"/>
                    </a:cxn>
                    <a:cxn ang="0">
                      <a:pos x="26" y="86"/>
                    </a:cxn>
                    <a:cxn ang="0">
                      <a:pos x="20" y="84"/>
                    </a:cxn>
                    <a:cxn ang="0">
                      <a:pos x="14" y="82"/>
                    </a:cxn>
                    <a:cxn ang="0">
                      <a:pos x="9" y="80"/>
                    </a:cxn>
                    <a:cxn ang="0">
                      <a:pos x="5" y="78"/>
                    </a:cxn>
                    <a:cxn ang="0">
                      <a:pos x="2" y="76"/>
                    </a:cxn>
                    <a:cxn ang="0">
                      <a:pos x="1" y="73"/>
                    </a:cxn>
                    <a:cxn ang="0">
                      <a:pos x="0" y="72"/>
                    </a:cxn>
                    <a:cxn ang="0">
                      <a:pos x="0" y="71"/>
                    </a:cxn>
                    <a:cxn ang="0">
                      <a:pos x="0" y="0"/>
                    </a:cxn>
                    <a:cxn ang="0">
                      <a:pos x="229" y="0"/>
                    </a:cxn>
                    <a:cxn ang="0">
                      <a:pos x="230" y="71"/>
                    </a:cxn>
                  </a:cxnLst>
                  <a:rect l="0" t="0" r="r" b="b"/>
                  <a:pathLst>
                    <a:path w="230" h="94">
                      <a:moveTo>
                        <a:pt x="230" y="71"/>
                      </a:moveTo>
                      <a:lnTo>
                        <a:pt x="230" y="73"/>
                      </a:lnTo>
                      <a:lnTo>
                        <a:pt x="228" y="76"/>
                      </a:lnTo>
                      <a:lnTo>
                        <a:pt x="225" y="78"/>
                      </a:lnTo>
                      <a:lnTo>
                        <a:pt x="221" y="80"/>
                      </a:lnTo>
                      <a:lnTo>
                        <a:pt x="216" y="82"/>
                      </a:lnTo>
                      <a:lnTo>
                        <a:pt x="211" y="84"/>
                      </a:lnTo>
                      <a:lnTo>
                        <a:pt x="204" y="86"/>
                      </a:lnTo>
                      <a:lnTo>
                        <a:pt x="197" y="88"/>
                      </a:lnTo>
                      <a:lnTo>
                        <a:pt x="180" y="90"/>
                      </a:lnTo>
                      <a:lnTo>
                        <a:pt x="160" y="93"/>
                      </a:lnTo>
                      <a:lnTo>
                        <a:pt x="139" y="94"/>
                      </a:lnTo>
                      <a:lnTo>
                        <a:pt x="116" y="94"/>
                      </a:lnTo>
                      <a:lnTo>
                        <a:pt x="93" y="94"/>
                      </a:lnTo>
                      <a:lnTo>
                        <a:pt x="71" y="93"/>
                      </a:lnTo>
                      <a:lnTo>
                        <a:pt x="61" y="92"/>
                      </a:lnTo>
                      <a:lnTo>
                        <a:pt x="52" y="90"/>
                      </a:lnTo>
                      <a:lnTo>
                        <a:pt x="35" y="88"/>
                      </a:lnTo>
                      <a:lnTo>
                        <a:pt x="26" y="86"/>
                      </a:lnTo>
                      <a:lnTo>
                        <a:pt x="20" y="84"/>
                      </a:lnTo>
                      <a:lnTo>
                        <a:pt x="14" y="82"/>
                      </a:lnTo>
                      <a:lnTo>
                        <a:pt x="9" y="80"/>
                      </a:lnTo>
                      <a:lnTo>
                        <a:pt x="5" y="78"/>
                      </a:lnTo>
                      <a:lnTo>
                        <a:pt x="2" y="76"/>
                      </a:lnTo>
                      <a:lnTo>
                        <a:pt x="1" y="73"/>
                      </a:lnTo>
                      <a:lnTo>
                        <a:pt x="0" y="72"/>
                      </a:lnTo>
                      <a:lnTo>
                        <a:pt x="0" y="71"/>
                      </a:lnTo>
                      <a:lnTo>
                        <a:pt x="0" y="0"/>
                      </a:lnTo>
                      <a:lnTo>
                        <a:pt x="229" y="0"/>
                      </a:lnTo>
                      <a:lnTo>
                        <a:pt x="230" y="71"/>
                      </a:lnTo>
                      <a:close/>
                    </a:path>
                  </a:pathLst>
                </a:custGeom>
                <a:solidFill>
                  <a:srgbClr val="000000"/>
                </a:solidFill>
                <a:ln w="9525">
                  <a:solidFill>
                    <a:srgbClr val="000000"/>
                  </a:solidFill>
                  <a:round/>
                  <a:headEnd/>
                  <a:tailEnd/>
                </a:ln>
              </p:spPr>
              <p:txBody>
                <a:bodyPr/>
                <a:lstStyle/>
                <a:p>
                  <a:pPr>
                    <a:defRPr/>
                  </a:pPr>
                  <a:endParaRPr lang="en-US" sz="900" kern="0" dirty="0">
                    <a:solidFill>
                      <a:sysClr val="windowText" lastClr="000000"/>
                    </a:solidFill>
                  </a:endParaRPr>
                </a:p>
              </p:txBody>
            </p:sp>
            <p:sp>
              <p:nvSpPr>
                <p:cNvPr id="575" name="Freeform 49"/>
                <p:cNvSpPr>
                  <a:spLocks/>
                </p:cNvSpPr>
                <p:nvPr/>
              </p:nvSpPr>
              <p:spPr bwMode="gray">
                <a:xfrm>
                  <a:off x="7987047" y="1582055"/>
                  <a:ext cx="365125" cy="74612"/>
                </a:xfrm>
                <a:custGeom>
                  <a:avLst/>
                  <a:gdLst/>
                  <a:ahLst/>
                  <a:cxnLst>
                    <a:cxn ang="0">
                      <a:pos x="0" y="24"/>
                    </a:cxn>
                    <a:cxn ang="0">
                      <a:pos x="1" y="21"/>
                    </a:cxn>
                    <a:cxn ang="0">
                      <a:pos x="2" y="19"/>
                    </a:cxn>
                    <a:cxn ang="0">
                      <a:pos x="5" y="17"/>
                    </a:cxn>
                    <a:cxn ang="0">
                      <a:pos x="9" y="15"/>
                    </a:cxn>
                    <a:cxn ang="0">
                      <a:pos x="14" y="13"/>
                    </a:cxn>
                    <a:cxn ang="0">
                      <a:pos x="20" y="11"/>
                    </a:cxn>
                    <a:cxn ang="0">
                      <a:pos x="26" y="9"/>
                    </a:cxn>
                    <a:cxn ang="0">
                      <a:pos x="35" y="7"/>
                    </a:cxn>
                    <a:cxn ang="0">
                      <a:pos x="52" y="4"/>
                    </a:cxn>
                    <a:cxn ang="0">
                      <a:pos x="71" y="2"/>
                    </a:cxn>
                    <a:cxn ang="0">
                      <a:pos x="93" y="1"/>
                    </a:cxn>
                    <a:cxn ang="0">
                      <a:pos x="116" y="0"/>
                    </a:cxn>
                    <a:cxn ang="0">
                      <a:pos x="139" y="1"/>
                    </a:cxn>
                    <a:cxn ang="0">
                      <a:pos x="160" y="2"/>
                    </a:cxn>
                    <a:cxn ang="0">
                      <a:pos x="170" y="3"/>
                    </a:cxn>
                    <a:cxn ang="0">
                      <a:pos x="180" y="4"/>
                    </a:cxn>
                    <a:cxn ang="0">
                      <a:pos x="197" y="7"/>
                    </a:cxn>
                    <a:cxn ang="0">
                      <a:pos x="204" y="9"/>
                    </a:cxn>
                    <a:cxn ang="0">
                      <a:pos x="211" y="11"/>
                    </a:cxn>
                    <a:cxn ang="0">
                      <a:pos x="216" y="13"/>
                    </a:cxn>
                    <a:cxn ang="0">
                      <a:pos x="221" y="15"/>
                    </a:cxn>
                    <a:cxn ang="0">
                      <a:pos x="225" y="17"/>
                    </a:cxn>
                    <a:cxn ang="0">
                      <a:pos x="228" y="19"/>
                    </a:cxn>
                    <a:cxn ang="0">
                      <a:pos x="230" y="21"/>
                    </a:cxn>
                    <a:cxn ang="0">
                      <a:pos x="230" y="23"/>
                    </a:cxn>
                    <a:cxn ang="0">
                      <a:pos x="230" y="24"/>
                    </a:cxn>
                    <a:cxn ang="0">
                      <a:pos x="230" y="26"/>
                    </a:cxn>
                    <a:cxn ang="0">
                      <a:pos x="228" y="29"/>
                    </a:cxn>
                    <a:cxn ang="0">
                      <a:pos x="225" y="31"/>
                    </a:cxn>
                    <a:cxn ang="0">
                      <a:pos x="221" y="33"/>
                    </a:cxn>
                    <a:cxn ang="0">
                      <a:pos x="216" y="35"/>
                    </a:cxn>
                    <a:cxn ang="0">
                      <a:pos x="211" y="37"/>
                    </a:cxn>
                    <a:cxn ang="0">
                      <a:pos x="204" y="39"/>
                    </a:cxn>
                    <a:cxn ang="0">
                      <a:pos x="197" y="40"/>
                    </a:cxn>
                    <a:cxn ang="0">
                      <a:pos x="180" y="43"/>
                    </a:cxn>
                    <a:cxn ang="0">
                      <a:pos x="160" y="45"/>
                    </a:cxn>
                    <a:cxn ang="0">
                      <a:pos x="139" y="47"/>
                    </a:cxn>
                    <a:cxn ang="0">
                      <a:pos x="116" y="47"/>
                    </a:cxn>
                    <a:cxn ang="0">
                      <a:pos x="93" y="47"/>
                    </a:cxn>
                    <a:cxn ang="0">
                      <a:pos x="71" y="45"/>
                    </a:cxn>
                    <a:cxn ang="0">
                      <a:pos x="61" y="44"/>
                    </a:cxn>
                    <a:cxn ang="0">
                      <a:pos x="52" y="43"/>
                    </a:cxn>
                    <a:cxn ang="0">
                      <a:pos x="35" y="40"/>
                    </a:cxn>
                    <a:cxn ang="0">
                      <a:pos x="26" y="39"/>
                    </a:cxn>
                    <a:cxn ang="0">
                      <a:pos x="20" y="37"/>
                    </a:cxn>
                    <a:cxn ang="0">
                      <a:pos x="14" y="35"/>
                    </a:cxn>
                    <a:cxn ang="0">
                      <a:pos x="9" y="33"/>
                    </a:cxn>
                    <a:cxn ang="0">
                      <a:pos x="5" y="31"/>
                    </a:cxn>
                    <a:cxn ang="0">
                      <a:pos x="2" y="29"/>
                    </a:cxn>
                    <a:cxn ang="0">
                      <a:pos x="1" y="26"/>
                    </a:cxn>
                    <a:cxn ang="0">
                      <a:pos x="0" y="25"/>
                    </a:cxn>
                    <a:cxn ang="0">
                      <a:pos x="0" y="24"/>
                    </a:cxn>
                  </a:cxnLst>
                  <a:rect l="0" t="0" r="r" b="b"/>
                  <a:pathLst>
                    <a:path w="230" h="47">
                      <a:moveTo>
                        <a:pt x="0" y="24"/>
                      </a:moveTo>
                      <a:lnTo>
                        <a:pt x="1" y="21"/>
                      </a:lnTo>
                      <a:lnTo>
                        <a:pt x="2" y="19"/>
                      </a:lnTo>
                      <a:lnTo>
                        <a:pt x="5" y="17"/>
                      </a:lnTo>
                      <a:lnTo>
                        <a:pt x="9" y="15"/>
                      </a:lnTo>
                      <a:lnTo>
                        <a:pt x="14" y="13"/>
                      </a:lnTo>
                      <a:lnTo>
                        <a:pt x="20" y="11"/>
                      </a:lnTo>
                      <a:lnTo>
                        <a:pt x="26" y="9"/>
                      </a:lnTo>
                      <a:lnTo>
                        <a:pt x="35" y="7"/>
                      </a:lnTo>
                      <a:lnTo>
                        <a:pt x="52" y="4"/>
                      </a:lnTo>
                      <a:lnTo>
                        <a:pt x="71" y="2"/>
                      </a:lnTo>
                      <a:lnTo>
                        <a:pt x="93" y="1"/>
                      </a:lnTo>
                      <a:lnTo>
                        <a:pt x="116" y="0"/>
                      </a:lnTo>
                      <a:lnTo>
                        <a:pt x="139" y="1"/>
                      </a:lnTo>
                      <a:lnTo>
                        <a:pt x="160" y="2"/>
                      </a:lnTo>
                      <a:lnTo>
                        <a:pt x="170" y="3"/>
                      </a:lnTo>
                      <a:lnTo>
                        <a:pt x="180" y="4"/>
                      </a:lnTo>
                      <a:lnTo>
                        <a:pt x="197" y="7"/>
                      </a:lnTo>
                      <a:lnTo>
                        <a:pt x="204" y="9"/>
                      </a:lnTo>
                      <a:lnTo>
                        <a:pt x="211" y="11"/>
                      </a:lnTo>
                      <a:lnTo>
                        <a:pt x="216" y="13"/>
                      </a:lnTo>
                      <a:lnTo>
                        <a:pt x="221" y="15"/>
                      </a:lnTo>
                      <a:lnTo>
                        <a:pt x="225" y="17"/>
                      </a:lnTo>
                      <a:lnTo>
                        <a:pt x="228" y="19"/>
                      </a:lnTo>
                      <a:lnTo>
                        <a:pt x="230" y="21"/>
                      </a:lnTo>
                      <a:lnTo>
                        <a:pt x="230" y="23"/>
                      </a:lnTo>
                      <a:lnTo>
                        <a:pt x="230" y="24"/>
                      </a:lnTo>
                      <a:lnTo>
                        <a:pt x="230" y="26"/>
                      </a:lnTo>
                      <a:lnTo>
                        <a:pt x="228" y="29"/>
                      </a:lnTo>
                      <a:lnTo>
                        <a:pt x="225" y="31"/>
                      </a:lnTo>
                      <a:lnTo>
                        <a:pt x="221" y="33"/>
                      </a:lnTo>
                      <a:lnTo>
                        <a:pt x="216" y="35"/>
                      </a:lnTo>
                      <a:lnTo>
                        <a:pt x="211" y="37"/>
                      </a:lnTo>
                      <a:lnTo>
                        <a:pt x="204" y="39"/>
                      </a:lnTo>
                      <a:lnTo>
                        <a:pt x="197" y="40"/>
                      </a:lnTo>
                      <a:lnTo>
                        <a:pt x="180" y="43"/>
                      </a:lnTo>
                      <a:lnTo>
                        <a:pt x="160" y="45"/>
                      </a:lnTo>
                      <a:lnTo>
                        <a:pt x="139" y="47"/>
                      </a:lnTo>
                      <a:lnTo>
                        <a:pt x="116" y="47"/>
                      </a:lnTo>
                      <a:lnTo>
                        <a:pt x="93" y="47"/>
                      </a:lnTo>
                      <a:lnTo>
                        <a:pt x="71" y="45"/>
                      </a:lnTo>
                      <a:lnTo>
                        <a:pt x="61" y="44"/>
                      </a:lnTo>
                      <a:lnTo>
                        <a:pt x="52" y="43"/>
                      </a:lnTo>
                      <a:lnTo>
                        <a:pt x="35" y="40"/>
                      </a:lnTo>
                      <a:lnTo>
                        <a:pt x="26" y="39"/>
                      </a:lnTo>
                      <a:lnTo>
                        <a:pt x="20" y="37"/>
                      </a:lnTo>
                      <a:lnTo>
                        <a:pt x="14" y="35"/>
                      </a:lnTo>
                      <a:lnTo>
                        <a:pt x="9" y="33"/>
                      </a:lnTo>
                      <a:lnTo>
                        <a:pt x="5" y="31"/>
                      </a:lnTo>
                      <a:lnTo>
                        <a:pt x="2" y="29"/>
                      </a:lnTo>
                      <a:lnTo>
                        <a:pt x="1" y="26"/>
                      </a:lnTo>
                      <a:lnTo>
                        <a:pt x="0" y="25"/>
                      </a:lnTo>
                      <a:lnTo>
                        <a:pt x="0" y="24"/>
                      </a:lnTo>
                      <a:close/>
                    </a:path>
                  </a:pathLst>
                </a:custGeom>
                <a:solidFill>
                  <a:srgbClr val="FFFFFF"/>
                </a:solidFill>
                <a:ln w="9525">
                  <a:solidFill>
                    <a:srgbClr val="000000"/>
                  </a:solidFill>
                  <a:round/>
                  <a:headEnd/>
                  <a:tailEnd/>
                </a:ln>
              </p:spPr>
              <p:txBody>
                <a:bodyPr/>
                <a:lstStyle/>
                <a:p>
                  <a:pPr>
                    <a:defRPr/>
                  </a:pPr>
                  <a:endParaRPr lang="en-US" sz="900" kern="0" dirty="0">
                    <a:solidFill>
                      <a:sysClr val="windowText" lastClr="000000"/>
                    </a:solidFill>
                  </a:endParaRPr>
                </a:p>
              </p:txBody>
            </p:sp>
          </p:grpSp>
        </p:grpSp>
        <p:sp>
          <p:nvSpPr>
            <p:cNvPr id="576" name="Rechteck 575"/>
            <p:cNvSpPr/>
            <p:nvPr>
              <p:custDataLst>
                <p:tags r:id="rId59"/>
              </p:custDataLst>
            </p:nvPr>
          </p:nvSpPr>
          <p:spPr bwMode="gray">
            <a:xfrm>
              <a:off x="2804710" y="4427847"/>
              <a:ext cx="685481" cy="239967"/>
            </a:xfrm>
            <a:prstGeom prst="rect">
              <a:avLst/>
            </a:prstGeom>
            <a:noFill/>
            <a:ln w="9525" cap="flat" cmpd="sng" algn="ctr">
              <a:noFill/>
              <a:prstDash val="solid"/>
            </a:ln>
            <a:effectLst/>
          </p:spPr>
          <p:txBody>
            <a:bodyPr lIns="0" tIns="0" rIns="0" bIns="0" rtlCol="0" anchor="t" anchorCtr="0"/>
            <a:lstStyle/>
            <a:p>
              <a:pPr algn="ctr">
                <a:defRPr/>
              </a:pPr>
              <a:r>
                <a:rPr lang="en-US" sz="1100" kern="0" dirty="0" smtClean="0">
                  <a:solidFill>
                    <a:srgbClr val="000000"/>
                  </a:solidFill>
                </a:rPr>
                <a:t>Tape</a:t>
              </a:r>
            </a:p>
          </p:txBody>
        </p:sp>
        <p:grpSp>
          <p:nvGrpSpPr>
            <p:cNvPr id="577" name="Gruppieren 576"/>
            <p:cNvGrpSpPr/>
            <p:nvPr/>
          </p:nvGrpSpPr>
          <p:grpSpPr>
            <a:xfrm>
              <a:off x="3553774" y="3853522"/>
              <a:ext cx="535162" cy="540501"/>
              <a:chOff x="1946965" y="6249144"/>
              <a:chExt cx="535162" cy="540501"/>
            </a:xfrm>
          </p:grpSpPr>
          <p:pic>
            <p:nvPicPr>
              <p:cNvPr id="578" name="Picture 5" descr="D:\k16\grafika\illustrator\ikony\fts\ikona_fts_01.png"/>
              <p:cNvPicPr>
                <a:picLocks noChangeAspect="1" noChangeArrowheads="1"/>
              </p:cNvPicPr>
              <p:nvPr>
                <p:custDataLst>
                  <p:tags r:id="rId69"/>
                </p:custDataLst>
              </p:nvPr>
            </p:nvPicPr>
            <p:blipFill>
              <a:blip r:embed="rId85" cstate="screen">
                <a:extLst>
                  <a:ext uri="{28A0092B-C50C-407E-A947-70E740481C1C}">
                    <a14:useLocalDpi xmlns:a14="http://schemas.microsoft.com/office/drawing/2010/main"/>
                  </a:ext>
                </a:extLst>
              </a:blip>
              <a:srcRect/>
              <a:stretch>
                <a:fillRect/>
              </a:stretch>
            </p:blipFill>
            <p:spPr bwMode="gray">
              <a:xfrm>
                <a:off x="1946965" y="6249144"/>
                <a:ext cx="535162" cy="540501"/>
              </a:xfrm>
              <a:prstGeom prst="rect">
                <a:avLst/>
              </a:prstGeom>
              <a:noFill/>
            </p:spPr>
          </p:pic>
          <p:grpSp>
            <p:nvGrpSpPr>
              <p:cNvPr id="579" name="Gruppieren 336"/>
              <p:cNvGrpSpPr/>
              <p:nvPr>
                <p:custDataLst>
                  <p:tags r:id="rId70"/>
                </p:custDataLst>
              </p:nvPr>
            </p:nvGrpSpPr>
            <p:grpSpPr bwMode="gray">
              <a:xfrm>
                <a:off x="2044946" y="6361022"/>
                <a:ext cx="339200" cy="175761"/>
                <a:chOff x="7987047" y="1582055"/>
                <a:chExt cx="365125" cy="187325"/>
              </a:xfrm>
            </p:grpSpPr>
            <p:sp>
              <p:nvSpPr>
                <p:cNvPr id="581" name="Freeform 48"/>
                <p:cNvSpPr>
                  <a:spLocks/>
                </p:cNvSpPr>
                <p:nvPr/>
              </p:nvSpPr>
              <p:spPr bwMode="gray">
                <a:xfrm>
                  <a:off x="7987047" y="1620155"/>
                  <a:ext cx="365125" cy="149225"/>
                </a:xfrm>
                <a:custGeom>
                  <a:avLst/>
                  <a:gdLst/>
                  <a:ahLst/>
                  <a:cxnLst>
                    <a:cxn ang="0">
                      <a:pos x="230" y="71"/>
                    </a:cxn>
                    <a:cxn ang="0">
                      <a:pos x="230" y="73"/>
                    </a:cxn>
                    <a:cxn ang="0">
                      <a:pos x="228" y="76"/>
                    </a:cxn>
                    <a:cxn ang="0">
                      <a:pos x="225" y="78"/>
                    </a:cxn>
                    <a:cxn ang="0">
                      <a:pos x="221" y="80"/>
                    </a:cxn>
                    <a:cxn ang="0">
                      <a:pos x="216" y="82"/>
                    </a:cxn>
                    <a:cxn ang="0">
                      <a:pos x="211" y="84"/>
                    </a:cxn>
                    <a:cxn ang="0">
                      <a:pos x="204" y="86"/>
                    </a:cxn>
                    <a:cxn ang="0">
                      <a:pos x="197" y="88"/>
                    </a:cxn>
                    <a:cxn ang="0">
                      <a:pos x="180" y="90"/>
                    </a:cxn>
                    <a:cxn ang="0">
                      <a:pos x="160" y="93"/>
                    </a:cxn>
                    <a:cxn ang="0">
                      <a:pos x="139" y="94"/>
                    </a:cxn>
                    <a:cxn ang="0">
                      <a:pos x="116" y="94"/>
                    </a:cxn>
                    <a:cxn ang="0">
                      <a:pos x="93" y="94"/>
                    </a:cxn>
                    <a:cxn ang="0">
                      <a:pos x="71" y="93"/>
                    </a:cxn>
                    <a:cxn ang="0">
                      <a:pos x="61" y="92"/>
                    </a:cxn>
                    <a:cxn ang="0">
                      <a:pos x="52" y="90"/>
                    </a:cxn>
                    <a:cxn ang="0">
                      <a:pos x="35" y="88"/>
                    </a:cxn>
                    <a:cxn ang="0">
                      <a:pos x="26" y="86"/>
                    </a:cxn>
                    <a:cxn ang="0">
                      <a:pos x="20" y="84"/>
                    </a:cxn>
                    <a:cxn ang="0">
                      <a:pos x="14" y="82"/>
                    </a:cxn>
                    <a:cxn ang="0">
                      <a:pos x="9" y="80"/>
                    </a:cxn>
                    <a:cxn ang="0">
                      <a:pos x="5" y="78"/>
                    </a:cxn>
                    <a:cxn ang="0">
                      <a:pos x="2" y="76"/>
                    </a:cxn>
                    <a:cxn ang="0">
                      <a:pos x="1" y="73"/>
                    </a:cxn>
                    <a:cxn ang="0">
                      <a:pos x="0" y="72"/>
                    </a:cxn>
                    <a:cxn ang="0">
                      <a:pos x="0" y="71"/>
                    </a:cxn>
                    <a:cxn ang="0">
                      <a:pos x="0" y="0"/>
                    </a:cxn>
                    <a:cxn ang="0">
                      <a:pos x="229" y="0"/>
                    </a:cxn>
                    <a:cxn ang="0">
                      <a:pos x="230" y="71"/>
                    </a:cxn>
                  </a:cxnLst>
                  <a:rect l="0" t="0" r="r" b="b"/>
                  <a:pathLst>
                    <a:path w="230" h="94">
                      <a:moveTo>
                        <a:pt x="230" y="71"/>
                      </a:moveTo>
                      <a:lnTo>
                        <a:pt x="230" y="73"/>
                      </a:lnTo>
                      <a:lnTo>
                        <a:pt x="228" y="76"/>
                      </a:lnTo>
                      <a:lnTo>
                        <a:pt x="225" y="78"/>
                      </a:lnTo>
                      <a:lnTo>
                        <a:pt x="221" y="80"/>
                      </a:lnTo>
                      <a:lnTo>
                        <a:pt x="216" y="82"/>
                      </a:lnTo>
                      <a:lnTo>
                        <a:pt x="211" y="84"/>
                      </a:lnTo>
                      <a:lnTo>
                        <a:pt x="204" y="86"/>
                      </a:lnTo>
                      <a:lnTo>
                        <a:pt x="197" y="88"/>
                      </a:lnTo>
                      <a:lnTo>
                        <a:pt x="180" y="90"/>
                      </a:lnTo>
                      <a:lnTo>
                        <a:pt x="160" y="93"/>
                      </a:lnTo>
                      <a:lnTo>
                        <a:pt x="139" y="94"/>
                      </a:lnTo>
                      <a:lnTo>
                        <a:pt x="116" y="94"/>
                      </a:lnTo>
                      <a:lnTo>
                        <a:pt x="93" y="94"/>
                      </a:lnTo>
                      <a:lnTo>
                        <a:pt x="71" y="93"/>
                      </a:lnTo>
                      <a:lnTo>
                        <a:pt x="61" y="92"/>
                      </a:lnTo>
                      <a:lnTo>
                        <a:pt x="52" y="90"/>
                      </a:lnTo>
                      <a:lnTo>
                        <a:pt x="35" y="88"/>
                      </a:lnTo>
                      <a:lnTo>
                        <a:pt x="26" y="86"/>
                      </a:lnTo>
                      <a:lnTo>
                        <a:pt x="20" y="84"/>
                      </a:lnTo>
                      <a:lnTo>
                        <a:pt x="14" y="82"/>
                      </a:lnTo>
                      <a:lnTo>
                        <a:pt x="9" y="80"/>
                      </a:lnTo>
                      <a:lnTo>
                        <a:pt x="5" y="78"/>
                      </a:lnTo>
                      <a:lnTo>
                        <a:pt x="2" y="76"/>
                      </a:lnTo>
                      <a:lnTo>
                        <a:pt x="1" y="73"/>
                      </a:lnTo>
                      <a:lnTo>
                        <a:pt x="0" y="72"/>
                      </a:lnTo>
                      <a:lnTo>
                        <a:pt x="0" y="71"/>
                      </a:lnTo>
                      <a:lnTo>
                        <a:pt x="0" y="0"/>
                      </a:lnTo>
                      <a:lnTo>
                        <a:pt x="229" y="0"/>
                      </a:lnTo>
                      <a:lnTo>
                        <a:pt x="230" y="71"/>
                      </a:lnTo>
                      <a:close/>
                    </a:path>
                  </a:pathLst>
                </a:custGeom>
                <a:solidFill>
                  <a:srgbClr val="000000"/>
                </a:solidFill>
                <a:ln w="9525">
                  <a:solidFill>
                    <a:srgbClr val="000000"/>
                  </a:solidFill>
                  <a:round/>
                  <a:headEnd/>
                  <a:tailEnd/>
                </a:ln>
              </p:spPr>
              <p:txBody>
                <a:bodyPr/>
                <a:lstStyle/>
                <a:p>
                  <a:pPr>
                    <a:defRPr/>
                  </a:pPr>
                  <a:endParaRPr lang="en-US" sz="900" kern="0" dirty="0">
                    <a:solidFill>
                      <a:prstClr val="black"/>
                    </a:solidFill>
                  </a:endParaRPr>
                </a:p>
              </p:txBody>
            </p:sp>
            <p:sp>
              <p:nvSpPr>
                <p:cNvPr id="582" name="Freeform 49"/>
                <p:cNvSpPr>
                  <a:spLocks/>
                </p:cNvSpPr>
                <p:nvPr/>
              </p:nvSpPr>
              <p:spPr bwMode="gray">
                <a:xfrm>
                  <a:off x="7987047" y="1582055"/>
                  <a:ext cx="365125" cy="74612"/>
                </a:xfrm>
                <a:custGeom>
                  <a:avLst/>
                  <a:gdLst/>
                  <a:ahLst/>
                  <a:cxnLst>
                    <a:cxn ang="0">
                      <a:pos x="0" y="24"/>
                    </a:cxn>
                    <a:cxn ang="0">
                      <a:pos x="1" y="21"/>
                    </a:cxn>
                    <a:cxn ang="0">
                      <a:pos x="2" y="19"/>
                    </a:cxn>
                    <a:cxn ang="0">
                      <a:pos x="5" y="17"/>
                    </a:cxn>
                    <a:cxn ang="0">
                      <a:pos x="9" y="15"/>
                    </a:cxn>
                    <a:cxn ang="0">
                      <a:pos x="14" y="13"/>
                    </a:cxn>
                    <a:cxn ang="0">
                      <a:pos x="20" y="11"/>
                    </a:cxn>
                    <a:cxn ang="0">
                      <a:pos x="26" y="9"/>
                    </a:cxn>
                    <a:cxn ang="0">
                      <a:pos x="35" y="7"/>
                    </a:cxn>
                    <a:cxn ang="0">
                      <a:pos x="52" y="4"/>
                    </a:cxn>
                    <a:cxn ang="0">
                      <a:pos x="71" y="2"/>
                    </a:cxn>
                    <a:cxn ang="0">
                      <a:pos x="93" y="1"/>
                    </a:cxn>
                    <a:cxn ang="0">
                      <a:pos x="116" y="0"/>
                    </a:cxn>
                    <a:cxn ang="0">
                      <a:pos x="139" y="1"/>
                    </a:cxn>
                    <a:cxn ang="0">
                      <a:pos x="160" y="2"/>
                    </a:cxn>
                    <a:cxn ang="0">
                      <a:pos x="170" y="3"/>
                    </a:cxn>
                    <a:cxn ang="0">
                      <a:pos x="180" y="4"/>
                    </a:cxn>
                    <a:cxn ang="0">
                      <a:pos x="197" y="7"/>
                    </a:cxn>
                    <a:cxn ang="0">
                      <a:pos x="204" y="9"/>
                    </a:cxn>
                    <a:cxn ang="0">
                      <a:pos x="211" y="11"/>
                    </a:cxn>
                    <a:cxn ang="0">
                      <a:pos x="216" y="13"/>
                    </a:cxn>
                    <a:cxn ang="0">
                      <a:pos x="221" y="15"/>
                    </a:cxn>
                    <a:cxn ang="0">
                      <a:pos x="225" y="17"/>
                    </a:cxn>
                    <a:cxn ang="0">
                      <a:pos x="228" y="19"/>
                    </a:cxn>
                    <a:cxn ang="0">
                      <a:pos x="230" y="21"/>
                    </a:cxn>
                    <a:cxn ang="0">
                      <a:pos x="230" y="23"/>
                    </a:cxn>
                    <a:cxn ang="0">
                      <a:pos x="230" y="24"/>
                    </a:cxn>
                    <a:cxn ang="0">
                      <a:pos x="230" y="26"/>
                    </a:cxn>
                    <a:cxn ang="0">
                      <a:pos x="228" y="29"/>
                    </a:cxn>
                    <a:cxn ang="0">
                      <a:pos x="225" y="31"/>
                    </a:cxn>
                    <a:cxn ang="0">
                      <a:pos x="221" y="33"/>
                    </a:cxn>
                    <a:cxn ang="0">
                      <a:pos x="216" y="35"/>
                    </a:cxn>
                    <a:cxn ang="0">
                      <a:pos x="211" y="37"/>
                    </a:cxn>
                    <a:cxn ang="0">
                      <a:pos x="204" y="39"/>
                    </a:cxn>
                    <a:cxn ang="0">
                      <a:pos x="197" y="40"/>
                    </a:cxn>
                    <a:cxn ang="0">
                      <a:pos x="180" y="43"/>
                    </a:cxn>
                    <a:cxn ang="0">
                      <a:pos x="160" y="45"/>
                    </a:cxn>
                    <a:cxn ang="0">
                      <a:pos x="139" y="47"/>
                    </a:cxn>
                    <a:cxn ang="0">
                      <a:pos x="116" y="47"/>
                    </a:cxn>
                    <a:cxn ang="0">
                      <a:pos x="93" y="47"/>
                    </a:cxn>
                    <a:cxn ang="0">
                      <a:pos x="71" y="45"/>
                    </a:cxn>
                    <a:cxn ang="0">
                      <a:pos x="61" y="44"/>
                    </a:cxn>
                    <a:cxn ang="0">
                      <a:pos x="52" y="43"/>
                    </a:cxn>
                    <a:cxn ang="0">
                      <a:pos x="35" y="40"/>
                    </a:cxn>
                    <a:cxn ang="0">
                      <a:pos x="26" y="39"/>
                    </a:cxn>
                    <a:cxn ang="0">
                      <a:pos x="20" y="37"/>
                    </a:cxn>
                    <a:cxn ang="0">
                      <a:pos x="14" y="35"/>
                    </a:cxn>
                    <a:cxn ang="0">
                      <a:pos x="9" y="33"/>
                    </a:cxn>
                    <a:cxn ang="0">
                      <a:pos x="5" y="31"/>
                    </a:cxn>
                    <a:cxn ang="0">
                      <a:pos x="2" y="29"/>
                    </a:cxn>
                    <a:cxn ang="0">
                      <a:pos x="1" y="26"/>
                    </a:cxn>
                    <a:cxn ang="0">
                      <a:pos x="0" y="25"/>
                    </a:cxn>
                    <a:cxn ang="0">
                      <a:pos x="0" y="24"/>
                    </a:cxn>
                  </a:cxnLst>
                  <a:rect l="0" t="0" r="r" b="b"/>
                  <a:pathLst>
                    <a:path w="230" h="47">
                      <a:moveTo>
                        <a:pt x="0" y="24"/>
                      </a:moveTo>
                      <a:lnTo>
                        <a:pt x="1" y="21"/>
                      </a:lnTo>
                      <a:lnTo>
                        <a:pt x="2" y="19"/>
                      </a:lnTo>
                      <a:lnTo>
                        <a:pt x="5" y="17"/>
                      </a:lnTo>
                      <a:lnTo>
                        <a:pt x="9" y="15"/>
                      </a:lnTo>
                      <a:lnTo>
                        <a:pt x="14" y="13"/>
                      </a:lnTo>
                      <a:lnTo>
                        <a:pt x="20" y="11"/>
                      </a:lnTo>
                      <a:lnTo>
                        <a:pt x="26" y="9"/>
                      </a:lnTo>
                      <a:lnTo>
                        <a:pt x="35" y="7"/>
                      </a:lnTo>
                      <a:lnTo>
                        <a:pt x="52" y="4"/>
                      </a:lnTo>
                      <a:lnTo>
                        <a:pt x="71" y="2"/>
                      </a:lnTo>
                      <a:lnTo>
                        <a:pt x="93" y="1"/>
                      </a:lnTo>
                      <a:lnTo>
                        <a:pt x="116" y="0"/>
                      </a:lnTo>
                      <a:lnTo>
                        <a:pt x="139" y="1"/>
                      </a:lnTo>
                      <a:lnTo>
                        <a:pt x="160" y="2"/>
                      </a:lnTo>
                      <a:lnTo>
                        <a:pt x="170" y="3"/>
                      </a:lnTo>
                      <a:lnTo>
                        <a:pt x="180" y="4"/>
                      </a:lnTo>
                      <a:lnTo>
                        <a:pt x="197" y="7"/>
                      </a:lnTo>
                      <a:lnTo>
                        <a:pt x="204" y="9"/>
                      </a:lnTo>
                      <a:lnTo>
                        <a:pt x="211" y="11"/>
                      </a:lnTo>
                      <a:lnTo>
                        <a:pt x="216" y="13"/>
                      </a:lnTo>
                      <a:lnTo>
                        <a:pt x="221" y="15"/>
                      </a:lnTo>
                      <a:lnTo>
                        <a:pt x="225" y="17"/>
                      </a:lnTo>
                      <a:lnTo>
                        <a:pt x="228" y="19"/>
                      </a:lnTo>
                      <a:lnTo>
                        <a:pt x="230" y="21"/>
                      </a:lnTo>
                      <a:lnTo>
                        <a:pt x="230" y="23"/>
                      </a:lnTo>
                      <a:lnTo>
                        <a:pt x="230" y="24"/>
                      </a:lnTo>
                      <a:lnTo>
                        <a:pt x="230" y="26"/>
                      </a:lnTo>
                      <a:lnTo>
                        <a:pt x="228" y="29"/>
                      </a:lnTo>
                      <a:lnTo>
                        <a:pt x="225" y="31"/>
                      </a:lnTo>
                      <a:lnTo>
                        <a:pt x="221" y="33"/>
                      </a:lnTo>
                      <a:lnTo>
                        <a:pt x="216" y="35"/>
                      </a:lnTo>
                      <a:lnTo>
                        <a:pt x="211" y="37"/>
                      </a:lnTo>
                      <a:lnTo>
                        <a:pt x="204" y="39"/>
                      </a:lnTo>
                      <a:lnTo>
                        <a:pt x="197" y="40"/>
                      </a:lnTo>
                      <a:lnTo>
                        <a:pt x="180" y="43"/>
                      </a:lnTo>
                      <a:lnTo>
                        <a:pt x="160" y="45"/>
                      </a:lnTo>
                      <a:lnTo>
                        <a:pt x="139" y="47"/>
                      </a:lnTo>
                      <a:lnTo>
                        <a:pt x="116" y="47"/>
                      </a:lnTo>
                      <a:lnTo>
                        <a:pt x="93" y="47"/>
                      </a:lnTo>
                      <a:lnTo>
                        <a:pt x="71" y="45"/>
                      </a:lnTo>
                      <a:lnTo>
                        <a:pt x="61" y="44"/>
                      </a:lnTo>
                      <a:lnTo>
                        <a:pt x="52" y="43"/>
                      </a:lnTo>
                      <a:lnTo>
                        <a:pt x="35" y="40"/>
                      </a:lnTo>
                      <a:lnTo>
                        <a:pt x="26" y="39"/>
                      </a:lnTo>
                      <a:lnTo>
                        <a:pt x="20" y="37"/>
                      </a:lnTo>
                      <a:lnTo>
                        <a:pt x="14" y="35"/>
                      </a:lnTo>
                      <a:lnTo>
                        <a:pt x="9" y="33"/>
                      </a:lnTo>
                      <a:lnTo>
                        <a:pt x="5" y="31"/>
                      </a:lnTo>
                      <a:lnTo>
                        <a:pt x="2" y="29"/>
                      </a:lnTo>
                      <a:lnTo>
                        <a:pt x="1" y="26"/>
                      </a:lnTo>
                      <a:lnTo>
                        <a:pt x="0" y="25"/>
                      </a:lnTo>
                      <a:lnTo>
                        <a:pt x="0" y="24"/>
                      </a:lnTo>
                      <a:close/>
                    </a:path>
                  </a:pathLst>
                </a:custGeom>
                <a:solidFill>
                  <a:srgbClr val="FFFFFF"/>
                </a:solidFill>
                <a:ln w="9525">
                  <a:solidFill>
                    <a:srgbClr val="000000"/>
                  </a:solidFill>
                  <a:round/>
                  <a:headEnd/>
                  <a:tailEnd/>
                </a:ln>
              </p:spPr>
              <p:txBody>
                <a:bodyPr/>
                <a:lstStyle/>
                <a:p>
                  <a:pPr>
                    <a:defRPr/>
                  </a:pPr>
                  <a:endParaRPr lang="en-US" sz="900" kern="0" dirty="0">
                    <a:solidFill>
                      <a:prstClr val="black"/>
                    </a:solidFill>
                  </a:endParaRPr>
                </a:p>
              </p:txBody>
            </p:sp>
          </p:grpSp>
          <p:sp>
            <p:nvSpPr>
              <p:cNvPr id="580" name="Welle 579"/>
              <p:cNvSpPr/>
              <p:nvPr/>
            </p:nvSpPr>
            <p:spPr>
              <a:xfrm>
                <a:off x="1988840" y="6465168"/>
                <a:ext cx="448993" cy="288032"/>
              </a:xfrm>
              <a:prstGeom prst="wave">
                <a:avLst/>
              </a:prstGeom>
              <a:solidFill>
                <a:srgbClr val="FF0000"/>
              </a:solidFill>
              <a:ln w="25400" cap="rnd" cmpd="sng" algn="ctr">
                <a:noFill/>
                <a:prstDash val="solid"/>
              </a:ln>
              <a:effectLst/>
            </p:spPr>
            <p:txBody>
              <a:bodyPr lIns="0" tIns="0" rIns="0" bIns="0" rtlCol="0" anchor="ctr"/>
              <a:lstStyle/>
              <a:p>
                <a:pPr algn="ctr">
                  <a:defRPr/>
                </a:pPr>
                <a:r>
                  <a:rPr lang="en-US" sz="1200" kern="0" dirty="0" err="1" smtClean="0">
                    <a:solidFill>
                      <a:prstClr val="black"/>
                    </a:solidFill>
                    <a:latin typeface="Calibri"/>
                  </a:rPr>
                  <a:t>Dedup</a:t>
                </a:r>
                <a:endParaRPr lang="en-US" sz="1200" kern="0" dirty="0" smtClean="0">
                  <a:solidFill>
                    <a:prstClr val="black"/>
                  </a:solidFill>
                  <a:latin typeface="Calibri"/>
                </a:endParaRPr>
              </a:p>
            </p:txBody>
          </p:sp>
        </p:grpSp>
        <p:sp>
          <p:nvSpPr>
            <p:cNvPr id="583" name="Rechteck 582"/>
            <p:cNvSpPr/>
            <p:nvPr>
              <p:custDataLst>
                <p:tags r:id="rId60"/>
              </p:custDataLst>
            </p:nvPr>
          </p:nvSpPr>
          <p:spPr bwMode="gray">
            <a:xfrm>
              <a:off x="2261616" y="4418239"/>
              <a:ext cx="457721" cy="221274"/>
            </a:xfrm>
            <a:prstGeom prst="rect">
              <a:avLst/>
            </a:prstGeom>
            <a:noFill/>
            <a:ln w="9525" cap="flat" cmpd="sng" algn="ctr">
              <a:noFill/>
              <a:prstDash val="solid"/>
            </a:ln>
            <a:effectLst/>
          </p:spPr>
          <p:txBody>
            <a:bodyPr lIns="0" tIns="0" rIns="0" bIns="0" rtlCol="0" anchor="t" anchorCtr="0"/>
            <a:lstStyle/>
            <a:p>
              <a:pPr algn="ctr">
                <a:defRPr/>
              </a:pPr>
              <a:r>
                <a:rPr lang="en-US" sz="1100" kern="0" dirty="0" smtClean="0">
                  <a:solidFill>
                    <a:srgbClr val="000000"/>
                  </a:solidFill>
                </a:rPr>
                <a:t>Disk (VTL)</a:t>
              </a:r>
            </a:p>
          </p:txBody>
        </p:sp>
        <p:sp>
          <p:nvSpPr>
            <p:cNvPr id="584" name="Rechteck 583"/>
            <p:cNvSpPr/>
            <p:nvPr>
              <p:custDataLst>
                <p:tags r:id="rId61"/>
              </p:custDataLst>
            </p:nvPr>
          </p:nvSpPr>
          <p:spPr bwMode="gray">
            <a:xfrm>
              <a:off x="3500792" y="4404441"/>
              <a:ext cx="703463" cy="221274"/>
            </a:xfrm>
            <a:prstGeom prst="rect">
              <a:avLst/>
            </a:prstGeom>
            <a:noFill/>
            <a:ln w="9525" cap="flat" cmpd="sng" algn="ctr">
              <a:noFill/>
              <a:prstDash val="solid"/>
            </a:ln>
            <a:effectLst/>
          </p:spPr>
          <p:txBody>
            <a:bodyPr lIns="0" tIns="0" rIns="0" bIns="0" rtlCol="0" anchor="t" anchorCtr="0"/>
            <a:lstStyle/>
            <a:p>
              <a:pPr algn="ctr">
                <a:defRPr/>
              </a:pPr>
              <a:r>
                <a:rPr lang="en-US" sz="1100" kern="0" dirty="0" smtClean="0">
                  <a:solidFill>
                    <a:srgbClr val="000000"/>
                  </a:solidFill>
                </a:rPr>
                <a:t>Dedup</a:t>
              </a:r>
            </a:p>
            <a:p>
              <a:pPr algn="ctr">
                <a:defRPr/>
              </a:pPr>
              <a:r>
                <a:rPr lang="en-US" sz="1100" kern="0" dirty="0">
                  <a:solidFill>
                    <a:srgbClr val="000000"/>
                  </a:solidFill>
                </a:rPr>
                <a:t>d</a:t>
              </a:r>
              <a:r>
                <a:rPr lang="en-US" sz="1100" kern="0" dirty="0" smtClean="0">
                  <a:solidFill>
                    <a:srgbClr val="000000"/>
                  </a:solidFill>
                </a:rPr>
                <a:t>isk (VTL)</a:t>
              </a:r>
            </a:p>
          </p:txBody>
        </p:sp>
        <p:grpSp>
          <p:nvGrpSpPr>
            <p:cNvPr id="585" name="Gruppieren 584"/>
            <p:cNvGrpSpPr/>
            <p:nvPr/>
          </p:nvGrpSpPr>
          <p:grpSpPr>
            <a:xfrm>
              <a:off x="4938529" y="3856009"/>
              <a:ext cx="535162" cy="540501"/>
              <a:chOff x="3028726" y="3909750"/>
              <a:chExt cx="535162" cy="540501"/>
            </a:xfrm>
          </p:grpSpPr>
          <p:pic>
            <p:nvPicPr>
              <p:cNvPr id="586" name="Picture 5" descr="D:\k16\grafika\illustrator\ikony\fts\ikona_fts_01.png"/>
              <p:cNvPicPr>
                <a:picLocks noChangeAspect="1" noChangeArrowheads="1"/>
              </p:cNvPicPr>
              <p:nvPr>
                <p:custDataLst>
                  <p:tags r:id="rId68"/>
                </p:custDataLst>
              </p:nvPr>
            </p:nvPicPr>
            <p:blipFill>
              <a:blip r:embed="rId85" cstate="screen">
                <a:extLst>
                  <a:ext uri="{28A0092B-C50C-407E-A947-70E740481C1C}">
                    <a14:useLocalDpi xmlns:a14="http://schemas.microsoft.com/office/drawing/2010/main"/>
                  </a:ext>
                </a:extLst>
              </a:blip>
              <a:srcRect/>
              <a:stretch>
                <a:fillRect/>
              </a:stretch>
            </p:blipFill>
            <p:spPr bwMode="gray">
              <a:xfrm>
                <a:off x="3028726" y="3909750"/>
                <a:ext cx="535162" cy="540501"/>
              </a:xfrm>
              <a:prstGeom prst="rect">
                <a:avLst/>
              </a:prstGeom>
              <a:noFill/>
            </p:spPr>
          </p:pic>
          <p:pic>
            <p:nvPicPr>
              <p:cNvPr id="587" name="Picture 12" descr="Wolke3_white3"/>
              <p:cNvPicPr>
                <a:picLocks noChangeAspect="1" noChangeArrowheads="1"/>
              </p:cNvPicPr>
              <p:nvPr/>
            </p:nvPicPr>
            <p:blipFill>
              <a:blip r:embed="rId86" cstate="screen">
                <a:extLst>
                  <a:ext uri="{28A0092B-C50C-407E-A947-70E740481C1C}">
                    <a14:useLocalDpi xmlns:a14="http://schemas.microsoft.com/office/drawing/2010/main"/>
                  </a:ext>
                </a:extLst>
              </a:blip>
              <a:srcRect/>
              <a:stretch>
                <a:fillRect/>
              </a:stretch>
            </p:blipFill>
            <p:spPr bwMode="gray">
              <a:xfrm>
                <a:off x="3074436" y="4051675"/>
                <a:ext cx="458715" cy="288095"/>
              </a:xfrm>
              <a:prstGeom prst="rect">
                <a:avLst/>
              </a:prstGeom>
              <a:noFill/>
              <a:ln w="9525">
                <a:noFill/>
                <a:miter lim="800000"/>
                <a:headEnd/>
                <a:tailEnd/>
              </a:ln>
              <a:effectLst>
                <a:outerShdw blurRad="50800" dist="38100" dir="2700000" algn="tl" rotWithShape="0">
                  <a:prstClr val="black">
                    <a:alpha val="40000"/>
                  </a:prstClr>
                </a:outerShdw>
              </a:effectLst>
            </p:spPr>
          </p:pic>
        </p:grpSp>
        <p:sp>
          <p:nvSpPr>
            <p:cNvPr id="588" name="Rechteck 587"/>
            <p:cNvSpPr/>
            <p:nvPr>
              <p:custDataLst>
                <p:tags r:id="rId62"/>
              </p:custDataLst>
            </p:nvPr>
          </p:nvSpPr>
          <p:spPr bwMode="gray">
            <a:xfrm>
              <a:off x="4949685" y="4427441"/>
              <a:ext cx="502440" cy="224637"/>
            </a:xfrm>
            <a:prstGeom prst="rect">
              <a:avLst/>
            </a:prstGeom>
            <a:noFill/>
            <a:ln w="9525" cap="flat" cmpd="sng" algn="ctr">
              <a:noFill/>
              <a:prstDash val="solid"/>
            </a:ln>
            <a:effectLst/>
          </p:spPr>
          <p:txBody>
            <a:bodyPr lIns="0" tIns="0" rIns="0" bIns="0" rtlCol="0" anchor="t" anchorCtr="0"/>
            <a:lstStyle/>
            <a:p>
              <a:pPr algn="ctr">
                <a:defRPr/>
              </a:pPr>
              <a:r>
                <a:rPr lang="en-US" sz="1100" kern="0" dirty="0" smtClean="0">
                  <a:solidFill>
                    <a:srgbClr val="000000"/>
                  </a:solidFill>
                </a:rPr>
                <a:t>(Cloud)</a:t>
              </a:r>
            </a:p>
          </p:txBody>
        </p:sp>
        <p:grpSp>
          <p:nvGrpSpPr>
            <p:cNvPr id="589" name="Gruppieren 588"/>
            <p:cNvGrpSpPr/>
            <p:nvPr>
              <p:custDataLst>
                <p:tags r:id="rId63"/>
              </p:custDataLst>
            </p:nvPr>
          </p:nvGrpSpPr>
          <p:grpSpPr bwMode="gray">
            <a:xfrm>
              <a:off x="4240823" y="3856009"/>
              <a:ext cx="535162" cy="540501"/>
              <a:chOff x="7308304" y="1779787"/>
              <a:chExt cx="576064" cy="576064"/>
            </a:xfrm>
          </p:grpSpPr>
          <p:pic>
            <p:nvPicPr>
              <p:cNvPr id="590" name="Picture 5" descr="D:\k16\grafika\illustrator\ikony\fts\ikona_fts_01.png"/>
              <p:cNvPicPr>
                <a:picLocks noChangeAspect="1" noChangeArrowheads="1"/>
              </p:cNvPicPr>
              <p:nvPr>
                <p:custDataLst>
                  <p:tags r:id="rId66"/>
                </p:custDataLst>
              </p:nvPr>
            </p:nvPicPr>
            <p:blipFill>
              <a:blip r:embed="rId85" cstate="screen">
                <a:extLst>
                  <a:ext uri="{28A0092B-C50C-407E-A947-70E740481C1C}">
                    <a14:useLocalDpi xmlns:a14="http://schemas.microsoft.com/office/drawing/2010/main"/>
                  </a:ext>
                </a:extLst>
              </a:blip>
              <a:srcRect/>
              <a:stretch>
                <a:fillRect/>
              </a:stretch>
            </p:blipFill>
            <p:spPr bwMode="gray">
              <a:xfrm>
                <a:off x="7308304" y="1779787"/>
                <a:ext cx="576064" cy="576064"/>
              </a:xfrm>
              <a:prstGeom prst="rect">
                <a:avLst/>
              </a:prstGeom>
              <a:noFill/>
            </p:spPr>
          </p:pic>
          <p:grpSp>
            <p:nvGrpSpPr>
              <p:cNvPr id="591" name="Gruppieren 336"/>
              <p:cNvGrpSpPr/>
              <p:nvPr>
                <p:custDataLst>
                  <p:tags r:id="rId67"/>
                </p:custDataLst>
              </p:nvPr>
            </p:nvGrpSpPr>
            <p:grpSpPr bwMode="gray">
              <a:xfrm>
                <a:off x="7413774" y="1974157"/>
                <a:ext cx="365125" cy="187325"/>
                <a:chOff x="7987047" y="1582055"/>
                <a:chExt cx="365125" cy="187325"/>
              </a:xfrm>
            </p:grpSpPr>
            <p:sp>
              <p:nvSpPr>
                <p:cNvPr id="592" name="Freeform 48"/>
                <p:cNvSpPr>
                  <a:spLocks/>
                </p:cNvSpPr>
                <p:nvPr/>
              </p:nvSpPr>
              <p:spPr bwMode="gray">
                <a:xfrm>
                  <a:off x="7987047" y="1620155"/>
                  <a:ext cx="365125" cy="149225"/>
                </a:xfrm>
                <a:custGeom>
                  <a:avLst/>
                  <a:gdLst/>
                  <a:ahLst/>
                  <a:cxnLst>
                    <a:cxn ang="0">
                      <a:pos x="230" y="71"/>
                    </a:cxn>
                    <a:cxn ang="0">
                      <a:pos x="230" y="73"/>
                    </a:cxn>
                    <a:cxn ang="0">
                      <a:pos x="228" y="76"/>
                    </a:cxn>
                    <a:cxn ang="0">
                      <a:pos x="225" y="78"/>
                    </a:cxn>
                    <a:cxn ang="0">
                      <a:pos x="221" y="80"/>
                    </a:cxn>
                    <a:cxn ang="0">
                      <a:pos x="216" y="82"/>
                    </a:cxn>
                    <a:cxn ang="0">
                      <a:pos x="211" y="84"/>
                    </a:cxn>
                    <a:cxn ang="0">
                      <a:pos x="204" y="86"/>
                    </a:cxn>
                    <a:cxn ang="0">
                      <a:pos x="197" y="88"/>
                    </a:cxn>
                    <a:cxn ang="0">
                      <a:pos x="180" y="90"/>
                    </a:cxn>
                    <a:cxn ang="0">
                      <a:pos x="160" y="93"/>
                    </a:cxn>
                    <a:cxn ang="0">
                      <a:pos x="139" y="94"/>
                    </a:cxn>
                    <a:cxn ang="0">
                      <a:pos x="116" y="94"/>
                    </a:cxn>
                    <a:cxn ang="0">
                      <a:pos x="93" y="94"/>
                    </a:cxn>
                    <a:cxn ang="0">
                      <a:pos x="71" y="93"/>
                    </a:cxn>
                    <a:cxn ang="0">
                      <a:pos x="61" y="92"/>
                    </a:cxn>
                    <a:cxn ang="0">
                      <a:pos x="52" y="90"/>
                    </a:cxn>
                    <a:cxn ang="0">
                      <a:pos x="35" y="88"/>
                    </a:cxn>
                    <a:cxn ang="0">
                      <a:pos x="26" y="86"/>
                    </a:cxn>
                    <a:cxn ang="0">
                      <a:pos x="20" y="84"/>
                    </a:cxn>
                    <a:cxn ang="0">
                      <a:pos x="14" y="82"/>
                    </a:cxn>
                    <a:cxn ang="0">
                      <a:pos x="9" y="80"/>
                    </a:cxn>
                    <a:cxn ang="0">
                      <a:pos x="5" y="78"/>
                    </a:cxn>
                    <a:cxn ang="0">
                      <a:pos x="2" y="76"/>
                    </a:cxn>
                    <a:cxn ang="0">
                      <a:pos x="1" y="73"/>
                    </a:cxn>
                    <a:cxn ang="0">
                      <a:pos x="0" y="72"/>
                    </a:cxn>
                    <a:cxn ang="0">
                      <a:pos x="0" y="71"/>
                    </a:cxn>
                    <a:cxn ang="0">
                      <a:pos x="0" y="0"/>
                    </a:cxn>
                    <a:cxn ang="0">
                      <a:pos x="229" y="0"/>
                    </a:cxn>
                    <a:cxn ang="0">
                      <a:pos x="230" y="71"/>
                    </a:cxn>
                  </a:cxnLst>
                  <a:rect l="0" t="0" r="r" b="b"/>
                  <a:pathLst>
                    <a:path w="230" h="94">
                      <a:moveTo>
                        <a:pt x="230" y="71"/>
                      </a:moveTo>
                      <a:lnTo>
                        <a:pt x="230" y="73"/>
                      </a:lnTo>
                      <a:lnTo>
                        <a:pt x="228" y="76"/>
                      </a:lnTo>
                      <a:lnTo>
                        <a:pt x="225" y="78"/>
                      </a:lnTo>
                      <a:lnTo>
                        <a:pt x="221" y="80"/>
                      </a:lnTo>
                      <a:lnTo>
                        <a:pt x="216" y="82"/>
                      </a:lnTo>
                      <a:lnTo>
                        <a:pt x="211" y="84"/>
                      </a:lnTo>
                      <a:lnTo>
                        <a:pt x="204" y="86"/>
                      </a:lnTo>
                      <a:lnTo>
                        <a:pt x="197" y="88"/>
                      </a:lnTo>
                      <a:lnTo>
                        <a:pt x="180" y="90"/>
                      </a:lnTo>
                      <a:lnTo>
                        <a:pt x="160" y="93"/>
                      </a:lnTo>
                      <a:lnTo>
                        <a:pt x="139" y="94"/>
                      </a:lnTo>
                      <a:lnTo>
                        <a:pt x="116" y="94"/>
                      </a:lnTo>
                      <a:lnTo>
                        <a:pt x="93" y="94"/>
                      </a:lnTo>
                      <a:lnTo>
                        <a:pt x="71" y="93"/>
                      </a:lnTo>
                      <a:lnTo>
                        <a:pt x="61" y="92"/>
                      </a:lnTo>
                      <a:lnTo>
                        <a:pt x="52" y="90"/>
                      </a:lnTo>
                      <a:lnTo>
                        <a:pt x="35" y="88"/>
                      </a:lnTo>
                      <a:lnTo>
                        <a:pt x="26" y="86"/>
                      </a:lnTo>
                      <a:lnTo>
                        <a:pt x="20" y="84"/>
                      </a:lnTo>
                      <a:lnTo>
                        <a:pt x="14" y="82"/>
                      </a:lnTo>
                      <a:lnTo>
                        <a:pt x="9" y="80"/>
                      </a:lnTo>
                      <a:lnTo>
                        <a:pt x="5" y="78"/>
                      </a:lnTo>
                      <a:lnTo>
                        <a:pt x="2" y="76"/>
                      </a:lnTo>
                      <a:lnTo>
                        <a:pt x="1" y="73"/>
                      </a:lnTo>
                      <a:lnTo>
                        <a:pt x="0" y="72"/>
                      </a:lnTo>
                      <a:lnTo>
                        <a:pt x="0" y="71"/>
                      </a:lnTo>
                      <a:lnTo>
                        <a:pt x="0" y="0"/>
                      </a:lnTo>
                      <a:lnTo>
                        <a:pt x="229" y="0"/>
                      </a:lnTo>
                      <a:lnTo>
                        <a:pt x="230" y="71"/>
                      </a:lnTo>
                      <a:close/>
                    </a:path>
                  </a:pathLst>
                </a:custGeom>
                <a:solidFill>
                  <a:srgbClr val="000000"/>
                </a:solidFill>
                <a:ln w="9525">
                  <a:solidFill>
                    <a:srgbClr val="000000"/>
                  </a:solidFill>
                  <a:round/>
                  <a:headEnd/>
                  <a:tailEnd/>
                </a:ln>
              </p:spPr>
              <p:txBody>
                <a:bodyPr/>
                <a:lstStyle/>
                <a:p>
                  <a:pPr>
                    <a:defRPr/>
                  </a:pPr>
                  <a:endParaRPr lang="en-US" sz="900" kern="0" dirty="0">
                    <a:solidFill>
                      <a:sysClr val="windowText" lastClr="000000"/>
                    </a:solidFill>
                  </a:endParaRPr>
                </a:p>
              </p:txBody>
            </p:sp>
            <p:sp>
              <p:nvSpPr>
                <p:cNvPr id="593" name="Freeform 49"/>
                <p:cNvSpPr>
                  <a:spLocks/>
                </p:cNvSpPr>
                <p:nvPr/>
              </p:nvSpPr>
              <p:spPr bwMode="gray">
                <a:xfrm>
                  <a:off x="7987047" y="1582055"/>
                  <a:ext cx="365125" cy="74612"/>
                </a:xfrm>
                <a:custGeom>
                  <a:avLst/>
                  <a:gdLst/>
                  <a:ahLst/>
                  <a:cxnLst>
                    <a:cxn ang="0">
                      <a:pos x="0" y="24"/>
                    </a:cxn>
                    <a:cxn ang="0">
                      <a:pos x="1" y="21"/>
                    </a:cxn>
                    <a:cxn ang="0">
                      <a:pos x="2" y="19"/>
                    </a:cxn>
                    <a:cxn ang="0">
                      <a:pos x="5" y="17"/>
                    </a:cxn>
                    <a:cxn ang="0">
                      <a:pos x="9" y="15"/>
                    </a:cxn>
                    <a:cxn ang="0">
                      <a:pos x="14" y="13"/>
                    </a:cxn>
                    <a:cxn ang="0">
                      <a:pos x="20" y="11"/>
                    </a:cxn>
                    <a:cxn ang="0">
                      <a:pos x="26" y="9"/>
                    </a:cxn>
                    <a:cxn ang="0">
                      <a:pos x="35" y="7"/>
                    </a:cxn>
                    <a:cxn ang="0">
                      <a:pos x="52" y="4"/>
                    </a:cxn>
                    <a:cxn ang="0">
                      <a:pos x="71" y="2"/>
                    </a:cxn>
                    <a:cxn ang="0">
                      <a:pos x="93" y="1"/>
                    </a:cxn>
                    <a:cxn ang="0">
                      <a:pos x="116" y="0"/>
                    </a:cxn>
                    <a:cxn ang="0">
                      <a:pos x="139" y="1"/>
                    </a:cxn>
                    <a:cxn ang="0">
                      <a:pos x="160" y="2"/>
                    </a:cxn>
                    <a:cxn ang="0">
                      <a:pos x="170" y="3"/>
                    </a:cxn>
                    <a:cxn ang="0">
                      <a:pos x="180" y="4"/>
                    </a:cxn>
                    <a:cxn ang="0">
                      <a:pos x="197" y="7"/>
                    </a:cxn>
                    <a:cxn ang="0">
                      <a:pos x="204" y="9"/>
                    </a:cxn>
                    <a:cxn ang="0">
                      <a:pos x="211" y="11"/>
                    </a:cxn>
                    <a:cxn ang="0">
                      <a:pos x="216" y="13"/>
                    </a:cxn>
                    <a:cxn ang="0">
                      <a:pos x="221" y="15"/>
                    </a:cxn>
                    <a:cxn ang="0">
                      <a:pos x="225" y="17"/>
                    </a:cxn>
                    <a:cxn ang="0">
                      <a:pos x="228" y="19"/>
                    </a:cxn>
                    <a:cxn ang="0">
                      <a:pos x="230" y="21"/>
                    </a:cxn>
                    <a:cxn ang="0">
                      <a:pos x="230" y="23"/>
                    </a:cxn>
                    <a:cxn ang="0">
                      <a:pos x="230" y="24"/>
                    </a:cxn>
                    <a:cxn ang="0">
                      <a:pos x="230" y="26"/>
                    </a:cxn>
                    <a:cxn ang="0">
                      <a:pos x="228" y="29"/>
                    </a:cxn>
                    <a:cxn ang="0">
                      <a:pos x="225" y="31"/>
                    </a:cxn>
                    <a:cxn ang="0">
                      <a:pos x="221" y="33"/>
                    </a:cxn>
                    <a:cxn ang="0">
                      <a:pos x="216" y="35"/>
                    </a:cxn>
                    <a:cxn ang="0">
                      <a:pos x="211" y="37"/>
                    </a:cxn>
                    <a:cxn ang="0">
                      <a:pos x="204" y="39"/>
                    </a:cxn>
                    <a:cxn ang="0">
                      <a:pos x="197" y="40"/>
                    </a:cxn>
                    <a:cxn ang="0">
                      <a:pos x="180" y="43"/>
                    </a:cxn>
                    <a:cxn ang="0">
                      <a:pos x="160" y="45"/>
                    </a:cxn>
                    <a:cxn ang="0">
                      <a:pos x="139" y="47"/>
                    </a:cxn>
                    <a:cxn ang="0">
                      <a:pos x="116" y="47"/>
                    </a:cxn>
                    <a:cxn ang="0">
                      <a:pos x="93" y="47"/>
                    </a:cxn>
                    <a:cxn ang="0">
                      <a:pos x="71" y="45"/>
                    </a:cxn>
                    <a:cxn ang="0">
                      <a:pos x="61" y="44"/>
                    </a:cxn>
                    <a:cxn ang="0">
                      <a:pos x="52" y="43"/>
                    </a:cxn>
                    <a:cxn ang="0">
                      <a:pos x="35" y="40"/>
                    </a:cxn>
                    <a:cxn ang="0">
                      <a:pos x="26" y="39"/>
                    </a:cxn>
                    <a:cxn ang="0">
                      <a:pos x="20" y="37"/>
                    </a:cxn>
                    <a:cxn ang="0">
                      <a:pos x="14" y="35"/>
                    </a:cxn>
                    <a:cxn ang="0">
                      <a:pos x="9" y="33"/>
                    </a:cxn>
                    <a:cxn ang="0">
                      <a:pos x="5" y="31"/>
                    </a:cxn>
                    <a:cxn ang="0">
                      <a:pos x="2" y="29"/>
                    </a:cxn>
                    <a:cxn ang="0">
                      <a:pos x="1" y="26"/>
                    </a:cxn>
                    <a:cxn ang="0">
                      <a:pos x="0" y="25"/>
                    </a:cxn>
                    <a:cxn ang="0">
                      <a:pos x="0" y="24"/>
                    </a:cxn>
                  </a:cxnLst>
                  <a:rect l="0" t="0" r="r" b="b"/>
                  <a:pathLst>
                    <a:path w="230" h="47">
                      <a:moveTo>
                        <a:pt x="0" y="24"/>
                      </a:moveTo>
                      <a:lnTo>
                        <a:pt x="1" y="21"/>
                      </a:lnTo>
                      <a:lnTo>
                        <a:pt x="2" y="19"/>
                      </a:lnTo>
                      <a:lnTo>
                        <a:pt x="5" y="17"/>
                      </a:lnTo>
                      <a:lnTo>
                        <a:pt x="9" y="15"/>
                      </a:lnTo>
                      <a:lnTo>
                        <a:pt x="14" y="13"/>
                      </a:lnTo>
                      <a:lnTo>
                        <a:pt x="20" y="11"/>
                      </a:lnTo>
                      <a:lnTo>
                        <a:pt x="26" y="9"/>
                      </a:lnTo>
                      <a:lnTo>
                        <a:pt x="35" y="7"/>
                      </a:lnTo>
                      <a:lnTo>
                        <a:pt x="52" y="4"/>
                      </a:lnTo>
                      <a:lnTo>
                        <a:pt x="71" y="2"/>
                      </a:lnTo>
                      <a:lnTo>
                        <a:pt x="93" y="1"/>
                      </a:lnTo>
                      <a:lnTo>
                        <a:pt x="116" y="0"/>
                      </a:lnTo>
                      <a:lnTo>
                        <a:pt x="139" y="1"/>
                      </a:lnTo>
                      <a:lnTo>
                        <a:pt x="160" y="2"/>
                      </a:lnTo>
                      <a:lnTo>
                        <a:pt x="170" y="3"/>
                      </a:lnTo>
                      <a:lnTo>
                        <a:pt x="180" y="4"/>
                      </a:lnTo>
                      <a:lnTo>
                        <a:pt x="197" y="7"/>
                      </a:lnTo>
                      <a:lnTo>
                        <a:pt x="204" y="9"/>
                      </a:lnTo>
                      <a:lnTo>
                        <a:pt x="211" y="11"/>
                      </a:lnTo>
                      <a:lnTo>
                        <a:pt x="216" y="13"/>
                      </a:lnTo>
                      <a:lnTo>
                        <a:pt x="221" y="15"/>
                      </a:lnTo>
                      <a:lnTo>
                        <a:pt x="225" y="17"/>
                      </a:lnTo>
                      <a:lnTo>
                        <a:pt x="228" y="19"/>
                      </a:lnTo>
                      <a:lnTo>
                        <a:pt x="230" y="21"/>
                      </a:lnTo>
                      <a:lnTo>
                        <a:pt x="230" y="23"/>
                      </a:lnTo>
                      <a:lnTo>
                        <a:pt x="230" y="24"/>
                      </a:lnTo>
                      <a:lnTo>
                        <a:pt x="230" y="26"/>
                      </a:lnTo>
                      <a:lnTo>
                        <a:pt x="228" y="29"/>
                      </a:lnTo>
                      <a:lnTo>
                        <a:pt x="225" y="31"/>
                      </a:lnTo>
                      <a:lnTo>
                        <a:pt x="221" y="33"/>
                      </a:lnTo>
                      <a:lnTo>
                        <a:pt x="216" y="35"/>
                      </a:lnTo>
                      <a:lnTo>
                        <a:pt x="211" y="37"/>
                      </a:lnTo>
                      <a:lnTo>
                        <a:pt x="204" y="39"/>
                      </a:lnTo>
                      <a:lnTo>
                        <a:pt x="197" y="40"/>
                      </a:lnTo>
                      <a:lnTo>
                        <a:pt x="180" y="43"/>
                      </a:lnTo>
                      <a:lnTo>
                        <a:pt x="160" y="45"/>
                      </a:lnTo>
                      <a:lnTo>
                        <a:pt x="139" y="47"/>
                      </a:lnTo>
                      <a:lnTo>
                        <a:pt x="116" y="47"/>
                      </a:lnTo>
                      <a:lnTo>
                        <a:pt x="93" y="47"/>
                      </a:lnTo>
                      <a:lnTo>
                        <a:pt x="71" y="45"/>
                      </a:lnTo>
                      <a:lnTo>
                        <a:pt x="61" y="44"/>
                      </a:lnTo>
                      <a:lnTo>
                        <a:pt x="52" y="43"/>
                      </a:lnTo>
                      <a:lnTo>
                        <a:pt x="35" y="40"/>
                      </a:lnTo>
                      <a:lnTo>
                        <a:pt x="26" y="39"/>
                      </a:lnTo>
                      <a:lnTo>
                        <a:pt x="20" y="37"/>
                      </a:lnTo>
                      <a:lnTo>
                        <a:pt x="14" y="35"/>
                      </a:lnTo>
                      <a:lnTo>
                        <a:pt x="9" y="33"/>
                      </a:lnTo>
                      <a:lnTo>
                        <a:pt x="5" y="31"/>
                      </a:lnTo>
                      <a:lnTo>
                        <a:pt x="2" y="29"/>
                      </a:lnTo>
                      <a:lnTo>
                        <a:pt x="1" y="26"/>
                      </a:lnTo>
                      <a:lnTo>
                        <a:pt x="0" y="25"/>
                      </a:lnTo>
                      <a:lnTo>
                        <a:pt x="0" y="24"/>
                      </a:lnTo>
                      <a:close/>
                    </a:path>
                  </a:pathLst>
                </a:custGeom>
                <a:solidFill>
                  <a:srgbClr val="FFFFFF"/>
                </a:solidFill>
                <a:ln w="9525">
                  <a:solidFill>
                    <a:srgbClr val="000000"/>
                  </a:solidFill>
                  <a:round/>
                  <a:headEnd/>
                  <a:tailEnd/>
                </a:ln>
              </p:spPr>
              <p:txBody>
                <a:bodyPr/>
                <a:lstStyle/>
                <a:p>
                  <a:pPr>
                    <a:defRPr/>
                  </a:pPr>
                  <a:endParaRPr lang="en-US" sz="900" kern="0" dirty="0">
                    <a:solidFill>
                      <a:sysClr val="windowText" lastClr="000000"/>
                    </a:solidFill>
                  </a:endParaRPr>
                </a:p>
              </p:txBody>
            </p:sp>
          </p:grpSp>
        </p:grpSp>
        <p:sp>
          <p:nvSpPr>
            <p:cNvPr id="594" name="Rechteck 593"/>
            <p:cNvSpPr/>
            <p:nvPr>
              <p:custDataLst>
                <p:tags r:id="rId64"/>
              </p:custDataLst>
            </p:nvPr>
          </p:nvSpPr>
          <p:spPr bwMode="gray">
            <a:xfrm>
              <a:off x="4286533" y="4422514"/>
              <a:ext cx="457721" cy="221274"/>
            </a:xfrm>
            <a:prstGeom prst="rect">
              <a:avLst/>
            </a:prstGeom>
            <a:noFill/>
            <a:ln w="9525" cap="flat" cmpd="sng" algn="ctr">
              <a:noFill/>
              <a:prstDash val="solid"/>
            </a:ln>
            <a:effectLst/>
          </p:spPr>
          <p:txBody>
            <a:bodyPr lIns="0" tIns="0" rIns="0" bIns="0" rtlCol="0" anchor="t" anchorCtr="0"/>
            <a:lstStyle/>
            <a:p>
              <a:pPr algn="ctr">
                <a:defRPr/>
              </a:pPr>
              <a:r>
                <a:rPr lang="en-US" sz="1100" kern="0" dirty="0" smtClean="0">
                  <a:solidFill>
                    <a:srgbClr val="000000"/>
                  </a:solidFill>
                </a:rPr>
                <a:t>Disk (NAS)</a:t>
              </a:r>
            </a:p>
          </p:txBody>
        </p:sp>
        <p:sp>
          <p:nvSpPr>
            <p:cNvPr id="563" name="Rechteck 562"/>
            <p:cNvSpPr/>
            <p:nvPr>
              <p:custDataLst>
                <p:tags r:id="rId65"/>
              </p:custDataLst>
            </p:nvPr>
          </p:nvSpPr>
          <p:spPr bwMode="gray">
            <a:xfrm>
              <a:off x="2940189" y="3608996"/>
              <a:ext cx="1584176" cy="220199"/>
            </a:xfrm>
            <a:prstGeom prst="rect">
              <a:avLst/>
            </a:prstGeom>
            <a:noFill/>
            <a:ln w="9525" cap="flat" cmpd="sng" algn="ctr">
              <a:noFill/>
              <a:prstDash val="solid"/>
            </a:ln>
            <a:effectLst/>
          </p:spPr>
          <p:txBody>
            <a:bodyPr lIns="0" tIns="0" rIns="0" bIns="0" rtlCol="0" anchor="t" anchorCtr="0"/>
            <a:lstStyle/>
            <a:p>
              <a:pPr algn="ctr">
                <a:defRPr/>
              </a:pPr>
              <a:r>
                <a:rPr lang="en-US" sz="1200" b="1" kern="0" dirty="0" smtClean="0">
                  <a:solidFill>
                    <a:srgbClr val="FFFFFF"/>
                  </a:solidFill>
                </a:rPr>
                <a:t>ETERNUS CS8000</a:t>
              </a:r>
            </a:p>
          </p:txBody>
        </p:sp>
      </p:grpSp>
      <p:grpSp>
        <p:nvGrpSpPr>
          <p:cNvPr id="9" name="Gruppieren 8"/>
          <p:cNvGrpSpPr/>
          <p:nvPr/>
        </p:nvGrpSpPr>
        <p:grpSpPr>
          <a:xfrm>
            <a:off x="5658779" y="2172254"/>
            <a:ext cx="3132672" cy="1683763"/>
            <a:chOff x="5658779" y="2172247"/>
            <a:chExt cx="3132672" cy="1683763"/>
          </a:xfrm>
        </p:grpSpPr>
        <p:sp>
          <p:nvSpPr>
            <p:cNvPr id="437" name="Abgerundetes Rechteck 436"/>
            <p:cNvSpPr/>
            <p:nvPr/>
          </p:nvSpPr>
          <p:spPr>
            <a:xfrm>
              <a:off x="5747640" y="2507908"/>
              <a:ext cx="3043811" cy="1348102"/>
            </a:xfrm>
            <a:prstGeom prst="roundRect">
              <a:avLst>
                <a:gd name="adj" fmla="val 0"/>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bIns="0" rtlCol="0" anchor="b" anchorCtr="0"/>
            <a:lstStyle/>
            <a:p>
              <a:pPr algn="ctr"/>
              <a:endParaRPr lang="en-US" sz="1050" dirty="0" smtClean="0">
                <a:solidFill>
                  <a:srgbClr val="FFFFFF"/>
                </a:solidFill>
              </a:endParaRPr>
            </a:p>
            <a:p>
              <a:pPr algn="ctr"/>
              <a:endParaRPr lang="en-US" sz="1050" dirty="0">
                <a:solidFill>
                  <a:srgbClr val="FFFFFF"/>
                </a:solidFill>
              </a:endParaRPr>
            </a:p>
            <a:p>
              <a:pPr algn="ctr"/>
              <a:endParaRPr lang="en-US" sz="1050" dirty="0" smtClean="0">
                <a:solidFill>
                  <a:srgbClr val="FFFFFF"/>
                </a:solidFill>
              </a:endParaRPr>
            </a:p>
            <a:p>
              <a:pPr algn="ctr"/>
              <a:endParaRPr lang="en-US" sz="1050" dirty="0" smtClean="0">
                <a:solidFill>
                  <a:srgbClr val="FFFFFF"/>
                </a:solidFill>
              </a:endParaRPr>
            </a:p>
            <a:p>
              <a:pPr algn="ctr"/>
              <a:endParaRPr lang="en-US" sz="1050" dirty="0">
                <a:solidFill>
                  <a:srgbClr val="FFFFFF"/>
                </a:solidFill>
              </a:endParaRPr>
            </a:p>
          </p:txBody>
        </p:sp>
        <p:sp>
          <p:nvSpPr>
            <p:cNvPr id="438" name="Pfeil nach oben und unten 437"/>
            <p:cNvSpPr/>
            <p:nvPr>
              <p:custDataLst>
                <p:tags r:id="rId41"/>
              </p:custDataLst>
            </p:nvPr>
          </p:nvSpPr>
          <p:spPr bwMode="gray">
            <a:xfrm>
              <a:off x="7038871" y="2172247"/>
              <a:ext cx="201628" cy="288040"/>
            </a:xfrm>
            <a:prstGeom prst="upDownArrow">
              <a:avLst>
                <a:gd name="adj1" fmla="val 52755"/>
                <a:gd name="adj2" fmla="val 41733"/>
              </a:avLst>
            </a:prstGeom>
            <a:solidFill>
              <a:schemeClr val="accent1"/>
            </a:solidFill>
            <a:ln w="12700">
              <a:solidFill>
                <a:schemeClr val="bg1"/>
              </a:solidFill>
              <a:round/>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smtClean="0">
                <a:solidFill>
                  <a:srgbClr val="000000"/>
                </a:solidFill>
              </a:endParaRPr>
            </a:p>
          </p:txBody>
        </p:sp>
        <p:sp>
          <p:nvSpPr>
            <p:cNvPr id="440" name="Pfeil nach oben und unten 439"/>
            <p:cNvSpPr/>
            <p:nvPr>
              <p:custDataLst>
                <p:tags r:id="rId42"/>
              </p:custDataLst>
            </p:nvPr>
          </p:nvSpPr>
          <p:spPr bwMode="gray">
            <a:xfrm>
              <a:off x="7945243" y="2172247"/>
              <a:ext cx="201628" cy="288040"/>
            </a:xfrm>
            <a:prstGeom prst="upDownArrow">
              <a:avLst>
                <a:gd name="adj1" fmla="val 52755"/>
                <a:gd name="adj2" fmla="val 41733"/>
              </a:avLst>
            </a:prstGeom>
            <a:solidFill>
              <a:schemeClr val="accent1"/>
            </a:solidFill>
            <a:ln w="12700">
              <a:solidFill>
                <a:schemeClr val="bg1"/>
              </a:solidFill>
              <a:round/>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smtClean="0">
                <a:solidFill>
                  <a:srgbClr val="000000"/>
                </a:solidFill>
              </a:endParaRPr>
            </a:p>
          </p:txBody>
        </p:sp>
        <p:sp>
          <p:nvSpPr>
            <p:cNvPr id="441" name="Pfeil nach oben und unten 440"/>
            <p:cNvSpPr/>
            <p:nvPr>
              <p:custDataLst>
                <p:tags r:id="rId43"/>
              </p:custDataLst>
            </p:nvPr>
          </p:nvSpPr>
          <p:spPr bwMode="gray">
            <a:xfrm>
              <a:off x="6143439" y="2172247"/>
              <a:ext cx="201628" cy="288040"/>
            </a:xfrm>
            <a:prstGeom prst="upDownArrow">
              <a:avLst>
                <a:gd name="adj1" fmla="val 52755"/>
                <a:gd name="adj2" fmla="val 41733"/>
              </a:avLst>
            </a:prstGeom>
            <a:solidFill>
              <a:schemeClr val="accent1"/>
            </a:solidFill>
            <a:ln w="12700">
              <a:solidFill>
                <a:schemeClr val="bg1"/>
              </a:solidFill>
              <a:round/>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smtClean="0">
                <a:solidFill>
                  <a:srgbClr val="000000"/>
                </a:solidFill>
              </a:endParaRPr>
            </a:p>
          </p:txBody>
        </p:sp>
        <p:sp>
          <p:nvSpPr>
            <p:cNvPr id="445" name="Abgerundetes Rechteck 444"/>
            <p:cNvSpPr/>
            <p:nvPr>
              <p:custDataLst>
                <p:tags r:id="rId44"/>
              </p:custDataLst>
            </p:nvPr>
          </p:nvSpPr>
          <p:spPr bwMode="gray">
            <a:xfrm>
              <a:off x="7422079" y="3020352"/>
              <a:ext cx="589632" cy="751666"/>
            </a:xfrm>
            <a:prstGeom prst="roundRect">
              <a:avLst>
                <a:gd name="adj" fmla="val 14703"/>
              </a:avLst>
            </a:prstGeom>
            <a:gradFill flip="none" rotWithShape="1">
              <a:gsLst>
                <a:gs pos="0">
                  <a:schemeClr val="bg2"/>
                </a:gs>
                <a:gs pos="50000">
                  <a:schemeClr val="bg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Ins="54000" rtlCol="0" anchor="t" anchorCtr="0"/>
            <a:lstStyle/>
            <a:p>
              <a:pPr algn="ctr">
                <a:buClr>
                  <a:srgbClr val="A30B1A"/>
                </a:buClr>
              </a:pPr>
              <a:r>
                <a:rPr lang="en-US" sz="1100" dirty="0" smtClean="0">
                  <a:solidFill>
                    <a:srgbClr val="000000"/>
                  </a:solidFill>
                </a:rPr>
                <a:t>Disk </a:t>
              </a:r>
            </a:p>
          </p:txBody>
        </p:sp>
        <p:pic>
          <p:nvPicPr>
            <p:cNvPr id="446" name="Picture 5" descr="D:\k16\grafika\illustrator\ikony\fts\ikona_fts_01.png"/>
            <p:cNvPicPr>
              <a:picLocks noChangeAspect="1" noChangeArrowheads="1"/>
            </p:cNvPicPr>
            <p:nvPr>
              <p:custDataLst>
                <p:tags r:id="rId45"/>
              </p:custDataLst>
            </p:nvPr>
          </p:nvPicPr>
          <p:blipFill>
            <a:blip r:embed="rId87" cstate="email">
              <a:extLst>
                <a:ext uri="{28A0092B-C50C-407E-A947-70E740481C1C}">
                  <a14:useLocalDpi xmlns:a14="http://schemas.microsoft.com/office/drawing/2010/main"/>
                </a:ext>
              </a:extLst>
            </a:blip>
            <a:srcRect/>
            <a:stretch>
              <a:fillRect/>
            </a:stretch>
          </p:blipFill>
          <p:spPr bwMode="gray">
            <a:xfrm>
              <a:off x="7564685" y="3382098"/>
              <a:ext cx="324036" cy="324036"/>
            </a:xfrm>
            <a:prstGeom prst="rect">
              <a:avLst/>
            </a:prstGeom>
            <a:noFill/>
          </p:spPr>
        </p:pic>
        <p:grpSp>
          <p:nvGrpSpPr>
            <p:cNvPr id="447" name="Gruppieren 127"/>
            <p:cNvGrpSpPr/>
            <p:nvPr>
              <p:custDataLst>
                <p:tags r:id="rId46"/>
              </p:custDataLst>
            </p:nvPr>
          </p:nvGrpSpPr>
          <p:grpSpPr bwMode="gray">
            <a:xfrm>
              <a:off x="7624012" y="3491432"/>
              <a:ext cx="205383" cy="105369"/>
              <a:chOff x="7987047" y="1582055"/>
              <a:chExt cx="365125" cy="187323"/>
            </a:xfrm>
          </p:grpSpPr>
          <p:sp>
            <p:nvSpPr>
              <p:cNvPr id="458" name="Freeform 48"/>
              <p:cNvSpPr>
                <a:spLocks/>
              </p:cNvSpPr>
              <p:nvPr/>
            </p:nvSpPr>
            <p:spPr bwMode="gray">
              <a:xfrm>
                <a:off x="7987047" y="1620153"/>
                <a:ext cx="365125" cy="149225"/>
              </a:xfrm>
              <a:custGeom>
                <a:avLst/>
                <a:gdLst/>
                <a:ahLst/>
                <a:cxnLst>
                  <a:cxn ang="0">
                    <a:pos x="230" y="71"/>
                  </a:cxn>
                  <a:cxn ang="0">
                    <a:pos x="230" y="73"/>
                  </a:cxn>
                  <a:cxn ang="0">
                    <a:pos x="228" y="76"/>
                  </a:cxn>
                  <a:cxn ang="0">
                    <a:pos x="225" y="78"/>
                  </a:cxn>
                  <a:cxn ang="0">
                    <a:pos x="221" y="80"/>
                  </a:cxn>
                  <a:cxn ang="0">
                    <a:pos x="216" y="82"/>
                  </a:cxn>
                  <a:cxn ang="0">
                    <a:pos x="211" y="84"/>
                  </a:cxn>
                  <a:cxn ang="0">
                    <a:pos x="204" y="86"/>
                  </a:cxn>
                  <a:cxn ang="0">
                    <a:pos x="197" y="88"/>
                  </a:cxn>
                  <a:cxn ang="0">
                    <a:pos x="180" y="90"/>
                  </a:cxn>
                  <a:cxn ang="0">
                    <a:pos x="160" y="93"/>
                  </a:cxn>
                  <a:cxn ang="0">
                    <a:pos x="139" y="94"/>
                  </a:cxn>
                  <a:cxn ang="0">
                    <a:pos x="116" y="94"/>
                  </a:cxn>
                  <a:cxn ang="0">
                    <a:pos x="93" y="94"/>
                  </a:cxn>
                  <a:cxn ang="0">
                    <a:pos x="71" y="93"/>
                  </a:cxn>
                  <a:cxn ang="0">
                    <a:pos x="61" y="92"/>
                  </a:cxn>
                  <a:cxn ang="0">
                    <a:pos x="52" y="90"/>
                  </a:cxn>
                  <a:cxn ang="0">
                    <a:pos x="35" y="88"/>
                  </a:cxn>
                  <a:cxn ang="0">
                    <a:pos x="26" y="86"/>
                  </a:cxn>
                  <a:cxn ang="0">
                    <a:pos x="20" y="84"/>
                  </a:cxn>
                  <a:cxn ang="0">
                    <a:pos x="14" y="82"/>
                  </a:cxn>
                  <a:cxn ang="0">
                    <a:pos x="9" y="80"/>
                  </a:cxn>
                  <a:cxn ang="0">
                    <a:pos x="5" y="78"/>
                  </a:cxn>
                  <a:cxn ang="0">
                    <a:pos x="2" y="76"/>
                  </a:cxn>
                  <a:cxn ang="0">
                    <a:pos x="1" y="73"/>
                  </a:cxn>
                  <a:cxn ang="0">
                    <a:pos x="0" y="72"/>
                  </a:cxn>
                  <a:cxn ang="0">
                    <a:pos x="0" y="71"/>
                  </a:cxn>
                  <a:cxn ang="0">
                    <a:pos x="0" y="0"/>
                  </a:cxn>
                  <a:cxn ang="0">
                    <a:pos x="229" y="0"/>
                  </a:cxn>
                  <a:cxn ang="0">
                    <a:pos x="230" y="71"/>
                  </a:cxn>
                </a:cxnLst>
                <a:rect l="0" t="0" r="r" b="b"/>
                <a:pathLst>
                  <a:path w="230" h="94">
                    <a:moveTo>
                      <a:pt x="230" y="71"/>
                    </a:moveTo>
                    <a:lnTo>
                      <a:pt x="230" y="73"/>
                    </a:lnTo>
                    <a:lnTo>
                      <a:pt x="228" y="76"/>
                    </a:lnTo>
                    <a:lnTo>
                      <a:pt x="225" y="78"/>
                    </a:lnTo>
                    <a:lnTo>
                      <a:pt x="221" y="80"/>
                    </a:lnTo>
                    <a:lnTo>
                      <a:pt x="216" y="82"/>
                    </a:lnTo>
                    <a:lnTo>
                      <a:pt x="211" y="84"/>
                    </a:lnTo>
                    <a:lnTo>
                      <a:pt x="204" y="86"/>
                    </a:lnTo>
                    <a:lnTo>
                      <a:pt x="197" y="88"/>
                    </a:lnTo>
                    <a:lnTo>
                      <a:pt x="180" y="90"/>
                    </a:lnTo>
                    <a:lnTo>
                      <a:pt x="160" y="93"/>
                    </a:lnTo>
                    <a:lnTo>
                      <a:pt x="139" y="94"/>
                    </a:lnTo>
                    <a:lnTo>
                      <a:pt x="116" y="94"/>
                    </a:lnTo>
                    <a:lnTo>
                      <a:pt x="93" y="94"/>
                    </a:lnTo>
                    <a:lnTo>
                      <a:pt x="71" y="93"/>
                    </a:lnTo>
                    <a:lnTo>
                      <a:pt x="61" y="92"/>
                    </a:lnTo>
                    <a:lnTo>
                      <a:pt x="52" y="90"/>
                    </a:lnTo>
                    <a:lnTo>
                      <a:pt x="35" y="88"/>
                    </a:lnTo>
                    <a:lnTo>
                      <a:pt x="26" y="86"/>
                    </a:lnTo>
                    <a:lnTo>
                      <a:pt x="20" y="84"/>
                    </a:lnTo>
                    <a:lnTo>
                      <a:pt x="14" y="82"/>
                    </a:lnTo>
                    <a:lnTo>
                      <a:pt x="9" y="80"/>
                    </a:lnTo>
                    <a:lnTo>
                      <a:pt x="5" y="78"/>
                    </a:lnTo>
                    <a:lnTo>
                      <a:pt x="2" y="76"/>
                    </a:lnTo>
                    <a:lnTo>
                      <a:pt x="1" y="73"/>
                    </a:lnTo>
                    <a:lnTo>
                      <a:pt x="0" y="72"/>
                    </a:lnTo>
                    <a:lnTo>
                      <a:pt x="0" y="71"/>
                    </a:lnTo>
                    <a:lnTo>
                      <a:pt x="0" y="0"/>
                    </a:lnTo>
                    <a:lnTo>
                      <a:pt x="229" y="0"/>
                    </a:lnTo>
                    <a:lnTo>
                      <a:pt x="230" y="71"/>
                    </a:lnTo>
                    <a:close/>
                  </a:path>
                </a:pathLst>
              </a:custGeom>
              <a:solidFill>
                <a:schemeClr val="tx1"/>
              </a:solidFill>
              <a:ln w="9525">
                <a:solidFill>
                  <a:schemeClr val="tx1"/>
                </a:solidFill>
                <a:round/>
                <a:headEnd/>
                <a:tailEnd/>
              </a:ln>
            </p:spPr>
            <p:txBody>
              <a:bodyPr/>
              <a:lstStyle/>
              <a:p>
                <a:endParaRPr lang="en-US" dirty="0">
                  <a:solidFill>
                    <a:srgbClr val="000000"/>
                  </a:solidFill>
                </a:endParaRPr>
              </a:p>
            </p:txBody>
          </p:sp>
          <p:sp>
            <p:nvSpPr>
              <p:cNvPr id="459" name="Freeform 49"/>
              <p:cNvSpPr>
                <a:spLocks/>
              </p:cNvSpPr>
              <p:nvPr/>
            </p:nvSpPr>
            <p:spPr bwMode="gray">
              <a:xfrm>
                <a:off x="7987047" y="1582055"/>
                <a:ext cx="365125" cy="74612"/>
              </a:xfrm>
              <a:custGeom>
                <a:avLst/>
                <a:gdLst/>
                <a:ahLst/>
                <a:cxnLst>
                  <a:cxn ang="0">
                    <a:pos x="0" y="24"/>
                  </a:cxn>
                  <a:cxn ang="0">
                    <a:pos x="1" y="21"/>
                  </a:cxn>
                  <a:cxn ang="0">
                    <a:pos x="2" y="19"/>
                  </a:cxn>
                  <a:cxn ang="0">
                    <a:pos x="5" y="17"/>
                  </a:cxn>
                  <a:cxn ang="0">
                    <a:pos x="9" y="15"/>
                  </a:cxn>
                  <a:cxn ang="0">
                    <a:pos x="14" y="13"/>
                  </a:cxn>
                  <a:cxn ang="0">
                    <a:pos x="20" y="11"/>
                  </a:cxn>
                  <a:cxn ang="0">
                    <a:pos x="26" y="9"/>
                  </a:cxn>
                  <a:cxn ang="0">
                    <a:pos x="35" y="7"/>
                  </a:cxn>
                  <a:cxn ang="0">
                    <a:pos x="52" y="4"/>
                  </a:cxn>
                  <a:cxn ang="0">
                    <a:pos x="71" y="2"/>
                  </a:cxn>
                  <a:cxn ang="0">
                    <a:pos x="93" y="1"/>
                  </a:cxn>
                  <a:cxn ang="0">
                    <a:pos x="116" y="0"/>
                  </a:cxn>
                  <a:cxn ang="0">
                    <a:pos x="139" y="1"/>
                  </a:cxn>
                  <a:cxn ang="0">
                    <a:pos x="160" y="2"/>
                  </a:cxn>
                  <a:cxn ang="0">
                    <a:pos x="170" y="3"/>
                  </a:cxn>
                  <a:cxn ang="0">
                    <a:pos x="180" y="4"/>
                  </a:cxn>
                  <a:cxn ang="0">
                    <a:pos x="197" y="7"/>
                  </a:cxn>
                  <a:cxn ang="0">
                    <a:pos x="204" y="9"/>
                  </a:cxn>
                  <a:cxn ang="0">
                    <a:pos x="211" y="11"/>
                  </a:cxn>
                  <a:cxn ang="0">
                    <a:pos x="216" y="13"/>
                  </a:cxn>
                  <a:cxn ang="0">
                    <a:pos x="221" y="15"/>
                  </a:cxn>
                  <a:cxn ang="0">
                    <a:pos x="225" y="17"/>
                  </a:cxn>
                  <a:cxn ang="0">
                    <a:pos x="228" y="19"/>
                  </a:cxn>
                  <a:cxn ang="0">
                    <a:pos x="230" y="21"/>
                  </a:cxn>
                  <a:cxn ang="0">
                    <a:pos x="230" y="23"/>
                  </a:cxn>
                  <a:cxn ang="0">
                    <a:pos x="230" y="24"/>
                  </a:cxn>
                  <a:cxn ang="0">
                    <a:pos x="230" y="26"/>
                  </a:cxn>
                  <a:cxn ang="0">
                    <a:pos x="228" y="29"/>
                  </a:cxn>
                  <a:cxn ang="0">
                    <a:pos x="225" y="31"/>
                  </a:cxn>
                  <a:cxn ang="0">
                    <a:pos x="221" y="33"/>
                  </a:cxn>
                  <a:cxn ang="0">
                    <a:pos x="216" y="35"/>
                  </a:cxn>
                  <a:cxn ang="0">
                    <a:pos x="211" y="37"/>
                  </a:cxn>
                  <a:cxn ang="0">
                    <a:pos x="204" y="39"/>
                  </a:cxn>
                  <a:cxn ang="0">
                    <a:pos x="197" y="40"/>
                  </a:cxn>
                  <a:cxn ang="0">
                    <a:pos x="180" y="43"/>
                  </a:cxn>
                  <a:cxn ang="0">
                    <a:pos x="160" y="45"/>
                  </a:cxn>
                  <a:cxn ang="0">
                    <a:pos x="139" y="47"/>
                  </a:cxn>
                  <a:cxn ang="0">
                    <a:pos x="116" y="47"/>
                  </a:cxn>
                  <a:cxn ang="0">
                    <a:pos x="93" y="47"/>
                  </a:cxn>
                  <a:cxn ang="0">
                    <a:pos x="71" y="45"/>
                  </a:cxn>
                  <a:cxn ang="0">
                    <a:pos x="61" y="44"/>
                  </a:cxn>
                  <a:cxn ang="0">
                    <a:pos x="52" y="43"/>
                  </a:cxn>
                  <a:cxn ang="0">
                    <a:pos x="35" y="40"/>
                  </a:cxn>
                  <a:cxn ang="0">
                    <a:pos x="26" y="39"/>
                  </a:cxn>
                  <a:cxn ang="0">
                    <a:pos x="20" y="37"/>
                  </a:cxn>
                  <a:cxn ang="0">
                    <a:pos x="14" y="35"/>
                  </a:cxn>
                  <a:cxn ang="0">
                    <a:pos x="9" y="33"/>
                  </a:cxn>
                  <a:cxn ang="0">
                    <a:pos x="5" y="31"/>
                  </a:cxn>
                  <a:cxn ang="0">
                    <a:pos x="2" y="29"/>
                  </a:cxn>
                  <a:cxn ang="0">
                    <a:pos x="1" y="26"/>
                  </a:cxn>
                  <a:cxn ang="0">
                    <a:pos x="0" y="25"/>
                  </a:cxn>
                  <a:cxn ang="0">
                    <a:pos x="0" y="24"/>
                  </a:cxn>
                </a:cxnLst>
                <a:rect l="0" t="0" r="r" b="b"/>
                <a:pathLst>
                  <a:path w="230" h="47">
                    <a:moveTo>
                      <a:pt x="0" y="24"/>
                    </a:moveTo>
                    <a:lnTo>
                      <a:pt x="1" y="21"/>
                    </a:lnTo>
                    <a:lnTo>
                      <a:pt x="2" y="19"/>
                    </a:lnTo>
                    <a:lnTo>
                      <a:pt x="5" y="17"/>
                    </a:lnTo>
                    <a:lnTo>
                      <a:pt x="9" y="15"/>
                    </a:lnTo>
                    <a:lnTo>
                      <a:pt x="14" y="13"/>
                    </a:lnTo>
                    <a:lnTo>
                      <a:pt x="20" y="11"/>
                    </a:lnTo>
                    <a:lnTo>
                      <a:pt x="26" y="9"/>
                    </a:lnTo>
                    <a:lnTo>
                      <a:pt x="35" y="7"/>
                    </a:lnTo>
                    <a:lnTo>
                      <a:pt x="52" y="4"/>
                    </a:lnTo>
                    <a:lnTo>
                      <a:pt x="71" y="2"/>
                    </a:lnTo>
                    <a:lnTo>
                      <a:pt x="93" y="1"/>
                    </a:lnTo>
                    <a:lnTo>
                      <a:pt x="116" y="0"/>
                    </a:lnTo>
                    <a:lnTo>
                      <a:pt x="139" y="1"/>
                    </a:lnTo>
                    <a:lnTo>
                      <a:pt x="160" y="2"/>
                    </a:lnTo>
                    <a:lnTo>
                      <a:pt x="170" y="3"/>
                    </a:lnTo>
                    <a:lnTo>
                      <a:pt x="180" y="4"/>
                    </a:lnTo>
                    <a:lnTo>
                      <a:pt x="197" y="7"/>
                    </a:lnTo>
                    <a:lnTo>
                      <a:pt x="204" y="9"/>
                    </a:lnTo>
                    <a:lnTo>
                      <a:pt x="211" y="11"/>
                    </a:lnTo>
                    <a:lnTo>
                      <a:pt x="216" y="13"/>
                    </a:lnTo>
                    <a:lnTo>
                      <a:pt x="221" y="15"/>
                    </a:lnTo>
                    <a:lnTo>
                      <a:pt x="225" y="17"/>
                    </a:lnTo>
                    <a:lnTo>
                      <a:pt x="228" y="19"/>
                    </a:lnTo>
                    <a:lnTo>
                      <a:pt x="230" y="21"/>
                    </a:lnTo>
                    <a:lnTo>
                      <a:pt x="230" y="23"/>
                    </a:lnTo>
                    <a:lnTo>
                      <a:pt x="230" y="24"/>
                    </a:lnTo>
                    <a:lnTo>
                      <a:pt x="230" y="26"/>
                    </a:lnTo>
                    <a:lnTo>
                      <a:pt x="228" y="29"/>
                    </a:lnTo>
                    <a:lnTo>
                      <a:pt x="225" y="31"/>
                    </a:lnTo>
                    <a:lnTo>
                      <a:pt x="221" y="33"/>
                    </a:lnTo>
                    <a:lnTo>
                      <a:pt x="216" y="35"/>
                    </a:lnTo>
                    <a:lnTo>
                      <a:pt x="211" y="37"/>
                    </a:lnTo>
                    <a:lnTo>
                      <a:pt x="204" y="39"/>
                    </a:lnTo>
                    <a:lnTo>
                      <a:pt x="197" y="40"/>
                    </a:lnTo>
                    <a:lnTo>
                      <a:pt x="180" y="43"/>
                    </a:lnTo>
                    <a:lnTo>
                      <a:pt x="160" y="45"/>
                    </a:lnTo>
                    <a:lnTo>
                      <a:pt x="139" y="47"/>
                    </a:lnTo>
                    <a:lnTo>
                      <a:pt x="116" y="47"/>
                    </a:lnTo>
                    <a:lnTo>
                      <a:pt x="93" y="47"/>
                    </a:lnTo>
                    <a:lnTo>
                      <a:pt x="71" y="45"/>
                    </a:lnTo>
                    <a:lnTo>
                      <a:pt x="61" y="44"/>
                    </a:lnTo>
                    <a:lnTo>
                      <a:pt x="52" y="43"/>
                    </a:lnTo>
                    <a:lnTo>
                      <a:pt x="35" y="40"/>
                    </a:lnTo>
                    <a:lnTo>
                      <a:pt x="26" y="39"/>
                    </a:lnTo>
                    <a:lnTo>
                      <a:pt x="20" y="37"/>
                    </a:lnTo>
                    <a:lnTo>
                      <a:pt x="14" y="35"/>
                    </a:lnTo>
                    <a:lnTo>
                      <a:pt x="9" y="33"/>
                    </a:lnTo>
                    <a:lnTo>
                      <a:pt x="5" y="31"/>
                    </a:lnTo>
                    <a:lnTo>
                      <a:pt x="2" y="29"/>
                    </a:lnTo>
                    <a:lnTo>
                      <a:pt x="1" y="26"/>
                    </a:lnTo>
                    <a:lnTo>
                      <a:pt x="0" y="25"/>
                    </a:lnTo>
                    <a:lnTo>
                      <a:pt x="0" y="24"/>
                    </a:lnTo>
                    <a:close/>
                  </a:path>
                </a:pathLst>
              </a:custGeom>
              <a:solidFill>
                <a:schemeClr val="bg1"/>
              </a:solidFill>
              <a:ln w="9525">
                <a:solidFill>
                  <a:schemeClr val="tx1"/>
                </a:solidFill>
                <a:round/>
                <a:headEnd/>
                <a:tailEnd/>
              </a:ln>
            </p:spPr>
            <p:txBody>
              <a:bodyPr/>
              <a:lstStyle/>
              <a:p>
                <a:endParaRPr lang="en-US" dirty="0">
                  <a:solidFill>
                    <a:srgbClr val="000000"/>
                  </a:solidFill>
                </a:endParaRPr>
              </a:p>
            </p:txBody>
          </p:sp>
        </p:grpSp>
        <p:sp>
          <p:nvSpPr>
            <p:cNvPr id="449" name="Abgerundetes Rechteck 448"/>
            <p:cNvSpPr/>
            <p:nvPr>
              <p:custDataLst>
                <p:tags r:id="rId47"/>
              </p:custDataLst>
            </p:nvPr>
          </p:nvSpPr>
          <p:spPr bwMode="gray">
            <a:xfrm>
              <a:off x="8097189" y="3020352"/>
              <a:ext cx="618847" cy="751666"/>
            </a:xfrm>
            <a:prstGeom prst="roundRect">
              <a:avLst>
                <a:gd name="adj" fmla="val 14114"/>
              </a:avLst>
            </a:prstGeom>
            <a:gradFill flip="none" rotWithShape="1">
              <a:gsLst>
                <a:gs pos="0">
                  <a:schemeClr val="bg2"/>
                </a:gs>
                <a:gs pos="50000">
                  <a:schemeClr val="bg1"/>
                </a:gs>
                <a:gs pos="100000">
                  <a:schemeClr val="bg1"/>
                </a:gs>
              </a:gsLst>
              <a:lin ang="5400000" scaled="1"/>
              <a:tileRect/>
            </a:gradFill>
            <a:ln w="952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0" rIns="54000" rtlCol="0" anchor="t" anchorCtr="0"/>
            <a:lstStyle/>
            <a:p>
              <a:pPr algn="ctr">
                <a:buClr>
                  <a:srgbClr val="A30B1A"/>
                </a:buClr>
              </a:pPr>
              <a:r>
                <a:rPr lang="en-US" sz="1100" dirty="0" smtClean="0">
                  <a:solidFill>
                    <a:srgbClr val="000000"/>
                  </a:solidFill>
                </a:rPr>
                <a:t>Tape </a:t>
              </a:r>
            </a:p>
            <a:p>
              <a:pPr indent="-266700" algn="ctr">
                <a:buClr>
                  <a:srgbClr val="A30B1A"/>
                </a:buClr>
              </a:pPr>
              <a:r>
                <a:rPr lang="en-US" sz="1100" dirty="0" smtClean="0">
                  <a:solidFill>
                    <a:srgbClr val="000000"/>
                  </a:solidFill>
                </a:rPr>
                <a:t>option</a:t>
              </a:r>
            </a:p>
          </p:txBody>
        </p:sp>
        <p:pic>
          <p:nvPicPr>
            <p:cNvPr id="450" name="Picture 5" descr="D:\k16\grafika\illustrator\ikony\fts\ikona_fts_01.png"/>
            <p:cNvPicPr>
              <a:picLocks noChangeAspect="1" noChangeArrowheads="1"/>
            </p:cNvPicPr>
            <p:nvPr>
              <p:custDataLst>
                <p:tags r:id="rId48"/>
              </p:custDataLst>
            </p:nvPr>
          </p:nvPicPr>
          <p:blipFill>
            <a:blip r:embed="rId87" cstate="email">
              <a:extLst>
                <a:ext uri="{28A0092B-C50C-407E-A947-70E740481C1C}">
                  <a14:useLocalDpi xmlns:a14="http://schemas.microsoft.com/office/drawing/2010/main"/>
                </a:ext>
              </a:extLst>
            </a:blip>
            <a:srcRect/>
            <a:stretch>
              <a:fillRect/>
            </a:stretch>
          </p:blipFill>
          <p:spPr bwMode="gray">
            <a:xfrm>
              <a:off x="8244428" y="3403282"/>
              <a:ext cx="324036" cy="324036"/>
            </a:xfrm>
            <a:prstGeom prst="rect">
              <a:avLst/>
            </a:prstGeom>
            <a:noFill/>
          </p:spPr>
        </p:pic>
        <p:sp>
          <p:nvSpPr>
            <p:cNvPr id="451" name="Flussdiagramm: Datenträger mit sequenziellem Zugriff 450"/>
            <p:cNvSpPr>
              <a:spLocks noChangeAspect="1"/>
            </p:cNvSpPr>
            <p:nvPr/>
          </p:nvSpPr>
          <p:spPr bwMode="gray">
            <a:xfrm>
              <a:off x="8328677" y="3487531"/>
              <a:ext cx="155538" cy="155538"/>
            </a:xfrm>
            <a:prstGeom prst="flowChartMagneticTape">
              <a:avLst/>
            </a:prstGeom>
            <a:solidFill>
              <a:schemeClr val="tx1"/>
            </a:solidFill>
            <a:ln w="952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rgbClr val="000000"/>
                </a:solidFill>
              </a:endParaRPr>
            </a:p>
          </p:txBody>
        </p:sp>
        <p:grpSp>
          <p:nvGrpSpPr>
            <p:cNvPr id="464" name="Gruppieren 463"/>
            <p:cNvGrpSpPr/>
            <p:nvPr/>
          </p:nvGrpSpPr>
          <p:grpSpPr>
            <a:xfrm>
              <a:off x="6678970" y="3142235"/>
              <a:ext cx="609469" cy="467350"/>
              <a:chOff x="-1491451" y="766762"/>
              <a:chExt cx="609469" cy="467350"/>
            </a:xfrm>
          </p:grpSpPr>
          <p:pic>
            <p:nvPicPr>
              <p:cNvPr id="465" name="Picture 65" descr="D:\k16\grafika\illustrator\ikony\fts\ikona_fts_01.png"/>
              <p:cNvPicPr>
                <a:picLocks noChangeAspect="1" noChangeArrowheads="1"/>
              </p:cNvPicPr>
              <p:nvPr>
                <p:custDataLst>
                  <p:tags r:id="rId54"/>
                </p:custDataLst>
              </p:nvPr>
            </p:nvPicPr>
            <p:blipFill>
              <a:blip r:embed="rId88" cstate="email">
                <a:extLst>
                  <a:ext uri="{28A0092B-C50C-407E-A947-70E740481C1C}">
                    <a14:useLocalDpi xmlns:a14="http://schemas.microsoft.com/office/drawing/2010/main"/>
                  </a:ext>
                </a:extLst>
              </a:blip>
              <a:srcRect/>
              <a:stretch>
                <a:fillRect/>
              </a:stretch>
            </p:blipFill>
            <p:spPr bwMode="gray">
              <a:xfrm>
                <a:off x="-1491451" y="766762"/>
                <a:ext cx="609469" cy="467350"/>
              </a:xfrm>
              <a:prstGeom prst="rect">
                <a:avLst/>
              </a:prstGeom>
              <a:noFill/>
            </p:spPr>
          </p:pic>
          <p:sp>
            <p:nvSpPr>
              <p:cNvPr id="466" name="Welle 465"/>
              <p:cNvSpPr/>
              <p:nvPr/>
            </p:nvSpPr>
            <p:spPr>
              <a:xfrm>
                <a:off x="-1411213" y="856421"/>
                <a:ext cx="448993" cy="288032"/>
              </a:xfrm>
              <a:prstGeom prst="wave">
                <a:avLst/>
              </a:prstGeom>
              <a:solidFill>
                <a:srgbClr val="FF0000"/>
              </a:solidFill>
              <a:ln w="25400" cap="rnd" cmpd="sng" algn="ctr">
                <a:noFill/>
                <a:prstDash val="solid"/>
              </a:ln>
              <a:effectLst/>
            </p:spPr>
            <p:txBody>
              <a:bodyPr lIns="0" tIns="0" rIns="0" bIns="0" rtlCol="0" anchor="ctr"/>
              <a:lstStyle/>
              <a:p>
                <a:pPr algn="ctr">
                  <a:defRPr/>
                </a:pPr>
                <a:r>
                  <a:rPr lang="en-US" sz="1200" kern="0" dirty="0" smtClean="0">
                    <a:solidFill>
                      <a:prstClr val="black"/>
                    </a:solidFill>
                    <a:latin typeface="Calibri"/>
                  </a:rPr>
                  <a:t>Dedup</a:t>
                </a:r>
              </a:p>
            </p:txBody>
          </p:sp>
        </p:grpSp>
        <p:pic>
          <p:nvPicPr>
            <p:cNvPr id="224" name="Picture 65" descr="D:\k16\grafika\illustrator\ikony\fts\ikona_fts_01.png"/>
            <p:cNvPicPr>
              <a:picLocks noChangeAspect="1" noChangeArrowheads="1"/>
            </p:cNvPicPr>
            <p:nvPr>
              <p:custDataLst>
                <p:tags r:id="rId49"/>
              </p:custDataLst>
            </p:nvPr>
          </p:nvPicPr>
          <p:blipFill>
            <a:blip r:embed="rId89" cstate="screen">
              <a:extLst>
                <a:ext uri="{28A0092B-C50C-407E-A947-70E740481C1C}">
                  <a14:useLocalDpi xmlns:a14="http://schemas.microsoft.com/office/drawing/2010/main"/>
                </a:ext>
              </a:extLst>
            </a:blip>
            <a:srcRect/>
            <a:stretch>
              <a:fillRect/>
            </a:stretch>
          </p:blipFill>
          <p:spPr bwMode="gray">
            <a:xfrm>
              <a:off x="5846342" y="3131279"/>
              <a:ext cx="788638" cy="519746"/>
            </a:xfrm>
            <a:prstGeom prst="rect">
              <a:avLst/>
            </a:prstGeom>
            <a:noFill/>
          </p:spPr>
        </p:pic>
        <p:sp>
          <p:nvSpPr>
            <p:cNvPr id="294" name="Freeform 4"/>
            <p:cNvSpPr>
              <a:spLocks/>
            </p:cNvSpPr>
            <p:nvPr/>
          </p:nvSpPr>
          <p:spPr bwMode="gray">
            <a:xfrm>
              <a:off x="5957681" y="3233476"/>
              <a:ext cx="141616" cy="286232"/>
            </a:xfrm>
            <a:custGeom>
              <a:avLst/>
              <a:gdLst/>
              <a:ahLst/>
              <a:cxnLst>
                <a:cxn ang="0">
                  <a:pos x="0" y="3"/>
                </a:cxn>
                <a:cxn ang="0">
                  <a:pos x="0" y="2"/>
                </a:cxn>
                <a:cxn ang="0">
                  <a:pos x="1" y="1"/>
                </a:cxn>
                <a:cxn ang="0">
                  <a:pos x="2" y="0"/>
                </a:cxn>
                <a:cxn ang="0">
                  <a:pos x="3" y="0"/>
                </a:cxn>
                <a:cxn ang="0">
                  <a:pos x="233" y="0"/>
                </a:cxn>
                <a:cxn ang="0">
                  <a:pos x="234" y="0"/>
                </a:cxn>
                <a:cxn ang="0">
                  <a:pos x="235" y="1"/>
                </a:cxn>
                <a:cxn ang="0">
                  <a:pos x="236" y="2"/>
                </a:cxn>
                <a:cxn ang="0">
                  <a:pos x="236" y="3"/>
                </a:cxn>
                <a:cxn ang="0">
                  <a:pos x="236" y="474"/>
                </a:cxn>
                <a:cxn ang="0">
                  <a:pos x="236" y="475"/>
                </a:cxn>
                <a:cxn ang="0">
                  <a:pos x="235" y="476"/>
                </a:cxn>
                <a:cxn ang="0">
                  <a:pos x="234" y="476"/>
                </a:cxn>
                <a:cxn ang="0">
                  <a:pos x="233" y="477"/>
                </a:cxn>
                <a:cxn ang="0">
                  <a:pos x="3" y="477"/>
                </a:cxn>
                <a:cxn ang="0">
                  <a:pos x="2" y="476"/>
                </a:cxn>
                <a:cxn ang="0">
                  <a:pos x="1" y="476"/>
                </a:cxn>
                <a:cxn ang="0">
                  <a:pos x="0" y="475"/>
                </a:cxn>
                <a:cxn ang="0">
                  <a:pos x="0" y="474"/>
                </a:cxn>
                <a:cxn ang="0">
                  <a:pos x="0" y="3"/>
                </a:cxn>
              </a:cxnLst>
              <a:rect l="0" t="0" r="r" b="b"/>
              <a:pathLst>
                <a:path w="236" h="477">
                  <a:moveTo>
                    <a:pt x="0" y="3"/>
                  </a:moveTo>
                  <a:lnTo>
                    <a:pt x="0" y="2"/>
                  </a:lnTo>
                  <a:lnTo>
                    <a:pt x="1" y="1"/>
                  </a:lnTo>
                  <a:lnTo>
                    <a:pt x="2" y="0"/>
                  </a:lnTo>
                  <a:lnTo>
                    <a:pt x="3" y="0"/>
                  </a:lnTo>
                  <a:lnTo>
                    <a:pt x="233" y="0"/>
                  </a:lnTo>
                  <a:lnTo>
                    <a:pt x="234" y="0"/>
                  </a:lnTo>
                  <a:lnTo>
                    <a:pt x="235" y="1"/>
                  </a:lnTo>
                  <a:lnTo>
                    <a:pt x="236" y="2"/>
                  </a:lnTo>
                  <a:lnTo>
                    <a:pt x="236" y="3"/>
                  </a:lnTo>
                  <a:lnTo>
                    <a:pt x="236" y="474"/>
                  </a:lnTo>
                  <a:lnTo>
                    <a:pt x="236" y="475"/>
                  </a:lnTo>
                  <a:lnTo>
                    <a:pt x="235" y="476"/>
                  </a:lnTo>
                  <a:lnTo>
                    <a:pt x="234" y="476"/>
                  </a:lnTo>
                  <a:lnTo>
                    <a:pt x="233" y="477"/>
                  </a:lnTo>
                  <a:lnTo>
                    <a:pt x="3" y="477"/>
                  </a:lnTo>
                  <a:lnTo>
                    <a:pt x="2" y="476"/>
                  </a:lnTo>
                  <a:lnTo>
                    <a:pt x="1" y="476"/>
                  </a:lnTo>
                  <a:lnTo>
                    <a:pt x="0" y="475"/>
                  </a:lnTo>
                  <a:lnTo>
                    <a:pt x="0" y="474"/>
                  </a:lnTo>
                  <a:lnTo>
                    <a:pt x="0" y="3"/>
                  </a:ln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5" name="Freeform 5"/>
            <p:cNvSpPr>
              <a:spLocks/>
            </p:cNvSpPr>
            <p:nvPr/>
          </p:nvSpPr>
          <p:spPr bwMode="gray">
            <a:xfrm>
              <a:off x="5967282" y="3247878"/>
              <a:ext cx="10201" cy="10201"/>
            </a:xfrm>
            <a:custGeom>
              <a:avLst/>
              <a:gdLst/>
              <a:ahLst/>
              <a:cxnLst>
                <a:cxn ang="0">
                  <a:pos x="0" y="8"/>
                </a:cxn>
                <a:cxn ang="0">
                  <a:pos x="1" y="7"/>
                </a:cxn>
                <a:cxn ang="0">
                  <a:pos x="1" y="5"/>
                </a:cxn>
                <a:cxn ang="0">
                  <a:pos x="3" y="2"/>
                </a:cxn>
                <a:cxn ang="0">
                  <a:pos x="4" y="1"/>
                </a:cxn>
                <a:cxn ang="0">
                  <a:pos x="6" y="0"/>
                </a:cxn>
                <a:cxn ang="0">
                  <a:pos x="9" y="0"/>
                </a:cxn>
                <a:cxn ang="0">
                  <a:pos x="12" y="0"/>
                </a:cxn>
                <a:cxn ang="0">
                  <a:pos x="15" y="2"/>
                </a:cxn>
                <a:cxn ang="0">
                  <a:pos x="16" y="4"/>
                </a:cxn>
                <a:cxn ang="0">
                  <a:pos x="17" y="5"/>
                </a:cxn>
                <a:cxn ang="0">
                  <a:pos x="17" y="7"/>
                </a:cxn>
                <a:cxn ang="0">
                  <a:pos x="17" y="8"/>
                </a:cxn>
                <a:cxn ang="0">
                  <a:pos x="17" y="10"/>
                </a:cxn>
                <a:cxn ang="0">
                  <a:pos x="17" y="12"/>
                </a:cxn>
                <a:cxn ang="0">
                  <a:pos x="15" y="14"/>
                </a:cxn>
                <a:cxn ang="0">
                  <a:pos x="14" y="15"/>
                </a:cxn>
                <a:cxn ang="0">
                  <a:pos x="12" y="16"/>
                </a:cxn>
                <a:cxn ang="0">
                  <a:pos x="9" y="17"/>
                </a:cxn>
                <a:cxn ang="0">
                  <a:pos x="6" y="16"/>
                </a:cxn>
                <a:cxn ang="0">
                  <a:pos x="3" y="14"/>
                </a:cxn>
                <a:cxn ang="0">
                  <a:pos x="2" y="13"/>
                </a:cxn>
                <a:cxn ang="0">
                  <a:pos x="1" y="12"/>
                </a:cxn>
                <a:cxn ang="0">
                  <a:pos x="1" y="10"/>
                </a:cxn>
                <a:cxn ang="0">
                  <a:pos x="0" y="8"/>
                </a:cxn>
              </a:cxnLst>
              <a:rect l="0" t="0" r="r" b="b"/>
              <a:pathLst>
                <a:path w="17" h="17">
                  <a:moveTo>
                    <a:pt x="0" y="8"/>
                  </a:moveTo>
                  <a:lnTo>
                    <a:pt x="1" y="7"/>
                  </a:lnTo>
                  <a:lnTo>
                    <a:pt x="1" y="5"/>
                  </a:lnTo>
                  <a:lnTo>
                    <a:pt x="3" y="2"/>
                  </a:lnTo>
                  <a:lnTo>
                    <a:pt x="4" y="1"/>
                  </a:lnTo>
                  <a:lnTo>
                    <a:pt x="6" y="0"/>
                  </a:lnTo>
                  <a:lnTo>
                    <a:pt x="9" y="0"/>
                  </a:lnTo>
                  <a:lnTo>
                    <a:pt x="12" y="0"/>
                  </a:lnTo>
                  <a:lnTo>
                    <a:pt x="15" y="2"/>
                  </a:lnTo>
                  <a:lnTo>
                    <a:pt x="16" y="4"/>
                  </a:lnTo>
                  <a:lnTo>
                    <a:pt x="17" y="5"/>
                  </a:lnTo>
                  <a:lnTo>
                    <a:pt x="17" y="7"/>
                  </a:lnTo>
                  <a:lnTo>
                    <a:pt x="17" y="8"/>
                  </a:lnTo>
                  <a:lnTo>
                    <a:pt x="17" y="10"/>
                  </a:lnTo>
                  <a:lnTo>
                    <a:pt x="17" y="12"/>
                  </a:lnTo>
                  <a:lnTo>
                    <a:pt x="15" y="14"/>
                  </a:lnTo>
                  <a:lnTo>
                    <a:pt x="14" y="15"/>
                  </a:lnTo>
                  <a:lnTo>
                    <a:pt x="12" y="16"/>
                  </a:lnTo>
                  <a:lnTo>
                    <a:pt x="9" y="17"/>
                  </a:lnTo>
                  <a:lnTo>
                    <a:pt x="6" y="16"/>
                  </a:lnTo>
                  <a:lnTo>
                    <a:pt x="3" y="14"/>
                  </a:lnTo>
                  <a:lnTo>
                    <a:pt x="2" y="13"/>
                  </a:lnTo>
                  <a:lnTo>
                    <a:pt x="1" y="12"/>
                  </a:lnTo>
                  <a:lnTo>
                    <a:pt x="1" y="10"/>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6" name="Freeform 6"/>
            <p:cNvSpPr>
              <a:spLocks/>
            </p:cNvSpPr>
            <p:nvPr/>
          </p:nvSpPr>
          <p:spPr bwMode="gray">
            <a:xfrm>
              <a:off x="5967282" y="3487304"/>
              <a:ext cx="121214" cy="7201"/>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7" name="Freeform 7"/>
            <p:cNvSpPr>
              <a:spLocks/>
            </p:cNvSpPr>
            <p:nvPr/>
          </p:nvSpPr>
          <p:spPr bwMode="gray">
            <a:xfrm>
              <a:off x="5985884" y="3248478"/>
              <a:ext cx="48005" cy="8401"/>
            </a:xfrm>
            <a:custGeom>
              <a:avLst/>
              <a:gdLst/>
              <a:ahLst/>
              <a:cxnLst>
                <a:cxn ang="0">
                  <a:pos x="8" y="0"/>
                </a:cxn>
                <a:cxn ang="0">
                  <a:pos x="73" y="0"/>
                </a:cxn>
                <a:cxn ang="0">
                  <a:pos x="76" y="1"/>
                </a:cxn>
                <a:cxn ang="0">
                  <a:pos x="78" y="2"/>
                </a:cxn>
                <a:cxn ang="0">
                  <a:pos x="80" y="5"/>
                </a:cxn>
                <a:cxn ang="0">
                  <a:pos x="80" y="7"/>
                </a:cxn>
                <a:cxn ang="0">
                  <a:pos x="80" y="10"/>
                </a:cxn>
                <a:cxn ang="0">
                  <a:pos x="78" y="12"/>
                </a:cxn>
                <a:cxn ang="0">
                  <a:pos x="76" y="14"/>
                </a:cxn>
                <a:cxn ang="0">
                  <a:pos x="74" y="14"/>
                </a:cxn>
                <a:cxn ang="0">
                  <a:pos x="73" y="14"/>
                </a:cxn>
                <a:cxn ang="0">
                  <a:pos x="8" y="14"/>
                </a:cxn>
                <a:cxn ang="0">
                  <a:pos x="5" y="14"/>
                </a:cxn>
                <a:cxn ang="0">
                  <a:pos x="2" y="12"/>
                </a:cxn>
                <a:cxn ang="0">
                  <a:pos x="1" y="10"/>
                </a:cxn>
                <a:cxn ang="0">
                  <a:pos x="0" y="7"/>
                </a:cxn>
                <a:cxn ang="0">
                  <a:pos x="1" y="5"/>
                </a:cxn>
                <a:cxn ang="0">
                  <a:pos x="2" y="2"/>
                </a:cxn>
                <a:cxn ang="0">
                  <a:pos x="5" y="1"/>
                </a:cxn>
                <a:cxn ang="0">
                  <a:pos x="6" y="0"/>
                </a:cxn>
                <a:cxn ang="0">
                  <a:pos x="8" y="0"/>
                </a:cxn>
              </a:cxnLst>
              <a:rect l="0" t="0" r="r" b="b"/>
              <a:pathLst>
                <a:path w="80" h="14">
                  <a:moveTo>
                    <a:pt x="8" y="0"/>
                  </a:moveTo>
                  <a:lnTo>
                    <a:pt x="73" y="0"/>
                  </a:lnTo>
                  <a:lnTo>
                    <a:pt x="76" y="1"/>
                  </a:lnTo>
                  <a:lnTo>
                    <a:pt x="78" y="2"/>
                  </a:lnTo>
                  <a:lnTo>
                    <a:pt x="80" y="5"/>
                  </a:lnTo>
                  <a:lnTo>
                    <a:pt x="80" y="7"/>
                  </a:lnTo>
                  <a:lnTo>
                    <a:pt x="80" y="10"/>
                  </a:lnTo>
                  <a:lnTo>
                    <a:pt x="78" y="12"/>
                  </a:lnTo>
                  <a:lnTo>
                    <a:pt x="76" y="14"/>
                  </a:lnTo>
                  <a:lnTo>
                    <a:pt x="74" y="14"/>
                  </a:lnTo>
                  <a:lnTo>
                    <a:pt x="73" y="14"/>
                  </a:lnTo>
                  <a:lnTo>
                    <a:pt x="8" y="14"/>
                  </a:lnTo>
                  <a:lnTo>
                    <a:pt x="5" y="14"/>
                  </a:lnTo>
                  <a:lnTo>
                    <a:pt x="2" y="12"/>
                  </a:lnTo>
                  <a:lnTo>
                    <a:pt x="1" y="10"/>
                  </a:lnTo>
                  <a:lnTo>
                    <a:pt x="0" y="7"/>
                  </a:lnTo>
                  <a:lnTo>
                    <a:pt x="1" y="5"/>
                  </a:lnTo>
                  <a:lnTo>
                    <a:pt x="2" y="2"/>
                  </a:lnTo>
                  <a:lnTo>
                    <a:pt x="5" y="1"/>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8" name="Freeform 8"/>
            <p:cNvSpPr>
              <a:spLocks/>
            </p:cNvSpPr>
            <p:nvPr/>
          </p:nvSpPr>
          <p:spPr bwMode="gray">
            <a:xfrm>
              <a:off x="5967282" y="3265880"/>
              <a:ext cx="10201" cy="10201"/>
            </a:xfrm>
            <a:custGeom>
              <a:avLst/>
              <a:gdLst/>
              <a:ahLst/>
              <a:cxnLst>
                <a:cxn ang="0">
                  <a:pos x="0" y="8"/>
                </a:cxn>
                <a:cxn ang="0">
                  <a:pos x="1" y="6"/>
                </a:cxn>
                <a:cxn ang="0">
                  <a:pos x="1" y="5"/>
                </a:cxn>
                <a:cxn ang="0">
                  <a:pos x="3" y="2"/>
                </a:cxn>
                <a:cxn ang="0">
                  <a:pos x="4" y="1"/>
                </a:cxn>
                <a:cxn ang="0">
                  <a:pos x="6" y="0"/>
                </a:cxn>
                <a:cxn ang="0">
                  <a:pos x="9" y="0"/>
                </a:cxn>
                <a:cxn ang="0">
                  <a:pos x="12" y="0"/>
                </a:cxn>
                <a:cxn ang="0">
                  <a:pos x="15" y="2"/>
                </a:cxn>
                <a:cxn ang="0">
                  <a:pos x="16" y="3"/>
                </a:cxn>
                <a:cxn ang="0">
                  <a:pos x="17" y="5"/>
                </a:cxn>
                <a:cxn ang="0">
                  <a:pos x="17" y="6"/>
                </a:cxn>
                <a:cxn ang="0">
                  <a:pos x="17" y="8"/>
                </a:cxn>
                <a:cxn ang="0">
                  <a:pos x="17" y="11"/>
                </a:cxn>
                <a:cxn ang="0">
                  <a:pos x="17" y="12"/>
                </a:cxn>
                <a:cxn ang="0">
                  <a:pos x="15" y="15"/>
                </a:cxn>
                <a:cxn ang="0">
                  <a:pos x="14" y="16"/>
                </a:cxn>
                <a:cxn ang="0">
                  <a:pos x="12" y="17"/>
                </a:cxn>
                <a:cxn ang="0">
                  <a:pos x="9" y="17"/>
                </a:cxn>
                <a:cxn ang="0">
                  <a:pos x="6" y="17"/>
                </a:cxn>
                <a:cxn ang="0">
                  <a:pos x="3" y="15"/>
                </a:cxn>
                <a:cxn ang="0">
                  <a:pos x="2" y="14"/>
                </a:cxn>
                <a:cxn ang="0">
                  <a:pos x="1" y="12"/>
                </a:cxn>
                <a:cxn ang="0">
                  <a:pos x="1" y="11"/>
                </a:cxn>
                <a:cxn ang="0">
                  <a:pos x="0" y="8"/>
                </a:cxn>
              </a:cxnLst>
              <a:rect l="0" t="0" r="r" b="b"/>
              <a:pathLst>
                <a:path w="17" h="17">
                  <a:moveTo>
                    <a:pt x="0" y="8"/>
                  </a:moveTo>
                  <a:lnTo>
                    <a:pt x="1" y="6"/>
                  </a:lnTo>
                  <a:lnTo>
                    <a:pt x="1" y="5"/>
                  </a:lnTo>
                  <a:lnTo>
                    <a:pt x="3" y="2"/>
                  </a:lnTo>
                  <a:lnTo>
                    <a:pt x="4" y="1"/>
                  </a:lnTo>
                  <a:lnTo>
                    <a:pt x="6" y="0"/>
                  </a:lnTo>
                  <a:lnTo>
                    <a:pt x="9" y="0"/>
                  </a:lnTo>
                  <a:lnTo>
                    <a:pt x="12" y="0"/>
                  </a:lnTo>
                  <a:lnTo>
                    <a:pt x="15" y="2"/>
                  </a:lnTo>
                  <a:lnTo>
                    <a:pt x="16" y="3"/>
                  </a:lnTo>
                  <a:lnTo>
                    <a:pt x="17" y="5"/>
                  </a:lnTo>
                  <a:lnTo>
                    <a:pt x="17" y="6"/>
                  </a:lnTo>
                  <a:lnTo>
                    <a:pt x="17" y="8"/>
                  </a:lnTo>
                  <a:lnTo>
                    <a:pt x="17" y="11"/>
                  </a:lnTo>
                  <a:lnTo>
                    <a:pt x="17" y="12"/>
                  </a:lnTo>
                  <a:lnTo>
                    <a:pt x="15" y="15"/>
                  </a:lnTo>
                  <a:lnTo>
                    <a:pt x="14" y="16"/>
                  </a:lnTo>
                  <a:lnTo>
                    <a:pt x="12" y="17"/>
                  </a:lnTo>
                  <a:lnTo>
                    <a:pt x="9" y="17"/>
                  </a:lnTo>
                  <a:lnTo>
                    <a:pt x="6" y="17"/>
                  </a:lnTo>
                  <a:lnTo>
                    <a:pt x="3" y="15"/>
                  </a:lnTo>
                  <a:lnTo>
                    <a:pt x="2" y="14"/>
                  </a:lnTo>
                  <a:lnTo>
                    <a:pt x="1" y="12"/>
                  </a:lnTo>
                  <a:lnTo>
                    <a:pt x="1" y="11"/>
                  </a:lnTo>
                  <a:lnTo>
                    <a:pt x="0" y="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9" name="Freeform 9"/>
            <p:cNvSpPr>
              <a:spLocks/>
            </p:cNvSpPr>
            <p:nvPr/>
          </p:nvSpPr>
          <p:spPr bwMode="gray">
            <a:xfrm>
              <a:off x="5985884" y="3266480"/>
              <a:ext cx="48005" cy="9001"/>
            </a:xfrm>
            <a:custGeom>
              <a:avLst/>
              <a:gdLst/>
              <a:ahLst/>
              <a:cxnLst>
                <a:cxn ang="0">
                  <a:pos x="8" y="0"/>
                </a:cxn>
                <a:cxn ang="0">
                  <a:pos x="73" y="0"/>
                </a:cxn>
                <a:cxn ang="0">
                  <a:pos x="76" y="0"/>
                </a:cxn>
                <a:cxn ang="0">
                  <a:pos x="78" y="2"/>
                </a:cxn>
                <a:cxn ang="0">
                  <a:pos x="80" y="4"/>
                </a:cxn>
                <a:cxn ang="0">
                  <a:pos x="80" y="7"/>
                </a:cxn>
                <a:cxn ang="0">
                  <a:pos x="80" y="11"/>
                </a:cxn>
                <a:cxn ang="0">
                  <a:pos x="78" y="13"/>
                </a:cxn>
                <a:cxn ang="0">
                  <a:pos x="76" y="15"/>
                </a:cxn>
                <a:cxn ang="0">
                  <a:pos x="74" y="15"/>
                </a:cxn>
                <a:cxn ang="0">
                  <a:pos x="73" y="15"/>
                </a:cxn>
                <a:cxn ang="0">
                  <a:pos x="8" y="15"/>
                </a:cxn>
                <a:cxn ang="0">
                  <a:pos x="5" y="15"/>
                </a:cxn>
                <a:cxn ang="0">
                  <a:pos x="2" y="13"/>
                </a:cxn>
                <a:cxn ang="0">
                  <a:pos x="1" y="11"/>
                </a:cxn>
                <a:cxn ang="0">
                  <a:pos x="0" y="7"/>
                </a:cxn>
                <a:cxn ang="0">
                  <a:pos x="1" y="4"/>
                </a:cxn>
                <a:cxn ang="0">
                  <a:pos x="2" y="2"/>
                </a:cxn>
                <a:cxn ang="0">
                  <a:pos x="5" y="0"/>
                </a:cxn>
                <a:cxn ang="0">
                  <a:pos x="6" y="0"/>
                </a:cxn>
                <a:cxn ang="0">
                  <a:pos x="8" y="0"/>
                </a:cxn>
              </a:cxnLst>
              <a:rect l="0" t="0" r="r" b="b"/>
              <a:pathLst>
                <a:path w="80" h="15">
                  <a:moveTo>
                    <a:pt x="8" y="0"/>
                  </a:moveTo>
                  <a:lnTo>
                    <a:pt x="73" y="0"/>
                  </a:lnTo>
                  <a:lnTo>
                    <a:pt x="76" y="0"/>
                  </a:lnTo>
                  <a:lnTo>
                    <a:pt x="78" y="2"/>
                  </a:lnTo>
                  <a:lnTo>
                    <a:pt x="80" y="4"/>
                  </a:lnTo>
                  <a:lnTo>
                    <a:pt x="80" y="7"/>
                  </a:lnTo>
                  <a:lnTo>
                    <a:pt x="80" y="11"/>
                  </a:lnTo>
                  <a:lnTo>
                    <a:pt x="78" y="13"/>
                  </a:lnTo>
                  <a:lnTo>
                    <a:pt x="76" y="15"/>
                  </a:lnTo>
                  <a:lnTo>
                    <a:pt x="74" y="15"/>
                  </a:lnTo>
                  <a:lnTo>
                    <a:pt x="73" y="15"/>
                  </a:lnTo>
                  <a:lnTo>
                    <a:pt x="8" y="15"/>
                  </a:lnTo>
                  <a:lnTo>
                    <a:pt x="5" y="15"/>
                  </a:lnTo>
                  <a:lnTo>
                    <a:pt x="2" y="13"/>
                  </a:lnTo>
                  <a:lnTo>
                    <a:pt x="1" y="11"/>
                  </a:lnTo>
                  <a:lnTo>
                    <a:pt x="0" y="7"/>
                  </a:lnTo>
                  <a:lnTo>
                    <a:pt x="1" y="4"/>
                  </a:lnTo>
                  <a:lnTo>
                    <a:pt x="2" y="2"/>
                  </a:lnTo>
                  <a:lnTo>
                    <a:pt x="5" y="0"/>
                  </a:lnTo>
                  <a:lnTo>
                    <a:pt x="6" y="0"/>
                  </a:lnTo>
                  <a:lnTo>
                    <a:pt x="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1" name="Freeform 10"/>
            <p:cNvSpPr>
              <a:spLocks/>
            </p:cNvSpPr>
            <p:nvPr/>
          </p:nvSpPr>
          <p:spPr bwMode="gray">
            <a:xfrm>
              <a:off x="5967282" y="3487304"/>
              <a:ext cx="121214" cy="7201"/>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6" name="Freeform 11"/>
            <p:cNvSpPr>
              <a:spLocks/>
            </p:cNvSpPr>
            <p:nvPr/>
          </p:nvSpPr>
          <p:spPr bwMode="gray">
            <a:xfrm>
              <a:off x="5967282" y="3473503"/>
              <a:ext cx="121214" cy="7201"/>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7" name="Freeform 12"/>
            <p:cNvSpPr>
              <a:spLocks/>
            </p:cNvSpPr>
            <p:nvPr/>
          </p:nvSpPr>
          <p:spPr bwMode="gray">
            <a:xfrm>
              <a:off x="5967282" y="3459701"/>
              <a:ext cx="121214" cy="7201"/>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8" name="Freeform 13"/>
            <p:cNvSpPr>
              <a:spLocks/>
            </p:cNvSpPr>
            <p:nvPr/>
          </p:nvSpPr>
          <p:spPr bwMode="gray">
            <a:xfrm>
              <a:off x="5967282" y="3445900"/>
              <a:ext cx="121214" cy="7201"/>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9" name="Freeform 14"/>
            <p:cNvSpPr>
              <a:spLocks/>
            </p:cNvSpPr>
            <p:nvPr/>
          </p:nvSpPr>
          <p:spPr bwMode="gray">
            <a:xfrm>
              <a:off x="5967282" y="3432098"/>
              <a:ext cx="121214" cy="7201"/>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0" name="Freeform 15"/>
            <p:cNvSpPr>
              <a:spLocks/>
            </p:cNvSpPr>
            <p:nvPr/>
          </p:nvSpPr>
          <p:spPr bwMode="gray">
            <a:xfrm>
              <a:off x="5967282" y="3418297"/>
              <a:ext cx="121214" cy="7201"/>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1" name="Freeform 16"/>
            <p:cNvSpPr>
              <a:spLocks/>
            </p:cNvSpPr>
            <p:nvPr/>
          </p:nvSpPr>
          <p:spPr bwMode="gray">
            <a:xfrm>
              <a:off x="5967282" y="3404495"/>
              <a:ext cx="121214" cy="7201"/>
            </a:xfrm>
            <a:custGeom>
              <a:avLst/>
              <a:gdLst/>
              <a:ahLst/>
              <a:cxnLst>
                <a:cxn ang="0">
                  <a:pos x="0" y="3"/>
                </a:cxn>
                <a:cxn ang="0">
                  <a:pos x="1" y="2"/>
                </a:cxn>
                <a:cxn ang="0">
                  <a:pos x="1" y="1"/>
                </a:cxn>
                <a:cxn ang="0">
                  <a:pos x="2" y="0"/>
                </a:cxn>
                <a:cxn ang="0">
                  <a:pos x="4" y="0"/>
                </a:cxn>
                <a:cxn ang="0">
                  <a:pos x="199" y="0"/>
                </a:cxn>
                <a:cxn ang="0">
                  <a:pos x="200" y="0"/>
                </a:cxn>
                <a:cxn ang="0">
                  <a:pos x="201" y="1"/>
                </a:cxn>
                <a:cxn ang="0">
                  <a:pos x="202" y="2"/>
                </a:cxn>
                <a:cxn ang="0">
                  <a:pos x="202" y="3"/>
                </a:cxn>
                <a:cxn ang="0">
                  <a:pos x="202" y="9"/>
                </a:cxn>
                <a:cxn ang="0">
                  <a:pos x="202" y="11"/>
                </a:cxn>
                <a:cxn ang="0">
                  <a:pos x="201" y="12"/>
                </a:cxn>
                <a:cxn ang="0">
                  <a:pos x="200" y="12"/>
                </a:cxn>
                <a:cxn ang="0">
                  <a:pos x="199" y="12"/>
                </a:cxn>
                <a:cxn ang="0">
                  <a:pos x="4" y="12"/>
                </a:cxn>
                <a:cxn ang="0">
                  <a:pos x="2" y="12"/>
                </a:cxn>
                <a:cxn ang="0">
                  <a:pos x="1" y="12"/>
                </a:cxn>
                <a:cxn ang="0">
                  <a:pos x="1" y="11"/>
                </a:cxn>
                <a:cxn ang="0">
                  <a:pos x="0" y="9"/>
                </a:cxn>
                <a:cxn ang="0">
                  <a:pos x="0" y="3"/>
                </a:cxn>
              </a:cxnLst>
              <a:rect l="0" t="0" r="r" b="b"/>
              <a:pathLst>
                <a:path w="202" h="12">
                  <a:moveTo>
                    <a:pt x="0" y="3"/>
                  </a:moveTo>
                  <a:lnTo>
                    <a:pt x="1" y="2"/>
                  </a:lnTo>
                  <a:lnTo>
                    <a:pt x="1" y="1"/>
                  </a:lnTo>
                  <a:lnTo>
                    <a:pt x="2" y="0"/>
                  </a:lnTo>
                  <a:lnTo>
                    <a:pt x="4" y="0"/>
                  </a:lnTo>
                  <a:lnTo>
                    <a:pt x="199" y="0"/>
                  </a:lnTo>
                  <a:lnTo>
                    <a:pt x="200" y="0"/>
                  </a:lnTo>
                  <a:lnTo>
                    <a:pt x="201" y="1"/>
                  </a:lnTo>
                  <a:lnTo>
                    <a:pt x="202" y="2"/>
                  </a:lnTo>
                  <a:lnTo>
                    <a:pt x="202" y="3"/>
                  </a:lnTo>
                  <a:lnTo>
                    <a:pt x="202" y="9"/>
                  </a:lnTo>
                  <a:lnTo>
                    <a:pt x="202" y="11"/>
                  </a:lnTo>
                  <a:lnTo>
                    <a:pt x="201" y="12"/>
                  </a:lnTo>
                  <a:lnTo>
                    <a:pt x="200" y="12"/>
                  </a:lnTo>
                  <a:lnTo>
                    <a:pt x="199" y="12"/>
                  </a:lnTo>
                  <a:lnTo>
                    <a:pt x="4" y="12"/>
                  </a:lnTo>
                  <a:lnTo>
                    <a:pt x="2" y="12"/>
                  </a:lnTo>
                  <a:lnTo>
                    <a:pt x="1" y="12"/>
                  </a:lnTo>
                  <a:lnTo>
                    <a:pt x="1" y="11"/>
                  </a:lnTo>
                  <a:lnTo>
                    <a:pt x="0" y="9"/>
                  </a:lnTo>
                  <a:lnTo>
                    <a:pt x="0" y="3"/>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2" name="TextBox 2"/>
            <p:cNvSpPr txBox="1"/>
            <p:nvPr/>
          </p:nvSpPr>
          <p:spPr>
            <a:xfrm>
              <a:off x="6095805" y="3178361"/>
              <a:ext cx="485153" cy="380480"/>
            </a:xfrm>
            <a:prstGeom prst="rect">
              <a:avLst/>
            </a:prstGeom>
            <a:noFill/>
          </p:spPr>
          <p:txBody>
            <a:bodyPr wrap="square" lIns="36000" tIns="36000" rIns="36000" bIns="36000" rtlCol="0">
              <a:spAutoFit/>
            </a:bodyPr>
            <a:lstStyle/>
            <a:p>
              <a:pPr algn="ctr"/>
              <a:r>
                <a:rPr lang="en-US" sz="1000" b="1" dirty="0" smtClean="0">
                  <a:solidFill>
                    <a:srgbClr val="000000"/>
                  </a:solidFill>
                </a:rPr>
                <a:t>Comm</a:t>
              </a:r>
            </a:p>
            <a:p>
              <a:pPr algn="ctr"/>
              <a:r>
                <a:rPr lang="en-US" sz="1000" b="1" dirty="0" smtClean="0">
                  <a:solidFill>
                    <a:srgbClr val="000000"/>
                  </a:solidFill>
                </a:rPr>
                <a:t>Serve</a:t>
              </a:r>
              <a:endParaRPr lang="en-US" sz="1000" b="1" dirty="0">
                <a:solidFill>
                  <a:srgbClr val="000000"/>
                </a:solidFill>
              </a:endParaRPr>
            </a:p>
          </p:txBody>
        </p:sp>
        <p:sp>
          <p:nvSpPr>
            <p:cNvPr id="318" name="Rechteck 317"/>
            <p:cNvSpPr/>
            <p:nvPr>
              <p:custDataLst>
                <p:tags r:id="rId50"/>
              </p:custDataLst>
            </p:nvPr>
          </p:nvSpPr>
          <p:spPr bwMode="gray">
            <a:xfrm>
              <a:off x="5658779" y="2733464"/>
              <a:ext cx="1817044" cy="337179"/>
            </a:xfrm>
            <a:prstGeom prst="rect">
              <a:avLst/>
            </a:prstGeom>
            <a:noFill/>
            <a:ln w="9525" cap="flat" cmpd="sng" algn="ctr">
              <a:noFill/>
              <a:prstDash val="solid"/>
            </a:ln>
            <a:effectLst/>
          </p:spPr>
          <p:txBody>
            <a:bodyPr lIns="0" tIns="0" rIns="0" bIns="0" rtlCol="0" anchor="t" anchorCtr="0"/>
            <a:lstStyle/>
            <a:p>
              <a:pPr algn="ctr">
                <a:defRPr/>
              </a:pPr>
              <a:r>
                <a:rPr lang="ru-RU" sz="1100" kern="0" dirty="0" smtClean="0">
                  <a:solidFill>
                    <a:srgbClr val="000000"/>
                  </a:solidFill>
                </a:rPr>
                <a:t>ПО для РК и архивирования</a:t>
              </a:r>
              <a:r>
                <a:rPr lang="en-US" sz="1100" kern="0" dirty="0" smtClean="0">
                  <a:solidFill>
                    <a:srgbClr val="000000"/>
                  </a:solidFill>
                </a:rPr>
                <a:t>: Simpana</a:t>
              </a:r>
              <a:endParaRPr lang="en-US" sz="1050" kern="0" dirty="0" smtClean="0">
                <a:solidFill>
                  <a:srgbClr val="000000"/>
                </a:solidFill>
              </a:endParaRPr>
            </a:p>
          </p:txBody>
        </p:sp>
        <p:sp>
          <p:nvSpPr>
            <p:cNvPr id="319" name="Rechteck 318"/>
            <p:cNvSpPr/>
            <p:nvPr>
              <p:custDataLst>
                <p:tags r:id="rId51"/>
              </p:custDataLst>
            </p:nvPr>
          </p:nvSpPr>
          <p:spPr bwMode="gray">
            <a:xfrm>
              <a:off x="7422079" y="2789485"/>
              <a:ext cx="1296144" cy="189119"/>
            </a:xfrm>
            <a:prstGeom prst="rect">
              <a:avLst/>
            </a:prstGeom>
            <a:noFill/>
            <a:ln w="9525" cap="flat" cmpd="sng" algn="ctr">
              <a:noFill/>
              <a:prstDash val="solid"/>
            </a:ln>
            <a:effectLst/>
          </p:spPr>
          <p:txBody>
            <a:bodyPr lIns="0" tIns="0" rIns="0" bIns="0" rtlCol="0" anchor="t" anchorCtr="0"/>
            <a:lstStyle/>
            <a:p>
              <a:pPr algn="ctr">
                <a:defRPr/>
              </a:pPr>
              <a:r>
                <a:rPr lang="ru-RU" sz="1050" kern="0" dirty="0" smtClean="0">
                  <a:solidFill>
                    <a:srgbClr val="000000"/>
                  </a:solidFill>
                </a:rPr>
                <a:t>СХД</a:t>
              </a:r>
              <a:endParaRPr lang="en-US" sz="1050" kern="0" dirty="0" smtClean="0">
                <a:solidFill>
                  <a:srgbClr val="000000"/>
                </a:solidFill>
              </a:endParaRPr>
            </a:p>
          </p:txBody>
        </p:sp>
        <p:sp>
          <p:nvSpPr>
            <p:cNvPr id="524" name="Abgerundetes Rechteck 523"/>
            <p:cNvSpPr/>
            <p:nvPr>
              <p:custDataLst>
                <p:tags r:id="rId52"/>
              </p:custDataLst>
            </p:nvPr>
          </p:nvSpPr>
          <p:spPr bwMode="gray">
            <a:xfrm>
              <a:off x="8109972" y="3070643"/>
              <a:ext cx="596539" cy="691832"/>
            </a:xfrm>
            <a:prstGeom prst="roundRect">
              <a:avLst>
                <a:gd name="adj" fmla="val 14114"/>
              </a:avLst>
            </a:prstGeom>
            <a:solidFill>
              <a:schemeClr val="bg2">
                <a:alpha val="63000"/>
              </a:schemeClr>
            </a:solidFill>
            <a:ln w="9525">
              <a:noFill/>
              <a:prstDash val="sysDash"/>
            </a:ln>
          </p:spPr>
          <p:style>
            <a:lnRef idx="2">
              <a:schemeClr val="accent1">
                <a:shade val="50000"/>
              </a:schemeClr>
            </a:lnRef>
            <a:fillRef idx="1">
              <a:schemeClr val="accent1"/>
            </a:fillRef>
            <a:effectRef idx="0">
              <a:schemeClr val="accent1"/>
            </a:effectRef>
            <a:fontRef idx="minor">
              <a:schemeClr val="lt1"/>
            </a:fontRef>
          </p:style>
          <p:txBody>
            <a:bodyPr tIns="0" rIns="54000" rtlCol="0" anchor="t" anchorCtr="0"/>
            <a:lstStyle/>
            <a:p>
              <a:pPr algn="ctr">
                <a:buClr>
                  <a:srgbClr val="A30B1A"/>
                </a:buClr>
              </a:pPr>
              <a:endParaRPr lang="en-US" sz="1100" dirty="0" smtClean="0">
                <a:solidFill>
                  <a:srgbClr val="000000"/>
                </a:solidFill>
              </a:endParaRPr>
            </a:p>
          </p:txBody>
        </p:sp>
        <p:sp>
          <p:nvSpPr>
            <p:cNvPr id="566" name="Rechteck 565"/>
            <p:cNvSpPr/>
            <p:nvPr>
              <p:custDataLst>
                <p:tags r:id="rId53"/>
              </p:custDataLst>
            </p:nvPr>
          </p:nvSpPr>
          <p:spPr bwMode="gray">
            <a:xfrm>
              <a:off x="6285149" y="2547316"/>
              <a:ext cx="1584176" cy="220199"/>
            </a:xfrm>
            <a:prstGeom prst="rect">
              <a:avLst/>
            </a:prstGeom>
            <a:noFill/>
            <a:ln w="9525" cap="flat" cmpd="sng" algn="ctr">
              <a:noFill/>
              <a:prstDash val="solid"/>
            </a:ln>
            <a:effectLst/>
          </p:spPr>
          <p:txBody>
            <a:bodyPr lIns="0" tIns="0" rIns="0" bIns="0" rtlCol="0" anchor="t" anchorCtr="0"/>
            <a:lstStyle/>
            <a:p>
              <a:pPr algn="ctr">
                <a:defRPr/>
              </a:pPr>
              <a:r>
                <a:rPr lang="en-US" sz="1200" b="1" kern="0" dirty="0" smtClean="0">
                  <a:solidFill>
                    <a:srgbClr val="FFFFFF"/>
                  </a:solidFill>
                </a:rPr>
                <a:t>ETERNUS CS200c</a:t>
              </a:r>
            </a:p>
          </p:txBody>
        </p:sp>
        <p:sp>
          <p:nvSpPr>
            <p:cNvPr id="14" name="Rechteck 13"/>
            <p:cNvSpPr/>
            <p:nvPr/>
          </p:nvSpPr>
          <p:spPr>
            <a:xfrm>
              <a:off x="7681648" y="2513299"/>
              <a:ext cx="184731" cy="246221"/>
            </a:xfrm>
            <a:prstGeom prst="rect">
              <a:avLst/>
            </a:prstGeom>
          </p:spPr>
          <p:txBody>
            <a:bodyPr wrap="none">
              <a:spAutoFit/>
            </a:bodyPr>
            <a:lstStyle/>
            <a:p>
              <a:endParaRPr lang="en-US" sz="1000" dirty="0">
                <a:solidFill>
                  <a:srgbClr val="FFFFFF"/>
                </a:solidFill>
              </a:endParaRPr>
            </a:p>
          </p:txBody>
        </p:sp>
      </p:grpSp>
      <p:grpSp>
        <p:nvGrpSpPr>
          <p:cNvPr id="7" name="Gruppieren 6"/>
          <p:cNvGrpSpPr/>
          <p:nvPr/>
        </p:nvGrpSpPr>
        <p:grpSpPr>
          <a:xfrm>
            <a:off x="297713" y="3267504"/>
            <a:ext cx="1684588" cy="1599772"/>
            <a:chOff x="297713" y="3267503"/>
            <a:chExt cx="1684588" cy="1599772"/>
          </a:xfrm>
        </p:grpSpPr>
        <p:sp>
          <p:nvSpPr>
            <p:cNvPr id="135" name="Pfeil nach oben und unten 134"/>
            <p:cNvSpPr/>
            <p:nvPr>
              <p:custDataLst>
                <p:tags r:id="rId32"/>
              </p:custDataLst>
            </p:nvPr>
          </p:nvSpPr>
          <p:spPr bwMode="gray">
            <a:xfrm>
              <a:off x="1044468" y="3267503"/>
              <a:ext cx="201628" cy="288040"/>
            </a:xfrm>
            <a:prstGeom prst="upDownArrow">
              <a:avLst>
                <a:gd name="adj1" fmla="val 52755"/>
                <a:gd name="adj2" fmla="val 41733"/>
              </a:avLst>
            </a:prstGeom>
            <a:solidFill>
              <a:schemeClr val="accent1"/>
            </a:solidFill>
            <a:ln w="12700">
              <a:solidFill>
                <a:schemeClr val="bg1"/>
              </a:solidFill>
              <a:round/>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smtClean="0">
                <a:solidFill>
                  <a:srgbClr val="000000"/>
                </a:solidFill>
              </a:endParaRPr>
            </a:p>
          </p:txBody>
        </p:sp>
        <p:grpSp>
          <p:nvGrpSpPr>
            <p:cNvPr id="3" name="Gruppieren 2"/>
            <p:cNvGrpSpPr/>
            <p:nvPr/>
          </p:nvGrpSpPr>
          <p:grpSpPr>
            <a:xfrm>
              <a:off x="297713" y="3555543"/>
              <a:ext cx="1684588" cy="1311732"/>
              <a:chOff x="5513505" y="899468"/>
              <a:chExt cx="1684588" cy="1311732"/>
            </a:xfrm>
          </p:grpSpPr>
          <p:sp>
            <p:nvSpPr>
              <p:cNvPr id="187" name="Abgerundetes Rechteck 186"/>
              <p:cNvSpPr/>
              <p:nvPr>
                <p:custDataLst>
                  <p:tags r:id="rId40"/>
                </p:custDataLst>
              </p:nvPr>
            </p:nvSpPr>
            <p:spPr bwMode="gray">
              <a:xfrm>
                <a:off x="5641072" y="915562"/>
                <a:ext cx="887671" cy="825713"/>
              </a:xfrm>
              <a:prstGeom prst="roundRect">
                <a:avLst>
                  <a:gd name="adj" fmla="val 12597"/>
                </a:avLst>
              </a:prstGeom>
              <a:gradFill flip="none" rotWithShape="1">
                <a:gsLst>
                  <a:gs pos="0">
                    <a:schemeClr val="bg2"/>
                  </a:gs>
                  <a:gs pos="50000">
                    <a:schemeClr val="bg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 tIns="46800" rIns="18000" rtlCol="0" anchor="t" anchorCtr="0"/>
              <a:lstStyle/>
              <a:p>
                <a:pPr>
                  <a:spcBef>
                    <a:spcPts val="400"/>
                  </a:spcBef>
                  <a:spcAft>
                    <a:spcPts val="400"/>
                  </a:spcAft>
                  <a:buClr>
                    <a:srgbClr val="A30B1A"/>
                  </a:buClr>
                </a:pPr>
                <a:r>
                  <a:rPr lang="en-US" sz="1200" dirty="0" smtClean="0">
                    <a:solidFill>
                      <a:srgbClr val="000000"/>
                    </a:solidFill>
                  </a:rPr>
                  <a:t>Dedup disk</a:t>
                </a:r>
              </a:p>
              <a:p>
                <a:pPr>
                  <a:buClr>
                    <a:srgbClr val="A30B1A"/>
                  </a:buClr>
                </a:pPr>
                <a:r>
                  <a:rPr lang="en-US" sz="1050" dirty="0" smtClean="0">
                    <a:solidFill>
                      <a:srgbClr val="000000"/>
                    </a:solidFill>
                  </a:rPr>
                  <a:t>VTL /</a:t>
                </a:r>
              </a:p>
              <a:p>
                <a:pPr>
                  <a:buClr>
                    <a:srgbClr val="A30B1A"/>
                  </a:buClr>
                </a:pPr>
                <a:r>
                  <a:rPr lang="en-US" sz="1050" dirty="0" smtClean="0">
                    <a:solidFill>
                      <a:srgbClr val="000000"/>
                    </a:solidFill>
                  </a:rPr>
                  <a:t>NAS</a:t>
                </a:r>
              </a:p>
            </p:txBody>
          </p:sp>
          <p:sp>
            <p:nvSpPr>
              <p:cNvPr id="195" name="Abgerundetes Rechteck 194"/>
              <p:cNvSpPr/>
              <p:nvPr/>
            </p:nvSpPr>
            <p:spPr>
              <a:xfrm>
                <a:off x="5513505" y="899468"/>
                <a:ext cx="1684588" cy="1311732"/>
              </a:xfrm>
              <a:prstGeom prst="roundRect">
                <a:avLst>
                  <a:gd name="adj" fmla="val 0"/>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b" anchorCtr="0"/>
              <a:lstStyle/>
              <a:p>
                <a:pPr algn="ctr"/>
                <a:endParaRPr lang="en-US" sz="1200" dirty="0" smtClean="0">
                  <a:solidFill>
                    <a:srgbClr val="FFFFFF"/>
                  </a:solidFill>
                </a:endParaRPr>
              </a:p>
            </p:txBody>
          </p:sp>
        </p:grpSp>
        <p:sp>
          <p:nvSpPr>
            <p:cNvPr id="564" name="Rechteck 563"/>
            <p:cNvSpPr/>
            <p:nvPr>
              <p:custDataLst>
                <p:tags r:id="rId33"/>
              </p:custDataLst>
            </p:nvPr>
          </p:nvSpPr>
          <p:spPr bwMode="gray">
            <a:xfrm>
              <a:off x="318218" y="4480289"/>
              <a:ext cx="941464" cy="141124"/>
            </a:xfrm>
            <a:prstGeom prst="rect">
              <a:avLst/>
            </a:prstGeom>
            <a:noFill/>
            <a:ln w="9525" cap="flat" cmpd="sng" algn="ctr">
              <a:noFill/>
              <a:prstDash val="solid"/>
            </a:ln>
            <a:effectLst/>
          </p:spPr>
          <p:txBody>
            <a:bodyPr lIns="0" tIns="0" rIns="0" bIns="0" rtlCol="0" anchor="t" anchorCtr="0"/>
            <a:lstStyle/>
            <a:p>
              <a:pPr algn="ctr">
                <a:defRPr/>
              </a:pPr>
              <a:r>
                <a:rPr lang="en-US" sz="1100" kern="0" dirty="0" smtClean="0">
                  <a:solidFill>
                    <a:srgbClr val="000000"/>
                  </a:solidFill>
                </a:rPr>
                <a:t>Dedup disk</a:t>
              </a:r>
            </a:p>
            <a:p>
              <a:pPr algn="ctr">
                <a:defRPr/>
              </a:pPr>
              <a:r>
                <a:rPr lang="en-US" sz="1100" kern="0" dirty="0" smtClean="0">
                  <a:solidFill>
                    <a:srgbClr val="000000"/>
                  </a:solidFill>
                </a:rPr>
                <a:t>(VTL/NAS)</a:t>
              </a:r>
              <a:endParaRPr lang="en-US" sz="1050" kern="0" dirty="0" smtClean="0">
                <a:solidFill>
                  <a:srgbClr val="000000"/>
                </a:solidFill>
              </a:endParaRPr>
            </a:p>
          </p:txBody>
        </p:sp>
        <p:sp>
          <p:nvSpPr>
            <p:cNvPr id="565" name="Rechteck 564"/>
            <p:cNvSpPr/>
            <p:nvPr>
              <p:custDataLst>
                <p:tags r:id="rId34"/>
              </p:custDataLst>
            </p:nvPr>
          </p:nvSpPr>
          <p:spPr bwMode="gray">
            <a:xfrm>
              <a:off x="482806" y="3629462"/>
              <a:ext cx="1235323" cy="181338"/>
            </a:xfrm>
            <a:prstGeom prst="rect">
              <a:avLst/>
            </a:prstGeom>
            <a:noFill/>
            <a:ln w="9525" cap="flat" cmpd="sng" algn="ctr">
              <a:noFill/>
              <a:prstDash val="solid"/>
            </a:ln>
            <a:effectLst/>
          </p:spPr>
          <p:txBody>
            <a:bodyPr lIns="0" tIns="0" rIns="0" bIns="0" rtlCol="0" anchor="t" anchorCtr="0"/>
            <a:lstStyle/>
            <a:p>
              <a:pPr algn="ctr">
                <a:defRPr/>
              </a:pPr>
              <a:r>
                <a:rPr lang="en-US" sz="1200" b="1" kern="0" dirty="0" smtClean="0">
                  <a:solidFill>
                    <a:srgbClr val="FFFFFF"/>
                  </a:solidFill>
                </a:rPr>
                <a:t>ETERNUS CS800</a:t>
              </a:r>
            </a:p>
          </p:txBody>
        </p:sp>
        <p:grpSp>
          <p:nvGrpSpPr>
            <p:cNvPr id="4" name="Gruppieren 3"/>
            <p:cNvGrpSpPr/>
            <p:nvPr/>
          </p:nvGrpSpPr>
          <p:grpSpPr>
            <a:xfrm>
              <a:off x="1240610" y="4021517"/>
              <a:ext cx="618847" cy="751666"/>
              <a:chOff x="-1447304" y="3162289"/>
              <a:chExt cx="618847" cy="751666"/>
            </a:xfrm>
          </p:grpSpPr>
          <p:sp>
            <p:nvSpPr>
              <p:cNvPr id="302" name="Abgerundetes Rechteck 301"/>
              <p:cNvSpPr/>
              <p:nvPr>
                <p:custDataLst>
                  <p:tags r:id="rId37"/>
                </p:custDataLst>
              </p:nvPr>
            </p:nvSpPr>
            <p:spPr bwMode="gray">
              <a:xfrm>
                <a:off x="-1447304" y="3162289"/>
                <a:ext cx="618847" cy="751666"/>
              </a:xfrm>
              <a:prstGeom prst="roundRect">
                <a:avLst>
                  <a:gd name="adj" fmla="val 14114"/>
                </a:avLst>
              </a:prstGeom>
              <a:gradFill flip="none" rotWithShape="1">
                <a:gsLst>
                  <a:gs pos="0">
                    <a:schemeClr val="bg2"/>
                  </a:gs>
                  <a:gs pos="50000">
                    <a:schemeClr val="bg1"/>
                  </a:gs>
                  <a:gs pos="100000">
                    <a:schemeClr val="bg1"/>
                  </a:gs>
                </a:gsLst>
                <a:lin ang="5400000" scaled="1"/>
                <a:tileRect/>
              </a:gradFill>
              <a:ln w="952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tIns="0" rIns="54000" rtlCol="0" anchor="t" anchorCtr="0"/>
              <a:lstStyle/>
              <a:p>
                <a:pPr algn="ctr">
                  <a:buClr>
                    <a:srgbClr val="A30B1A"/>
                  </a:buClr>
                </a:pPr>
                <a:r>
                  <a:rPr lang="en-US" sz="1100" dirty="0" smtClean="0">
                    <a:solidFill>
                      <a:srgbClr val="000000"/>
                    </a:solidFill>
                  </a:rPr>
                  <a:t>Tape </a:t>
                </a:r>
              </a:p>
              <a:p>
                <a:pPr indent="-266700" algn="ctr">
                  <a:buClr>
                    <a:srgbClr val="A30B1A"/>
                  </a:buClr>
                </a:pPr>
                <a:r>
                  <a:rPr lang="en-US" sz="1100" dirty="0" smtClean="0">
                    <a:solidFill>
                      <a:srgbClr val="000000"/>
                    </a:solidFill>
                  </a:rPr>
                  <a:t>option</a:t>
                </a:r>
              </a:p>
            </p:txBody>
          </p:sp>
          <p:pic>
            <p:nvPicPr>
              <p:cNvPr id="303" name="Picture 5" descr="D:\k16\grafika\illustrator\ikony\fts\ikona_fts_01.png"/>
              <p:cNvPicPr>
                <a:picLocks noChangeAspect="1" noChangeArrowheads="1"/>
              </p:cNvPicPr>
              <p:nvPr>
                <p:custDataLst>
                  <p:tags r:id="rId38"/>
                </p:custDataLst>
              </p:nvPr>
            </p:nvPicPr>
            <p:blipFill>
              <a:blip r:embed="rId87" cstate="email">
                <a:extLst>
                  <a:ext uri="{28A0092B-C50C-407E-A947-70E740481C1C}">
                    <a14:useLocalDpi xmlns:a14="http://schemas.microsoft.com/office/drawing/2010/main"/>
                  </a:ext>
                </a:extLst>
              </a:blip>
              <a:srcRect/>
              <a:stretch>
                <a:fillRect/>
              </a:stretch>
            </p:blipFill>
            <p:spPr bwMode="gray">
              <a:xfrm>
                <a:off x="-1300065" y="3545219"/>
                <a:ext cx="324036" cy="324036"/>
              </a:xfrm>
              <a:prstGeom prst="rect">
                <a:avLst/>
              </a:prstGeom>
              <a:noFill/>
            </p:spPr>
          </p:pic>
          <p:sp>
            <p:nvSpPr>
              <p:cNvPr id="304" name="Flussdiagramm: Datenträger mit sequenziellem Zugriff 303"/>
              <p:cNvSpPr>
                <a:spLocks noChangeAspect="1"/>
              </p:cNvSpPr>
              <p:nvPr/>
            </p:nvSpPr>
            <p:spPr bwMode="gray">
              <a:xfrm>
                <a:off x="-1215816" y="3629468"/>
                <a:ext cx="155538" cy="155538"/>
              </a:xfrm>
              <a:prstGeom prst="flowChartMagneticTape">
                <a:avLst/>
              </a:prstGeom>
              <a:solidFill>
                <a:schemeClr val="tx1"/>
              </a:solidFill>
              <a:ln w="952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rgbClr val="000000"/>
                  </a:solidFill>
                </a:endParaRPr>
              </a:p>
            </p:txBody>
          </p:sp>
          <p:sp>
            <p:nvSpPr>
              <p:cNvPr id="305" name="Abgerundetes Rechteck 304"/>
              <p:cNvSpPr/>
              <p:nvPr>
                <p:custDataLst>
                  <p:tags r:id="rId39"/>
                </p:custDataLst>
              </p:nvPr>
            </p:nvSpPr>
            <p:spPr bwMode="gray">
              <a:xfrm>
                <a:off x="-1434521" y="3189017"/>
                <a:ext cx="596539" cy="715395"/>
              </a:xfrm>
              <a:prstGeom prst="roundRect">
                <a:avLst>
                  <a:gd name="adj" fmla="val 14114"/>
                </a:avLst>
              </a:prstGeom>
              <a:solidFill>
                <a:schemeClr val="bg2">
                  <a:alpha val="63000"/>
                </a:schemeClr>
              </a:solidFill>
              <a:ln w="9525">
                <a:noFill/>
                <a:prstDash val="sysDash"/>
              </a:ln>
            </p:spPr>
            <p:style>
              <a:lnRef idx="2">
                <a:schemeClr val="accent1">
                  <a:shade val="50000"/>
                </a:schemeClr>
              </a:lnRef>
              <a:fillRef idx="1">
                <a:schemeClr val="accent1"/>
              </a:fillRef>
              <a:effectRef idx="0">
                <a:schemeClr val="accent1"/>
              </a:effectRef>
              <a:fontRef idx="minor">
                <a:schemeClr val="lt1"/>
              </a:fontRef>
            </p:style>
            <p:txBody>
              <a:bodyPr tIns="0" rIns="54000" rtlCol="0" anchor="t" anchorCtr="0"/>
              <a:lstStyle/>
              <a:p>
                <a:pPr algn="ctr">
                  <a:buClr>
                    <a:srgbClr val="A30B1A"/>
                  </a:buClr>
                </a:pPr>
                <a:endParaRPr lang="en-US" sz="1100" dirty="0" smtClean="0">
                  <a:solidFill>
                    <a:srgbClr val="000000"/>
                  </a:solidFill>
                </a:endParaRPr>
              </a:p>
            </p:txBody>
          </p:sp>
        </p:grpSp>
        <p:grpSp>
          <p:nvGrpSpPr>
            <p:cNvPr id="317" name="Gruppieren 316"/>
            <p:cNvGrpSpPr/>
            <p:nvPr/>
          </p:nvGrpSpPr>
          <p:grpSpPr>
            <a:xfrm>
              <a:off x="505171" y="3890102"/>
              <a:ext cx="535162" cy="540501"/>
              <a:chOff x="1946965" y="6249144"/>
              <a:chExt cx="535162" cy="540501"/>
            </a:xfrm>
          </p:grpSpPr>
          <p:pic>
            <p:nvPicPr>
              <p:cNvPr id="374" name="Picture 5" descr="D:\k16\grafika\illustrator\ikony\fts\ikona_fts_01.png"/>
              <p:cNvPicPr>
                <a:picLocks noChangeAspect="1" noChangeArrowheads="1"/>
              </p:cNvPicPr>
              <p:nvPr>
                <p:custDataLst>
                  <p:tags r:id="rId35"/>
                </p:custDataLst>
              </p:nvPr>
            </p:nvPicPr>
            <p:blipFill>
              <a:blip r:embed="rId85" cstate="screen">
                <a:extLst>
                  <a:ext uri="{28A0092B-C50C-407E-A947-70E740481C1C}">
                    <a14:useLocalDpi xmlns:a14="http://schemas.microsoft.com/office/drawing/2010/main"/>
                  </a:ext>
                </a:extLst>
              </a:blip>
              <a:srcRect/>
              <a:stretch>
                <a:fillRect/>
              </a:stretch>
            </p:blipFill>
            <p:spPr bwMode="gray">
              <a:xfrm>
                <a:off x="1946965" y="6249144"/>
                <a:ext cx="535162" cy="540501"/>
              </a:xfrm>
              <a:prstGeom prst="rect">
                <a:avLst/>
              </a:prstGeom>
              <a:noFill/>
            </p:spPr>
          </p:pic>
          <p:grpSp>
            <p:nvGrpSpPr>
              <p:cNvPr id="375" name="Gruppieren 336"/>
              <p:cNvGrpSpPr/>
              <p:nvPr>
                <p:custDataLst>
                  <p:tags r:id="rId36"/>
                </p:custDataLst>
              </p:nvPr>
            </p:nvGrpSpPr>
            <p:grpSpPr bwMode="gray">
              <a:xfrm>
                <a:off x="2044946" y="6361022"/>
                <a:ext cx="339200" cy="175761"/>
                <a:chOff x="7987047" y="1582055"/>
                <a:chExt cx="365125" cy="187325"/>
              </a:xfrm>
            </p:grpSpPr>
            <p:sp>
              <p:nvSpPr>
                <p:cNvPr id="377" name="Freeform 48"/>
                <p:cNvSpPr>
                  <a:spLocks/>
                </p:cNvSpPr>
                <p:nvPr/>
              </p:nvSpPr>
              <p:spPr bwMode="gray">
                <a:xfrm>
                  <a:off x="7987047" y="1620155"/>
                  <a:ext cx="365125" cy="149225"/>
                </a:xfrm>
                <a:custGeom>
                  <a:avLst/>
                  <a:gdLst/>
                  <a:ahLst/>
                  <a:cxnLst>
                    <a:cxn ang="0">
                      <a:pos x="230" y="71"/>
                    </a:cxn>
                    <a:cxn ang="0">
                      <a:pos x="230" y="73"/>
                    </a:cxn>
                    <a:cxn ang="0">
                      <a:pos x="228" y="76"/>
                    </a:cxn>
                    <a:cxn ang="0">
                      <a:pos x="225" y="78"/>
                    </a:cxn>
                    <a:cxn ang="0">
                      <a:pos x="221" y="80"/>
                    </a:cxn>
                    <a:cxn ang="0">
                      <a:pos x="216" y="82"/>
                    </a:cxn>
                    <a:cxn ang="0">
                      <a:pos x="211" y="84"/>
                    </a:cxn>
                    <a:cxn ang="0">
                      <a:pos x="204" y="86"/>
                    </a:cxn>
                    <a:cxn ang="0">
                      <a:pos x="197" y="88"/>
                    </a:cxn>
                    <a:cxn ang="0">
                      <a:pos x="180" y="90"/>
                    </a:cxn>
                    <a:cxn ang="0">
                      <a:pos x="160" y="93"/>
                    </a:cxn>
                    <a:cxn ang="0">
                      <a:pos x="139" y="94"/>
                    </a:cxn>
                    <a:cxn ang="0">
                      <a:pos x="116" y="94"/>
                    </a:cxn>
                    <a:cxn ang="0">
                      <a:pos x="93" y="94"/>
                    </a:cxn>
                    <a:cxn ang="0">
                      <a:pos x="71" y="93"/>
                    </a:cxn>
                    <a:cxn ang="0">
                      <a:pos x="61" y="92"/>
                    </a:cxn>
                    <a:cxn ang="0">
                      <a:pos x="52" y="90"/>
                    </a:cxn>
                    <a:cxn ang="0">
                      <a:pos x="35" y="88"/>
                    </a:cxn>
                    <a:cxn ang="0">
                      <a:pos x="26" y="86"/>
                    </a:cxn>
                    <a:cxn ang="0">
                      <a:pos x="20" y="84"/>
                    </a:cxn>
                    <a:cxn ang="0">
                      <a:pos x="14" y="82"/>
                    </a:cxn>
                    <a:cxn ang="0">
                      <a:pos x="9" y="80"/>
                    </a:cxn>
                    <a:cxn ang="0">
                      <a:pos x="5" y="78"/>
                    </a:cxn>
                    <a:cxn ang="0">
                      <a:pos x="2" y="76"/>
                    </a:cxn>
                    <a:cxn ang="0">
                      <a:pos x="1" y="73"/>
                    </a:cxn>
                    <a:cxn ang="0">
                      <a:pos x="0" y="72"/>
                    </a:cxn>
                    <a:cxn ang="0">
                      <a:pos x="0" y="71"/>
                    </a:cxn>
                    <a:cxn ang="0">
                      <a:pos x="0" y="0"/>
                    </a:cxn>
                    <a:cxn ang="0">
                      <a:pos x="229" y="0"/>
                    </a:cxn>
                    <a:cxn ang="0">
                      <a:pos x="230" y="71"/>
                    </a:cxn>
                  </a:cxnLst>
                  <a:rect l="0" t="0" r="r" b="b"/>
                  <a:pathLst>
                    <a:path w="230" h="94">
                      <a:moveTo>
                        <a:pt x="230" y="71"/>
                      </a:moveTo>
                      <a:lnTo>
                        <a:pt x="230" y="73"/>
                      </a:lnTo>
                      <a:lnTo>
                        <a:pt x="228" y="76"/>
                      </a:lnTo>
                      <a:lnTo>
                        <a:pt x="225" y="78"/>
                      </a:lnTo>
                      <a:lnTo>
                        <a:pt x="221" y="80"/>
                      </a:lnTo>
                      <a:lnTo>
                        <a:pt x="216" y="82"/>
                      </a:lnTo>
                      <a:lnTo>
                        <a:pt x="211" y="84"/>
                      </a:lnTo>
                      <a:lnTo>
                        <a:pt x="204" y="86"/>
                      </a:lnTo>
                      <a:lnTo>
                        <a:pt x="197" y="88"/>
                      </a:lnTo>
                      <a:lnTo>
                        <a:pt x="180" y="90"/>
                      </a:lnTo>
                      <a:lnTo>
                        <a:pt x="160" y="93"/>
                      </a:lnTo>
                      <a:lnTo>
                        <a:pt x="139" y="94"/>
                      </a:lnTo>
                      <a:lnTo>
                        <a:pt x="116" y="94"/>
                      </a:lnTo>
                      <a:lnTo>
                        <a:pt x="93" y="94"/>
                      </a:lnTo>
                      <a:lnTo>
                        <a:pt x="71" y="93"/>
                      </a:lnTo>
                      <a:lnTo>
                        <a:pt x="61" y="92"/>
                      </a:lnTo>
                      <a:lnTo>
                        <a:pt x="52" y="90"/>
                      </a:lnTo>
                      <a:lnTo>
                        <a:pt x="35" y="88"/>
                      </a:lnTo>
                      <a:lnTo>
                        <a:pt x="26" y="86"/>
                      </a:lnTo>
                      <a:lnTo>
                        <a:pt x="20" y="84"/>
                      </a:lnTo>
                      <a:lnTo>
                        <a:pt x="14" y="82"/>
                      </a:lnTo>
                      <a:lnTo>
                        <a:pt x="9" y="80"/>
                      </a:lnTo>
                      <a:lnTo>
                        <a:pt x="5" y="78"/>
                      </a:lnTo>
                      <a:lnTo>
                        <a:pt x="2" y="76"/>
                      </a:lnTo>
                      <a:lnTo>
                        <a:pt x="1" y="73"/>
                      </a:lnTo>
                      <a:lnTo>
                        <a:pt x="0" y="72"/>
                      </a:lnTo>
                      <a:lnTo>
                        <a:pt x="0" y="71"/>
                      </a:lnTo>
                      <a:lnTo>
                        <a:pt x="0" y="0"/>
                      </a:lnTo>
                      <a:lnTo>
                        <a:pt x="229" y="0"/>
                      </a:lnTo>
                      <a:lnTo>
                        <a:pt x="230" y="71"/>
                      </a:lnTo>
                      <a:close/>
                    </a:path>
                  </a:pathLst>
                </a:custGeom>
                <a:solidFill>
                  <a:srgbClr val="000000"/>
                </a:solidFill>
                <a:ln w="9525">
                  <a:solidFill>
                    <a:srgbClr val="000000"/>
                  </a:solidFill>
                  <a:round/>
                  <a:headEnd/>
                  <a:tailEnd/>
                </a:ln>
              </p:spPr>
              <p:txBody>
                <a:bodyPr/>
                <a:lstStyle/>
                <a:p>
                  <a:pPr>
                    <a:defRPr/>
                  </a:pPr>
                  <a:endParaRPr lang="en-US" sz="900" kern="0" dirty="0">
                    <a:solidFill>
                      <a:prstClr val="black"/>
                    </a:solidFill>
                  </a:endParaRPr>
                </a:p>
              </p:txBody>
            </p:sp>
            <p:sp>
              <p:nvSpPr>
                <p:cNvPr id="378" name="Freeform 49"/>
                <p:cNvSpPr>
                  <a:spLocks/>
                </p:cNvSpPr>
                <p:nvPr/>
              </p:nvSpPr>
              <p:spPr bwMode="gray">
                <a:xfrm>
                  <a:off x="7987047" y="1582055"/>
                  <a:ext cx="365125" cy="74612"/>
                </a:xfrm>
                <a:custGeom>
                  <a:avLst/>
                  <a:gdLst/>
                  <a:ahLst/>
                  <a:cxnLst>
                    <a:cxn ang="0">
                      <a:pos x="0" y="24"/>
                    </a:cxn>
                    <a:cxn ang="0">
                      <a:pos x="1" y="21"/>
                    </a:cxn>
                    <a:cxn ang="0">
                      <a:pos x="2" y="19"/>
                    </a:cxn>
                    <a:cxn ang="0">
                      <a:pos x="5" y="17"/>
                    </a:cxn>
                    <a:cxn ang="0">
                      <a:pos x="9" y="15"/>
                    </a:cxn>
                    <a:cxn ang="0">
                      <a:pos x="14" y="13"/>
                    </a:cxn>
                    <a:cxn ang="0">
                      <a:pos x="20" y="11"/>
                    </a:cxn>
                    <a:cxn ang="0">
                      <a:pos x="26" y="9"/>
                    </a:cxn>
                    <a:cxn ang="0">
                      <a:pos x="35" y="7"/>
                    </a:cxn>
                    <a:cxn ang="0">
                      <a:pos x="52" y="4"/>
                    </a:cxn>
                    <a:cxn ang="0">
                      <a:pos x="71" y="2"/>
                    </a:cxn>
                    <a:cxn ang="0">
                      <a:pos x="93" y="1"/>
                    </a:cxn>
                    <a:cxn ang="0">
                      <a:pos x="116" y="0"/>
                    </a:cxn>
                    <a:cxn ang="0">
                      <a:pos x="139" y="1"/>
                    </a:cxn>
                    <a:cxn ang="0">
                      <a:pos x="160" y="2"/>
                    </a:cxn>
                    <a:cxn ang="0">
                      <a:pos x="170" y="3"/>
                    </a:cxn>
                    <a:cxn ang="0">
                      <a:pos x="180" y="4"/>
                    </a:cxn>
                    <a:cxn ang="0">
                      <a:pos x="197" y="7"/>
                    </a:cxn>
                    <a:cxn ang="0">
                      <a:pos x="204" y="9"/>
                    </a:cxn>
                    <a:cxn ang="0">
                      <a:pos x="211" y="11"/>
                    </a:cxn>
                    <a:cxn ang="0">
                      <a:pos x="216" y="13"/>
                    </a:cxn>
                    <a:cxn ang="0">
                      <a:pos x="221" y="15"/>
                    </a:cxn>
                    <a:cxn ang="0">
                      <a:pos x="225" y="17"/>
                    </a:cxn>
                    <a:cxn ang="0">
                      <a:pos x="228" y="19"/>
                    </a:cxn>
                    <a:cxn ang="0">
                      <a:pos x="230" y="21"/>
                    </a:cxn>
                    <a:cxn ang="0">
                      <a:pos x="230" y="23"/>
                    </a:cxn>
                    <a:cxn ang="0">
                      <a:pos x="230" y="24"/>
                    </a:cxn>
                    <a:cxn ang="0">
                      <a:pos x="230" y="26"/>
                    </a:cxn>
                    <a:cxn ang="0">
                      <a:pos x="228" y="29"/>
                    </a:cxn>
                    <a:cxn ang="0">
                      <a:pos x="225" y="31"/>
                    </a:cxn>
                    <a:cxn ang="0">
                      <a:pos x="221" y="33"/>
                    </a:cxn>
                    <a:cxn ang="0">
                      <a:pos x="216" y="35"/>
                    </a:cxn>
                    <a:cxn ang="0">
                      <a:pos x="211" y="37"/>
                    </a:cxn>
                    <a:cxn ang="0">
                      <a:pos x="204" y="39"/>
                    </a:cxn>
                    <a:cxn ang="0">
                      <a:pos x="197" y="40"/>
                    </a:cxn>
                    <a:cxn ang="0">
                      <a:pos x="180" y="43"/>
                    </a:cxn>
                    <a:cxn ang="0">
                      <a:pos x="160" y="45"/>
                    </a:cxn>
                    <a:cxn ang="0">
                      <a:pos x="139" y="47"/>
                    </a:cxn>
                    <a:cxn ang="0">
                      <a:pos x="116" y="47"/>
                    </a:cxn>
                    <a:cxn ang="0">
                      <a:pos x="93" y="47"/>
                    </a:cxn>
                    <a:cxn ang="0">
                      <a:pos x="71" y="45"/>
                    </a:cxn>
                    <a:cxn ang="0">
                      <a:pos x="61" y="44"/>
                    </a:cxn>
                    <a:cxn ang="0">
                      <a:pos x="52" y="43"/>
                    </a:cxn>
                    <a:cxn ang="0">
                      <a:pos x="35" y="40"/>
                    </a:cxn>
                    <a:cxn ang="0">
                      <a:pos x="26" y="39"/>
                    </a:cxn>
                    <a:cxn ang="0">
                      <a:pos x="20" y="37"/>
                    </a:cxn>
                    <a:cxn ang="0">
                      <a:pos x="14" y="35"/>
                    </a:cxn>
                    <a:cxn ang="0">
                      <a:pos x="9" y="33"/>
                    </a:cxn>
                    <a:cxn ang="0">
                      <a:pos x="5" y="31"/>
                    </a:cxn>
                    <a:cxn ang="0">
                      <a:pos x="2" y="29"/>
                    </a:cxn>
                    <a:cxn ang="0">
                      <a:pos x="1" y="26"/>
                    </a:cxn>
                    <a:cxn ang="0">
                      <a:pos x="0" y="25"/>
                    </a:cxn>
                    <a:cxn ang="0">
                      <a:pos x="0" y="24"/>
                    </a:cxn>
                  </a:cxnLst>
                  <a:rect l="0" t="0" r="r" b="b"/>
                  <a:pathLst>
                    <a:path w="230" h="47">
                      <a:moveTo>
                        <a:pt x="0" y="24"/>
                      </a:moveTo>
                      <a:lnTo>
                        <a:pt x="1" y="21"/>
                      </a:lnTo>
                      <a:lnTo>
                        <a:pt x="2" y="19"/>
                      </a:lnTo>
                      <a:lnTo>
                        <a:pt x="5" y="17"/>
                      </a:lnTo>
                      <a:lnTo>
                        <a:pt x="9" y="15"/>
                      </a:lnTo>
                      <a:lnTo>
                        <a:pt x="14" y="13"/>
                      </a:lnTo>
                      <a:lnTo>
                        <a:pt x="20" y="11"/>
                      </a:lnTo>
                      <a:lnTo>
                        <a:pt x="26" y="9"/>
                      </a:lnTo>
                      <a:lnTo>
                        <a:pt x="35" y="7"/>
                      </a:lnTo>
                      <a:lnTo>
                        <a:pt x="52" y="4"/>
                      </a:lnTo>
                      <a:lnTo>
                        <a:pt x="71" y="2"/>
                      </a:lnTo>
                      <a:lnTo>
                        <a:pt x="93" y="1"/>
                      </a:lnTo>
                      <a:lnTo>
                        <a:pt x="116" y="0"/>
                      </a:lnTo>
                      <a:lnTo>
                        <a:pt x="139" y="1"/>
                      </a:lnTo>
                      <a:lnTo>
                        <a:pt x="160" y="2"/>
                      </a:lnTo>
                      <a:lnTo>
                        <a:pt x="170" y="3"/>
                      </a:lnTo>
                      <a:lnTo>
                        <a:pt x="180" y="4"/>
                      </a:lnTo>
                      <a:lnTo>
                        <a:pt x="197" y="7"/>
                      </a:lnTo>
                      <a:lnTo>
                        <a:pt x="204" y="9"/>
                      </a:lnTo>
                      <a:lnTo>
                        <a:pt x="211" y="11"/>
                      </a:lnTo>
                      <a:lnTo>
                        <a:pt x="216" y="13"/>
                      </a:lnTo>
                      <a:lnTo>
                        <a:pt x="221" y="15"/>
                      </a:lnTo>
                      <a:lnTo>
                        <a:pt x="225" y="17"/>
                      </a:lnTo>
                      <a:lnTo>
                        <a:pt x="228" y="19"/>
                      </a:lnTo>
                      <a:lnTo>
                        <a:pt x="230" y="21"/>
                      </a:lnTo>
                      <a:lnTo>
                        <a:pt x="230" y="23"/>
                      </a:lnTo>
                      <a:lnTo>
                        <a:pt x="230" y="24"/>
                      </a:lnTo>
                      <a:lnTo>
                        <a:pt x="230" y="26"/>
                      </a:lnTo>
                      <a:lnTo>
                        <a:pt x="228" y="29"/>
                      </a:lnTo>
                      <a:lnTo>
                        <a:pt x="225" y="31"/>
                      </a:lnTo>
                      <a:lnTo>
                        <a:pt x="221" y="33"/>
                      </a:lnTo>
                      <a:lnTo>
                        <a:pt x="216" y="35"/>
                      </a:lnTo>
                      <a:lnTo>
                        <a:pt x="211" y="37"/>
                      </a:lnTo>
                      <a:lnTo>
                        <a:pt x="204" y="39"/>
                      </a:lnTo>
                      <a:lnTo>
                        <a:pt x="197" y="40"/>
                      </a:lnTo>
                      <a:lnTo>
                        <a:pt x="180" y="43"/>
                      </a:lnTo>
                      <a:lnTo>
                        <a:pt x="160" y="45"/>
                      </a:lnTo>
                      <a:lnTo>
                        <a:pt x="139" y="47"/>
                      </a:lnTo>
                      <a:lnTo>
                        <a:pt x="116" y="47"/>
                      </a:lnTo>
                      <a:lnTo>
                        <a:pt x="93" y="47"/>
                      </a:lnTo>
                      <a:lnTo>
                        <a:pt x="71" y="45"/>
                      </a:lnTo>
                      <a:lnTo>
                        <a:pt x="61" y="44"/>
                      </a:lnTo>
                      <a:lnTo>
                        <a:pt x="52" y="43"/>
                      </a:lnTo>
                      <a:lnTo>
                        <a:pt x="35" y="40"/>
                      </a:lnTo>
                      <a:lnTo>
                        <a:pt x="26" y="39"/>
                      </a:lnTo>
                      <a:lnTo>
                        <a:pt x="20" y="37"/>
                      </a:lnTo>
                      <a:lnTo>
                        <a:pt x="14" y="35"/>
                      </a:lnTo>
                      <a:lnTo>
                        <a:pt x="9" y="33"/>
                      </a:lnTo>
                      <a:lnTo>
                        <a:pt x="5" y="31"/>
                      </a:lnTo>
                      <a:lnTo>
                        <a:pt x="2" y="29"/>
                      </a:lnTo>
                      <a:lnTo>
                        <a:pt x="1" y="26"/>
                      </a:lnTo>
                      <a:lnTo>
                        <a:pt x="0" y="25"/>
                      </a:lnTo>
                      <a:lnTo>
                        <a:pt x="0" y="24"/>
                      </a:lnTo>
                      <a:close/>
                    </a:path>
                  </a:pathLst>
                </a:custGeom>
                <a:solidFill>
                  <a:srgbClr val="FFFFFF"/>
                </a:solidFill>
                <a:ln w="9525">
                  <a:solidFill>
                    <a:srgbClr val="000000"/>
                  </a:solidFill>
                  <a:round/>
                  <a:headEnd/>
                  <a:tailEnd/>
                </a:ln>
              </p:spPr>
              <p:txBody>
                <a:bodyPr/>
                <a:lstStyle/>
                <a:p>
                  <a:pPr>
                    <a:defRPr/>
                  </a:pPr>
                  <a:endParaRPr lang="en-US" sz="900" kern="0" dirty="0">
                    <a:solidFill>
                      <a:prstClr val="black"/>
                    </a:solidFill>
                  </a:endParaRPr>
                </a:p>
              </p:txBody>
            </p:sp>
          </p:grpSp>
          <p:sp>
            <p:nvSpPr>
              <p:cNvPr id="376" name="Welle 375"/>
              <p:cNvSpPr/>
              <p:nvPr/>
            </p:nvSpPr>
            <p:spPr>
              <a:xfrm>
                <a:off x="1988840" y="6465168"/>
                <a:ext cx="448993" cy="288032"/>
              </a:xfrm>
              <a:prstGeom prst="wave">
                <a:avLst/>
              </a:prstGeom>
              <a:solidFill>
                <a:srgbClr val="FF0000"/>
              </a:solidFill>
              <a:ln w="25400" cap="rnd" cmpd="sng" algn="ctr">
                <a:noFill/>
                <a:prstDash val="solid"/>
              </a:ln>
              <a:effectLst/>
            </p:spPr>
            <p:txBody>
              <a:bodyPr lIns="0" tIns="0" rIns="0" bIns="0" rtlCol="0" anchor="ctr"/>
              <a:lstStyle/>
              <a:p>
                <a:pPr algn="ctr">
                  <a:defRPr/>
                </a:pPr>
                <a:r>
                  <a:rPr lang="en-US" sz="1200" kern="0" dirty="0" err="1" smtClean="0">
                    <a:solidFill>
                      <a:prstClr val="black"/>
                    </a:solidFill>
                    <a:latin typeface="Calibri"/>
                  </a:rPr>
                  <a:t>Dedup</a:t>
                </a:r>
                <a:endParaRPr lang="en-US" sz="1200" kern="0" dirty="0" smtClean="0">
                  <a:solidFill>
                    <a:prstClr val="black"/>
                  </a:solidFill>
                  <a:latin typeface="Calibri"/>
                </a:endParaRPr>
              </a:p>
            </p:txBody>
          </p:sp>
        </p:grpSp>
      </p:grpSp>
    </p:spTree>
    <p:extLst>
      <p:ext uri="{BB962C8B-B14F-4D97-AF65-F5344CB8AC3E}">
        <p14:creationId xmlns:p14="http://schemas.microsoft.com/office/powerpoint/2010/main" val="32467593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Straight Connector 26"/>
          <p:cNvCxnSpPr/>
          <p:nvPr/>
        </p:nvCxnSpPr>
        <p:spPr>
          <a:xfrm flipH="1" flipV="1">
            <a:off x="5449223" y="3482786"/>
            <a:ext cx="667835" cy="4035"/>
          </a:xfrm>
          <a:prstGeom prst="line">
            <a:avLst/>
          </a:prstGeom>
          <a:ln w="34925">
            <a:solidFill>
              <a:srgbClr val="EE312F"/>
            </a:solidFill>
            <a:miter lim="800000"/>
            <a:headEnd type="oval"/>
            <a:tailEnd type="none"/>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1"/>
          </p:nvPr>
        </p:nvSpPr>
        <p:spPr>
          <a:xfrm>
            <a:off x="319957" y="166750"/>
            <a:ext cx="8187455" cy="532740"/>
          </a:xfrm>
        </p:spPr>
        <p:txBody>
          <a:bodyPr/>
          <a:lstStyle/>
          <a:p>
            <a:r>
              <a:rPr lang="en-US" dirty="0" smtClean="0"/>
              <a:t>ETERNUS CS200c FEATURES</a:t>
            </a:r>
          </a:p>
        </p:txBody>
      </p:sp>
      <p:sp>
        <p:nvSpPr>
          <p:cNvPr id="6" name="First Bullet"/>
          <p:cNvSpPr txBox="1">
            <a:spLocks/>
          </p:cNvSpPr>
          <p:nvPr/>
        </p:nvSpPr>
        <p:spPr>
          <a:xfrm>
            <a:off x="2633690" y="1396000"/>
            <a:ext cx="5067300" cy="1028700"/>
          </a:xfrm>
          <a:prstGeom prst="rect">
            <a:avLst/>
          </a:prstGeom>
        </p:spPr>
        <p:txBody>
          <a:bodyPr/>
          <a:lstStyle>
            <a:lvl1pPr marL="342900" indent="-342900" algn="l" rtl="0" eaLnBrk="1" fontAlgn="base" hangingPunct="1">
              <a:spcBef>
                <a:spcPct val="20000"/>
              </a:spcBef>
              <a:spcAft>
                <a:spcPct val="0"/>
              </a:spcAft>
              <a:buClr>
                <a:srgbClr val="CE1126"/>
              </a:buClr>
              <a:buFont typeface="Wingdings" pitchFamily="2" charset="2"/>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Clr>
                <a:srgbClr val="CE1126"/>
              </a:buClr>
              <a:buFont typeface="Wingdings" pitchFamily="2" charset="2"/>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Clr>
                <a:srgbClr val="CE1126"/>
              </a:buClr>
              <a:buFont typeface="Wingdings" pitchFamily="2" charset="2"/>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Clr>
                <a:srgbClr val="CE1126"/>
              </a:buClr>
              <a:buFont typeface="Wingdings" pitchFamily="2" charset="2"/>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Clr>
                <a:srgbClr val="CE1126"/>
              </a:buClr>
              <a:buFont typeface="Wingdings" pitchFamily="2" charset="2"/>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EE312F"/>
              </a:buClr>
              <a:buFont typeface="Wingdings" pitchFamily="2" charset="2"/>
              <a:buNone/>
            </a:pPr>
            <a:r>
              <a:rPr lang="ru-RU" sz="1600" dirty="0" smtClean="0">
                <a:solidFill>
                  <a:srgbClr val="000000"/>
                </a:solidFill>
                <a:latin typeface="Tahoma" panose="020B0604030504040204" pitchFamily="34" charset="0"/>
                <a:ea typeface="Tahoma" panose="020B0604030504040204" pitchFamily="34" charset="0"/>
                <a:cs typeface="Tahoma" panose="020B0604030504040204" pitchFamily="34" charset="0"/>
              </a:rPr>
              <a:t>Единая интегрированная платформа</a:t>
            </a:r>
            <a:endParaRPr lang="en-US" sz="1600" dirty="0" smtClean="0">
              <a:solidFill>
                <a:srgbClr val="000000"/>
              </a:solidFill>
              <a:latin typeface="Tahoma" panose="020B0604030504040204" pitchFamily="34" charset="0"/>
              <a:ea typeface="Tahoma" panose="020B0604030504040204" pitchFamily="34" charset="0"/>
              <a:cs typeface="Tahoma" panose="020B0604030504040204" pitchFamily="34" charset="0"/>
            </a:endParaRPr>
          </a:p>
          <a:p>
            <a:pPr marL="0" indent="0">
              <a:buClr>
                <a:srgbClr val="EE312F"/>
              </a:buClr>
              <a:buFont typeface="Wingdings" pitchFamily="2" charset="2"/>
              <a:buNone/>
            </a:pPr>
            <a:r>
              <a:rPr lang="ru-RU" sz="1600" dirty="0" err="1" smtClean="0">
                <a:solidFill>
                  <a:srgbClr val="000000"/>
                </a:solidFill>
                <a:latin typeface="Tahoma" panose="020B0604030504040204" pitchFamily="34" charset="0"/>
                <a:ea typeface="Tahoma" panose="020B0604030504040204" pitchFamily="34" charset="0"/>
                <a:cs typeface="Tahoma" panose="020B0604030504040204" pitchFamily="34" charset="0"/>
              </a:rPr>
              <a:t>Бэкап</a:t>
            </a:r>
            <a:r>
              <a:rPr lang="en-US" sz="1600" dirty="0" smtClean="0">
                <a:solidFill>
                  <a:srgbClr val="000000"/>
                </a:solidFill>
                <a:latin typeface="Tahoma" panose="020B0604030504040204" pitchFamily="34" charset="0"/>
                <a:ea typeface="Tahoma" panose="020B0604030504040204" pitchFamily="34" charset="0"/>
                <a:cs typeface="Tahoma" panose="020B0604030504040204" pitchFamily="34" charset="0"/>
              </a:rPr>
              <a:t> </a:t>
            </a:r>
            <a:r>
              <a:rPr lang="ru-RU" sz="1600" dirty="0" smtClean="0">
                <a:solidFill>
                  <a:srgbClr val="000000"/>
                </a:solidFill>
                <a:latin typeface="Tahoma" panose="020B0604030504040204" pitchFamily="34" charset="0"/>
                <a:ea typeface="Tahoma" panose="020B0604030504040204" pitchFamily="34" charset="0"/>
                <a:cs typeface="Tahoma" panose="020B0604030504040204" pitchFamily="34" charset="0"/>
              </a:rPr>
              <a:t>файлов</a:t>
            </a:r>
            <a:r>
              <a:rPr lang="en-US" sz="1600" dirty="0" smtClean="0">
                <a:solidFill>
                  <a:srgbClr val="000000"/>
                </a:solidFill>
                <a:latin typeface="Tahoma" panose="020B0604030504040204" pitchFamily="34" charset="0"/>
                <a:ea typeface="Tahoma" panose="020B0604030504040204" pitchFamily="34" charset="0"/>
                <a:cs typeface="Tahoma" panose="020B0604030504040204" pitchFamily="34" charset="0"/>
              </a:rPr>
              <a:t>, </a:t>
            </a:r>
            <a:r>
              <a:rPr lang="ru-RU" sz="1600" dirty="0" smtClean="0">
                <a:solidFill>
                  <a:srgbClr val="000000"/>
                </a:solidFill>
                <a:latin typeface="Tahoma" panose="020B0604030504040204" pitchFamily="34" charset="0"/>
                <a:ea typeface="Tahoma" panose="020B0604030504040204" pitchFamily="34" charset="0"/>
                <a:cs typeface="Tahoma" panose="020B0604030504040204" pitchFamily="34" charset="0"/>
              </a:rPr>
              <a:t>приложений</a:t>
            </a:r>
            <a:r>
              <a:rPr lang="en-US" sz="1600" dirty="0" smtClean="0">
                <a:solidFill>
                  <a:srgbClr val="000000"/>
                </a:solidFill>
                <a:latin typeface="Tahoma" panose="020B0604030504040204" pitchFamily="34" charset="0"/>
                <a:ea typeface="Tahoma" panose="020B0604030504040204" pitchFamily="34" charset="0"/>
                <a:cs typeface="Tahoma" panose="020B0604030504040204" pitchFamily="34" charset="0"/>
              </a:rPr>
              <a:t>, VMs, NAS</a:t>
            </a:r>
          </a:p>
          <a:p>
            <a:pPr marL="0" indent="0">
              <a:buClr>
                <a:srgbClr val="EE312F"/>
              </a:buClr>
              <a:buFont typeface="Wingdings" pitchFamily="2" charset="2"/>
              <a:buNone/>
            </a:pPr>
            <a:r>
              <a:rPr lang="en-US" sz="1600" dirty="0" smtClean="0">
                <a:solidFill>
                  <a:srgbClr val="000000"/>
                </a:solidFill>
                <a:latin typeface="Tahoma" panose="020B0604030504040204" pitchFamily="34" charset="0"/>
                <a:ea typeface="Tahoma" panose="020B0604030504040204" pitchFamily="34" charset="0"/>
                <a:cs typeface="Tahoma" panose="020B0604030504040204" pitchFamily="34" charset="0"/>
              </a:rPr>
              <a:t>Source-side dedupe, snapshot aware</a:t>
            </a:r>
          </a:p>
        </p:txBody>
      </p:sp>
      <p:cxnSp>
        <p:nvCxnSpPr>
          <p:cNvPr id="8" name="Straight Connector 7"/>
          <p:cNvCxnSpPr/>
          <p:nvPr/>
        </p:nvCxnSpPr>
        <p:spPr>
          <a:xfrm>
            <a:off x="2538171" y="1584025"/>
            <a:ext cx="0" cy="914400"/>
          </a:xfrm>
          <a:prstGeom prst="line">
            <a:avLst/>
          </a:prstGeom>
          <a:ln w="34925">
            <a:solidFill>
              <a:srgbClr val="EE312F"/>
            </a:solidFill>
            <a:miter lim="800000"/>
            <a:headEnd type="oval"/>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897800" y="2841220"/>
            <a:ext cx="822960" cy="0"/>
          </a:xfrm>
          <a:prstGeom prst="line">
            <a:avLst/>
          </a:prstGeom>
          <a:ln w="34925">
            <a:solidFill>
              <a:srgbClr val="EE312F"/>
            </a:solidFill>
            <a:miter lim="800000"/>
            <a:headEnd type="oval"/>
            <a:tailEnd type="none"/>
          </a:ln>
        </p:spPr>
        <p:style>
          <a:lnRef idx="1">
            <a:schemeClr val="accent1"/>
          </a:lnRef>
          <a:fillRef idx="0">
            <a:schemeClr val="accent1"/>
          </a:fillRef>
          <a:effectRef idx="0">
            <a:schemeClr val="accent1"/>
          </a:effectRef>
          <a:fontRef idx="minor">
            <a:schemeClr val="tx1"/>
          </a:fontRef>
        </p:style>
      </p:cxnSp>
      <p:sp>
        <p:nvSpPr>
          <p:cNvPr id="11" name="First Bullet"/>
          <p:cNvSpPr txBox="1">
            <a:spLocks/>
          </p:cNvSpPr>
          <p:nvPr/>
        </p:nvSpPr>
        <p:spPr>
          <a:xfrm>
            <a:off x="467430" y="2486437"/>
            <a:ext cx="1710867" cy="814707"/>
          </a:xfrm>
          <a:prstGeom prst="rect">
            <a:avLst/>
          </a:prstGeom>
        </p:spPr>
        <p:txBody>
          <a:bodyPr/>
          <a:lstStyle>
            <a:defPPr>
              <a:defRPr lang="en-US"/>
            </a:defPPr>
            <a:lvl1pPr marL="171450" indent="-171450" fontAlgn="base">
              <a:spcBef>
                <a:spcPct val="20000"/>
              </a:spcBef>
              <a:spcAft>
                <a:spcPct val="0"/>
              </a:spcAft>
              <a:buClr>
                <a:srgbClr val="EE312F"/>
              </a:buClr>
              <a:buFont typeface="Arial" panose="020B0604020202020204" pitchFamily="34" charset="0"/>
              <a:buChar char="•"/>
              <a:defRPr sz="1600">
                <a:latin typeface="Tahoma" panose="020B0604030504040204" pitchFamily="34" charset="0"/>
                <a:ea typeface="Tahoma" panose="020B0604030504040204" pitchFamily="34" charset="0"/>
                <a:cs typeface="Tahoma" panose="020B0604030504040204" pitchFamily="34" charset="0"/>
              </a:defRPr>
            </a:lvl1pPr>
            <a:lvl2pPr marL="742950" indent="-285750" fontAlgn="base">
              <a:spcBef>
                <a:spcPct val="20000"/>
              </a:spcBef>
              <a:spcAft>
                <a:spcPct val="0"/>
              </a:spcAft>
              <a:buClr>
                <a:srgbClr val="CE1126"/>
              </a:buClr>
              <a:buFont typeface="Wingdings" pitchFamily="2" charset="2"/>
              <a:buChar char="§"/>
              <a:defRPr sz="2800"/>
            </a:lvl2pPr>
            <a:lvl3pPr marL="1143000" indent="-228600" fontAlgn="base">
              <a:spcBef>
                <a:spcPct val="20000"/>
              </a:spcBef>
              <a:spcAft>
                <a:spcPct val="0"/>
              </a:spcAft>
              <a:buClr>
                <a:srgbClr val="CE1126"/>
              </a:buClr>
              <a:buFont typeface="Wingdings" pitchFamily="2" charset="2"/>
              <a:buChar char="§"/>
              <a:defRPr sz="2400"/>
            </a:lvl3pPr>
            <a:lvl4pPr marL="1600200" indent="-228600" fontAlgn="base">
              <a:spcBef>
                <a:spcPct val="20000"/>
              </a:spcBef>
              <a:spcAft>
                <a:spcPct val="0"/>
              </a:spcAft>
              <a:buClr>
                <a:srgbClr val="CE1126"/>
              </a:buClr>
              <a:buFont typeface="Wingdings" pitchFamily="2" charset="2"/>
              <a:buChar char="§"/>
              <a:defRPr sz="2000"/>
            </a:lvl4pPr>
            <a:lvl5pPr marL="2057400" indent="-228600" fontAlgn="base">
              <a:spcBef>
                <a:spcPct val="20000"/>
              </a:spcBef>
              <a:spcAft>
                <a:spcPct val="0"/>
              </a:spcAft>
              <a:buClr>
                <a:srgbClr val="CE1126"/>
              </a:buClr>
              <a:buFont typeface="Wingdings" pitchFamily="2" charset="2"/>
              <a:buChar char="§"/>
              <a:defRPr sz="2000"/>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pPr marL="0" indent="0">
              <a:buFont typeface="Arial" panose="020B0604020202020204" pitchFamily="34" charset="0"/>
              <a:buNone/>
            </a:pPr>
            <a:r>
              <a:rPr lang="ru-RU" sz="1400" dirty="0" smtClean="0">
                <a:solidFill>
                  <a:srgbClr val="000000"/>
                </a:solidFill>
              </a:rPr>
              <a:t>Преднастроенные СХД и ПО</a:t>
            </a:r>
            <a:endParaRPr lang="en-US" sz="1400" dirty="0">
              <a:solidFill>
                <a:srgbClr val="000000"/>
              </a:solidFill>
            </a:endParaRPr>
          </a:p>
        </p:txBody>
      </p:sp>
      <p:cxnSp>
        <p:nvCxnSpPr>
          <p:cNvPr id="12" name="Straight Connector 11"/>
          <p:cNvCxnSpPr/>
          <p:nvPr/>
        </p:nvCxnSpPr>
        <p:spPr>
          <a:xfrm flipH="1" flipV="1">
            <a:off x="5448298" y="2831114"/>
            <a:ext cx="667835" cy="4035"/>
          </a:xfrm>
          <a:prstGeom prst="line">
            <a:avLst/>
          </a:prstGeom>
          <a:ln w="34925">
            <a:solidFill>
              <a:srgbClr val="EE312F"/>
            </a:solidFill>
            <a:miter lim="800000"/>
            <a:headEnd type="oval"/>
            <a:tailEnd type="none"/>
          </a:ln>
        </p:spPr>
        <p:style>
          <a:lnRef idx="1">
            <a:schemeClr val="accent1"/>
          </a:lnRef>
          <a:fillRef idx="0">
            <a:schemeClr val="accent1"/>
          </a:fillRef>
          <a:effectRef idx="0">
            <a:schemeClr val="accent1"/>
          </a:effectRef>
          <a:fontRef idx="minor">
            <a:schemeClr val="tx1"/>
          </a:fontRef>
        </p:style>
      </p:cxnSp>
      <p:sp>
        <p:nvSpPr>
          <p:cNvPr id="13" name="First Bullet"/>
          <p:cNvSpPr txBox="1">
            <a:spLocks/>
          </p:cNvSpPr>
          <p:nvPr/>
        </p:nvSpPr>
        <p:spPr>
          <a:xfrm>
            <a:off x="6179438" y="2410674"/>
            <a:ext cx="2325033" cy="819041"/>
          </a:xfrm>
          <a:prstGeom prst="rect">
            <a:avLst/>
          </a:prstGeom>
        </p:spPr>
        <p:txBody>
          <a:bodyPr/>
          <a:lstStyle>
            <a:defPPr>
              <a:defRPr lang="en-US"/>
            </a:defPPr>
            <a:lvl1pPr marL="171450" indent="-171450" fontAlgn="base">
              <a:spcBef>
                <a:spcPct val="20000"/>
              </a:spcBef>
              <a:spcAft>
                <a:spcPct val="0"/>
              </a:spcAft>
              <a:buClr>
                <a:srgbClr val="EE312F"/>
              </a:buClr>
              <a:buFont typeface="Arial" panose="020B0604020202020204" pitchFamily="34" charset="0"/>
              <a:buChar char="•"/>
              <a:defRPr sz="1600">
                <a:latin typeface="Tahoma" panose="020B0604030504040204" pitchFamily="34" charset="0"/>
                <a:ea typeface="Tahoma" panose="020B0604030504040204" pitchFamily="34" charset="0"/>
                <a:cs typeface="Tahoma" panose="020B0604030504040204" pitchFamily="34" charset="0"/>
              </a:defRPr>
            </a:lvl1pPr>
            <a:lvl2pPr marL="742950" indent="-285750" fontAlgn="base">
              <a:spcBef>
                <a:spcPct val="20000"/>
              </a:spcBef>
              <a:spcAft>
                <a:spcPct val="0"/>
              </a:spcAft>
              <a:buClr>
                <a:srgbClr val="CE1126"/>
              </a:buClr>
              <a:buFont typeface="Wingdings" pitchFamily="2" charset="2"/>
              <a:buChar char="§"/>
              <a:defRPr sz="2800"/>
            </a:lvl2pPr>
            <a:lvl3pPr marL="1143000" indent="-228600" fontAlgn="base">
              <a:spcBef>
                <a:spcPct val="20000"/>
              </a:spcBef>
              <a:spcAft>
                <a:spcPct val="0"/>
              </a:spcAft>
              <a:buClr>
                <a:srgbClr val="CE1126"/>
              </a:buClr>
              <a:buFont typeface="Wingdings" pitchFamily="2" charset="2"/>
              <a:buChar char="§"/>
              <a:defRPr sz="2400"/>
            </a:lvl3pPr>
            <a:lvl4pPr marL="1600200" indent="-228600" fontAlgn="base">
              <a:spcBef>
                <a:spcPct val="20000"/>
              </a:spcBef>
              <a:spcAft>
                <a:spcPct val="0"/>
              </a:spcAft>
              <a:buClr>
                <a:srgbClr val="CE1126"/>
              </a:buClr>
              <a:buFont typeface="Wingdings" pitchFamily="2" charset="2"/>
              <a:buChar char="§"/>
              <a:defRPr sz="2000"/>
            </a:lvl4pPr>
            <a:lvl5pPr marL="2057400" indent="-228600" fontAlgn="base">
              <a:spcBef>
                <a:spcPct val="20000"/>
              </a:spcBef>
              <a:spcAft>
                <a:spcPct val="0"/>
              </a:spcAft>
              <a:buClr>
                <a:srgbClr val="CE1126"/>
              </a:buClr>
              <a:buFont typeface="Wingdings" pitchFamily="2" charset="2"/>
              <a:buChar char="§"/>
              <a:defRPr sz="2000"/>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pPr marL="0" indent="0">
              <a:buFont typeface="Arial" panose="020B0604020202020204" pitchFamily="34" charset="0"/>
              <a:buNone/>
            </a:pPr>
            <a:r>
              <a:rPr lang="ru-RU" dirty="0" smtClean="0">
                <a:solidFill>
                  <a:srgbClr val="000000"/>
                </a:solidFill>
              </a:rPr>
              <a:t>Лицензирование по </a:t>
            </a:r>
            <a:r>
              <a:rPr lang="en-US" dirty="0" smtClean="0">
                <a:solidFill>
                  <a:srgbClr val="000000"/>
                </a:solidFill>
              </a:rPr>
              <a:t>back-end </a:t>
            </a:r>
            <a:r>
              <a:rPr lang="en-US" dirty="0">
                <a:solidFill>
                  <a:srgbClr val="000000"/>
                </a:solidFill>
              </a:rPr>
              <a:t>terabyte (</a:t>
            </a:r>
            <a:r>
              <a:rPr lang="en-US" dirty="0" smtClean="0">
                <a:solidFill>
                  <a:srgbClr val="000000"/>
                </a:solidFill>
              </a:rPr>
              <a:t>BET)</a:t>
            </a:r>
            <a:r>
              <a:rPr lang="ru-RU" dirty="0" smtClean="0">
                <a:solidFill>
                  <a:srgbClr val="000000"/>
                </a:solidFill>
              </a:rPr>
              <a:t> или без лицензий</a:t>
            </a:r>
            <a:endParaRPr lang="en-US" dirty="0">
              <a:solidFill>
                <a:srgbClr val="000000"/>
              </a:solidFill>
            </a:endParaRPr>
          </a:p>
        </p:txBody>
      </p:sp>
      <p:sp>
        <p:nvSpPr>
          <p:cNvPr id="14" name="First Bullet"/>
          <p:cNvSpPr txBox="1">
            <a:spLocks/>
          </p:cNvSpPr>
          <p:nvPr/>
        </p:nvSpPr>
        <p:spPr>
          <a:xfrm>
            <a:off x="6179430" y="3435415"/>
            <a:ext cx="2337263" cy="843062"/>
          </a:xfrm>
          <a:prstGeom prst="rect">
            <a:avLst/>
          </a:prstGeom>
        </p:spPr>
        <p:txBody>
          <a:bodyPr/>
          <a:lstStyle>
            <a:defPPr>
              <a:defRPr lang="en-US"/>
            </a:defPPr>
            <a:lvl1pPr marL="171450" indent="-171450" fontAlgn="base">
              <a:spcBef>
                <a:spcPct val="20000"/>
              </a:spcBef>
              <a:spcAft>
                <a:spcPct val="0"/>
              </a:spcAft>
              <a:buClr>
                <a:srgbClr val="EE312F"/>
              </a:buClr>
              <a:buFont typeface="Arial" panose="020B0604020202020204" pitchFamily="34" charset="0"/>
              <a:buChar char="•"/>
              <a:defRPr sz="1600">
                <a:latin typeface="Tahoma" panose="020B0604030504040204" pitchFamily="34" charset="0"/>
                <a:ea typeface="Tahoma" panose="020B0604030504040204" pitchFamily="34" charset="0"/>
                <a:cs typeface="Tahoma" panose="020B0604030504040204" pitchFamily="34" charset="0"/>
              </a:defRPr>
            </a:lvl1pPr>
            <a:lvl2pPr marL="742950" indent="-285750" fontAlgn="base">
              <a:spcBef>
                <a:spcPct val="20000"/>
              </a:spcBef>
              <a:spcAft>
                <a:spcPct val="0"/>
              </a:spcAft>
              <a:buClr>
                <a:srgbClr val="CE1126"/>
              </a:buClr>
              <a:buFont typeface="Wingdings" pitchFamily="2" charset="2"/>
              <a:buChar char="§"/>
              <a:defRPr sz="2800"/>
            </a:lvl2pPr>
            <a:lvl3pPr marL="1143000" indent="-228600" fontAlgn="base">
              <a:spcBef>
                <a:spcPct val="20000"/>
              </a:spcBef>
              <a:spcAft>
                <a:spcPct val="0"/>
              </a:spcAft>
              <a:buClr>
                <a:srgbClr val="CE1126"/>
              </a:buClr>
              <a:buFont typeface="Wingdings" pitchFamily="2" charset="2"/>
              <a:buChar char="§"/>
              <a:defRPr sz="2400"/>
            </a:lvl3pPr>
            <a:lvl4pPr marL="1600200" indent="-228600" fontAlgn="base">
              <a:spcBef>
                <a:spcPct val="20000"/>
              </a:spcBef>
              <a:spcAft>
                <a:spcPct val="0"/>
              </a:spcAft>
              <a:buClr>
                <a:srgbClr val="CE1126"/>
              </a:buClr>
              <a:buFont typeface="Wingdings" pitchFamily="2" charset="2"/>
              <a:buChar char="§"/>
              <a:defRPr sz="2000"/>
            </a:lvl4pPr>
            <a:lvl5pPr marL="2057400" indent="-228600" fontAlgn="base">
              <a:spcBef>
                <a:spcPct val="20000"/>
              </a:spcBef>
              <a:spcAft>
                <a:spcPct val="0"/>
              </a:spcAft>
              <a:buClr>
                <a:srgbClr val="CE1126"/>
              </a:buClr>
              <a:buFont typeface="Wingdings" pitchFamily="2" charset="2"/>
              <a:buChar char="§"/>
              <a:defRPr sz="2000"/>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pPr marL="0" indent="0">
              <a:buFont typeface="Arial" panose="020B0604020202020204" pitchFamily="34" charset="0"/>
              <a:buNone/>
            </a:pPr>
            <a:r>
              <a:rPr lang="ru-RU" dirty="0" smtClean="0">
                <a:solidFill>
                  <a:srgbClr val="000000"/>
                </a:solidFill>
              </a:rPr>
              <a:t>Расширение  до</a:t>
            </a:r>
            <a:r>
              <a:rPr lang="en-US" dirty="0" smtClean="0">
                <a:solidFill>
                  <a:srgbClr val="000000"/>
                </a:solidFill>
              </a:rPr>
              <a:t> 48TB/appliance</a:t>
            </a:r>
            <a:endParaRPr lang="en-US" dirty="0">
              <a:solidFill>
                <a:srgbClr val="000000"/>
              </a:solidFill>
            </a:endParaRPr>
          </a:p>
        </p:txBody>
      </p:sp>
      <p:cxnSp>
        <p:nvCxnSpPr>
          <p:cNvPr id="18" name="Straight Connector 17"/>
          <p:cNvCxnSpPr/>
          <p:nvPr/>
        </p:nvCxnSpPr>
        <p:spPr>
          <a:xfrm flipV="1">
            <a:off x="2496354" y="3523163"/>
            <a:ext cx="0" cy="667569"/>
          </a:xfrm>
          <a:prstGeom prst="line">
            <a:avLst/>
          </a:prstGeom>
          <a:ln w="34925">
            <a:solidFill>
              <a:srgbClr val="EE312F"/>
            </a:solidFill>
            <a:miter lim="800000"/>
            <a:headEnd type="oval"/>
            <a:tailEnd type="none"/>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p:nvPicPr>
        <p:blipFill>
          <a:blip r:embed="rId3">
            <a:alphaModFix amt="30000"/>
          </a:blip>
          <a:stretch>
            <a:fillRect/>
          </a:stretch>
        </p:blipFill>
        <p:spPr>
          <a:xfrm>
            <a:off x="6425203" y="1721314"/>
            <a:ext cx="400050" cy="400050"/>
          </a:xfrm>
          <a:prstGeom prst="rect">
            <a:avLst/>
          </a:prstGeom>
        </p:spPr>
      </p:pic>
      <p:pic>
        <p:nvPicPr>
          <p:cNvPr id="22" name="Picture 21"/>
          <p:cNvPicPr>
            <a:picLocks noChangeAspect="1"/>
          </p:cNvPicPr>
          <p:nvPr/>
        </p:nvPicPr>
        <p:blipFill>
          <a:blip r:embed="rId4" cstate="screen">
            <a:alphaModFix amt="19000"/>
            <a:extLst>
              <a:ext uri="{28A0092B-C50C-407E-A947-70E740481C1C}">
                <a14:useLocalDpi xmlns:a14="http://schemas.microsoft.com/office/drawing/2010/main"/>
              </a:ext>
            </a:extLst>
          </a:blip>
          <a:stretch>
            <a:fillRect/>
          </a:stretch>
        </p:blipFill>
        <p:spPr>
          <a:xfrm>
            <a:off x="8420180" y="2724302"/>
            <a:ext cx="314325" cy="338978"/>
          </a:xfrm>
          <a:prstGeom prst="rect">
            <a:avLst/>
          </a:prstGeom>
        </p:spPr>
      </p:pic>
      <p:pic>
        <p:nvPicPr>
          <p:cNvPr id="23" name="Picture 22"/>
          <p:cNvPicPr>
            <a:picLocks noChangeAspect="1"/>
          </p:cNvPicPr>
          <p:nvPr/>
        </p:nvPicPr>
        <p:blipFill>
          <a:blip r:embed="rId5" cstate="screen">
            <a:alphaModFix amt="22000"/>
            <a:extLst>
              <a:ext uri="{28A0092B-C50C-407E-A947-70E740481C1C}">
                <a14:useLocalDpi xmlns:a14="http://schemas.microsoft.com/office/drawing/2010/main"/>
              </a:ext>
            </a:extLst>
          </a:blip>
          <a:stretch>
            <a:fillRect/>
          </a:stretch>
        </p:blipFill>
        <p:spPr>
          <a:xfrm>
            <a:off x="1846104" y="3929661"/>
            <a:ext cx="542925" cy="514349"/>
          </a:xfrm>
          <a:prstGeom prst="rect">
            <a:avLst/>
          </a:prstGeom>
        </p:spPr>
      </p:pic>
      <p:pic>
        <p:nvPicPr>
          <p:cNvPr id="24" name="Picture 23"/>
          <p:cNvPicPr>
            <a:picLocks noChangeAspect="1"/>
          </p:cNvPicPr>
          <p:nvPr/>
        </p:nvPicPr>
        <p:blipFill>
          <a:blip r:embed="rId6">
            <a:alphaModFix amt="26000"/>
          </a:blip>
          <a:stretch>
            <a:fillRect/>
          </a:stretch>
        </p:blipFill>
        <p:spPr>
          <a:xfrm>
            <a:off x="173523" y="2618020"/>
            <a:ext cx="388620" cy="400050"/>
          </a:xfrm>
          <a:prstGeom prst="rect">
            <a:avLst/>
          </a:prstGeom>
        </p:spPr>
      </p:pic>
      <p:sp>
        <p:nvSpPr>
          <p:cNvPr id="33" name="First Bullet"/>
          <p:cNvSpPr txBox="1">
            <a:spLocks/>
          </p:cNvSpPr>
          <p:nvPr/>
        </p:nvSpPr>
        <p:spPr>
          <a:xfrm>
            <a:off x="2547604" y="4011244"/>
            <a:ext cx="3118200" cy="360692"/>
          </a:xfrm>
          <a:prstGeom prst="rect">
            <a:avLst/>
          </a:prstGeom>
        </p:spPr>
        <p:txBody>
          <a:bodyPr/>
          <a:lstStyle>
            <a:defPPr>
              <a:defRPr lang="en-US"/>
            </a:defPPr>
            <a:lvl1pPr marL="171450" indent="-171450" fontAlgn="base">
              <a:spcBef>
                <a:spcPct val="20000"/>
              </a:spcBef>
              <a:spcAft>
                <a:spcPct val="0"/>
              </a:spcAft>
              <a:buClr>
                <a:srgbClr val="EE312F"/>
              </a:buClr>
              <a:buFont typeface="Arial" panose="020B0604020202020204" pitchFamily="34" charset="0"/>
              <a:buChar char="•"/>
              <a:defRPr sz="1600">
                <a:latin typeface="Tahoma" panose="020B0604030504040204" pitchFamily="34" charset="0"/>
                <a:ea typeface="Tahoma" panose="020B0604030504040204" pitchFamily="34" charset="0"/>
                <a:cs typeface="Tahoma" panose="020B0604030504040204" pitchFamily="34" charset="0"/>
              </a:defRPr>
            </a:lvl1pPr>
            <a:lvl2pPr marL="742950" indent="-285750" fontAlgn="base">
              <a:spcBef>
                <a:spcPct val="20000"/>
              </a:spcBef>
              <a:spcAft>
                <a:spcPct val="0"/>
              </a:spcAft>
              <a:buClr>
                <a:srgbClr val="CE1126"/>
              </a:buClr>
              <a:buFont typeface="Wingdings" pitchFamily="2" charset="2"/>
              <a:buChar char="§"/>
              <a:defRPr sz="2800"/>
            </a:lvl2pPr>
            <a:lvl3pPr marL="1143000" indent="-228600" fontAlgn="base">
              <a:spcBef>
                <a:spcPct val="20000"/>
              </a:spcBef>
              <a:spcAft>
                <a:spcPct val="0"/>
              </a:spcAft>
              <a:buClr>
                <a:srgbClr val="CE1126"/>
              </a:buClr>
              <a:buFont typeface="Wingdings" pitchFamily="2" charset="2"/>
              <a:buChar char="§"/>
              <a:defRPr sz="2400"/>
            </a:lvl3pPr>
            <a:lvl4pPr marL="1600200" indent="-228600" fontAlgn="base">
              <a:spcBef>
                <a:spcPct val="20000"/>
              </a:spcBef>
              <a:spcAft>
                <a:spcPct val="0"/>
              </a:spcAft>
              <a:buClr>
                <a:srgbClr val="CE1126"/>
              </a:buClr>
              <a:buFont typeface="Wingdings" pitchFamily="2" charset="2"/>
              <a:buChar char="§"/>
              <a:defRPr sz="2000"/>
            </a:lvl4pPr>
            <a:lvl5pPr marL="2057400" indent="-228600" fontAlgn="base">
              <a:spcBef>
                <a:spcPct val="20000"/>
              </a:spcBef>
              <a:spcAft>
                <a:spcPct val="0"/>
              </a:spcAft>
              <a:buClr>
                <a:srgbClr val="CE1126"/>
              </a:buClr>
              <a:buFont typeface="Wingdings" pitchFamily="2" charset="2"/>
              <a:buChar char="§"/>
              <a:defRPr sz="2000"/>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pPr marL="0" indent="0">
              <a:buFont typeface="Arial" panose="020B0604020202020204" pitchFamily="34" charset="0"/>
              <a:buNone/>
            </a:pPr>
            <a:r>
              <a:rPr lang="ru-RU" dirty="0" smtClean="0">
                <a:solidFill>
                  <a:srgbClr val="000000"/>
                </a:solidFill>
              </a:rPr>
              <a:t>Единая точка поддержки и сервиса от </a:t>
            </a:r>
            <a:r>
              <a:rPr lang="en-US" dirty="0" smtClean="0">
                <a:solidFill>
                  <a:srgbClr val="000000"/>
                </a:solidFill>
              </a:rPr>
              <a:t>Fujitsu</a:t>
            </a:r>
            <a:endParaRPr lang="en-US" dirty="0">
              <a:solidFill>
                <a:srgbClr val="000000"/>
              </a:solidFill>
            </a:endParaRPr>
          </a:p>
        </p:txBody>
      </p:sp>
      <p:sp>
        <p:nvSpPr>
          <p:cNvPr id="35" name="Oval 34"/>
          <p:cNvSpPr/>
          <p:nvPr/>
        </p:nvSpPr>
        <p:spPr>
          <a:xfrm>
            <a:off x="2497298" y="2116043"/>
            <a:ext cx="84146" cy="89757"/>
          </a:xfrm>
          <a:prstGeom prst="ellipse">
            <a:avLst/>
          </a:prstGeom>
          <a:solidFill>
            <a:srgbClr val="EE312F"/>
          </a:solidFill>
          <a:ln>
            <a:solidFill>
              <a:srgbClr val="EE312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solidFill>
                <a:srgbClr val="FFFFFF"/>
              </a:solidFill>
            </a:endParaRPr>
          </a:p>
        </p:txBody>
      </p:sp>
      <p:sp>
        <p:nvSpPr>
          <p:cNvPr id="36" name="Oval 35"/>
          <p:cNvSpPr/>
          <p:nvPr/>
        </p:nvSpPr>
        <p:spPr>
          <a:xfrm>
            <a:off x="2497298" y="1830293"/>
            <a:ext cx="84146" cy="89757"/>
          </a:xfrm>
          <a:prstGeom prst="ellipse">
            <a:avLst/>
          </a:prstGeom>
          <a:solidFill>
            <a:srgbClr val="EE312F"/>
          </a:solidFill>
          <a:ln>
            <a:solidFill>
              <a:srgbClr val="EE312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solidFill>
                <a:srgbClr val="FFFFFF"/>
              </a:solidFill>
            </a:endParaRPr>
          </a:p>
        </p:txBody>
      </p:sp>
      <p:pic>
        <p:nvPicPr>
          <p:cNvPr id="25" name="Grafik 1"/>
          <p:cNvPicPr>
            <a:picLocks noChangeAspect="1"/>
          </p:cNvPicPr>
          <p:nvPr/>
        </p:nvPicPr>
        <p:blipFill rotWithShape="1">
          <a:blip r:embed="rId7" cstate="screen">
            <a:extLst>
              <a:ext uri="{28A0092B-C50C-407E-A947-70E740481C1C}">
                <a14:useLocalDpi xmlns:a14="http://schemas.microsoft.com/office/drawing/2010/main"/>
              </a:ext>
            </a:extLst>
          </a:blip>
          <a:srcRect l="9156" t="21376" r="9530" b="44169"/>
          <a:stretch/>
        </p:blipFill>
        <p:spPr>
          <a:xfrm>
            <a:off x="2364104" y="2501103"/>
            <a:ext cx="3455450" cy="1187282"/>
          </a:xfrm>
          <a:prstGeom prst="rect">
            <a:avLst/>
          </a:prstGeom>
        </p:spPr>
      </p:pic>
      <p:sp>
        <p:nvSpPr>
          <p:cNvPr id="2" name="Rectangle 1"/>
          <p:cNvSpPr/>
          <p:nvPr/>
        </p:nvSpPr>
        <p:spPr>
          <a:xfrm>
            <a:off x="655667" y="834228"/>
            <a:ext cx="7921675" cy="369332"/>
          </a:xfrm>
          <a:prstGeom prst="rect">
            <a:avLst/>
          </a:prstGeom>
        </p:spPr>
        <p:txBody>
          <a:bodyPr wrap="square">
            <a:spAutoFit/>
          </a:bodyPr>
          <a:lstStyle/>
          <a:p>
            <a:r>
              <a:rPr lang="ru-RU" dirty="0">
                <a:solidFill>
                  <a:srgbClr val="000000"/>
                </a:solidFill>
              </a:rPr>
              <a:t>Обеспечивает богатый набор основных функций и простоту </a:t>
            </a:r>
            <a:r>
              <a:rPr lang="ru-RU" dirty="0" smtClean="0">
                <a:solidFill>
                  <a:srgbClr val="000000"/>
                </a:solidFill>
              </a:rPr>
              <a:t>покупки</a:t>
            </a:r>
            <a:r>
              <a:rPr lang="en-US" dirty="0" smtClean="0">
                <a:solidFill>
                  <a:srgbClr val="000000"/>
                </a:solidFill>
              </a:rPr>
              <a:t>!</a:t>
            </a:r>
            <a:endParaRPr lang="en-US" dirty="0">
              <a:solidFill>
                <a:srgbClr val="000000"/>
              </a:solidFill>
            </a:endParaRPr>
          </a:p>
        </p:txBody>
      </p:sp>
    </p:spTree>
    <p:extLst>
      <p:ext uri="{BB962C8B-B14F-4D97-AF65-F5344CB8AC3E}">
        <p14:creationId xmlns:p14="http://schemas.microsoft.com/office/powerpoint/2010/main" val="407885648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19957" y="51400"/>
            <a:ext cx="8187455" cy="966788"/>
          </a:xfrm>
        </p:spPr>
        <p:txBody>
          <a:bodyPr/>
          <a:lstStyle/>
          <a:p>
            <a:r>
              <a:rPr lang="en-US" dirty="0"/>
              <a:t>ETERNUS CS200c </a:t>
            </a:r>
            <a:endParaRPr lang="en-US" dirty="0" smtClean="0"/>
          </a:p>
          <a:p>
            <a:r>
              <a:rPr lang="ru-RU" dirty="0" smtClean="0"/>
              <a:t>Быстрый ввод в эксплуатацию</a:t>
            </a:r>
            <a:endParaRPr lang="en-US" dirty="0"/>
          </a:p>
        </p:txBody>
      </p:sp>
      <p:sp>
        <p:nvSpPr>
          <p:cNvPr id="46" name="Rechteck 39"/>
          <p:cNvSpPr/>
          <p:nvPr>
            <p:custDataLst>
              <p:tags r:id="rId1"/>
            </p:custDataLst>
          </p:nvPr>
        </p:nvSpPr>
        <p:spPr bwMode="gray">
          <a:xfrm>
            <a:off x="179526" y="2121700"/>
            <a:ext cx="5688631" cy="216024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00" dirty="0" smtClean="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47" name="Rechteck 38"/>
          <p:cNvSpPr/>
          <p:nvPr>
            <p:custDataLst>
              <p:tags r:id="rId2"/>
            </p:custDataLst>
          </p:nvPr>
        </p:nvSpPr>
        <p:spPr bwMode="gray">
          <a:xfrm>
            <a:off x="6032479" y="2121700"/>
            <a:ext cx="2707729" cy="2160240"/>
          </a:xfrm>
          <a:prstGeom prst="rect">
            <a:avLst/>
          </a:prstGeom>
          <a:solidFill>
            <a:schemeClr val="tx2">
              <a:lumMod val="20000"/>
              <a:lumOff val="80000"/>
            </a:schemeClr>
          </a:solidFill>
          <a:ln w="952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00" dirty="0" smtClean="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60" name="Richtungspfeil 4"/>
          <p:cNvSpPr/>
          <p:nvPr/>
        </p:nvSpPr>
        <p:spPr>
          <a:xfrm>
            <a:off x="275904" y="3590623"/>
            <a:ext cx="1692000" cy="640928"/>
          </a:xfrm>
          <a:prstGeom prst="homePlate">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buClr>
                <a:srgbClr val="A30B1A"/>
              </a:buClr>
            </a:pPr>
            <a:r>
              <a:rPr lang="en-US" sz="1400" dirty="0" smtClean="0">
                <a:solidFill>
                  <a:srgbClr val="000000">
                    <a:lumMod val="75000"/>
                    <a:lumOff val="25000"/>
                  </a:srgbClr>
                </a:solidFill>
                <a:latin typeface="Tahoma" panose="020B0604030504040204" pitchFamily="34" charset="0"/>
                <a:ea typeface="Tahoma" panose="020B0604030504040204" pitchFamily="34" charset="0"/>
                <a:cs typeface="Tahoma" panose="020B0604030504040204" pitchFamily="34" charset="0"/>
              </a:rPr>
              <a:t>Design</a:t>
            </a:r>
          </a:p>
          <a:p>
            <a:pPr>
              <a:buClr>
                <a:srgbClr val="A30B1A"/>
              </a:buClr>
            </a:pPr>
            <a:r>
              <a:rPr lang="en-US" sz="900" dirty="0" smtClean="0">
                <a:solidFill>
                  <a:srgbClr val="000000">
                    <a:lumMod val="75000"/>
                    <a:lumOff val="25000"/>
                  </a:srgbClr>
                </a:solidFill>
                <a:latin typeface="Tahoma" panose="020B0604030504040204" pitchFamily="34" charset="0"/>
                <a:ea typeface="Tahoma" panose="020B0604030504040204" pitchFamily="34" charset="0"/>
                <a:cs typeface="Tahoma" panose="020B0604030504040204" pitchFamily="34" charset="0"/>
              </a:rPr>
              <a:t>Select from myriad of SW and HW products</a:t>
            </a:r>
          </a:p>
        </p:txBody>
      </p:sp>
      <p:sp>
        <p:nvSpPr>
          <p:cNvPr id="64" name="Richtungspfeil 6"/>
          <p:cNvSpPr/>
          <p:nvPr/>
        </p:nvSpPr>
        <p:spPr>
          <a:xfrm>
            <a:off x="683568" y="2941273"/>
            <a:ext cx="1692000" cy="599180"/>
          </a:xfrm>
          <a:prstGeom prst="homePlate">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buClr>
                <a:srgbClr val="A30B1A"/>
              </a:buClr>
            </a:pPr>
            <a:r>
              <a:rPr lang="en-US" sz="1400" dirty="0" smtClean="0">
                <a:solidFill>
                  <a:srgbClr val="000000">
                    <a:lumMod val="75000"/>
                    <a:lumOff val="25000"/>
                  </a:srgbClr>
                </a:solidFill>
                <a:latin typeface="Tahoma" panose="020B0604030504040204" pitchFamily="34" charset="0"/>
                <a:ea typeface="Tahoma" panose="020B0604030504040204" pitchFamily="34" charset="0"/>
                <a:cs typeface="Tahoma" panose="020B0604030504040204" pitchFamily="34" charset="0"/>
              </a:rPr>
              <a:t>Integrate</a:t>
            </a:r>
          </a:p>
          <a:p>
            <a:pPr>
              <a:buClr>
                <a:srgbClr val="A30B1A"/>
              </a:buClr>
            </a:pPr>
            <a:r>
              <a:rPr lang="en-US" sz="900" dirty="0" smtClean="0">
                <a:solidFill>
                  <a:srgbClr val="000000">
                    <a:lumMod val="75000"/>
                    <a:lumOff val="25000"/>
                  </a:srgbClr>
                </a:solidFill>
                <a:latin typeface="Tahoma" panose="020B0604030504040204" pitchFamily="34" charset="0"/>
                <a:ea typeface="Tahoma" panose="020B0604030504040204" pitchFamily="34" charset="0"/>
                <a:cs typeface="Tahoma" panose="020B0604030504040204" pitchFamily="34" charset="0"/>
              </a:rPr>
              <a:t>Assemble involving multiple components</a:t>
            </a:r>
          </a:p>
        </p:txBody>
      </p:sp>
      <p:sp>
        <p:nvSpPr>
          <p:cNvPr id="69" name="Richtungspfeil 7"/>
          <p:cNvSpPr/>
          <p:nvPr/>
        </p:nvSpPr>
        <p:spPr>
          <a:xfrm>
            <a:off x="1043612" y="2403361"/>
            <a:ext cx="1748317" cy="478859"/>
          </a:xfrm>
          <a:prstGeom prst="homePlate">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buClr>
                <a:srgbClr val="A30B1A"/>
              </a:buClr>
            </a:pPr>
            <a:r>
              <a:rPr lang="en-US" sz="1400" dirty="0" smtClean="0">
                <a:solidFill>
                  <a:srgbClr val="000000">
                    <a:lumMod val="75000"/>
                    <a:lumOff val="25000"/>
                  </a:srgbClr>
                </a:solidFill>
                <a:latin typeface="Tahoma" panose="020B0604030504040204" pitchFamily="34" charset="0"/>
                <a:ea typeface="Tahoma" panose="020B0604030504040204" pitchFamily="34" charset="0"/>
                <a:cs typeface="Tahoma" panose="020B0604030504040204" pitchFamily="34" charset="0"/>
              </a:rPr>
              <a:t>Test</a:t>
            </a:r>
          </a:p>
          <a:p>
            <a:pPr>
              <a:buClr>
                <a:srgbClr val="A30B1A"/>
              </a:buClr>
            </a:pPr>
            <a:r>
              <a:rPr lang="en-US" sz="900" dirty="0" smtClean="0">
                <a:solidFill>
                  <a:srgbClr val="000000">
                    <a:lumMod val="75000"/>
                    <a:lumOff val="25000"/>
                  </a:srgbClr>
                </a:solidFill>
                <a:latin typeface="Tahoma" panose="020B0604030504040204" pitchFamily="34" charset="0"/>
                <a:ea typeface="Tahoma" panose="020B0604030504040204" pitchFamily="34" charset="0"/>
                <a:cs typeface="Tahoma" panose="020B0604030504040204" pitchFamily="34" charset="0"/>
              </a:rPr>
              <a:t>Complex individual tests</a:t>
            </a:r>
          </a:p>
        </p:txBody>
      </p:sp>
      <p:sp>
        <p:nvSpPr>
          <p:cNvPr id="70" name="Textfeld 8"/>
          <p:cNvSpPr txBox="1"/>
          <p:nvPr/>
        </p:nvSpPr>
        <p:spPr>
          <a:xfrm>
            <a:off x="251529" y="1215018"/>
            <a:ext cx="5596040" cy="584775"/>
          </a:xfrm>
          <a:prstGeom prst="rect">
            <a:avLst/>
          </a:prstGeom>
          <a:noFill/>
        </p:spPr>
        <p:txBody>
          <a:bodyPr wrap="square" rtlCol="0">
            <a:spAutoFit/>
          </a:bodyPr>
          <a:lstStyle/>
          <a:p>
            <a:pPr algn="ctr"/>
            <a:r>
              <a:rPr lang="en-US" b="1" dirty="0" smtClean="0">
                <a:solidFill>
                  <a:srgbClr val="000000">
                    <a:lumMod val="65000"/>
                    <a:lumOff val="35000"/>
                  </a:srgbClr>
                </a:solidFill>
                <a:latin typeface="Tahoma" panose="020B0604030504040204" pitchFamily="34" charset="0"/>
                <a:ea typeface="Tahoma" panose="020B0604030504040204" pitchFamily="34" charset="0"/>
                <a:cs typeface="Tahoma" panose="020B0604030504040204" pitchFamily="34" charset="0"/>
              </a:rPr>
              <a:t>Traditional</a:t>
            </a:r>
            <a:r>
              <a:rPr lang="en-US" sz="1600" b="1" dirty="0" smtClean="0">
                <a:solidFill>
                  <a:srgbClr val="FF0000"/>
                </a:solidFill>
                <a:latin typeface="Tahoma" panose="020B0604030504040204" pitchFamily="34" charset="0"/>
                <a:ea typeface="Tahoma" panose="020B0604030504040204" pitchFamily="34" charset="0"/>
                <a:cs typeface="Tahoma" panose="020B0604030504040204" pitchFamily="34" charset="0"/>
              </a:rPr>
              <a:t/>
            </a:r>
            <a:br>
              <a:rPr lang="en-US" sz="1600" b="1" dirty="0" smtClean="0">
                <a:solidFill>
                  <a:srgbClr val="FF0000"/>
                </a:solidFill>
                <a:latin typeface="Tahoma" panose="020B0604030504040204" pitchFamily="34" charset="0"/>
                <a:ea typeface="Tahoma" panose="020B0604030504040204" pitchFamily="34" charset="0"/>
                <a:cs typeface="Tahoma" panose="020B0604030504040204" pitchFamily="34" charset="0"/>
              </a:rPr>
            </a:br>
            <a:r>
              <a:rPr lang="en-US" sz="1400" b="1" dirty="0" smtClean="0">
                <a:solidFill>
                  <a:srgbClr val="FFFFFF">
                    <a:lumMod val="50000"/>
                  </a:srgbClr>
                </a:solidFill>
                <a:latin typeface="Tahoma" panose="020B0604030504040204" pitchFamily="34" charset="0"/>
                <a:ea typeface="Tahoma" panose="020B0604030504040204" pitchFamily="34" charset="0"/>
                <a:cs typeface="Tahoma" panose="020B0604030504040204" pitchFamily="34" charset="0"/>
              </a:rPr>
              <a:t>Do-it-yourself approach at customer site</a:t>
            </a:r>
            <a:endParaRPr lang="en-US" sz="1400" b="1" dirty="0">
              <a:solidFill>
                <a:srgbClr val="FFFFFF">
                  <a:lumMod val="50000"/>
                </a:srgbClr>
              </a:solidFill>
              <a:latin typeface="Tahoma" panose="020B0604030504040204" pitchFamily="34" charset="0"/>
              <a:ea typeface="Tahoma" panose="020B0604030504040204" pitchFamily="34" charset="0"/>
              <a:cs typeface="Tahoma" panose="020B0604030504040204" pitchFamily="34" charset="0"/>
            </a:endParaRPr>
          </a:p>
        </p:txBody>
      </p:sp>
      <p:sp>
        <p:nvSpPr>
          <p:cNvPr id="74" name="Textfeld 9"/>
          <p:cNvSpPr txBox="1"/>
          <p:nvPr/>
        </p:nvSpPr>
        <p:spPr>
          <a:xfrm>
            <a:off x="5796143" y="1203615"/>
            <a:ext cx="3312367" cy="584775"/>
          </a:xfrm>
          <a:prstGeom prst="rect">
            <a:avLst/>
          </a:prstGeom>
          <a:noFill/>
        </p:spPr>
        <p:txBody>
          <a:bodyPr wrap="square" rtlCol="0">
            <a:spAutoFit/>
          </a:bodyPr>
          <a:lstStyle/>
          <a:p>
            <a:pPr algn="ctr"/>
            <a:r>
              <a:rPr lang="en-US" b="1" dirty="0" smtClean="0">
                <a:solidFill>
                  <a:srgbClr val="000000">
                    <a:lumMod val="65000"/>
                    <a:lumOff val="35000"/>
                  </a:srgbClr>
                </a:solidFill>
                <a:latin typeface="Tahoma" panose="020B0604030504040204" pitchFamily="34" charset="0"/>
                <a:ea typeface="Tahoma" panose="020B0604030504040204" pitchFamily="34" charset="0"/>
                <a:cs typeface="Tahoma" panose="020B0604030504040204" pitchFamily="34" charset="0"/>
              </a:rPr>
              <a:t>ETERNUS CS200c</a:t>
            </a:r>
          </a:p>
          <a:p>
            <a:pPr algn="ctr"/>
            <a:r>
              <a:rPr lang="en-US" sz="1400" b="1" dirty="0" smtClean="0">
                <a:solidFill>
                  <a:srgbClr val="FFFFFF">
                    <a:lumMod val="50000"/>
                  </a:srgbClr>
                </a:solidFill>
                <a:latin typeface="Tahoma" panose="020B0604030504040204" pitchFamily="34" charset="0"/>
                <a:ea typeface="Tahoma" panose="020B0604030504040204" pitchFamily="34" charset="0"/>
                <a:cs typeface="Tahoma" panose="020B0604030504040204" pitchFamily="34" charset="0"/>
              </a:rPr>
              <a:t>All-in-One solution</a:t>
            </a:r>
            <a:endParaRPr lang="en-US" sz="1400" b="1" dirty="0">
              <a:solidFill>
                <a:srgbClr val="FFFFFF">
                  <a:lumMod val="50000"/>
                </a:srgbClr>
              </a:solidFill>
              <a:latin typeface="Tahoma" panose="020B0604030504040204" pitchFamily="34" charset="0"/>
              <a:ea typeface="Tahoma" panose="020B0604030504040204" pitchFamily="34" charset="0"/>
              <a:cs typeface="Tahoma" panose="020B0604030504040204" pitchFamily="34" charset="0"/>
            </a:endParaRPr>
          </a:p>
        </p:txBody>
      </p:sp>
      <p:sp>
        <p:nvSpPr>
          <p:cNvPr id="75" name="Rechteck 21"/>
          <p:cNvSpPr/>
          <p:nvPr/>
        </p:nvSpPr>
        <p:spPr>
          <a:xfrm>
            <a:off x="2935934" y="2213469"/>
            <a:ext cx="2860204" cy="1974763"/>
          </a:xfrm>
          <a:prstGeom prst="rect">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0"/>
          <a:lstStyle/>
          <a:p>
            <a:pPr>
              <a:buClr>
                <a:srgbClr val="A30B1A"/>
              </a:buClr>
            </a:pPr>
            <a:r>
              <a:rPr lang="en-US" sz="1400" dirty="0" smtClean="0">
                <a:solidFill>
                  <a:srgbClr val="000000">
                    <a:lumMod val="75000"/>
                    <a:lumOff val="25000"/>
                  </a:srgbClr>
                </a:solidFill>
                <a:latin typeface="Tahoma" panose="020B0604030504040204" pitchFamily="34" charset="0"/>
                <a:ea typeface="Tahoma" panose="020B0604030504040204" pitchFamily="34" charset="0"/>
                <a:cs typeface="Tahoma" panose="020B0604030504040204" pitchFamily="34" charset="0"/>
              </a:rPr>
              <a:t>Deploy</a:t>
            </a:r>
          </a:p>
          <a:p>
            <a:pPr>
              <a:buClr>
                <a:srgbClr val="A30B1A"/>
              </a:buClr>
            </a:pPr>
            <a:r>
              <a:rPr lang="en-US" sz="1100" dirty="0" smtClean="0">
                <a:solidFill>
                  <a:srgbClr val="000000">
                    <a:lumMod val="75000"/>
                    <a:lumOff val="25000"/>
                  </a:srgbClr>
                </a:solidFill>
                <a:latin typeface="Tahoma" panose="020B0604030504040204" pitchFamily="34" charset="0"/>
                <a:ea typeface="Tahoma" panose="020B0604030504040204" pitchFamily="34" charset="0"/>
                <a:cs typeface="Tahoma" panose="020B0604030504040204" pitchFamily="34" charset="0"/>
              </a:rPr>
              <a:t>Validate Design</a:t>
            </a:r>
          </a:p>
          <a:p>
            <a:pPr>
              <a:buClr>
                <a:srgbClr val="A30B1A"/>
              </a:buClr>
            </a:pPr>
            <a:r>
              <a:rPr lang="en-US" sz="1100" dirty="0" smtClean="0">
                <a:solidFill>
                  <a:srgbClr val="000000">
                    <a:lumMod val="75000"/>
                    <a:lumOff val="25000"/>
                  </a:srgbClr>
                </a:solidFill>
                <a:latin typeface="Tahoma" panose="020B0604030504040204" pitchFamily="34" charset="0"/>
                <a:ea typeface="Tahoma" panose="020B0604030504040204" pitchFamily="34" charset="0"/>
                <a:cs typeface="Tahoma" panose="020B0604030504040204" pitchFamily="34" charset="0"/>
              </a:rPr>
              <a:t>Validate Environment</a:t>
            </a:r>
          </a:p>
          <a:p>
            <a:pPr>
              <a:buClr>
                <a:srgbClr val="A30B1A"/>
              </a:buClr>
            </a:pPr>
            <a:r>
              <a:rPr lang="en-US" sz="1100" dirty="0" smtClean="0">
                <a:solidFill>
                  <a:srgbClr val="000000">
                    <a:lumMod val="75000"/>
                    <a:lumOff val="25000"/>
                  </a:srgbClr>
                </a:solidFill>
                <a:latin typeface="Tahoma" panose="020B0604030504040204" pitchFamily="34" charset="0"/>
                <a:ea typeface="Tahoma" panose="020B0604030504040204" pitchFamily="34" charset="0"/>
                <a:cs typeface="Tahoma" panose="020B0604030504040204" pitchFamily="34" charset="0"/>
              </a:rPr>
              <a:t>Roll out </a:t>
            </a:r>
          </a:p>
          <a:p>
            <a:pPr>
              <a:buClr>
                <a:srgbClr val="A30B1A"/>
              </a:buClr>
            </a:pPr>
            <a:r>
              <a:rPr lang="en-US" sz="1100" dirty="0" smtClean="0">
                <a:solidFill>
                  <a:srgbClr val="000000">
                    <a:lumMod val="75000"/>
                    <a:lumOff val="25000"/>
                  </a:srgbClr>
                </a:solidFill>
                <a:latin typeface="Tahoma" panose="020B0604030504040204" pitchFamily="34" charset="0"/>
                <a:ea typeface="Tahoma" panose="020B0604030504040204" pitchFamily="34" charset="0"/>
                <a:cs typeface="Tahoma" panose="020B0604030504040204" pitchFamily="34" charset="0"/>
              </a:rPr>
              <a:t>Integrate into environment</a:t>
            </a:r>
          </a:p>
          <a:p>
            <a:pPr>
              <a:buClr>
                <a:srgbClr val="A30B1A"/>
              </a:buClr>
            </a:pPr>
            <a:r>
              <a:rPr lang="en-US" sz="1100" dirty="0" smtClean="0">
                <a:solidFill>
                  <a:srgbClr val="000000">
                    <a:lumMod val="75000"/>
                    <a:lumOff val="25000"/>
                  </a:srgbClr>
                </a:solidFill>
                <a:latin typeface="Tahoma" panose="020B0604030504040204" pitchFamily="34" charset="0"/>
                <a:ea typeface="Tahoma" panose="020B0604030504040204" pitchFamily="34" charset="0"/>
                <a:cs typeface="Tahoma" panose="020B0604030504040204" pitchFamily="34" charset="0"/>
              </a:rPr>
              <a:t>QA Deployment</a:t>
            </a:r>
          </a:p>
          <a:p>
            <a:pPr>
              <a:buClr>
                <a:srgbClr val="A30B1A"/>
              </a:buClr>
            </a:pPr>
            <a:r>
              <a:rPr lang="en-US" sz="1100" dirty="0" smtClean="0">
                <a:solidFill>
                  <a:srgbClr val="000000">
                    <a:lumMod val="75000"/>
                    <a:lumOff val="25000"/>
                  </a:srgbClr>
                </a:solidFill>
                <a:latin typeface="Tahoma" panose="020B0604030504040204" pitchFamily="34" charset="0"/>
                <a:ea typeface="Tahoma" panose="020B0604030504040204" pitchFamily="34" charset="0"/>
                <a:cs typeface="Tahoma" panose="020B0604030504040204" pitchFamily="34" charset="0"/>
              </a:rPr>
              <a:t>Document HW environment</a:t>
            </a:r>
          </a:p>
          <a:p>
            <a:pPr>
              <a:buClr>
                <a:srgbClr val="A30B1A"/>
              </a:buClr>
            </a:pPr>
            <a:r>
              <a:rPr lang="en-US" sz="1100" dirty="0" smtClean="0">
                <a:solidFill>
                  <a:srgbClr val="000000">
                    <a:lumMod val="75000"/>
                    <a:lumOff val="25000"/>
                  </a:srgbClr>
                </a:solidFill>
                <a:latin typeface="Tahoma" panose="020B0604030504040204" pitchFamily="34" charset="0"/>
                <a:ea typeface="Tahoma" panose="020B0604030504040204" pitchFamily="34" charset="0"/>
                <a:cs typeface="Tahoma" panose="020B0604030504040204" pitchFamily="34" charset="0"/>
              </a:rPr>
              <a:t>Document Processes</a:t>
            </a:r>
          </a:p>
          <a:p>
            <a:pPr>
              <a:buClr>
                <a:srgbClr val="A30B1A"/>
              </a:buClr>
            </a:pPr>
            <a:r>
              <a:rPr lang="en-US" sz="1100" dirty="0" smtClean="0">
                <a:solidFill>
                  <a:srgbClr val="000000">
                    <a:lumMod val="75000"/>
                    <a:lumOff val="25000"/>
                  </a:srgbClr>
                </a:solidFill>
                <a:latin typeface="Tahoma" panose="020B0604030504040204" pitchFamily="34" charset="0"/>
                <a:ea typeface="Tahoma" panose="020B0604030504040204" pitchFamily="34" charset="0"/>
                <a:cs typeface="Tahoma" panose="020B0604030504040204" pitchFamily="34" charset="0"/>
              </a:rPr>
              <a:t>Document Procedures</a:t>
            </a:r>
          </a:p>
          <a:p>
            <a:pPr>
              <a:buClr>
                <a:srgbClr val="A30B1A"/>
              </a:buClr>
            </a:pPr>
            <a:r>
              <a:rPr lang="en-US" sz="1100" dirty="0" smtClean="0">
                <a:solidFill>
                  <a:srgbClr val="000000">
                    <a:lumMod val="75000"/>
                    <a:lumOff val="25000"/>
                  </a:srgbClr>
                </a:solidFill>
                <a:latin typeface="Tahoma" panose="020B0604030504040204" pitchFamily="34" charset="0"/>
                <a:ea typeface="Tahoma" panose="020B0604030504040204" pitchFamily="34" charset="0"/>
                <a:cs typeface="Tahoma" panose="020B0604030504040204" pitchFamily="34" charset="0"/>
              </a:rPr>
              <a:t>Run a Enablement program</a:t>
            </a:r>
          </a:p>
        </p:txBody>
      </p:sp>
      <p:cxnSp>
        <p:nvCxnSpPr>
          <p:cNvPr id="76" name="Gerade Verbindung mit Pfeil 32"/>
          <p:cNvCxnSpPr/>
          <p:nvPr/>
        </p:nvCxnSpPr>
        <p:spPr>
          <a:xfrm>
            <a:off x="179512" y="4389952"/>
            <a:ext cx="5544616" cy="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77" name="Textfeld 33"/>
          <p:cNvSpPr txBox="1"/>
          <p:nvPr/>
        </p:nvSpPr>
        <p:spPr>
          <a:xfrm>
            <a:off x="7948126" y="4297341"/>
            <a:ext cx="736346" cy="411257"/>
          </a:xfrm>
          <a:prstGeom prst="rect">
            <a:avLst/>
          </a:prstGeom>
          <a:noFill/>
        </p:spPr>
        <p:txBody>
          <a:bodyPr wrap="none" lIns="36000" tIns="36000" rIns="36000" bIns="36000" rtlCol="0" anchor="ctr" anchorCtr="0">
            <a:spAutoFit/>
          </a:bodyPr>
          <a:lstStyle/>
          <a:p>
            <a:r>
              <a:rPr lang="en-US" sz="110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e to</a:t>
            </a:r>
            <a:br>
              <a:rPr lang="en-US" sz="1100" dirty="0" smtClean="0">
                <a:solidFill>
                  <a:srgbClr val="FF0000"/>
                </a:solidFill>
                <a:latin typeface="Tahoma" panose="020B0604030504040204" pitchFamily="34" charset="0"/>
                <a:ea typeface="Tahoma" panose="020B0604030504040204" pitchFamily="34" charset="0"/>
                <a:cs typeface="Tahoma" panose="020B0604030504040204" pitchFamily="34" charset="0"/>
              </a:rPr>
            </a:br>
            <a:r>
              <a:rPr lang="en-US" sz="1100" dirty="0" smtClean="0">
                <a:solidFill>
                  <a:srgbClr val="FF0000"/>
                </a:solidFill>
                <a:latin typeface="Tahoma" panose="020B0604030504040204" pitchFamily="34" charset="0"/>
                <a:ea typeface="Tahoma" panose="020B0604030504040204" pitchFamily="34" charset="0"/>
                <a:cs typeface="Tahoma" panose="020B0604030504040204" pitchFamily="34" charset="0"/>
              </a:rPr>
              <a:t>Production</a:t>
            </a:r>
            <a:endParaRPr lang="en-US" sz="110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cxnSp>
        <p:nvCxnSpPr>
          <p:cNvPr id="78" name="Gerade Verbindung 16"/>
          <p:cNvCxnSpPr/>
          <p:nvPr/>
        </p:nvCxnSpPr>
        <p:spPr>
          <a:xfrm>
            <a:off x="5940152" y="1203598"/>
            <a:ext cx="0" cy="3402378"/>
          </a:xfrm>
          <a:prstGeom prst="line">
            <a:avLst/>
          </a:prstGeom>
          <a:ln w="25400">
            <a:prstDash val="lgDash"/>
          </a:ln>
        </p:spPr>
        <p:style>
          <a:lnRef idx="1">
            <a:schemeClr val="accent1"/>
          </a:lnRef>
          <a:fillRef idx="0">
            <a:schemeClr val="accent1"/>
          </a:fillRef>
          <a:effectRef idx="0">
            <a:schemeClr val="accent1"/>
          </a:effectRef>
          <a:fontRef idx="minor">
            <a:schemeClr val="tx1"/>
          </a:fontRef>
        </p:style>
      </p:cxnSp>
      <p:sp>
        <p:nvSpPr>
          <p:cNvPr id="79" name="Richtungspfeil 27"/>
          <p:cNvSpPr/>
          <p:nvPr/>
        </p:nvSpPr>
        <p:spPr>
          <a:xfrm>
            <a:off x="6176502" y="3610481"/>
            <a:ext cx="1627609" cy="621069"/>
          </a:xfrm>
          <a:prstGeom prst="homePlate">
            <a:avLst/>
          </a:prstGeom>
          <a:solidFill>
            <a:schemeClr val="bg1">
              <a:lumMod val="95000"/>
            </a:schemeClr>
          </a:solidFill>
          <a:ln w="95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buClr>
                <a:srgbClr val="A30B1A"/>
              </a:buClr>
            </a:pPr>
            <a:r>
              <a:rPr lang="en-US" sz="1400" dirty="0" smtClean="0">
                <a:solidFill>
                  <a:srgbClr val="000000">
                    <a:lumMod val="75000"/>
                    <a:lumOff val="25000"/>
                  </a:srgbClr>
                </a:solidFill>
                <a:latin typeface="Tahoma" panose="020B0604030504040204" pitchFamily="34" charset="0"/>
                <a:ea typeface="Tahoma" panose="020B0604030504040204" pitchFamily="34" charset="0"/>
                <a:cs typeface="Tahoma" panose="020B0604030504040204" pitchFamily="34" charset="0"/>
              </a:rPr>
              <a:t>Pre-designed architecture</a:t>
            </a:r>
          </a:p>
        </p:txBody>
      </p:sp>
      <p:sp>
        <p:nvSpPr>
          <p:cNvPr id="80" name="Richtungspfeil 28"/>
          <p:cNvSpPr/>
          <p:nvPr/>
        </p:nvSpPr>
        <p:spPr>
          <a:xfrm>
            <a:off x="6176502" y="3011300"/>
            <a:ext cx="1627609" cy="459000"/>
          </a:xfrm>
          <a:prstGeom prst="homePlate">
            <a:avLst/>
          </a:prstGeom>
          <a:solidFill>
            <a:schemeClr val="bg1">
              <a:lumMod val="95000"/>
            </a:schemeClr>
          </a:solidFill>
          <a:ln w="95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buClr>
                <a:srgbClr val="A30B1A"/>
              </a:buClr>
            </a:pPr>
            <a:r>
              <a:rPr lang="en-US" sz="1200" dirty="0" smtClean="0">
                <a:solidFill>
                  <a:srgbClr val="000000">
                    <a:lumMod val="75000"/>
                    <a:lumOff val="25000"/>
                  </a:srgbClr>
                </a:solidFill>
                <a:latin typeface="Tahoma" panose="020B0604030504040204" pitchFamily="34" charset="0"/>
                <a:ea typeface="Tahoma" panose="020B0604030504040204" pitchFamily="34" charset="0"/>
                <a:cs typeface="Tahoma" panose="020B0604030504040204" pitchFamily="34" charset="0"/>
              </a:rPr>
              <a:t>Integrated Solution</a:t>
            </a:r>
            <a:endParaRPr lang="en-US" sz="900" dirty="0" smtClean="0">
              <a:solidFill>
                <a:srgbClr val="000000">
                  <a:lumMod val="75000"/>
                  <a:lumOff val="25000"/>
                </a:srgbClr>
              </a:solidFill>
              <a:latin typeface="Tahoma" panose="020B0604030504040204" pitchFamily="34" charset="0"/>
              <a:ea typeface="Tahoma" panose="020B0604030504040204" pitchFamily="34" charset="0"/>
              <a:cs typeface="Tahoma" panose="020B0604030504040204" pitchFamily="34" charset="0"/>
            </a:endParaRPr>
          </a:p>
        </p:txBody>
      </p:sp>
      <p:sp>
        <p:nvSpPr>
          <p:cNvPr id="81" name="Richtungspfeil 29"/>
          <p:cNvSpPr/>
          <p:nvPr/>
        </p:nvSpPr>
        <p:spPr>
          <a:xfrm>
            <a:off x="6176502" y="2423204"/>
            <a:ext cx="1627609" cy="459000"/>
          </a:xfrm>
          <a:prstGeom prst="homePlate">
            <a:avLst/>
          </a:prstGeom>
          <a:solidFill>
            <a:schemeClr val="bg1">
              <a:lumMod val="95000"/>
            </a:schemeClr>
          </a:solidFill>
          <a:ln w="95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buClr>
                <a:srgbClr val="A30B1A"/>
              </a:buClr>
            </a:pPr>
            <a:r>
              <a:rPr lang="en-US" sz="1200" dirty="0" smtClean="0">
                <a:solidFill>
                  <a:srgbClr val="000000">
                    <a:lumMod val="75000"/>
                    <a:lumOff val="25000"/>
                  </a:srgbClr>
                </a:solidFill>
                <a:latin typeface="Tahoma" panose="020B0604030504040204" pitchFamily="34" charset="0"/>
                <a:ea typeface="Tahoma" panose="020B0604030504040204" pitchFamily="34" charset="0"/>
                <a:cs typeface="Tahoma" panose="020B0604030504040204" pitchFamily="34" charset="0"/>
              </a:rPr>
              <a:t>Validated architecture</a:t>
            </a:r>
          </a:p>
        </p:txBody>
      </p:sp>
      <p:sp>
        <p:nvSpPr>
          <p:cNvPr id="82" name="Rechteck 23"/>
          <p:cNvSpPr/>
          <p:nvPr/>
        </p:nvSpPr>
        <p:spPr>
          <a:xfrm>
            <a:off x="7924368" y="2213469"/>
            <a:ext cx="775964" cy="1974763"/>
          </a:xfrm>
          <a:prstGeom prst="rect">
            <a:avLst/>
          </a:prstGeom>
          <a:solidFill>
            <a:schemeClr val="bg1">
              <a:lumMod val="95000"/>
            </a:schemeClr>
          </a:solidFill>
          <a:ln w="9525">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chorCtr="0"/>
          <a:lstStyle/>
          <a:p>
            <a:pPr>
              <a:buClr>
                <a:srgbClr val="A30B1A"/>
              </a:buClr>
            </a:pPr>
            <a:r>
              <a:rPr lang="en-US" sz="1400" dirty="0" smtClean="0">
                <a:solidFill>
                  <a:srgbClr val="000000">
                    <a:lumMod val="75000"/>
                    <a:lumOff val="25000"/>
                  </a:srgbClr>
                </a:solidFill>
                <a:latin typeface="Tahoma" panose="020B0604030504040204" pitchFamily="34" charset="0"/>
                <a:ea typeface="Tahoma" panose="020B0604030504040204" pitchFamily="34" charset="0"/>
                <a:cs typeface="Tahoma" panose="020B0604030504040204" pitchFamily="34" charset="0"/>
              </a:rPr>
              <a:t>Deploy</a:t>
            </a:r>
          </a:p>
          <a:p>
            <a:pPr>
              <a:buClr>
                <a:srgbClr val="A30B1A"/>
              </a:buClr>
            </a:pPr>
            <a:r>
              <a:rPr lang="en-US" sz="1100" dirty="0" smtClean="0">
                <a:solidFill>
                  <a:srgbClr val="000000">
                    <a:lumMod val="75000"/>
                    <a:lumOff val="25000"/>
                  </a:srgbClr>
                </a:solidFill>
                <a:latin typeface="Tahoma" panose="020B0604030504040204" pitchFamily="34" charset="0"/>
                <a:ea typeface="Tahoma" panose="020B0604030504040204" pitchFamily="34" charset="0"/>
                <a:cs typeface="Tahoma" panose="020B0604030504040204" pitchFamily="34" charset="0"/>
              </a:rPr>
              <a:t>Integrate into production environment</a:t>
            </a:r>
          </a:p>
        </p:txBody>
      </p:sp>
      <p:cxnSp>
        <p:nvCxnSpPr>
          <p:cNvPr id="83" name="Gerade Verbindung mit Pfeil 25"/>
          <p:cNvCxnSpPr/>
          <p:nvPr/>
        </p:nvCxnSpPr>
        <p:spPr>
          <a:xfrm>
            <a:off x="7884387" y="4491356"/>
            <a:ext cx="839713" cy="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84" name="Textfeld 34"/>
          <p:cNvSpPr txBox="1"/>
          <p:nvPr/>
        </p:nvSpPr>
        <p:spPr>
          <a:xfrm>
            <a:off x="4067955" y="4377241"/>
            <a:ext cx="1779617" cy="261610"/>
          </a:xfrm>
          <a:prstGeom prst="rect">
            <a:avLst/>
          </a:prstGeom>
          <a:noFill/>
        </p:spPr>
        <p:txBody>
          <a:bodyPr wrap="square" rtlCol="0">
            <a:spAutoFit/>
          </a:bodyPr>
          <a:lstStyle/>
          <a:p>
            <a:r>
              <a:rPr lang="en-US" sz="1100" dirty="0" smtClean="0">
                <a:solidFill>
                  <a:srgbClr val="FF0000"/>
                </a:solidFill>
                <a:latin typeface="Tahoma" panose="020B0604030504040204" pitchFamily="34" charset="0"/>
                <a:ea typeface="Tahoma" panose="020B0604030504040204" pitchFamily="34" charset="0"/>
                <a:cs typeface="Tahoma" panose="020B0604030504040204" pitchFamily="34" charset="0"/>
              </a:rPr>
              <a:t>Time to Production</a:t>
            </a:r>
            <a:endParaRPr lang="en-US" sz="1100" dirty="0">
              <a:solidFill>
                <a:srgbClr val="FF0000"/>
              </a:solidFill>
              <a:latin typeface="Tahoma" panose="020B0604030504040204" pitchFamily="34" charset="0"/>
              <a:ea typeface="Tahoma" panose="020B0604030504040204" pitchFamily="34" charset="0"/>
              <a:cs typeface="Tahoma" panose="020B0604030504040204" pitchFamily="34" charset="0"/>
            </a:endParaRPr>
          </a:p>
        </p:txBody>
      </p:sp>
      <p:cxnSp>
        <p:nvCxnSpPr>
          <p:cNvPr id="85" name="Gerade Verbindung 35"/>
          <p:cNvCxnSpPr/>
          <p:nvPr/>
        </p:nvCxnSpPr>
        <p:spPr>
          <a:xfrm>
            <a:off x="7876109" y="1959682"/>
            <a:ext cx="0" cy="2646294"/>
          </a:xfrm>
          <a:prstGeom prst="line">
            <a:avLst/>
          </a:prstGeom>
          <a:ln w="19050">
            <a:prstDash val="solid"/>
          </a:ln>
        </p:spPr>
        <p:style>
          <a:lnRef idx="1">
            <a:schemeClr val="accent1"/>
          </a:lnRef>
          <a:fillRef idx="0">
            <a:schemeClr val="accent1"/>
          </a:fillRef>
          <a:effectRef idx="0">
            <a:schemeClr val="accent1"/>
          </a:effectRef>
          <a:fontRef idx="minor">
            <a:schemeClr val="tx1"/>
          </a:fontRef>
        </p:style>
      </p:cxnSp>
      <p:sp>
        <p:nvSpPr>
          <p:cNvPr id="86" name="Textfeld 42"/>
          <p:cNvSpPr txBox="1"/>
          <p:nvPr/>
        </p:nvSpPr>
        <p:spPr>
          <a:xfrm>
            <a:off x="6012180" y="1854928"/>
            <a:ext cx="3096341" cy="184666"/>
          </a:xfrm>
          <a:prstGeom prst="rect">
            <a:avLst/>
          </a:prstGeom>
          <a:noFill/>
        </p:spPr>
        <p:txBody>
          <a:bodyPr wrap="square" lIns="0" tIns="0" rIns="0" bIns="0" rtlCol="0" anchor="ctr" anchorCtr="0">
            <a:spAutoFit/>
          </a:bodyPr>
          <a:lstStyle/>
          <a:p>
            <a:pPr>
              <a:tabLst>
                <a:tab pos="1973263" algn="l"/>
              </a:tabLst>
            </a:pPr>
            <a:r>
              <a:rPr lang="de-DE" sz="1200" b="1" dirty="0" smtClean="0">
                <a:solidFill>
                  <a:srgbClr val="000000">
                    <a:lumMod val="65000"/>
                    <a:lumOff val="35000"/>
                  </a:srgbClr>
                </a:solidFill>
                <a:latin typeface="Tahoma" panose="020B0604030504040204" pitchFamily="34" charset="0"/>
                <a:ea typeface="Tahoma" panose="020B0604030504040204" pitchFamily="34" charset="0"/>
                <a:cs typeface="Tahoma" panose="020B0604030504040204" pitchFamily="34" charset="0"/>
              </a:rPr>
              <a:t>Fujitsu Lab	ProfService</a:t>
            </a:r>
            <a:endParaRPr lang="de-DE" sz="1200" b="1" dirty="0">
              <a:solidFill>
                <a:srgbClr val="000000">
                  <a:lumMod val="65000"/>
                  <a:lumOff val="35000"/>
                </a:srgbClr>
              </a:solidFill>
              <a:latin typeface="Tahoma" panose="020B0604030504040204" pitchFamily="34" charset="0"/>
              <a:ea typeface="Tahoma" panose="020B0604030504040204" pitchFamily="34" charset="0"/>
              <a:cs typeface="Tahoma" panose="020B0604030504040204" pitchFamily="34" charset="0"/>
            </a:endParaRPr>
          </a:p>
        </p:txBody>
      </p:sp>
      <p:sp>
        <p:nvSpPr>
          <p:cNvPr id="87" name="Textfeld 44"/>
          <p:cNvSpPr txBox="1"/>
          <p:nvPr/>
        </p:nvSpPr>
        <p:spPr>
          <a:xfrm>
            <a:off x="1806172" y="1839551"/>
            <a:ext cx="2318263" cy="276999"/>
          </a:xfrm>
          <a:prstGeom prst="rect">
            <a:avLst/>
          </a:prstGeom>
          <a:noFill/>
        </p:spPr>
        <p:txBody>
          <a:bodyPr wrap="none" rtlCol="0">
            <a:spAutoFit/>
          </a:bodyPr>
          <a:lstStyle/>
          <a:p>
            <a:r>
              <a:rPr lang="en-US" sz="1200" b="1" dirty="0" smtClean="0">
                <a:solidFill>
                  <a:srgbClr val="000000">
                    <a:lumMod val="65000"/>
                    <a:lumOff val="35000"/>
                  </a:srgbClr>
                </a:solidFill>
                <a:latin typeface="Tahoma" panose="020B0604030504040204" pitchFamily="34" charset="0"/>
                <a:ea typeface="Tahoma" panose="020B0604030504040204" pitchFamily="34" charset="0"/>
                <a:cs typeface="Tahoma" panose="020B0604030504040204" pitchFamily="34" charset="0"/>
              </a:rPr>
              <a:t>Full customer responsibility</a:t>
            </a:r>
            <a:endParaRPr lang="en-US" sz="1200" b="1" dirty="0">
              <a:solidFill>
                <a:srgbClr val="000000">
                  <a:lumMod val="65000"/>
                  <a:lumOff val="35000"/>
                </a:srgbClr>
              </a:solidFill>
              <a:latin typeface="Tahoma" panose="020B0604030504040204" pitchFamily="34" charset="0"/>
              <a:ea typeface="Tahoma" panose="020B0604030504040204" pitchFamily="34" charset="0"/>
              <a:cs typeface="Tahoma" panose="020B0604030504040204" pitchFamily="34" charset="0"/>
            </a:endParaRPr>
          </a:p>
        </p:txBody>
      </p:sp>
      <p:cxnSp>
        <p:nvCxnSpPr>
          <p:cNvPr id="88" name="Gerade Verbindung 45"/>
          <p:cNvCxnSpPr/>
          <p:nvPr/>
        </p:nvCxnSpPr>
        <p:spPr>
          <a:xfrm>
            <a:off x="179512" y="1203598"/>
            <a:ext cx="0" cy="3402378"/>
          </a:xfrm>
          <a:prstGeom prst="line">
            <a:avLst/>
          </a:prstGeom>
          <a:ln w="19050">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38694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dirty="0" smtClean="0"/>
              <a:t>ETERNUS CS8000 – </a:t>
            </a:r>
            <a:r>
              <a:rPr lang="ru-RU" dirty="0" smtClean="0"/>
              <a:t>унифицированное решение для защиты данных</a:t>
            </a:r>
            <a:endParaRPr lang="ru-RU" dirty="0"/>
          </a:p>
        </p:txBody>
      </p:sp>
      <p:pic>
        <p:nvPicPr>
          <p:cNvPr id="2220034" name="Picture 2"/>
          <p:cNvPicPr>
            <a:picLocks noChangeAspect="1" noChangeArrowheads="1"/>
          </p:cNvPicPr>
          <p:nvPr>
            <p:custDataLst>
              <p:tags r:id="rId1"/>
            </p:custDataLst>
          </p:nvPr>
        </p:nvPicPr>
        <p:blipFill rotWithShape="1">
          <a:blip r:embed="rId5" cstate="screen">
            <a:extLst>
              <a:ext uri="{28A0092B-C50C-407E-A947-70E740481C1C}">
                <a14:useLocalDpi xmlns:a14="http://schemas.microsoft.com/office/drawing/2010/main"/>
              </a:ext>
            </a:extLst>
          </a:blip>
          <a:srcRect/>
          <a:stretch/>
        </p:blipFill>
        <p:spPr bwMode="gray">
          <a:xfrm>
            <a:off x="6372250" y="3291850"/>
            <a:ext cx="2520350" cy="1512210"/>
          </a:xfrm>
          <a:prstGeom prst="round1Rect">
            <a:avLst>
              <a:gd name="adj" fmla="val 25195"/>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Untertitel 2"/>
          <p:cNvSpPr txBox="1">
            <a:spLocks/>
          </p:cNvSpPr>
          <p:nvPr>
            <p:custDataLst>
              <p:tags r:id="rId2"/>
            </p:custDataLst>
          </p:nvPr>
        </p:nvSpPr>
        <p:spPr bwMode="gray">
          <a:xfrm>
            <a:off x="251842" y="3364060"/>
            <a:ext cx="5184278" cy="144000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2000" b="0" kern="1200" noProof="0" dirty="0" smtClean="0">
                <a:solidFill>
                  <a:schemeClr val="bg1"/>
                </a:solidFill>
                <a:latin typeface="+mn-lt"/>
                <a:ea typeface="+mn-ea"/>
                <a:cs typeface="+mn-cs"/>
              </a:defRPr>
            </a:lvl1pPr>
            <a:lvl2pPr marL="0" indent="0" algn="l" defTabSz="914400" rtl="0" eaLnBrk="1" latinLnBrk="0" hangingPunct="1">
              <a:lnSpc>
                <a:spcPct val="110000"/>
              </a:lnSpc>
              <a:spcBef>
                <a:spcPts val="0"/>
              </a:spcBef>
              <a:spcAft>
                <a:spcPts val="0"/>
              </a:spcAft>
              <a:buClr>
                <a:schemeClr val="tx2"/>
              </a:buClr>
              <a:buFont typeface="Wingdings" pitchFamily="2" charset="2"/>
              <a:buNone/>
              <a:defRPr sz="240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2"/>
              </a:buClr>
              <a:buFont typeface="Arial" pitchFamily="34" charset="0"/>
              <a:buNone/>
              <a:tabLst/>
              <a:defRPr sz="2400" kern="1200">
                <a:solidFill>
                  <a:schemeClr val="tx1"/>
                </a:solidFill>
                <a:latin typeface="+mn-lt"/>
                <a:ea typeface="+mn-ea"/>
                <a:cs typeface="+mn-cs"/>
              </a:defRPr>
            </a:lvl3pPr>
            <a:lvl4pPr marL="0" indent="0" algn="l" defTabSz="896938" rtl="0" eaLnBrk="1" latinLnBrk="0" hangingPunct="1">
              <a:lnSpc>
                <a:spcPct val="110000"/>
              </a:lnSpc>
              <a:spcBef>
                <a:spcPts val="0"/>
              </a:spcBef>
              <a:spcAft>
                <a:spcPts val="0"/>
              </a:spcAft>
              <a:buClr>
                <a:schemeClr val="tx2"/>
              </a:buClr>
              <a:buFont typeface="Arial" pitchFamily="34" charset="0"/>
              <a:buNone/>
              <a:defRPr sz="2400" kern="1200">
                <a:solidFill>
                  <a:schemeClr val="tx1"/>
                </a:solidFill>
                <a:latin typeface="+mn-lt"/>
                <a:ea typeface="+mn-ea"/>
                <a:cs typeface="+mn-cs"/>
              </a:defRPr>
            </a:lvl4pPr>
            <a:lvl5pPr marL="0" indent="0" algn="l" defTabSz="914400" rtl="0" eaLnBrk="1" latinLnBrk="0" hangingPunct="1">
              <a:lnSpc>
                <a:spcPct val="110000"/>
              </a:lnSpc>
              <a:spcBef>
                <a:spcPts val="0"/>
              </a:spcBef>
              <a:spcAft>
                <a:spcPts val="0"/>
              </a:spcAft>
              <a:buClr>
                <a:schemeClr val="tx2"/>
              </a:buClr>
              <a:buFont typeface="Arial" pitchFamily="34" charset="0"/>
              <a:buNone/>
              <a:defRPr sz="2400" kern="1200">
                <a:solidFill>
                  <a:schemeClr val="tx1"/>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spcBef>
                <a:spcPts val="0"/>
              </a:spcBef>
              <a:spcAft>
                <a:spcPts val="0"/>
              </a:spcAft>
            </a:pPr>
            <a:endParaRPr lang="ru-RU" sz="1800">
              <a:solidFill>
                <a:srgbClr val="000000"/>
              </a:solidFill>
            </a:endParaRPr>
          </a:p>
        </p:txBody>
      </p:sp>
    </p:spTree>
    <p:extLst>
      <p:ext uri="{BB962C8B-B14F-4D97-AF65-F5344CB8AC3E}">
        <p14:creationId xmlns:p14="http://schemas.microsoft.com/office/powerpoint/2010/main" val="3298259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Object 12"/>
          <p:cNvGraphicFramePr>
            <a:graphicFrameLocks noChangeAspect="1"/>
          </p:cNvGraphicFramePr>
          <p:nvPr>
            <p:custDataLst>
              <p:tags r:id="rId2"/>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29720" name="think-cell Folie" r:id="rId18" imgW="360" imgH="360" progId="">
                  <p:embed/>
                </p:oleObj>
              </mc:Choice>
              <mc:Fallback>
                <p:oleObj name="think-cell Folie" r:id="rId18" imgW="360" imgH="360" progId="">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9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23" name="Titel 1"/>
          <p:cNvSpPr>
            <a:spLocks noGrp="1"/>
          </p:cNvSpPr>
          <p:nvPr>
            <p:ph type="title"/>
          </p:nvPr>
        </p:nvSpPr>
        <p:spPr/>
        <p:txBody>
          <a:bodyPr/>
          <a:lstStyle/>
          <a:p>
            <a:r>
              <a:rPr lang="en-US" dirty="0">
                <a:latin typeface="+mj-lt"/>
              </a:rPr>
              <a:t>ETERNUS CS8000 </a:t>
            </a:r>
            <a:r>
              <a:rPr lang="ru-RU" dirty="0" smtClean="0">
                <a:latin typeface="+mj-lt"/>
              </a:rPr>
              <a:t/>
            </a:r>
            <a:br>
              <a:rPr lang="ru-RU" dirty="0" smtClean="0">
                <a:latin typeface="+mj-lt"/>
              </a:rPr>
            </a:br>
            <a:r>
              <a:rPr lang="ru-RU" dirty="0" smtClean="0">
                <a:latin typeface="+mj-lt"/>
                <a:ea typeface="ＭＳ Ｐゴシック" panose="020B0600070205080204" pitchFamily="34" charset="-128"/>
              </a:rPr>
              <a:t>Горизонтальное масштабирование</a:t>
            </a:r>
            <a:endParaRPr lang="en-US" dirty="0" smtClean="0">
              <a:latin typeface="+mj-lt"/>
              <a:ea typeface="ＭＳ Ｐゴシック" panose="020B0600070205080204" pitchFamily="34" charset="-128"/>
            </a:endParaRPr>
          </a:p>
        </p:txBody>
      </p:sp>
      <p:sp>
        <p:nvSpPr>
          <p:cNvPr id="12" name="Freihandform 11"/>
          <p:cNvSpPr/>
          <p:nvPr/>
        </p:nvSpPr>
        <p:spPr bwMode="gray">
          <a:xfrm>
            <a:off x="863600" y="3651262"/>
            <a:ext cx="0" cy="288925"/>
          </a:xfrm>
          <a:custGeom>
            <a:avLst/>
            <a:gdLst>
              <a:gd name="connsiteX0" fmla="*/ 0 w 0"/>
              <a:gd name="connsiteY0" fmla="*/ 0 h 730250"/>
              <a:gd name="connsiteX1" fmla="*/ 0 w 0"/>
              <a:gd name="connsiteY1" fmla="*/ 730250 h 730250"/>
            </a:gdLst>
            <a:ahLst/>
            <a:cxnLst>
              <a:cxn ang="0">
                <a:pos x="connsiteX0" y="connsiteY0"/>
              </a:cxn>
              <a:cxn ang="0">
                <a:pos x="connsiteX1" y="connsiteY1"/>
              </a:cxn>
            </a:cxnLst>
            <a:rect l="l" t="t" r="r" b="b"/>
            <a:pathLst>
              <a:path h="730250">
                <a:moveTo>
                  <a:pt x="0" y="0"/>
                </a:moveTo>
                <a:lnTo>
                  <a:pt x="0" y="730250"/>
                </a:lnTo>
              </a:path>
            </a:pathLst>
          </a:cu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solidFill>
                <a:srgbClr val="000000"/>
              </a:solidFill>
            </a:endParaRPr>
          </a:p>
        </p:txBody>
      </p:sp>
      <p:sp>
        <p:nvSpPr>
          <p:cNvPr id="13" name="Abgerundetes Rechteck 12"/>
          <p:cNvSpPr/>
          <p:nvPr>
            <p:custDataLst>
              <p:tags r:id="rId3"/>
            </p:custDataLst>
          </p:nvPr>
        </p:nvSpPr>
        <p:spPr bwMode="gray">
          <a:xfrm>
            <a:off x="250825" y="3940177"/>
            <a:ext cx="2160588" cy="863600"/>
          </a:xfrm>
          <a:prstGeom prst="roundRect">
            <a:avLst>
              <a:gd name="adj" fmla="val 14697"/>
            </a:avLst>
          </a:prstGeom>
          <a:solidFill>
            <a:schemeClr val="bg1"/>
          </a:solidFill>
          <a:ln w="19050" cap="rnd">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 tIns="0" rIns="18000" bIns="0" anchor="ctr"/>
          <a:lstStyle/>
          <a:p>
            <a:pPr marL="85725" algn="ctr">
              <a:buClr>
                <a:srgbClr val="A30B1A"/>
              </a:buClr>
              <a:defRPr/>
            </a:pPr>
            <a:endParaRPr lang="en-US" sz="900" b="1" dirty="0">
              <a:solidFill>
                <a:srgbClr val="FFFFFF"/>
              </a:solidFill>
            </a:endParaRPr>
          </a:p>
        </p:txBody>
      </p:sp>
      <p:sp>
        <p:nvSpPr>
          <p:cNvPr id="14" name="Abgerundetes Rechteck 13"/>
          <p:cNvSpPr/>
          <p:nvPr>
            <p:custDataLst>
              <p:tags r:id="rId4"/>
            </p:custDataLst>
          </p:nvPr>
        </p:nvSpPr>
        <p:spPr bwMode="gray">
          <a:xfrm>
            <a:off x="287338" y="3976688"/>
            <a:ext cx="2087562" cy="790575"/>
          </a:xfrm>
          <a:prstGeom prst="roundRect">
            <a:avLst>
              <a:gd name="adj" fmla="val 16035"/>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tIns="0" rIns="3600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buClr>
                <a:srgbClr val="A30B1A"/>
              </a:buClr>
            </a:pPr>
            <a:r>
              <a:rPr lang="ru-RU" sz="1100">
                <a:solidFill>
                  <a:srgbClr val="FFFFFF"/>
                </a:solidFill>
              </a:rPr>
              <a:t>лента</a:t>
            </a:r>
            <a:r>
              <a:rPr lang="en-US" sz="1100">
                <a:solidFill>
                  <a:srgbClr val="FFFFFF"/>
                </a:solidFill>
              </a:rPr>
              <a:t>/WORM </a:t>
            </a:r>
            <a:r>
              <a:rPr lang="ru-RU" sz="1100">
                <a:solidFill>
                  <a:srgbClr val="FFFFFF"/>
                </a:solidFill>
              </a:rPr>
              <a:t>лента</a:t>
            </a:r>
            <a:r>
              <a:rPr lang="en-US" sz="1100">
                <a:solidFill>
                  <a:srgbClr val="FFFFFF"/>
                </a:solidFill>
              </a:rPr>
              <a:t> / </a:t>
            </a:r>
            <a:r>
              <a:rPr lang="ru-RU" sz="1100">
                <a:solidFill>
                  <a:srgbClr val="FFFFFF"/>
                </a:solidFill>
              </a:rPr>
              <a:t>диск</a:t>
            </a:r>
            <a:endParaRPr lang="en-US" sz="1100">
              <a:solidFill>
                <a:srgbClr val="FFFFFF"/>
              </a:solidFill>
            </a:endParaRPr>
          </a:p>
        </p:txBody>
      </p:sp>
      <p:sp>
        <p:nvSpPr>
          <p:cNvPr id="15" name="Zylinder 14"/>
          <p:cNvSpPr/>
          <p:nvPr/>
        </p:nvSpPr>
        <p:spPr bwMode="gray">
          <a:xfrm>
            <a:off x="1835160" y="4300550"/>
            <a:ext cx="360363" cy="358775"/>
          </a:xfrm>
          <a:prstGeom prst="can">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16" name="Flussdiagramm: Datenträger mit sequenziellem Zugriff 15"/>
          <p:cNvSpPr/>
          <p:nvPr/>
        </p:nvSpPr>
        <p:spPr bwMode="gray">
          <a:xfrm>
            <a:off x="466738" y="4298951"/>
            <a:ext cx="360363" cy="360363"/>
          </a:xfrm>
          <a:prstGeom prst="flowChartMagneticTape">
            <a:avLst/>
          </a:prstGeom>
          <a:noFill/>
          <a:ln w="28575" cap="flat" cmpd="sng" algn="ctr">
            <a:solidFill>
              <a:schemeClr val="bg1"/>
            </a:solidFill>
            <a:prstDash val="solid"/>
          </a:ln>
          <a:effectLst/>
        </p:spPr>
        <p:txBody>
          <a:bodyPr/>
          <a:lstStyle/>
          <a:p>
            <a:pPr algn="ctr">
              <a:defRPr/>
            </a:pPr>
            <a:endParaRPr lang="en-US" sz="900" kern="0" dirty="0">
              <a:solidFill>
                <a:srgbClr val="000000"/>
              </a:solidFill>
            </a:endParaRPr>
          </a:p>
        </p:txBody>
      </p:sp>
      <p:grpSp>
        <p:nvGrpSpPr>
          <p:cNvPr id="30729" name="Gruppieren 16"/>
          <p:cNvGrpSpPr>
            <a:grpSpLocks/>
          </p:cNvGrpSpPr>
          <p:nvPr/>
        </p:nvGrpSpPr>
        <p:grpSpPr bwMode="auto">
          <a:xfrm>
            <a:off x="1150938" y="4227525"/>
            <a:ext cx="468312" cy="433387"/>
            <a:chOff x="5688180" y="4227980"/>
            <a:chExt cx="468040" cy="432779"/>
          </a:xfrm>
        </p:grpSpPr>
        <p:sp>
          <p:nvSpPr>
            <p:cNvPr id="18" name="Flussdiagramm: Datenträger mit sequenziellem Zugriff 17"/>
            <p:cNvSpPr/>
            <p:nvPr/>
          </p:nvSpPr>
          <p:spPr bwMode="gray">
            <a:xfrm>
              <a:off x="5688180" y="4299317"/>
              <a:ext cx="360153" cy="361442"/>
            </a:xfrm>
            <a:prstGeom prst="flowChartMagneticTape">
              <a:avLst/>
            </a:prstGeom>
            <a:noFill/>
            <a:ln w="28575" cap="flat" cmpd="sng" algn="ctr">
              <a:solidFill>
                <a:schemeClr val="bg1"/>
              </a:solidFill>
              <a:prstDash val="solid"/>
            </a:ln>
            <a:effectLst/>
          </p:spPr>
          <p:txBody>
            <a:bodyPr/>
            <a:lstStyle/>
            <a:p>
              <a:pPr algn="ctr">
                <a:defRPr/>
              </a:pPr>
              <a:endParaRPr lang="en-US" sz="900" kern="0" dirty="0">
                <a:solidFill>
                  <a:srgbClr val="000000"/>
                </a:solidFill>
              </a:endParaRPr>
            </a:p>
          </p:txBody>
        </p:sp>
        <p:grpSp>
          <p:nvGrpSpPr>
            <p:cNvPr id="4" name="Gruppieren 139"/>
            <p:cNvGrpSpPr>
              <a:grpSpLocks/>
            </p:cNvGrpSpPr>
            <p:nvPr/>
          </p:nvGrpSpPr>
          <p:grpSpPr bwMode="gray">
            <a:xfrm>
              <a:off x="5996455" y="4227980"/>
              <a:ext cx="159765" cy="221456"/>
              <a:chOff x="2296949" y="4307012"/>
              <a:chExt cx="320572" cy="444331"/>
            </a:xfrm>
            <a:solidFill>
              <a:schemeClr val="bg1"/>
            </a:solidFill>
          </p:grpSpPr>
          <p:sp>
            <p:nvSpPr>
              <p:cNvPr id="20" name="Freeform 63"/>
              <p:cNvSpPr>
                <a:spLocks/>
              </p:cNvSpPr>
              <p:nvPr/>
            </p:nvSpPr>
            <p:spPr bwMode="gray">
              <a:xfrm>
                <a:off x="2335624" y="4307012"/>
                <a:ext cx="246660" cy="187358"/>
              </a:xfrm>
              <a:custGeom>
                <a:avLst/>
                <a:gdLst>
                  <a:gd name="T0" fmla="*/ 88 w 275"/>
                  <a:gd name="T1" fmla="*/ 10 h 208"/>
                  <a:gd name="T2" fmla="*/ 159 w 275"/>
                  <a:gd name="T3" fmla="*/ 3 h 208"/>
                  <a:gd name="T4" fmla="*/ 259 w 275"/>
                  <a:gd name="T5" fmla="*/ 84 h 208"/>
                  <a:gd name="T6" fmla="*/ 269 w 275"/>
                  <a:gd name="T7" fmla="*/ 208 h 208"/>
                  <a:gd name="T8" fmla="*/ 208 w 275"/>
                  <a:gd name="T9" fmla="*/ 208 h 208"/>
                  <a:gd name="T10" fmla="*/ 208 w 275"/>
                  <a:gd name="T11" fmla="*/ 129 h 208"/>
                  <a:gd name="T12" fmla="*/ 135 w 275"/>
                  <a:gd name="T13" fmla="*/ 62 h 208"/>
                  <a:gd name="T14" fmla="*/ 63 w 275"/>
                  <a:gd name="T15" fmla="*/ 129 h 208"/>
                  <a:gd name="T16" fmla="*/ 63 w 275"/>
                  <a:gd name="T17" fmla="*/ 208 h 208"/>
                  <a:gd name="T18" fmla="*/ 2 w 275"/>
                  <a:gd name="T19" fmla="*/ 208 h 208"/>
                  <a:gd name="T20" fmla="*/ 4 w 275"/>
                  <a:gd name="T21" fmla="*/ 111 h 208"/>
                  <a:gd name="T22" fmla="*/ 88 w 275"/>
                  <a:gd name="T23" fmla="*/ 10 h 20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5" h="208">
                    <a:moveTo>
                      <a:pt x="88" y="10"/>
                    </a:moveTo>
                    <a:cubicBezTo>
                      <a:pt x="111" y="1"/>
                      <a:pt x="136" y="0"/>
                      <a:pt x="159" y="3"/>
                    </a:cubicBezTo>
                    <a:cubicBezTo>
                      <a:pt x="203" y="11"/>
                      <a:pt x="243" y="42"/>
                      <a:pt x="259" y="84"/>
                    </a:cubicBezTo>
                    <a:cubicBezTo>
                      <a:pt x="275" y="124"/>
                      <a:pt x="267" y="167"/>
                      <a:pt x="269" y="208"/>
                    </a:cubicBezTo>
                    <a:cubicBezTo>
                      <a:pt x="249" y="208"/>
                      <a:pt x="229" y="208"/>
                      <a:pt x="208" y="208"/>
                    </a:cubicBezTo>
                    <a:cubicBezTo>
                      <a:pt x="208" y="182"/>
                      <a:pt x="209" y="155"/>
                      <a:pt x="208" y="129"/>
                    </a:cubicBezTo>
                    <a:cubicBezTo>
                      <a:pt x="207" y="92"/>
                      <a:pt x="172" y="60"/>
                      <a:pt x="135" y="62"/>
                    </a:cubicBezTo>
                    <a:cubicBezTo>
                      <a:pt x="98" y="60"/>
                      <a:pt x="65" y="92"/>
                      <a:pt x="63" y="129"/>
                    </a:cubicBezTo>
                    <a:cubicBezTo>
                      <a:pt x="62" y="155"/>
                      <a:pt x="63" y="182"/>
                      <a:pt x="63" y="208"/>
                    </a:cubicBezTo>
                    <a:cubicBezTo>
                      <a:pt x="42" y="208"/>
                      <a:pt x="22" y="208"/>
                      <a:pt x="2" y="208"/>
                    </a:cubicBezTo>
                    <a:cubicBezTo>
                      <a:pt x="3" y="176"/>
                      <a:pt x="0" y="143"/>
                      <a:pt x="4" y="111"/>
                    </a:cubicBezTo>
                    <a:cubicBezTo>
                      <a:pt x="11" y="66"/>
                      <a:pt x="45" y="26"/>
                      <a:pt x="88" y="10"/>
                    </a:cubicBezTo>
                    <a:close/>
                  </a:path>
                </a:pathLst>
              </a:custGeom>
              <a:grpFill/>
              <a:ln>
                <a:noFill/>
              </a:ln>
              <a:extLst/>
            </p:spPr>
            <p:txBody>
              <a:bodyPr/>
              <a:lstStyle>
                <a:defPPr>
                  <a:defRPr lang="de-DE"/>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defRPr/>
                </a:pPr>
                <a:endParaRPr lang="en-US" dirty="0">
                  <a:solidFill>
                    <a:srgbClr val="000000"/>
                  </a:solidFill>
                </a:endParaRPr>
              </a:p>
            </p:txBody>
          </p:sp>
          <p:sp>
            <p:nvSpPr>
              <p:cNvPr id="21" name="Freeform 72"/>
              <p:cNvSpPr>
                <a:spLocks noEditPoints="1"/>
              </p:cNvSpPr>
              <p:nvPr/>
            </p:nvSpPr>
            <p:spPr bwMode="gray">
              <a:xfrm>
                <a:off x="2296949" y="4526169"/>
                <a:ext cx="320572" cy="225174"/>
              </a:xfrm>
              <a:custGeom>
                <a:avLst/>
                <a:gdLst>
                  <a:gd name="T0" fmla="*/ 1 w 357"/>
                  <a:gd name="T1" fmla="*/ 0 h 250"/>
                  <a:gd name="T2" fmla="*/ 356 w 357"/>
                  <a:gd name="T3" fmla="*/ 0 h 250"/>
                  <a:gd name="T4" fmla="*/ 356 w 357"/>
                  <a:gd name="T5" fmla="*/ 250 h 250"/>
                  <a:gd name="T6" fmla="*/ 1 w 357"/>
                  <a:gd name="T7" fmla="*/ 250 h 250"/>
                  <a:gd name="T8" fmla="*/ 1 w 357"/>
                  <a:gd name="T9" fmla="*/ 0 h 250"/>
                  <a:gd name="T10" fmla="*/ 147 w 357"/>
                  <a:gd name="T11" fmla="*/ 109 h 250"/>
                  <a:gd name="T12" fmla="*/ 163 w 357"/>
                  <a:gd name="T13" fmla="*/ 139 h 250"/>
                  <a:gd name="T14" fmla="*/ 165 w 357"/>
                  <a:gd name="T15" fmla="*/ 175 h 250"/>
                  <a:gd name="T16" fmla="*/ 192 w 357"/>
                  <a:gd name="T17" fmla="*/ 175 h 250"/>
                  <a:gd name="T18" fmla="*/ 193 w 357"/>
                  <a:gd name="T19" fmla="*/ 140 h 250"/>
                  <a:gd name="T20" fmla="*/ 210 w 357"/>
                  <a:gd name="T21" fmla="*/ 113 h 250"/>
                  <a:gd name="T22" fmla="*/ 178 w 357"/>
                  <a:gd name="T23" fmla="*/ 74 h 250"/>
                  <a:gd name="T24" fmla="*/ 147 w 357"/>
                  <a:gd name="T25" fmla="*/ 109 h 2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7" h="250">
                    <a:moveTo>
                      <a:pt x="1" y="0"/>
                    </a:moveTo>
                    <a:cubicBezTo>
                      <a:pt x="119" y="0"/>
                      <a:pt x="238" y="1"/>
                      <a:pt x="356" y="0"/>
                    </a:cubicBezTo>
                    <a:cubicBezTo>
                      <a:pt x="357" y="83"/>
                      <a:pt x="357" y="167"/>
                      <a:pt x="356" y="250"/>
                    </a:cubicBezTo>
                    <a:cubicBezTo>
                      <a:pt x="238" y="249"/>
                      <a:pt x="119" y="250"/>
                      <a:pt x="1" y="250"/>
                    </a:cubicBezTo>
                    <a:cubicBezTo>
                      <a:pt x="0" y="167"/>
                      <a:pt x="0" y="83"/>
                      <a:pt x="1" y="0"/>
                    </a:cubicBezTo>
                    <a:close/>
                    <a:moveTo>
                      <a:pt x="147" y="109"/>
                    </a:moveTo>
                    <a:cubicBezTo>
                      <a:pt x="147" y="121"/>
                      <a:pt x="159" y="129"/>
                      <a:pt x="163" y="139"/>
                    </a:cubicBezTo>
                    <a:cubicBezTo>
                      <a:pt x="166" y="151"/>
                      <a:pt x="164" y="163"/>
                      <a:pt x="165" y="175"/>
                    </a:cubicBezTo>
                    <a:cubicBezTo>
                      <a:pt x="174" y="175"/>
                      <a:pt x="183" y="175"/>
                      <a:pt x="192" y="175"/>
                    </a:cubicBezTo>
                    <a:cubicBezTo>
                      <a:pt x="193" y="163"/>
                      <a:pt x="191" y="152"/>
                      <a:pt x="193" y="140"/>
                    </a:cubicBezTo>
                    <a:cubicBezTo>
                      <a:pt x="198" y="130"/>
                      <a:pt x="207" y="123"/>
                      <a:pt x="210" y="113"/>
                    </a:cubicBezTo>
                    <a:cubicBezTo>
                      <a:pt x="216" y="94"/>
                      <a:pt x="198" y="72"/>
                      <a:pt x="178" y="74"/>
                    </a:cubicBezTo>
                    <a:cubicBezTo>
                      <a:pt x="160" y="72"/>
                      <a:pt x="144" y="91"/>
                      <a:pt x="147" y="109"/>
                    </a:cubicBezTo>
                    <a:close/>
                  </a:path>
                </a:pathLst>
              </a:custGeom>
              <a:grpFill/>
              <a:ln>
                <a:noFill/>
              </a:ln>
              <a:extLst/>
            </p:spPr>
            <p:txBody>
              <a:bodyPr/>
              <a:lstStyle>
                <a:defPPr>
                  <a:defRPr lang="de-DE"/>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defRPr/>
                </a:pPr>
                <a:endParaRPr lang="en-US" dirty="0">
                  <a:solidFill>
                    <a:srgbClr val="000000"/>
                  </a:solidFill>
                </a:endParaRPr>
              </a:p>
            </p:txBody>
          </p:sp>
        </p:grpSp>
      </p:grpSp>
      <p:sp>
        <p:nvSpPr>
          <p:cNvPr id="24" name="Auf der gleichen Seite des Rechtecks liegende Ecken abrunden 23"/>
          <p:cNvSpPr/>
          <p:nvPr>
            <p:custDataLst>
              <p:tags r:id="rId5"/>
            </p:custDataLst>
          </p:nvPr>
        </p:nvSpPr>
        <p:spPr bwMode="gray">
          <a:xfrm>
            <a:off x="250849" y="1058864"/>
            <a:ext cx="3960813" cy="2592387"/>
          </a:xfrm>
          <a:prstGeom prst="round2SameRect">
            <a:avLst>
              <a:gd name="adj1" fmla="val 4900"/>
              <a:gd name="adj2" fmla="val 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6800" rIns="54000"/>
          <a:lstStyle/>
          <a:p>
            <a:pPr>
              <a:spcBef>
                <a:spcPts val="400"/>
              </a:spcBef>
              <a:spcAft>
                <a:spcPts val="400"/>
              </a:spcAft>
              <a:buClr>
                <a:srgbClr val="A30B1A"/>
              </a:buClr>
              <a:defRPr/>
            </a:pPr>
            <a:endParaRPr lang="en-US" sz="1400" dirty="0">
              <a:solidFill>
                <a:srgbClr val="FFFFFF"/>
              </a:solidFill>
            </a:endParaRPr>
          </a:p>
        </p:txBody>
      </p:sp>
      <p:sp>
        <p:nvSpPr>
          <p:cNvPr id="25" name="Auf der gleichen Seite des Rechtecks liegende Ecken abrunden 24"/>
          <p:cNvSpPr/>
          <p:nvPr>
            <p:custDataLst>
              <p:tags r:id="rId6"/>
            </p:custDataLst>
          </p:nvPr>
        </p:nvSpPr>
        <p:spPr bwMode="gray">
          <a:xfrm>
            <a:off x="323874" y="1131890"/>
            <a:ext cx="3814763" cy="2447925"/>
          </a:xfrm>
          <a:prstGeom prst="round2SameRect">
            <a:avLst>
              <a:gd name="adj1" fmla="val 5188"/>
              <a:gd name="adj2" fmla="val 0"/>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tIns="82800" rIns="90000" bIns="46800"/>
          <a:lstStyle/>
          <a:p>
            <a:pPr marL="179388" indent="-179388">
              <a:spcBef>
                <a:spcPts val="400"/>
              </a:spcBef>
              <a:buClr>
                <a:srgbClr val="A30B1A"/>
              </a:buClr>
              <a:defRPr/>
            </a:pPr>
            <a:r>
              <a:rPr lang="ru-RU" sz="1200" dirty="0" smtClean="0">
                <a:solidFill>
                  <a:srgbClr val="000000"/>
                </a:solidFill>
              </a:rPr>
              <a:t>интерфейсные (</a:t>
            </a:r>
            <a:r>
              <a:rPr lang="en-US" sz="1200" dirty="0" smtClean="0">
                <a:solidFill>
                  <a:srgbClr val="000000"/>
                </a:solidFill>
              </a:rPr>
              <a:t>front-end</a:t>
            </a:r>
            <a:r>
              <a:rPr lang="ru-RU" sz="1200" dirty="0" smtClean="0">
                <a:solidFill>
                  <a:srgbClr val="000000"/>
                </a:solidFill>
              </a:rPr>
              <a:t>)</a:t>
            </a:r>
            <a:r>
              <a:rPr lang="en-US" sz="1200" dirty="0" smtClean="0">
                <a:solidFill>
                  <a:srgbClr val="000000"/>
                </a:solidFill>
              </a:rPr>
              <a:t> </a:t>
            </a:r>
            <a:r>
              <a:rPr lang="ru-RU" sz="1200" dirty="0" smtClean="0">
                <a:solidFill>
                  <a:srgbClr val="000000"/>
                </a:solidFill>
              </a:rPr>
              <a:t>процессорные узлы</a:t>
            </a:r>
            <a:endParaRPr lang="en-US" sz="1200" dirty="0">
              <a:solidFill>
                <a:srgbClr val="000000"/>
              </a:solidFill>
            </a:endParaRPr>
          </a:p>
        </p:txBody>
      </p:sp>
      <p:sp>
        <p:nvSpPr>
          <p:cNvPr id="47" name="Rechteck 46"/>
          <p:cNvSpPr/>
          <p:nvPr/>
        </p:nvSpPr>
        <p:spPr bwMode="gray">
          <a:xfrm>
            <a:off x="958874" y="1492250"/>
            <a:ext cx="288925" cy="142875"/>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49" name="Rechteck 48"/>
          <p:cNvSpPr/>
          <p:nvPr/>
        </p:nvSpPr>
        <p:spPr bwMode="gray">
          <a:xfrm>
            <a:off x="1524000" y="1492250"/>
            <a:ext cx="287338" cy="142875"/>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50" name="Rechteck 49"/>
          <p:cNvSpPr/>
          <p:nvPr/>
        </p:nvSpPr>
        <p:spPr bwMode="gray">
          <a:xfrm>
            <a:off x="2087587" y="1492250"/>
            <a:ext cx="287337" cy="142875"/>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51" name="Rechteck 50"/>
          <p:cNvSpPr/>
          <p:nvPr/>
        </p:nvSpPr>
        <p:spPr bwMode="gray">
          <a:xfrm>
            <a:off x="2651137" y="1492250"/>
            <a:ext cx="288925" cy="142875"/>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52" name="Rechteck 51"/>
          <p:cNvSpPr/>
          <p:nvPr/>
        </p:nvSpPr>
        <p:spPr bwMode="gray">
          <a:xfrm>
            <a:off x="3216275" y="1492250"/>
            <a:ext cx="287338" cy="142875"/>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54" name="Rechteck 53"/>
          <p:cNvSpPr/>
          <p:nvPr/>
        </p:nvSpPr>
        <p:spPr bwMode="gray">
          <a:xfrm>
            <a:off x="395312" y="1492250"/>
            <a:ext cx="288925" cy="142875"/>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55" name="Rechteck 54"/>
          <p:cNvSpPr/>
          <p:nvPr>
            <p:custDataLst>
              <p:tags r:id="rId7"/>
            </p:custDataLst>
          </p:nvPr>
        </p:nvSpPr>
        <p:spPr bwMode="gray">
          <a:xfrm>
            <a:off x="323874" y="3292475"/>
            <a:ext cx="3743325" cy="287338"/>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82800" anchor="b"/>
          <a:lstStyle/>
          <a:p>
            <a:pPr marL="179388" indent="-179388">
              <a:spcBef>
                <a:spcPts val="400"/>
              </a:spcBef>
              <a:buClr>
                <a:srgbClr val="A30B1A"/>
              </a:buClr>
              <a:defRPr/>
            </a:pPr>
            <a:r>
              <a:rPr lang="ru-RU" sz="1200" dirty="0" smtClean="0">
                <a:solidFill>
                  <a:srgbClr val="000000"/>
                </a:solidFill>
              </a:rPr>
              <a:t>серверные (</a:t>
            </a:r>
            <a:r>
              <a:rPr lang="en-US" sz="1200" dirty="0" smtClean="0">
                <a:solidFill>
                  <a:srgbClr val="000000"/>
                </a:solidFill>
              </a:rPr>
              <a:t>back-end</a:t>
            </a:r>
            <a:r>
              <a:rPr lang="ru-RU" sz="1200" dirty="0" smtClean="0">
                <a:solidFill>
                  <a:srgbClr val="000000"/>
                </a:solidFill>
              </a:rPr>
              <a:t>)</a:t>
            </a:r>
            <a:r>
              <a:rPr lang="en-US" sz="1200" dirty="0" smtClean="0">
                <a:solidFill>
                  <a:srgbClr val="000000"/>
                </a:solidFill>
              </a:rPr>
              <a:t> </a:t>
            </a:r>
            <a:r>
              <a:rPr lang="ru-RU" sz="1200" dirty="0" smtClean="0">
                <a:solidFill>
                  <a:srgbClr val="000000"/>
                </a:solidFill>
              </a:rPr>
              <a:t>процессорные узлы</a:t>
            </a:r>
            <a:endParaRPr lang="en-US" sz="1200" dirty="0">
              <a:solidFill>
                <a:srgbClr val="000000"/>
              </a:solidFill>
            </a:endParaRPr>
          </a:p>
        </p:txBody>
      </p:sp>
      <p:sp>
        <p:nvSpPr>
          <p:cNvPr id="56" name="Abgerundetes Rechteck 55"/>
          <p:cNvSpPr/>
          <p:nvPr>
            <p:custDataLst>
              <p:tags r:id="rId8"/>
            </p:custDataLst>
          </p:nvPr>
        </p:nvSpPr>
        <p:spPr bwMode="gray">
          <a:xfrm>
            <a:off x="395312" y="1995488"/>
            <a:ext cx="3671887" cy="792162"/>
          </a:xfrm>
          <a:prstGeom prst="roundRect">
            <a:avLst>
              <a:gd name="adj" fmla="val 16035"/>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82800" bIns="468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ru-RU" sz="1200">
                <a:solidFill>
                  <a:srgbClr val="FFFFFF"/>
                </a:solidFill>
              </a:rPr>
              <a:t>Внутренние массивы хранения данных</a:t>
            </a:r>
            <a:endParaRPr lang="en-US" sz="1200">
              <a:solidFill>
                <a:srgbClr val="FFFFFF"/>
              </a:solidFill>
            </a:endParaRPr>
          </a:p>
        </p:txBody>
      </p:sp>
      <p:sp>
        <p:nvSpPr>
          <p:cNvPr id="57" name="Zylinder 56"/>
          <p:cNvSpPr/>
          <p:nvPr/>
        </p:nvSpPr>
        <p:spPr bwMode="gray">
          <a:xfrm>
            <a:off x="611188" y="2427289"/>
            <a:ext cx="360362" cy="215900"/>
          </a:xfrm>
          <a:prstGeom prst="can">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58" name="Zylinder 57"/>
          <p:cNvSpPr/>
          <p:nvPr/>
        </p:nvSpPr>
        <p:spPr bwMode="gray">
          <a:xfrm>
            <a:off x="1187470" y="2427289"/>
            <a:ext cx="360363" cy="215900"/>
          </a:xfrm>
          <a:prstGeom prst="can">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59" name="Zylinder 58"/>
          <p:cNvSpPr/>
          <p:nvPr/>
        </p:nvSpPr>
        <p:spPr bwMode="gray">
          <a:xfrm>
            <a:off x="1763713" y="2427289"/>
            <a:ext cx="360362" cy="215900"/>
          </a:xfrm>
          <a:prstGeom prst="can">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60" name="Zylinder 59"/>
          <p:cNvSpPr/>
          <p:nvPr/>
        </p:nvSpPr>
        <p:spPr bwMode="gray">
          <a:xfrm>
            <a:off x="2339993" y="2427289"/>
            <a:ext cx="360363" cy="215900"/>
          </a:xfrm>
          <a:prstGeom prst="can">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61" name="Zylinder 60"/>
          <p:cNvSpPr/>
          <p:nvPr/>
        </p:nvSpPr>
        <p:spPr bwMode="gray">
          <a:xfrm>
            <a:off x="2916249" y="2427289"/>
            <a:ext cx="358775" cy="215900"/>
          </a:xfrm>
          <a:prstGeom prst="can">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62" name="Zylinder 61"/>
          <p:cNvSpPr/>
          <p:nvPr/>
        </p:nvSpPr>
        <p:spPr bwMode="gray">
          <a:xfrm>
            <a:off x="3492524" y="2427289"/>
            <a:ext cx="358775" cy="215900"/>
          </a:xfrm>
          <a:prstGeom prst="can">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65" name="Rechteck 64"/>
          <p:cNvSpPr/>
          <p:nvPr/>
        </p:nvSpPr>
        <p:spPr bwMode="gray">
          <a:xfrm>
            <a:off x="3779844" y="1492250"/>
            <a:ext cx="287337" cy="142875"/>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66" name="Rechteck 65"/>
          <p:cNvSpPr/>
          <p:nvPr/>
        </p:nvSpPr>
        <p:spPr bwMode="gray">
          <a:xfrm>
            <a:off x="958874" y="3148013"/>
            <a:ext cx="288925" cy="144462"/>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67" name="Rechteck 66"/>
          <p:cNvSpPr/>
          <p:nvPr/>
        </p:nvSpPr>
        <p:spPr bwMode="gray">
          <a:xfrm>
            <a:off x="1524000" y="3148013"/>
            <a:ext cx="287338" cy="144462"/>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68" name="Rechteck 67"/>
          <p:cNvSpPr/>
          <p:nvPr/>
        </p:nvSpPr>
        <p:spPr bwMode="gray">
          <a:xfrm>
            <a:off x="2087587" y="3148013"/>
            <a:ext cx="287337" cy="144462"/>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69" name="Rechteck 68"/>
          <p:cNvSpPr/>
          <p:nvPr/>
        </p:nvSpPr>
        <p:spPr bwMode="gray">
          <a:xfrm>
            <a:off x="2651137" y="3148013"/>
            <a:ext cx="288925" cy="144462"/>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70" name="Rechteck 69"/>
          <p:cNvSpPr/>
          <p:nvPr/>
        </p:nvSpPr>
        <p:spPr bwMode="gray">
          <a:xfrm>
            <a:off x="3216275" y="3148013"/>
            <a:ext cx="287338" cy="144462"/>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71" name="Rechteck 70"/>
          <p:cNvSpPr/>
          <p:nvPr/>
        </p:nvSpPr>
        <p:spPr bwMode="gray">
          <a:xfrm>
            <a:off x="395312" y="3148013"/>
            <a:ext cx="288925" cy="144462"/>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72" name="Rechteck 71"/>
          <p:cNvSpPr/>
          <p:nvPr/>
        </p:nvSpPr>
        <p:spPr bwMode="gray">
          <a:xfrm>
            <a:off x="3779844" y="3148013"/>
            <a:ext cx="287337" cy="144462"/>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74" name="Gleichschenkliges Dreieck 73"/>
          <p:cNvSpPr/>
          <p:nvPr/>
        </p:nvSpPr>
        <p:spPr bwMode="gray">
          <a:xfrm flipV="1">
            <a:off x="395312" y="1635137"/>
            <a:ext cx="3671887" cy="288925"/>
          </a:xfrm>
          <a:prstGeom prst="triangle">
            <a:avLst/>
          </a:prstGeom>
          <a:gradFill>
            <a:gsLst>
              <a:gs pos="0">
                <a:schemeClr val="bg2"/>
              </a:gs>
              <a:gs pos="50000">
                <a:schemeClr val="tx2">
                  <a:lumMod val="20000"/>
                  <a:lumOff val="80000"/>
                </a:schemeClr>
              </a:gs>
              <a:gs pos="100000">
                <a:schemeClr val="bg1"/>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75" name="Gleichschenkliges Dreieck 74"/>
          <p:cNvSpPr/>
          <p:nvPr/>
        </p:nvSpPr>
        <p:spPr bwMode="gray">
          <a:xfrm flipV="1">
            <a:off x="395312" y="2787651"/>
            <a:ext cx="3671887" cy="287338"/>
          </a:xfrm>
          <a:prstGeom prst="triangle">
            <a:avLst/>
          </a:prstGeom>
          <a:gradFill>
            <a:gsLst>
              <a:gs pos="0">
                <a:schemeClr val="bg2"/>
              </a:gs>
              <a:gs pos="50000">
                <a:schemeClr val="tx2">
                  <a:lumMod val="20000"/>
                  <a:lumOff val="80000"/>
                </a:schemeClr>
              </a:gs>
              <a:gs pos="100000">
                <a:schemeClr val="bg1"/>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77" name="Freihandform 76"/>
          <p:cNvSpPr/>
          <p:nvPr/>
        </p:nvSpPr>
        <p:spPr bwMode="gray">
          <a:xfrm>
            <a:off x="3851281" y="1347788"/>
            <a:ext cx="434975" cy="0"/>
          </a:xfrm>
          <a:custGeom>
            <a:avLst/>
            <a:gdLst>
              <a:gd name="connsiteX0" fmla="*/ 434340 w 434340"/>
              <a:gd name="connsiteY0" fmla="*/ 0 h 0"/>
              <a:gd name="connsiteX1" fmla="*/ 0 w 434340"/>
              <a:gd name="connsiteY1" fmla="*/ 0 h 0"/>
              <a:gd name="connsiteX2" fmla="*/ 0 w 434340"/>
              <a:gd name="connsiteY2" fmla="*/ 0 h 0"/>
            </a:gdLst>
            <a:ahLst/>
            <a:cxnLst>
              <a:cxn ang="0">
                <a:pos x="connsiteX0" y="connsiteY0"/>
              </a:cxn>
              <a:cxn ang="0">
                <a:pos x="connsiteX1" y="connsiteY1"/>
              </a:cxn>
              <a:cxn ang="0">
                <a:pos x="connsiteX2" y="connsiteY2"/>
              </a:cxn>
            </a:cxnLst>
            <a:rect l="l" t="t" r="r" b="b"/>
            <a:pathLst>
              <a:path w="434340">
                <a:moveTo>
                  <a:pt x="434340" y="0"/>
                </a:moveTo>
                <a:lnTo>
                  <a:pt x="0" y="0"/>
                </a:lnTo>
                <a:lnTo>
                  <a:pt x="0" y="0"/>
                </a:lnTo>
              </a:path>
            </a:pathLst>
          </a:custGeom>
          <a:ln w="38100">
            <a:solidFill>
              <a:schemeClr val="bg1"/>
            </a:solidFill>
            <a:tailEnd type="ova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solidFill>
                <a:srgbClr val="000000"/>
              </a:solidFill>
            </a:endParaRPr>
          </a:p>
        </p:txBody>
      </p:sp>
      <p:sp>
        <p:nvSpPr>
          <p:cNvPr id="76" name="Freihandform 75"/>
          <p:cNvSpPr/>
          <p:nvPr/>
        </p:nvSpPr>
        <p:spPr bwMode="gray">
          <a:xfrm>
            <a:off x="3852875" y="1347788"/>
            <a:ext cx="434975" cy="0"/>
          </a:xfrm>
          <a:custGeom>
            <a:avLst/>
            <a:gdLst>
              <a:gd name="connsiteX0" fmla="*/ 434340 w 434340"/>
              <a:gd name="connsiteY0" fmla="*/ 0 h 0"/>
              <a:gd name="connsiteX1" fmla="*/ 0 w 434340"/>
              <a:gd name="connsiteY1" fmla="*/ 0 h 0"/>
              <a:gd name="connsiteX2" fmla="*/ 0 w 434340"/>
              <a:gd name="connsiteY2" fmla="*/ 0 h 0"/>
            </a:gdLst>
            <a:ahLst/>
            <a:cxnLst>
              <a:cxn ang="0">
                <a:pos x="connsiteX0" y="connsiteY0"/>
              </a:cxn>
              <a:cxn ang="0">
                <a:pos x="connsiteX1" y="connsiteY1"/>
              </a:cxn>
              <a:cxn ang="0">
                <a:pos x="connsiteX2" y="connsiteY2"/>
              </a:cxn>
            </a:cxnLst>
            <a:rect l="l" t="t" r="r" b="b"/>
            <a:pathLst>
              <a:path w="434340">
                <a:moveTo>
                  <a:pt x="434340" y="0"/>
                </a:moveTo>
                <a:lnTo>
                  <a:pt x="0" y="0"/>
                </a:lnTo>
                <a:lnTo>
                  <a:pt x="0" y="0"/>
                </a:lnTo>
              </a:path>
            </a:pathLst>
          </a:cu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solidFill>
                <a:srgbClr val="000000"/>
              </a:solidFill>
            </a:endParaRPr>
          </a:p>
        </p:txBody>
      </p:sp>
      <p:sp>
        <p:nvSpPr>
          <p:cNvPr id="11" name="Auf der gleichen Seite des Rechtecks liegende Ecken abrunden 10"/>
          <p:cNvSpPr/>
          <p:nvPr>
            <p:custDataLst>
              <p:tags r:id="rId9"/>
            </p:custDataLst>
          </p:nvPr>
        </p:nvSpPr>
        <p:spPr bwMode="gray">
          <a:xfrm>
            <a:off x="4284663" y="1058863"/>
            <a:ext cx="4608512" cy="2520950"/>
          </a:xfrm>
          <a:prstGeom prst="round2SameRect">
            <a:avLst>
              <a:gd name="adj1" fmla="val 5038"/>
              <a:gd name="adj2" fmla="val 0"/>
            </a:avLst>
          </a:prstGeom>
          <a:gradFill flip="none" rotWithShape="1">
            <a:gsLst>
              <a:gs pos="0">
                <a:schemeClr val="bg2"/>
              </a:gs>
              <a:gs pos="50000">
                <a:schemeClr val="bg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tIns="46800" rIns="54000"/>
          <a:lstStyle/>
          <a:p>
            <a:pPr>
              <a:buClr>
                <a:srgbClr val="A30B1A"/>
              </a:buClr>
              <a:defRPr/>
            </a:pPr>
            <a:endParaRPr lang="en-US" sz="1600" dirty="0">
              <a:solidFill>
                <a:srgbClr val="FF0000"/>
              </a:solidFill>
            </a:endParaRPr>
          </a:p>
        </p:txBody>
      </p:sp>
      <p:sp>
        <p:nvSpPr>
          <p:cNvPr id="79" name="Abgerundetes Rechteck 78"/>
          <p:cNvSpPr/>
          <p:nvPr>
            <p:custDataLst>
              <p:tags r:id="rId10"/>
            </p:custDataLst>
          </p:nvPr>
        </p:nvSpPr>
        <p:spPr bwMode="gray">
          <a:xfrm>
            <a:off x="4356100" y="1131889"/>
            <a:ext cx="1295400" cy="863600"/>
          </a:xfrm>
          <a:prstGeom prst="roundRect">
            <a:avLst>
              <a:gd name="adj" fmla="val 14697"/>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82800" rIns="54000" bIns="468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sz="1000" b="1" dirty="0">
                <a:solidFill>
                  <a:srgbClr val="000000"/>
                </a:solidFill>
              </a:rPr>
              <a:t>Front-end </a:t>
            </a:r>
            <a:r>
              <a:rPr lang="ru-RU" sz="1000" b="1" dirty="0" err="1" smtClean="0">
                <a:solidFill>
                  <a:srgbClr val="000000"/>
                </a:solidFill>
              </a:rPr>
              <a:t>проц</a:t>
            </a:r>
            <a:r>
              <a:rPr lang="en-US" sz="1000" b="1" dirty="0" smtClean="0">
                <a:solidFill>
                  <a:srgbClr val="000000"/>
                </a:solidFill>
              </a:rPr>
              <a:t>. </a:t>
            </a:r>
            <a:r>
              <a:rPr lang="en-US" sz="1000" b="1" dirty="0">
                <a:solidFill>
                  <a:srgbClr val="000000"/>
                </a:solidFill>
              </a:rPr>
              <a:t>1</a:t>
            </a:r>
          </a:p>
          <a:p>
            <a:pPr>
              <a:lnSpc>
                <a:spcPct val="80000"/>
              </a:lnSpc>
              <a:buClr>
                <a:srgbClr val="A30B1A"/>
              </a:buClr>
              <a:buFont typeface="Wingdings" panose="05000000000000000000" pitchFamily="2" charset="2"/>
              <a:buChar char="n"/>
            </a:pPr>
            <a:r>
              <a:rPr lang="ru-RU" sz="1000" dirty="0" smtClean="0">
                <a:solidFill>
                  <a:srgbClr val="000000"/>
                </a:solidFill>
              </a:rPr>
              <a:t>Формирование блоков</a:t>
            </a:r>
            <a:endParaRPr lang="en-US" sz="1000" dirty="0">
              <a:solidFill>
                <a:srgbClr val="000000"/>
              </a:solidFill>
            </a:endParaRPr>
          </a:p>
          <a:p>
            <a:pPr>
              <a:lnSpc>
                <a:spcPct val="80000"/>
              </a:lnSpc>
              <a:buClr>
                <a:srgbClr val="A30B1A"/>
              </a:buClr>
              <a:buFont typeface="Wingdings" panose="05000000000000000000" pitchFamily="2" charset="2"/>
              <a:buChar char="n"/>
            </a:pPr>
            <a:r>
              <a:rPr lang="ru-RU" sz="1000" dirty="0" err="1">
                <a:solidFill>
                  <a:srgbClr val="000000"/>
                </a:solidFill>
              </a:rPr>
              <a:t>Хэширование</a:t>
            </a:r>
            <a:endParaRPr lang="en-US" sz="1000" dirty="0">
              <a:solidFill>
                <a:srgbClr val="000000"/>
              </a:solidFill>
            </a:endParaRPr>
          </a:p>
          <a:p>
            <a:pPr>
              <a:lnSpc>
                <a:spcPct val="80000"/>
              </a:lnSpc>
              <a:buClr>
                <a:srgbClr val="A30B1A"/>
              </a:buClr>
              <a:buFont typeface="Wingdings" panose="05000000000000000000" pitchFamily="2" charset="2"/>
              <a:buChar char="n"/>
            </a:pPr>
            <a:r>
              <a:rPr lang="ru-RU" sz="1000" dirty="0">
                <a:solidFill>
                  <a:srgbClr val="000000"/>
                </a:solidFill>
              </a:rPr>
              <a:t>Сжатие</a:t>
            </a:r>
            <a:endParaRPr lang="en-US" sz="1000" dirty="0">
              <a:solidFill>
                <a:srgbClr val="000000"/>
              </a:solidFill>
            </a:endParaRPr>
          </a:p>
        </p:txBody>
      </p:sp>
      <p:sp>
        <p:nvSpPr>
          <p:cNvPr id="80" name="Abgerundetes Rechteck 79"/>
          <p:cNvSpPr/>
          <p:nvPr>
            <p:custDataLst>
              <p:tags r:id="rId11"/>
            </p:custDataLst>
          </p:nvPr>
        </p:nvSpPr>
        <p:spPr bwMode="gray">
          <a:xfrm>
            <a:off x="5722946" y="1131889"/>
            <a:ext cx="1296987" cy="863600"/>
          </a:xfrm>
          <a:prstGeom prst="roundRect">
            <a:avLst>
              <a:gd name="adj" fmla="val 14697"/>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82800" rIns="54000" bIns="468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sz="1000" b="1" dirty="0">
                <a:solidFill>
                  <a:srgbClr val="000000"/>
                </a:solidFill>
              </a:rPr>
              <a:t>Front-end </a:t>
            </a:r>
            <a:r>
              <a:rPr lang="ru-RU" sz="1000" b="1" dirty="0" err="1" smtClean="0">
                <a:solidFill>
                  <a:srgbClr val="000000"/>
                </a:solidFill>
              </a:rPr>
              <a:t>проц</a:t>
            </a:r>
            <a:r>
              <a:rPr lang="en-US" sz="1000" b="1" dirty="0" smtClean="0">
                <a:solidFill>
                  <a:srgbClr val="000000"/>
                </a:solidFill>
              </a:rPr>
              <a:t>. </a:t>
            </a:r>
            <a:r>
              <a:rPr lang="en-US" sz="1000" b="1" dirty="0">
                <a:solidFill>
                  <a:srgbClr val="000000"/>
                </a:solidFill>
              </a:rPr>
              <a:t>2</a:t>
            </a:r>
          </a:p>
          <a:p>
            <a:pPr>
              <a:lnSpc>
                <a:spcPct val="80000"/>
              </a:lnSpc>
              <a:buClr>
                <a:srgbClr val="A30B1A"/>
              </a:buClr>
              <a:buFont typeface="Wingdings" panose="05000000000000000000" pitchFamily="2" charset="2"/>
              <a:buChar char="n"/>
            </a:pPr>
            <a:r>
              <a:rPr lang="ru-RU" sz="1000" dirty="0" smtClean="0">
                <a:solidFill>
                  <a:srgbClr val="000000"/>
                </a:solidFill>
              </a:rPr>
              <a:t>Формирование блоков</a:t>
            </a:r>
            <a:endParaRPr lang="en-US" sz="1000" dirty="0">
              <a:solidFill>
                <a:srgbClr val="000000"/>
              </a:solidFill>
            </a:endParaRPr>
          </a:p>
          <a:p>
            <a:pPr>
              <a:lnSpc>
                <a:spcPct val="80000"/>
              </a:lnSpc>
              <a:buClr>
                <a:srgbClr val="A30B1A"/>
              </a:buClr>
              <a:buFont typeface="Wingdings" panose="05000000000000000000" pitchFamily="2" charset="2"/>
              <a:buChar char="n"/>
            </a:pPr>
            <a:r>
              <a:rPr lang="ru-RU" sz="1000" dirty="0" err="1">
                <a:solidFill>
                  <a:srgbClr val="000000"/>
                </a:solidFill>
              </a:rPr>
              <a:t>Хэширование</a:t>
            </a:r>
            <a:endParaRPr lang="en-US" sz="1000" dirty="0">
              <a:solidFill>
                <a:srgbClr val="000000"/>
              </a:solidFill>
            </a:endParaRPr>
          </a:p>
          <a:p>
            <a:pPr>
              <a:lnSpc>
                <a:spcPct val="80000"/>
              </a:lnSpc>
              <a:buClr>
                <a:srgbClr val="A30B1A"/>
              </a:buClr>
              <a:buFont typeface="Wingdings" panose="05000000000000000000" pitchFamily="2" charset="2"/>
              <a:buChar char="n"/>
            </a:pPr>
            <a:r>
              <a:rPr lang="ru-RU" sz="1000" dirty="0">
                <a:solidFill>
                  <a:srgbClr val="000000"/>
                </a:solidFill>
              </a:rPr>
              <a:t>Сжатие</a:t>
            </a:r>
            <a:endParaRPr lang="en-US" sz="1000" dirty="0">
              <a:solidFill>
                <a:srgbClr val="000000"/>
              </a:solidFill>
            </a:endParaRPr>
          </a:p>
        </p:txBody>
      </p:sp>
      <p:sp>
        <p:nvSpPr>
          <p:cNvPr id="81" name="Abgerundetes Rechteck 80"/>
          <p:cNvSpPr/>
          <p:nvPr>
            <p:custDataLst>
              <p:tags r:id="rId12"/>
            </p:custDataLst>
          </p:nvPr>
        </p:nvSpPr>
        <p:spPr bwMode="gray">
          <a:xfrm>
            <a:off x="7524750" y="1131889"/>
            <a:ext cx="1295400" cy="863600"/>
          </a:xfrm>
          <a:prstGeom prst="roundRect">
            <a:avLst>
              <a:gd name="adj" fmla="val 14697"/>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82800" rIns="54000" bIns="468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sz="1000" b="1" dirty="0">
                <a:solidFill>
                  <a:srgbClr val="000000"/>
                </a:solidFill>
              </a:rPr>
              <a:t>Front-end </a:t>
            </a:r>
            <a:r>
              <a:rPr lang="ru-RU" sz="1000" b="1" dirty="0" err="1" smtClean="0">
                <a:solidFill>
                  <a:srgbClr val="000000"/>
                </a:solidFill>
              </a:rPr>
              <a:t>проц</a:t>
            </a:r>
            <a:r>
              <a:rPr lang="en-US" sz="1000" b="1" dirty="0" smtClean="0">
                <a:solidFill>
                  <a:srgbClr val="000000"/>
                </a:solidFill>
              </a:rPr>
              <a:t>. </a:t>
            </a:r>
            <a:r>
              <a:rPr lang="en-US" sz="1000" b="1" dirty="0">
                <a:solidFill>
                  <a:srgbClr val="000000"/>
                </a:solidFill>
              </a:rPr>
              <a:t>x</a:t>
            </a:r>
          </a:p>
          <a:p>
            <a:pPr>
              <a:lnSpc>
                <a:spcPct val="80000"/>
              </a:lnSpc>
              <a:buClr>
                <a:srgbClr val="A30B1A"/>
              </a:buClr>
              <a:buFont typeface="Wingdings" panose="05000000000000000000" pitchFamily="2" charset="2"/>
              <a:buChar char="n"/>
            </a:pPr>
            <a:r>
              <a:rPr lang="ru-RU" sz="1000" dirty="0" smtClean="0">
                <a:solidFill>
                  <a:srgbClr val="000000"/>
                </a:solidFill>
              </a:rPr>
              <a:t>Формирование блоков</a:t>
            </a:r>
            <a:endParaRPr lang="en-US" sz="1000" dirty="0">
              <a:solidFill>
                <a:srgbClr val="000000"/>
              </a:solidFill>
            </a:endParaRPr>
          </a:p>
          <a:p>
            <a:pPr>
              <a:lnSpc>
                <a:spcPct val="80000"/>
              </a:lnSpc>
              <a:buClr>
                <a:srgbClr val="A30B1A"/>
              </a:buClr>
              <a:buFont typeface="Wingdings" panose="05000000000000000000" pitchFamily="2" charset="2"/>
              <a:buChar char="n"/>
            </a:pPr>
            <a:r>
              <a:rPr lang="ru-RU" sz="1000" dirty="0" err="1">
                <a:solidFill>
                  <a:srgbClr val="000000"/>
                </a:solidFill>
              </a:rPr>
              <a:t>Хэширование</a:t>
            </a:r>
            <a:endParaRPr lang="en-US" sz="1000" dirty="0">
              <a:solidFill>
                <a:srgbClr val="000000"/>
              </a:solidFill>
            </a:endParaRPr>
          </a:p>
          <a:p>
            <a:pPr>
              <a:lnSpc>
                <a:spcPct val="80000"/>
              </a:lnSpc>
              <a:buClr>
                <a:srgbClr val="A30B1A"/>
              </a:buClr>
              <a:buFont typeface="Wingdings" panose="05000000000000000000" pitchFamily="2" charset="2"/>
              <a:buChar char="n"/>
            </a:pPr>
            <a:r>
              <a:rPr lang="ru-RU" sz="1000" dirty="0">
                <a:solidFill>
                  <a:srgbClr val="000000"/>
                </a:solidFill>
              </a:rPr>
              <a:t>Сжатие</a:t>
            </a:r>
            <a:endParaRPr lang="en-US" sz="1000" dirty="0">
              <a:solidFill>
                <a:srgbClr val="000000"/>
              </a:solidFill>
            </a:endParaRPr>
          </a:p>
        </p:txBody>
      </p:sp>
      <p:sp>
        <p:nvSpPr>
          <p:cNvPr id="82" name="Rechteck 81"/>
          <p:cNvSpPr/>
          <p:nvPr/>
        </p:nvSpPr>
        <p:spPr bwMode="gray">
          <a:xfrm>
            <a:off x="7019925" y="1131889"/>
            <a:ext cx="504825" cy="863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anchor="ctr"/>
          <a:lstStyle/>
          <a:p>
            <a:pPr algn="ctr">
              <a:defRPr/>
            </a:pPr>
            <a:r>
              <a:rPr lang="en-US" sz="1400" b="1" dirty="0">
                <a:solidFill>
                  <a:srgbClr val="000000"/>
                </a:solidFill>
              </a:rPr>
              <a:t>…</a:t>
            </a:r>
          </a:p>
        </p:txBody>
      </p:sp>
      <p:sp>
        <p:nvSpPr>
          <p:cNvPr id="83" name="Abgerundetes Rechteck 82"/>
          <p:cNvSpPr/>
          <p:nvPr>
            <p:custDataLst>
              <p:tags r:id="rId13"/>
            </p:custDataLst>
          </p:nvPr>
        </p:nvSpPr>
        <p:spPr bwMode="gray">
          <a:xfrm>
            <a:off x="4751393" y="4011613"/>
            <a:ext cx="3671887" cy="792162"/>
          </a:xfrm>
          <a:prstGeom prst="roundRect">
            <a:avLst>
              <a:gd name="adj" fmla="val 16035"/>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82800" bIns="468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ru-RU" sz="1200" dirty="0">
                <a:solidFill>
                  <a:srgbClr val="FFFFFF"/>
                </a:solidFill>
              </a:rPr>
              <a:t>Внутренние массивы хранения данных</a:t>
            </a:r>
            <a:endParaRPr lang="en-US" sz="1200" dirty="0">
              <a:solidFill>
                <a:srgbClr val="FFFFFF"/>
              </a:solidFill>
            </a:endParaRPr>
          </a:p>
        </p:txBody>
      </p:sp>
      <p:sp>
        <p:nvSpPr>
          <p:cNvPr id="84" name="Zylinder 83"/>
          <p:cNvSpPr/>
          <p:nvPr/>
        </p:nvSpPr>
        <p:spPr bwMode="gray">
          <a:xfrm>
            <a:off x="4967288" y="4443425"/>
            <a:ext cx="360362" cy="217487"/>
          </a:xfrm>
          <a:prstGeom prst="can">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85" name="Zylinder 84"/>
          <p:cNvSpPr/>
          <p:nvPr/>
        </p:nvSpPr>
        <p:spPr bwMode="gray">
          <a:xfrm>
            <a:off x="5543555" y="4443425"/>
            <a:ext cx="360363" cy="217487"/>
          </a:xfrm>
          <a:prstGeom prst="can">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86" name="Zylinder 85"/>
          <p:cNvSpPr/>
          <p:nvPr/>
        </p:nvSpPr>
        <p:spPr bwMode="gray">
          <a:xfrm>
            <a:off x="6119813" y="4443425"/>
            <a:ext cx="360362" cy="217487"/>
          </a:xfrm>
          <a:prstGeom prst="can">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87" name="Zylinder 86"/>
          <p:cNvSpPr/>
          <p:nvPr/>
        </p:nvSpPr>
        <p:spPr bwMode="gray">
          <a:xfrm>
            <a:off x="6696086" y="4443425"/>
            <a:ext cx="360363" cy="217487"/>
          </a:xfrm>
          <a:prstGeom prst="can">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88" name="Zylinder 87"/>
          <p:cNvSpPr/>
          <p:nvPr/>
        </p:nvSpPr>
        <p:spPr bwMode="gray">
          <a:xfrm>
            <a:off x="7272338" y="4443425"/>
            <a:ext cx="360362" cy="217487"/>
          </a:xfrm>
          <a:prstGeom prst="can">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89" name="Zylinder 88"/>
          <p:cNvSpPr/>
          <p:nvPr/>
        </p:nvSpPr>
        <p:spPr bwMode="gray">
          <a:xfrm>
            <a:off x="7848624" y="4443425"/>
            <a:ext cx="360363" cy="217487"/>
          </a:xfrm>
          <a:prstGeom prst="can">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90" name="Gleichschenkliges Dreieck 89"/>
          <p:cNvSpPr/>
          <p:nvPr/>
        </p:nvSpPr>
        <p:spPr bwMode="gray">
          <a:xfrm flipV="1">
            <a:off x="4356100" y="3651262"/>
            <a:ext cx="4464050" cy="288925"/>
          </a:xfrm>
          <a:prstGeom prst="triangle">
            <a:avLst/>
          </a:prstGeom>
          <a:gradFill>
            <a:gsLst>
              <a:gs pos="0">
                <a:schemeClr val="bg2"/>
              </a:gs>
              <a:gs pos="50000">
                <a:schemeClr val="tx2">
                  <a:lumMod val="20000"/>
                  <a:lumOff val="80000"/>
                </a:schemeClr>
              </a:gs>
              <a:gs pos="100000">
                <a:schemeClr val="bg1"/>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a:lstStyle/>
          <a:p>
            <a:pPr algn="r">
              <a:defRPr/>
            </a:pPr>
            <a:endParaRPr lang="en-US" sz="1200" dirty="0">
              <a:solidFill>
                <a:srgbClr val="FFFFFF"/>
              </a:solidFill>
            </a:endParaRPr>
          </a:p>
        </p:txBody>
      </p:sp>
      <p:sp>
        <p:nvSpPr>
          <p:cNvPr id="91" name="Abgerundetes Rechteck 90"/>
          <p:cNvSpPr/>
          <p:nvPr>
            <p:custDataLst>
              <p:tags r:id="rId14"/>
            </p:custDataLst>
          </p:nvPr>
        </p:nvSpPr>
        <p:spPr bwMode="gray">
          <a:xfrm>
            <a:off x="4356100" y="2500315"/>
            <a:ext cx="1943100" cy="863600"/>
          </a:xfrm>
          <a:prstGeom prst="roundRect">
            <a:avLst>
              <a:gd name="adj" fmla="val 14697"/>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82800" rIns="54000" bIns="468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ru-RU" sz="1000" b="1">
                <a:solidFill>
                  <a:srgbClr val="000000"/>
                </a:solidFill>
              </a:rPr>
              <a:t>Сервер дедупликации</a:t>
            </a:r>
            <a:r>
              <a:rPr lang="en-US" sz="1000">
                <a:solidFill>
                  <a:srgbClr val="000000"/>
                </a:solidFill>
              </a:rPr>
              <a:t/>
            </a:r>
            <a:br>
              <a:rPr lang="en-US" sz="1000">
                <a:solidFill>
                  <a:srgbClr val="000000"/>
                </a:solidFill>
              </a:rPr>
            </a:br>
            <a:r>
              <a:rPr lang="ru-RU" sz="1000">
                <a:solidFill>
                  <a:srgbClr val="000000"/>
                </a:solidFill>
              </a:rPr>
              <a:t>Идентифицирует и хранит уникальные блоки</a:t>
            </a:r>
            <a:endParaRPr lang="en-US" sz="1000">
              <a:solidFill>
                <a:srgbClr val="000000"/>
              </a:solidFill>
            </a:endParaRPr>
          </a:p>
        </p:txBody>
      </p:sp>
      <p:sp>
        <p:nvSpPr>
          <p:cNvPr id="92" name="Abgerundetes Rechteck 91"/>
          <p:cNvSpPr/>
          <p:nvPr>
            <p:custDataLst>
              <p:tags r:id="rId15"/>
            </p:custDataLst>
          </p:nvPr>
        </p:nvSpPr>
        <p:spPr bwMode="gray">
          <a:xfrm>
            <a:off x="6877050" y="2500315"/>
            <a:ext cx="1943100" cy="863600"/>
          </a:xfrm>
          <a:prstGeom prst="roundRect">
            <a:avLst>
              <a:gd name="adj" fmla="val 14697"/>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82800" rIns="54000" bIns="468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ru-RU" sz="1000" b="1">
                <a:solidFill>
                  <a:srgbClr val="000000"/>
                </a:solidFill>
              </a:rPr>
              <a:t>Дежурный режим</a:t>
            </a:r>
            <a:r>
              <a:rPr lang="en-US" sz="1000" b="1">
                <a:solidFill>
                  <a:srgbClr val="000000"/>
                </a:solidFill>
              </a:rPr>
              <a:t/>
            </a:r>
            <a:br>
              <a:rPr lang="en-US" sz="1000" b="1">
                <a:solidFill>
                  <a:srgbClr val="000000"/>
                </a:solidFill>
              </a:rPr>
            </a:br>
            <a:r>
              <a:rPr lang="ru-RU" sz="1000" b="1">
                <a:solidFill>
                  <a:srgbClr val="000000"/>
                </a:solidFill>
              </a:rPr>
              <a:t>Сервер дедупликации</a:t>
            </a:r>
            <a:endParaRPr lang="en-US" sz="1000" b="1">
              <a:solidFill>
                <a:srgbClr val="000000"/>
              </a:solidFill>
            </a:endParaRPr>
          </a:p>
        </p:txBody>
      </p:sp>
      <p:sp>
        <p:nvSpPr>
          <p:cNvPr id="93" name="Rechteck 92"/>
          <p:cNvSpPr/>
          <p:nvPr/>
        </p:nvSpPr>
        <p:spPr bwMode="gray">
          <a:xfrm>
            <a:off x="6300788" y="2500315"/>
            <a:ext cx="576262" cy="8636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anchor="ctr"/>
          <a:lstStyle/>
          <a:p>
            <a:pPr algn="ctr">
              <a:defRPr/>
            </a:pPr>
            <a:r>
              <a:rPr lang="en-US" sz="1400" b="1" dirty="0">
                <a:solidFill>
                  <a:srgbClr val="000000"/>
                </a:solidFill>
              </a:rPr>
              <a:t>…</a:t>
            </a:r>
          </a:p>
        </p:txBody>
      </p:sp>
      <p:sp>
        <p:nvSpPr>
          <p:cNvPr id="96" name="Freihandform 95"/>
          <p:cNvSpPr/>
          <p:nvPr/>
        </p:nvSpPr>
        <p:spPr bwMode="gray">
          <a:xfrm>
            <a:off x="5003800" y="1995488"/>
            <a:ext cx="0" cy="504825"/>
          </a:xfrm>
          <a:custGeom>
            <a:avLst/>
            <a:gdLst>
              <a:gd name="connsiteX0" fmla="*/ 0 w 0"/>
              <a:gd name="connsiteY0" fmla="*/ 0 h 495300"/>
              <a:gd name="connsiteX1" fmla="*/ 0 w 0"/>
              <a:gd name="connsiteY1" fmla="*/ 495300 h 495300"/>
            </a:gdLst>
            <a:ahLst/>
            <a:cxnLst>
              <a:cxn ang="0">
                <a:pos x="connsiteX0" y="connsiteY0"/>
              </a:cxn>
              <a:cxn ang="0">
                <a:pos x="connsiteX1" y="connsiteY1"/>
              </a:cxn>
            </a:cxnLst>
            <a:rect l="l" t="t" r="r" b="b"/>
            <a:pathLst>
              <a:path h="495300">
                <a:moveTo>
                  <a:pt x="0" y="0"/>
                </a:moveTo>
                <a:lnTo>
                  <a:pt x="0" y="495300"/>
                </a:lnTo>
              </a:path>
            </a:pathLst>
          </a:custGeom>
          <a:ln w="1270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solidFill>
                <a:srgbClr val="000000"/>
              </a:solidFill>
            </a:endParaRPr>
          </a:p>
        </p:txBody>
      </p:sp>
      <p:sp>
        <p:nvSpPr>
          <p:cNvPr id="97" name="Freihandform 96"/>
          <p:cNvSpPr/>
          <p:nvPr/>
        </p:nvSpPr>
        <p:spPr bwMode="gray">
          <a:xfrm>
            <a:off x="5003807" y="1997087"/>
            <a:ext cx="1368425" cy="288925"/>
          </a:xfrm>
          <a:custGeom>
            <a:avLst/>
            <a:gdLst>
              <a:gd name="connsiteX0" fmla="*/ 1341120 w 1341120"/>
              <a:gd name="connsiteY0" fmla="*/ 0 h 289560"/>
              <a:gd name="connsiteX1" fmla="*/ 1341120 w 1341120"/>
              <a:gd name="connsiteY1" fmla="*/ 289560 h 289560"/>
              <a:gd name="connsiteX2" fmla="*/ 0 w 1341120"/>
              <a:gd name="connsiteY2" fmla="*/ 289560 h 289560"/>
            </a:gdLst>
            <a:ahLst/>
            <a:cxnLst>
              <a:cxn ang="0">
                <a:pos x="connsiteX0" y="connsiteY0"/>
              </a:cxn>
              <a:cxn ang="0">
                <a:pos x="connsiteX1" y="connsiteY1"/>
              </a:cxn>
              <a:cxn ang="0">
                <a:pos x="connsiteX2" y="connsiteY2"/>
              </a:cxn>
            </a:cxnLst>
            <a:rect l="l" t="t" r="r" b="b"/>
            <a:pathLst>
              <a:path w="1341120" h="289560">
                <a:moveTo>
                  <a:pt x="1341120" y="0"/>
                </a:moveTo>
                <a:lnTo>
                  <a:pt x="1341120" y="289560"/>
                </a:lnTo>
                <a:lnTo>
                  <a:pt x="0" y="289560"/>
                </a:lnTo>
              </a:path>
            </a:pathLst>
          </a:custGeom>
          <a:ln w="1270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solidFill>
                <a:srgbClr val="000000"/>
              </a:solidFill>
            </a:endParaRPr>
          </a:p>
        </p:txBody>
      </p:sp>
      <p:sp>
        <p:nvSpPr>
          <p:cNvPr id="98" name="Freihandform 97"/>
          <p:cNvSpPr/>
          <p:nvPr/>
        </p:nvSpPr>
        <p:spPr bwMode="gray">
          <a:xfrm>
            <a:off x="6372225" y="1995500"/>
            <a:ext cx="1800225" cy="288925"/>
          </a:xfrm>
          <a:custGeom>
            <a:avLst/>
            <a:gdLst>
              <a:gd name="connsiteX0" fmla="*/ 1836420 w 1836420"/>
              <a:gd name="connsiteY0" fmla="*/ 0 h 281940"/>
              <a:gd name="connsiteX1" fmla="*/ 1836420 w 1836420"/>
              <a:gd name="connsiteY1" fmla="*/ 281940 h 281940"/>
              <a:gd name="connsiteX2" fmla="*/ 0 w 1836420"/>
              <a:gd name="connsiteY2" fmla="*/ 281940 h 281940"/>
            </a:gdLst>
            <a:ahLst/>
            <a:cxnLst>
              <a:cxn ang="0">
                <a:pos x="connsiteX0" y="connsiteY0"/>
              </a:cxn>
              <a:cxn ang="0">
                <a:pos x="connsiteX1" y="connsiteY1"/>
              </a:cxn>
              <a:cxn ang="0">
                <a:pos x="connsiteX2" y="connsiteY2"/>
              </a:cxn>
            </a:cxnLst>
            <a:rect l="l" t="t" r="r" b="b"/>
            <a:pathLst>
              <a:path w="1836420" h="281940">
                <a:moveTo>
                  <a:pt x="1836420" y="0"/>
                </a:moveTo>
                <a:lnTo>
                  <a:pt x="1836420" y="281940"/>
                </a:lnTo>
                <a:lnTo>
                  <a:pt x="0" y="281940"/>
                </a:lnTo>
              </a:path>
            </a:pathLst>
          </a:custGeom>
          <a:ln w="1270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solidFill>
                <a:srgbClr val="000000"/>
              </a:solidFill>
            </a:endParaRPr>
          </a:p>
        </p:txBody>
      </p:sp>
    </p:spTree>
    <p:extLst>
      <p:ext uri="{BB962C8B-B14F-4D97-AF65-F5344CB8AC3E}">
        <p14:creationId xmlns:p14="http://schemas.microsoft.com/office/powerpoint/2010/main" val="2382549707"/>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fade">
                                      <p:cBhvr>
                                        <p:cTn id="7" dur="500"/>
                                        <p:tgtEl>
                                          <p:spTgt spid="77"/>
                                        </p:tgtEl>
                                      </p:cBhvr>
                                    </p:animEffect>
                                  </p:childTnLst>
                                </p:cTn>
                              </p:par>
                              <p:par>
                                <p:cTn id="8" presetID="10" presetClass="entr" presetSubtype="0" fill="hold" nodeType="withEffect">
                                  <p:stCondLst>
                                    <p:cond delay="0"/>
                                  </p:stCondLst>
                                  <p:childTnLst>
                                    <p:set>
                                      <p:cBhvr>
                                        <p:cTn id="9" dur="1" fill="hold">
                                          <p:stCondLst>
                                            <p:cond delay="0"/>
                                          </p:stCondLst>
                                        </p:cTn>
                                        <p:tgtEl>
                                          <p:spTgt spid="76"/>
                                        </p:tgtEl>
                                        <p:attrNameLst>
                                          <p:attrName>style.visibility</p:attrName>
                                        </p:attrNameLst>
                                      </p:cBhvr>
                                      <p:to>
                                        <p:strVal val="visible"/>
                                      </p:to>
                                    </p:set>
                                    <p:animEffect transition="in" filter="fade">
                                      <p:cBhvr>
                                        <p:cTn id="10" dur="500"/>
                                        <p:tgtEl>
                                          <p:spTgt spid="76"/>
                                        </p:tgtEl>
                                      </p:cBhvr>
                                    </p:animEffect>
                                  </p:childTnLst>
                                </p:cTn>
                              </p:par>
                              <p:par>
                                <p:cTn id="11" presetID="10"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9"/>
                                        </p:tgtEl>
                                        <p:attrNameLst>
                                          <p:attrName>style.visibility</p:attrName>
                                        </p:attrNameLst>
                                      </p:cBhvr>
                                      <p:to>
                                        <p:strVal val="visible"/>
                                      </p:to>
                                    </p:set>
                                    <p:animEffect transition="in" filter="fade">
                                      <p:cBhvr>
                                        <p:cTn id="16" dur="500"/>
                                        <p:tgtEl>
                                          <p:spTgt spid="7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0"/>
                                        </p:tgtEl>
                                        <p:attrNameLst>
                                          <p:attrName>style.visibility</p:attrName>
                                        </p:attrNameLst>
                                      </p:cBhvr>
                                      <p:to>
                                        <p:strVal val="visible"/>
                                      </p:to>
                                    </p:set>
                                    <p:animEffect transition="in" filter="fade">
                                      <p:cBhvr>
                                        <p:cTn id="19" dur="500"/>
                                        <p:tgtEl>
                                          <p:spTgt spid="8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1"/>
                                        </p:tgtEl>
                                        <p:attrNameLst>
                                          <p:attrName>style.visibility</p:attrName>
                                        </p:attrNameLst>
                                      </p:cBhvr>
                                      <p:to>
                                        <p:strVal val="visible"/>
                                      </p:to>
                                    </p:set>
                                    <p:animEffect transition="in" filter="fade">
                                      <p:cBhvr>
                                        <p:cTn id="22" dur="500"/>
                                        <p:tgtEl>
                                          <p:spTgt spid="8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82"/>
                                        </p:tgtEl>
                                        <p:attrNameLst>
                                          <p:attrName>style.visibility</p:attrName>
                                        </p:attrNameLst>
                                      </p:cBhvr>
                                      <p:to>
                                        <p:strVal val="visible"/>
                                      </p:to>
                                    </p:set>
                                    <p:animEffect transition="in" filter="fade">
                                      <p:cBhvr>
                                        <p:cTn id="25" dur="500"/>
                                        <p:tgtEl>
                                          <p:spTgt spid="8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83"/>
                                        </p:tgtEl>
                                        <p:attrNameLst>
                                          <p:attrName>style.visibility</p:attrName>
                                        </p:attrNameLst>
                                      </p:cBhvr>
                                      <p:to>
                                        <p:strVal val="visible"/>
                                      </p:to>
                                    </p:set>
                                    <p:animEffect transition="in" filter="fade">
                                      <p:cBhvr>
                                        <p:cTn id="28" dur="500"/>
                                        <p:tgtEl>
                                          <p:spTgt spid="8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84"/>
                                        </p:tgtEl>
                                        <p:attrNameLst>
                                          <p:attrName>style.visibility</p:attrName>
                                        </p:attrNameLst>
                                      </p:cBhvr>
                                      <p:to>
                                        <p:strVal val="visible"/>
                                      </p:to>
                                    </p:set>
                                    <p:animEffect transition="in" filter="fade">
                                      <p:cBhvr>
                                        <p:cTn id="31" dur="500"/>
                                        <p:tgtEl>
                                          <p:spTgt spid="8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5"/>
                                        </p:tgtEl>
                                        <p:attrNameLst>
                                          <p:attrName>style.visibility</p:attrName>
                                        </p:attrNameLst>
                                      </p:cBhvr>
                                      <p:to>
                                        <p:strVal val="visible"/>
                                      </p:to>
                                    </p:set>
                                    <p:animEffect transition="in" filter="fade">
                                      <p:cBhvr>
                                        <p:cTn id="34" dur="500"/>
                                        <p:tgtEl>
                                          <p:spTgt spid="8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86"/>
                                        </p:tgtEl>
                                        <p:attrNameLst>
                                          <p:attrName>style.visibility</p:attrName>
                                        </p:attrNameLst>
                                      </p:cBhvr>
                                      <p:to>
                                        <p:strVal val="visible"/>
                                      </p:to>
                                    </p:set>
                                    <p:animEffect transition="in" filter="fade">
                                      <p:cBhvr>
                                        <p:cTn id="37" dur="500"/>
                                        <p:tgtEl>
                                          <p:spTgt spid="8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87"/>
                                        </p:tgtEl>
                                        <p:attrNameLst>
                                          <p:attrName>style.visibility</p:attrName>
                                        </p:attrNameLst>
                                      </p:cBhvr>
                                      <p:to>
                                        <p:strVal val="visible"/>
                                      </p:to>
                                    </p:set>
                                    <p:animEffect transition="in" filter="fade">
                                      <p:cBhvr>
                                        <p:cTn id="40" dur="500"/>
                                        <p:tgtEl>
                                          <p:spTgt spid="8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88"/>
                                        </p:tgtEl>
                                        <p:attrNameLst>
                                          <p:attrName>style.visibility</p:attrName>
                                        </p:attrNameLst>
                                      </p:cBhvr>
                                      <p:to>
                                        <p:strVal val="visible"/>
                                      </p:to>
                                    </p:set>
                                    <p:animEffect transition="in" filter="fade">
                                      <p:cBhvr>
                                        <p:cTn id="43" dur="500"/>
                                        <p:tgtEl>
                                          <p:spTgt spid="88"/>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89"/>
                                        </p:tgtEl>
                                        <p:attrNameLst>
                                          <p:attrName>style.visibility</p:attrName>
                                        </p:attrNameLst>
                                      </p:cBhvr>
                                      <p:to>
                                        <p:strVal val="visible"/>
                                      </p:to>
                                    </p:set>
                                    <p:animEffect transition="in" filter="fade">
                                      <p:cBhvr>
                                        <p:cTn id="46" dur="500"/>
                                        <p:tgtEl>
                                          <p:spTgt spid="8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90"/>
                                        </p:tgtEl>
                                        <p:attrNameLst>
                                          <p:attrName>style.visibility</p:attrName>
                                        </p:attrNameLst>
                                      </p:cBhvr>
                                      <p:to>
                                        <p:strVal val="visible"/>
                                      </p:to>
                                    </p:set>
                                    <p:animEffect transition="in" filter="fade">
                                      <p:cBhvr>
                                        <p:cTn id="49" dur="500"/>
                                        <p:tgtEl>
                                          <p:spTgt spid="9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91"/>
                                        </p:tgtEl>
                                        <p:attrNameLst>
                                          <p:attrName>style.visibility</p:attrName>
                                        </p:attrNameLst>
                                      </p:cBhvr>
                                      <p:to>
                                        <p:strVal val="visible"/>
                                      </p:to>
                                    </p:set>
                                    <p:animEffect transition="in" filter="fade">
                                      <p:cBhvr>
                                        <p:cTn id="52" dur="500"/>
                                        <p:tgtEl>
                                          <p:spTgt spid="9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92"/>
                                        </p:tgtEl>
                                        <p:attrNameLst>
                                          <p:attrName>style.visibility</p:attrName>
                                        </p:attrNameLst>
                                      </p:cBhvr>
                                      <p:to>
                                        <p:strVal val="visible"/>
                                      </p:to>
                                    </p:set>
                                    <p:animEffect transition="in" filter="fade">
                                      <p:cBhvr>
                                        <p:cTn id="55" dur="500"/>
                                        <p:tgtEl>
                                          <p:spTgt spid="9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93"/>
                                        </p:tgtEl>
                                        <p:attrNameLst>
                                          <p:attrName>style.visibility</p:attrName>
                                        </p:attrNameLst>
                                      </p:cBhvr>
                                      <p:to>
                                        <p:strVal val="visible"/>
                                      </p:to>
                                    </p:set>
                                    <p:animEffect transition="in" filter="fade">
                                      <p:cBhvr>
                                        <p:cTn id="58" dur="500"/>
                                        <p:tgtEl>
                                          <p:spTgt spid="93"/>
                                        </p:tgtEl>
                                      </p:cBhvr>
                                    </p:animEffect>
                                  </p:childTnLst>
                                </p:cTn>
                              </p:par>
                              <p:par>
                                <p:cTn id="59" presetID="10" presetClass="entr" presetSubtype="0" fill="hold" nodeType="withEffect">
                                  <p:stCondLst>
                                    <p:cond delay="0"/>
                                  </p:stCondLst>
                                  <p:childTnLst>
                                    <p:set>
                                      <p:cBhvr>
                                        <p:cTn id="60" dur="1" fill="hold">
                                          <p:stCondLst>
                                            <p:cond delay="0"/>
                                          </p:stCondLst>
                                        </p:cTn>
                                        <p:tgtEl>
                                          <p:spTgt spid="96"/>
                                        </p:tgtEl>
                                        <p:attrNameLst>
                                          <p:attrName>style.visibility</p:attrName>
                                        </p:attrNameLst>
                                      </p:cBhvr>
                                      <p:to>
                                        <p:strVal val="visible"/>
                                      </p:to>
                                    </p:set>
                                    <p:animEffect transition="in" filter="fade">
                                      <p:cBhvr>
                                        <p:cTn id="61" dur="500"/>
                                        <p:tgtEl>
                                          <p:spTgt spid="96"/>
                                        </p:tgtEl>
                                      </p:cBhvr>
                                    </p:animEffect>
                                  </p:childTnLst>
                                </p:cTn>
                              </p:par>
                              <p:par>
                                <p:cTn id="62" presetID="10" presetClass="entr" presetSubtype="0" fill="hold" nodeType="withEffect">
                                  <p:stCondLst>
                                    <p:cond delay="0"/>
                                  </p:stCondLst>
                                  <p:childTnLst>
                                    <p:set>
                                      <p:cBhvr>
                                        <p:cTn id="63" dur="1" fill="hold">
                                          <p:stCondLst>
                                            <p:cond delay="0"/>
                                          </p:stCondLst>
                                        </p:cTn>
                                        <p:tgtEl>
                                          <p:spTgt spid="97"/>
                                        </p:tgtEl>
                                        <p:attrNameLst>
                                          <p:attrName>style.visibility</p:attrName>
                                        </p:attrNameLst>
                                      </p:cBhvr>
                                      <p:to>
                                        <p:strVal val="visible"/>
                                      </p:to>
                                    </p:set>
                                    <p:animEffect transition="in" filter="fade">
                                      <p:cBhvr>
                                        <p:cTn id="64" dur="500"/>
                                        <p:tgtEl>
                                          <p:spTgt spid="97"/>
                                        </p:tgtEl>
                                      </p:cBhvr>
                                    </p:animEffect>
                                  </p:childTnLst>
                                </p:cTn>
                              </p:par>
                              <p:par>
                                <p:cTn id="65" presetID="10" presetClass="entr" presetSubtype="0" fill="hold" nodeType="withEffect">
                                  <p:stCondLst>
                                    <p:cond delay="0"/>
                                  </p:stCondLst>
                                  <p:childTnLst>
                                    <p:set>
                                      <p:cBhvr>
                                        <p:cTn id="66" dur="1" fill="hold">
                                          <p:stCondLst>
                                            <p:cond delay="0"/>
                                          </p:stCondLst>
                                        </p:cTn>
                                        <p:tgtEl>
                                          <p:spTgt spid="98"/>
                                        </p:tgtEl>
                                        <p:attrNameLst>
                                          <p:attrName>style.visibility</p:attrName>
                                        </p:attrNameLst>
                                      </p:cBhvr>
                                      <p:to>
                                        <p:strVal val="visible"/>
                                      </p:to>
                                    </p:set>
                                    <p:animEffect transition="in" filter="fade">
                                      <p:cBhvr>
                                        <p:cTn id="67"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80" grpId="0" animBg="1"/>
      <p:bldP spid="81" grpId="0" animBg="1"/>
      <p:bldP spid="82" grpId="0"/>
      <p:bldP spid="83" grpId="0" animBg="1"/>
      <p:bldP spid="84" grpId="0" animBg="1"/>
      <p:bldP spid="85" grpId="0" animBg="1"/>
      <p:bldP spid="86" grpId="0" animBg="1"/>
      <p:bldP spid="87" grpId="0" animBg="1"/>
      <p:bldP spid="88" grpId="0" animBg="1"/>
      <p:bldP spid="89" grpId="0" animBg="1"/>
      <p:bldP spid="90" grpId="0" animBg="1"/>
      <p:bldP spid="91" grpId="0" animBg="1"/>
      <p:bldP spid="92" grpId="0" animBg="1"/>
      <p:bldP spid="9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Auf der gleichen Seite des Rechtecks liegende Ecken abrunden 81"/>
          <p:cNvSpPr/>
          <p:nvPr>
            <p:custDataLst>
              <p:tags r:id="rId2"/>
            </p:custDataLst>
          </p:nvPr>
        </p:nvSpPr>
        <p:spPr bwMode="gray">
          <a:xfrm>
            <a:off x="16525328" y="738773"/>
            <a:ext cx="1944084" cy="3744912"/>
          </a:xfrm>
          <a:prstGeom prst="round2SameRect">
            <a:avLst>
              <a:gd name="adj1" fmla="val 0"/>
              <a:gd name="adj2" fmla="val 0"/>
            </a:avLst>
          </a:prstGeom>
          <a:gradFill flip="none" rotWithShape="1">
            <a:gsLst>
              <a:gs pos="0">
                <a:schemeClr val="bg2"/>
              </a:gs>
              <a:gs pos="50000">
                <a:schemeClr val="bg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tIns="46800" rIns="90000" rtlCol="0" anchor="t" anchorCtr="0"/>
          <a:lstStyle/>
          <a:p>
            <a:pPr>
              <a:buClr>
                <a:srgbClr val="A30B1A"/>
              </a:buClr>
            </a:pPr>
            <a:r>
              <a:rPr lang="en-US" sz="1400" dirty="0" smtClean="0">
                <a:solidFill>
                  <a:srgbClr val="FF0000"/>
                </a:solidFill>
              </a:rPr>
              <a:t>Fast backup – fast restore</a:t>
            </a:r>
            <a:endParaRPr lang="en-US" sz="1400" dirty="0">
              <a:solidFill>
                <a:srgbClr val="FF0000"/>
              </a:solidFill>
            </a:endParaRPr>
          </a:p>
        </p:txBody>
      </p:sp>
      <p:sp>
        <p:nvSpPr>
          <p:cNvPr id="143" name="Auf der gleichen Seite des Rechtecks liegende Ecken abrunden 142"/>
          <p:cNvSpPr/>
          <p:nvPr>
            <p:custDataLst>
              <p:tags r:id="rId3"/>
            </p:custDataLst>
          </p:nvPr>
        </p:nvSpPr>
        <p:spPr bwMode="gray">
          <a:xfrm>
            <a:off x="16638962" y="1315557"/>
            <a:ext cx="1699265" cy="3168155"/>
          </a:xfrm>
          <a:prstGeom prst="round2SameRect">
            <a:avLst>
              <a:gd name="adj1" fmla="val 0"/>
              <a:gd name="adj2" fmla="val 0"/>
            </a:avLst>
          </a:prstGeom>
          <a:solidFill>
            <a:schemeClr val="bg1"/>
          </a:solidFill>
          <a:ln w="9525">
            <a:gradFill>
              <a:gsLst>
                <a:gs pos="0">
                  <a:schemeClr val="accent1"/>
                </a:gs>
                <a:gs pos="50000">
                  <a:schemeClr val="accent1">
                    <a:lumMod val="20000"/>
                    <a:lumOff val="80000"/>
                  </a:schemeClr>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tIns="46800" rtlCol="0" anchor="t" anchorCtr="0"/>
          <a:lstStyle/>
          <a:p>
            <a:pPr marL="176213" indent="-176213">
              <a:spcBef>
                <a:spcPts val="300"/>
              </a:spcBef>
              <a:buClr>
                <a:srgbClr val="A30B1A"/>
              </a:buClr>
            </a:pPr>
            <a:endParaRPr lang="en-US" sz="1600" dirty="0" smtClean="0">
              <a:solidFill>
                <a:srgbClr val="000000"/>
              </a:solidFill>
            </a:endParaRPr>
          </a:p>
        </p:txBody>
      </p:sp>
      <p:graphicFrame>
        <p:nvGraphicFramePr>
          <p:cNvPr id="52" name="Objekt 51" hidden="1"/>
          <p:cNvGraphicFramePr>
            <a:graphicFrameLocks noChangeAspect="1"/>
          </p:cNvGraphicFramePr>
          <p:nvPr>
            <p:custDataLst>
              <p:tags r:id="rId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4" name="think-cell Folie" r:id="rId59" imgW="360" imgH="360" progId="TCLayout.ActiveDocument.1">
                  <p:embed/>
                </p:oleObj>
              </mc:Choice>
              <mc:Fallback>
                <p:oleObj name="think-cell Folie" r:id="rId59" imgW="360" imgH="360" progId="TCLayout.ActiveDocument.1">
                  <p:embed/>
                  <p:pic>
                    <p:nvPicPr>
                      <p:cNvPr id="0" name=""/>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bwMode="gray"/>
        <p:txBody>
          <a:bodyPr/>
          <a:lstStyle/>
          <a:p>
            <a:r>
              <a:rPr lang="ru-RU" dirty="0" smtClean="0">
                <a:latin typeface="+mj-lt"/>
              </a:rPr>
              <a:t>Различные варианты защиты данных</a:t>
            </a:r>
            <a:endParaRPr lang="en-US" dirty="0">
              <a:latin typeface="+mj-lt"/>
            </a:endParaRPr>
          </a:p>
        </p:txBody>
      </p:sp>
      <p:sp>
        <p:nvSpPr>
          <p:cNvPr id="59" name="Auf der gleichen Seite des Rechtecks liegende Ecken abrunden 58"/>
          <p:cNvSpPr/>
          <p:nvPr>
            <p:custDataLst>
              <p:tags r:id="rId5"/>
            </p:custDataLst>
          </p:nvPr>
        </p:nvSpPr>
        <p:spPr bwMode="gray">
          <a:xfrm>
            <a:off x="14293080" y="739451"/>
            <a:ext cx="2088232" cy="3744912"/>
          </a:xfrm>
          <a:prstGeom prst="round2SameRect">
            <a:avLst>
              <a:gd name="adj1" fmla="val 0"/>
              <a:gd name="adj2" fmla="val 0"/>
            </a:avLst>
          </a:prstGeom>
          <a:gradFill flip="none" rotWithShape="1">
            <a:gsLst>
              <a:gs pos="0">
                <a:schemeClr val="bg2"/>
              </a:gs>
              <a:gs pos="50000">
                <a:schemeClr val="bg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tIns="46800" rIns="90000" rtlCol="0" anchor="t" anchorCtr="0"/>
          <a:lstStyle/>
          <a:p>
            <a:pPr>
              <a:buClr>
                <a:srgbClr val="A30B1A"/>
              </a:buClr>
            </a:pPr>
            <a:r>
              <a:rPr lang="en-US" sz="1400" dirty="0" smtClean="0">
                <a:solidFill>
                  <a:srgbClr val="FF0000"/>
                </a:solidFill>
              </a:rPr>
              <a:t>Synchronous </a:t>
            </a:r>
            <a:br>
              <a:rPr lang="en-US" sz="1400" dirty="0" smtClean="0">
                <a:solidFill>
                  <a:srgbClr val="FF0000"/>
                </a:solidFill>
              </a:rPr>
            </a:br>
            <a:r>
              <a:rPr lang="en-US" sz="1400" dirty="0" smtClean="0">
                <a:solidFill>
                  <a:srgbClr val="FF0000"/>
                </a:solidFill>
              </a:rPr>
              <a:t>mirroring</a:t>
            </a:r>
          </a:p>
        </p:txBody>
      </p:sp>
      <p:sp>
        <p:nvSpPr>
          <p:cNvPr id="69" name="Auf der gleichen Seite des Rechtecks liegende Ecken abrunden 68"/>
          <p:cNvSpPr/>
          <p:nvPr>
            <p:custDataLst>
              <p:tags r:id="rId6"/>
            </p:custDataLst>
          </p:nvPr>
        </p:nvSpPr>
        <p:spPr bwMode="gray">
          <a:xfrm>
            <a:off x="14365220" y="1316208"/>
            <a:ext cx="1944084" cy="3168155"/>
          </a:xfrm>
          <a:prstGeom prst="round2SameRect">
            <a:avLst>
              <a:gd name="adj1" fmla="val 0"/>
              <a:gd name="adj2" fmla="val 0"/>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46800" rtlCol="0" anchor="t" anchorCtr="0"/>
          <a:lstStyle/>
          <a:p>
            <a:pPr marL="176213" indent="-176213">
              <a:spcBef>
                <a:spcPts val="300"/>
              </a:spcBef>
              <a:buClr>
                <a:srgbClr val="A30B1A"/>
              </a:buClr>
            </a:pPr>
            <a:endParaRPr lang="en-US" sz="1600" dirty="0" smtClean="0">
              <a:solidFill>
                <a:srgbClr val="000000"/>
              </a:solidFill>
            </a:endParaRPr>
          </a:p>
        </p:txBody>
      </p:sp>
      <p:sp>
        <p:nvSpPr>
          <p:cNvPr id="72" name="Auf der gleichen Seite des Rechtecks liegende Ecken abrunden 71"/>
          <p:cNvSpPr/>
          <p:nvPr>
            <p:custDataLst>
              <p:tags r:id="rId7"/>
            </p:custDataLst>
          </p:nvPr>
        </p:nvSpPr>
        <p:spPr bwMode="gray">
          <a:xfrm>
            <a:off x="14436720" y="1387541"/>
            <a:ext cx="792392" cy="3096145"/>
          </a:xfrm>
          <a:prstGeom prst="round2SameRect">
            <a:avLst>
              <a:gd name="adj1" fmla="val 11024"/>
              <a:gd name="adj2" fmla="val 0"/>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46800" rIns="54000" rtlCol="0" anchor="t" anchorCtr="0"/>
          <a:lstStyle/>
          <a:p>
            <a:pPr>
              <a:buClr>
                <a:srgbClr val="A30B1A"/>
              </a:buClr>
            </a:pPr>
            <a:r>
              <a:rPr lang="en-US" sz="1200" dirty="0" smtClean="0">
                <a:solidFill>
                  <a:srgbClr val="FF0000"/>
                </a:solidFill>
              </a:rPr>
              <a:t>Site A</a:t>
            </a:r>
          </a:p>
        </p:txBody>
      </p:sp>
      <p:sp>
        <p:nvSpPr>
          <p:cNvPr id="73" name="Auf der gleichen Seite des Rechtecks liegende Ecken abrunden 72"/>
          <p:cNvSpPr/>
          <p:nvPr>
            <p:custDataLst>
              <p:tags r:id="rId8"/>
            </p:custDataLst>
          </p:nvPr>
        </p:nvSpPr>
        <p:spPr bwMode="gray">
          <a:xfrm>
            <a:off x="15445208" y="1387541"/>
            <a:ext cx="792392" cy="3096145"/>
          </a:xfrm>
          <a:prstGeom prst="round2SameRect">
            <a:avLst>
              <a:gd name="adj1" fmla="val 11024"/>
              <a:gd name="adj2" fmla="val 0"/>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46800" rIns="54000" rtlCol="0" anchor="t" anchorCtr="0"/>
          <a:lstStyle/>
          <a:p>
            <a:pPr>
              <a:buClr>
                <a:srgbClr val="A30B1A"/>
              </a:buClr>
            </a:pPr>
            <a:r>
              <a:rPr lang="en-US" sz="1200" dirty="0" smtClean="0">
                <a:solidFill>
                  <a:srgbClr val="FF0000"/>
                </a:solidFill>
              </a:rPr>
              <a:t>Site B</a:t>
            </a:r>
          </a:p>
        </p:txBody>
      </p:sp>
      <p:sp>
        <p:nvSpPr>
          <p:cNvPr id="84" name="Rechteck 83"/>
          <p:cNvSpPr/>
          <p:nvPr/>
        </p:nvSpPr>
        <p:spPr bwMode="gray">
          <a:xfrm flipH="1">
            <a:off x="14500251" y="1819624"/>
            <a:ext cx="1684302" cy="1125841"/>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144000" rIns="144000" rtlCol="0" anchor="t" anchorCtr="0"/>
          <a:lstStyle/>
          <a:p>
            <a:pPr algn="ctr">
              <a:buClr>
                <a:srgbClr val="A30B1A"/>
              </a:buClr>
            </a:pPr>
            <a:r>
              <a:rPr lang="en-US" sz="1200" dirty="0" smtClean="0">
                <a:solidFill>
                  <a:srgbClr val="FFFFFF"/>
                </a:solidFill>
              </a:rPr>
              <a:t>ETERNUS CS8000</a:t>
            </a:r>
          </a:p>
          <a:p>
            <a:pPr algn="ctr">
              <a:buClr>
                <a:srgbClr val="A30B1A"/>
              </a:buClr>
            </a:pPr>
            <a:endParaRPr lang="en-US" sz="1200" b="1" dirty="0" smtClean="0">
              <a:solidFill>
                <a:srgbClr val="FFFFFF"/>
              </a:solidFill>
            </a:endParaRPr>
          </a:p>
          <a:p>
            <a:pPr algn="ctr">
              <a:buClr>
                <a:srgbClr val="A30B1A"/>
              </a:buClr>
            </a:pPr>
            <a:r>
              <a:rPr lang="en-US" sz="1200" b="1" dirty="0" smtClean="0">
                <a:solidFill>
                  <a:srgbClr val="FFFFFF"/>
                </a:solidFill>
              </a:rPr>
              <a:t>Cache Mirror</a:t>
            </a:r>
          </a:p>
        </p:txBody>
      </p:sp>
      <p:grpSp>
        <p:nvGrpSpPr>
          <p:cNvPr id="85" name="Gruppieren 53"/>
          <p:cNvGrpSpPr/>
          <p:nvPr/>
        </p:nvGrpSpPr>
        <p:grpSpPr bwMode="gray">
          <a:xfrm rot="16200000">
            <a:off x="14597266" y="2503726"/>
            <a:ext cx="360000" cy="360000"/>
            <a:chOff x="2015526" y="1058863"/>
            <a:chExt cx="432000" cy="432000"/>
          </a:xfrm>
        </p:grpSpPr>
        <p:sp>
          <p:nvSpPr>
            <p:cNvPr id="86" name="Ellipse 85"/>
            <p:cNvSpPr/>
            <p:nvPr/>
          </p:nvSpPr>
          <p:spPr bwMode="gray">
            <a:xfrm>
              <a:off x="2015526" y="1058863"/>
              <a:ext cx="432000" cy="432000"/>
            </a:xfrm>
            <a:prstGeom prst="ellipse">
              <a:avLst/>
            </a:prstGeom>
            <a:noFill/>
            <a:ln w="2857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nchorCtr="0"/>
            <a:lstStyle/>
            <a:p>
              <a:pPr marL="85725" algn="ctr">
                <a:buClr>
                  <a:srgbClr val="A30B1A"/>
                </a:buClr>
              </a:pPr>
              <a:endParaRPr lang="en-US" sz="2400" b="1" dirty="0" smtClean="0">
                <a:solidFill>
                  <a:srgbClr val="FFFFFF"/>
                </a:solidFill>
              </a:endParaRPr>
            </a:p>
          </p:txBody>
        </p:sp>
        <p:sp>
          <p:nvSpPr>
            <p:cNvPr id="90" name="Ellipse 89"/>
            <p:cNvSpPr/>
            <p:nvPr/>
          </p:nvSpPr>
          <p:spPr bwMode="gray">
            <a:xfrm>
              <a:off x="2051650" y="1094863"/>
              <a:ext cx="360000" cy="360000"/>
            </a:xfrm>
            <a:prstGeom prst="ellipse">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72000" rtlCol="0" anchor="ctr" anchorCtr="0"/>
            <a:lstStyle/>
            <a:p>
              <a:pPr algn="ctr">
                <a:buClr>
                  <a:srgbClr val="A30B1A"/>
                </a:buClr>
              </a:pPr>
              <a:r>
                <a:rPr lang="en-US" b="1" dirty="0" smtClean="0">
                  <a:solidFill>
                    <a:srgbClr val="FFFFFF"/>
                  </a:solidFill>
                  <a:sym typeface="Wingdings"/>
                </a:rPr>
                <a:t></a:t>
              </a:r>
              <a:endParaRPr lang="en-US" b="1" dirty="0" smtClean="0">
                <a:solidFill>
                  <a:srgbClr val="FFFFFF"/>
                </a:solidFill>
              </a:endParaRPr>
            </a:p>
          </p:txBody>
        </p:sp>
      </p:grpSp>
      <p:grpSp>
        <p:nvGrpSpPr>
          <p:cNvPr id="91" name="Gruppieren 53"/>
          <p:cNvGrpSpPr/>
          <p:nvPr/>
        </p:nvGrpSpPr>
        <p:grpSpPr bwMode="gray">
          <a:xfrm rot="5400000" flipH="1">
            <a:off x="15699625" y="2503725"/>
            <a:ext cx="360000" cy="360000"/>
            <a:chOff x="2015526" y="1058863"/>
            <a:chExt cx="432000" cy="432000"/>
          </a:xfrm>
        </p:grpSpPr>
        <p:sp>
          <p:nvSpPr>
            <p:cNvPr id="92" name="Ellipse 91"/>
            <p:cNvSpPr/>
            <p:nvPr/>
          </p:nvSpPr>
          <p:spPr bwMode="gray">
            <a:xfrm>
              <a:off x="2015526" y="1058863"/>
              <a:ext cx="432000" cy="432000"/>
            </a:xfrm>
            <a:prstGeom prst="ellipse">
              <a:avLst/>
            </a:prstGeom>
            <a:noFill/>
            <a:ln w="2857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nchorCtr="0"/>
            <a:lstStyle/>
            <a:p>
              <a:pPr marL="85725" algn="ctr">
                <a:buClr>
                  <a:srgbClr val="A30B1A"/>
                </a:buClr>
              </a:pPr>
              <a:endParaRPr lang="en-US" sz="2400" b="1" dirty="0" smtClean="0">
                <a:solidFill>
                  <a:srgbClr val="FFFFFF"/>
                </a:solidFill>
              </a:endParaRPr>
            </a:p>
          </p:txBody>
        </p:sp>
        <p:sp>
          <p:nvSpPr>
            <p:cNvPr id="94" name="Ellipse 93"/>
            <p:cNvSpPr/>
            <p:nvPr/>
          </p:nvSpPr>
          <p:spPr bwMode="gray">
            <a:xfrm>
              <a:off x="2051650" y="1094863"/>
              <a:ext cx="360000" cy="360000"/>
            </a:xfrm>
            <a:prstGeom prst="ellipse">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72000" rtlCol="0" anchor="ctr" anchorCtr="0"/>
            <a:lstStyle/>
            <a:p>
              <a:pPr algn="ctr">
                <a:buClr>
                  <a:srgbClr val="A30B1A"/>
                </a:buClr>
              </a:pPr>
              <a:r>
                <a:rPr lang="en-US" b="1" dirty="0" smtClean="0">
                  <a:solidFill>
                    <a:srgbClr val="FFFFFF"/>
                  </a:solidFill>
                  <a:sym typeface="Wingdings"/>
                </a:rPr>
                <a:t></a:t>
              </a:r>
              <a:endParaRPr lang="en-US" b="1" dirty="0" smtClean="0">
                <a:solidFill>
                  <a:srgbClr val="FFFFFF"/>
                </a:solidFill>
              </a:endParaRPr>
            </a:p>
          </p:txBody>
        </p:sp>
      </p:grpSp>
      <p:grpSp>
        <p:nvGrpSpPr>
          <p:cNvPr id="54" name="Gruppieren 53"/>
          <p:cNvGrpSpPr/>
          <p:nvPr/>
        </p:nvGrpSpPr>
        <p:grpSpPr bwMode="gray">
          <a:xfrm>
            <a:off x="14597690" y="3655870"/>
            <a:ext cx="504000" cy="504000"/>
            <a:chOff x="2015760" y="3795990"/>
            <a:chExt cx="504000" cy="504000"/>
          </a:xfrm>
        </p:grpSpPr>
        <p:sp>
          <p:nvSpPr>
            <p:cNvPr id="55" name="Abgerundetes Rechteck 54"/>
            <p:cNvSpPr/>
            <p:nvPr>
              <p:custDataLst>
                <p:tags r:id="rId55"/>
              </p:custDataLst>
            </p:nvPr>
          </p:nvSpPr>
          <p:spPr bwMode="gray">
            <a:xfrm>
              <a:off x="2015760" y="3795990"/>
              <a:ext cx="504000" cy="504000"/>
            </a:xfrm>
            <a:prstGeom prst="roundRect">
              <a:avLst>
                <a:gd name="adj" fmla="val 25198"/>
              </a:avLst>
            </a:prstGeom>
            <a:solidFill>
              <a:schemeClr val="bg1"/>
            </a:solidFill>
            <a:ln w="19050" cap="rnd">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lstStyle/>
            <a:p>
              <a:pPr marL="85725" algn="ctr">
                <a:buClr>
                  <a:srgbClr val="A30B1A"/>
                </a:buClr>
              </a:pPr>
              <a:endParaRPr lang="en-US" sz="2400" b="1" dirty="0" smtClean="0">
                <a:solidFill>
                  <a:srgbClr val="FFFFFF"/>
                </a:solidFill>
              </a:endParaRPr>
            </a:p>
          </p:txBody>
        </p:sp>
        <p:sp>
          <p:nvSpPr>
            <p:cNvPr id="56" name="Abgerundetes Rechteck 55"/>
            <p:cNvSpPr/>
            <p:nvPr>
              <p:custDataLst>
                <p:tags r:id="rId56"/>
              </p:custDataLst>
            </p:nvPr>
          </p:nvSpPr>
          <p:spPr bwMode="gray">
            <a:xfrm>
              <a:off x="2043522" y="3824021"/>
              <a:ext cx="448000" cy="447938"/>
            </a:xfrm>
            <a:prstGeom prst="roundRect">
              <a:avLst>
                <a:gd name="adj" fmla="val 28352"/>
              </a:avLst>
            </a:prstGeom>
            <a:solidFill>
              <a:schemeClr val="tx2">
                <a:lumMod val="60000"/>
                <a:lumOff val="4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t" anchorCtr="0"/>
            <a:lstStyle/>
            <a:p>
              <a:pPr>
                <a:buClr>
                  <a:srgbClr val="A30B1A"/>
                </a:buClr>
              </a:pPr>
              <a:endParaRPr lang="en-US" sz="900" dirty="0" smtClean="0">
                <a:solidFill>
                  <a:srgbClr val="FFFFFF"/>
                </a:solidFill>
              </a:endParaRPr>
            </a:p>
          </p:txBody>
        </p:sp>
        <p:sp>
          <p:nvSpPr>
            <p:cNvPr id="57" name="Flussdiagramm: Datenträger mit sequenziellem Zugriff 56"/>
            <p:cNvSpPr/>
            <p:nvPr/>
          </p:nvSpPr>
          <p:spPr bwMode="gray">
            <a:xfrm>
              <a:off x="2123522" y="3903990"/>
              <a:ext cx="288000" cy="288000"/>
            </a:xfrm>
            <a:prstGeom prst="flowChartMagneticTape">
              <a:avLst/>
            </a:prstGeom>
            <a:noFill/>
            <a:ln w="28575" cap="flat" cmpd="sng" algn="ctr">
              <a:solidFill>
                <a:schemeClr val="bg1"/>
              </a:solidFill>
              <a:prstDash val="solid"/>
            </a:ln>
            <a:effectLst/>
          </p:spPr>
          <p:txBody>
            <a:bodyPr rtlCol="0" anchor="t" anchorCtr="0"/>
            <a:lstStyle/>
            <a:p>
              <a:pPr algn="ctr">
                <a:defRPr/>
              </a:pPr>
              <a:endParaRPr lang="en-US" sz="900" kern="0" dirty="0" smtClean="0">
                <a:solidFill>
                  <a:srgbClr val="000000"/>
                </a:solidFill>
              </a:endParaRPr>
            </a:p>
          </p:txBody>
        </p:sp>
      </p:grpSp>
      <p:grpSp>
        <p:nvGrpSpPr>
          <p:cNvPr id="60" name="Gruppieren 59"/>
          <p:cNvGrpSpPr/>
          <p:nvPr/>
        </p:nvGrpSpPr>
        <p:grpSpPr bwMode="gray">
          <a:xfrm>
            <a:off x="15605982" y="3655870"/>
            <a:ext cx="504000" cy="504000"/>
            <a:chOff x="2015760" y="3795990"/>
            <a:chExt cx="504000" cy="504000"/>
          </a:xfrm>
        </p:grpSpPr>
        <p:sp>
          <p:nvSpPr>
            <p:cNvPr id="61" name="Abgerundetes Rechteck 60"/>
            <p:cNvSpPr/>
            <p:nvPr>
              <p:custDataLst>
                <p:tags r:id="rId53"/>
              </p:custDataLst>
            </p:nvPr>
          </p:nvSpPr>
          <p:spPr bwMode="gray">
            <a:xfrm>
              <a:off x="2015760" y="3795990"/>
              <a:ext cx="504000" cy="504000"/>
            </a:xfrm>
            <a:prstGeom prst="roundRect">
              <a:avLst>
                <a:gd name="adj" fmla="val 25198"/>
              </a:avLst>
            </a:prstGeom>
            <a:solidFill>
              <a:schemeClr val="bg1"/>
            </a:solidFill>
            <a:ln w="19050" cap="rnd">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ctr" anchorCtr="0"/>
            <a:lstStyle/>
            <a:p>
              <a:pPr marL="85725" algn="ctr">
                <a:buClr>
                  <a:srgbClr val="A30B1A"/>
                </a:buClr>
              </a:pPr>
              <a:endParaRPr lang="en-US" sz="2400" b="1" dirty="0" smtClean="0">
                <a:solidFill>
                  <a:srgbClr val="FFFFFF"/>
                </a:solidFill>
              </a:endParaRPr>
            </a:p>
          </p:txBody>
        </p:sp>
        <p:sp>
          <p:nvSpPr>
            <p:cNvPr id="65" name="Abgerundetes Rechteck 64"/>
            <p:cNvSpPr/>
            <p:nvPr>
              <p:custDataLst>
                <p:tags r:id="rId54"/>
              </p:custDataLst>
            </p:nvPr>
          </p:nvSpPr>
          <p:spPr bwMode="gray">
            <a:xfrm>
              <a:off x="2043522" y="3824021"/>
              <a:ext cx="448000" cy="447938"/>
            </a:xfrm>
            <a:prstGeom prst="roundRect">
              <a:avLst>
                <a:gd name="adj" fmla="val 28352"/>
              </a:avLst>
            </a:prstGeom>
            <a:solidFill>
              <a:schemeClr val="tx2">
                <a:lumMod val="60000"/>
                <a:lumOff val="4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000" tIns="0" rIns="18000" bIns="0" rtlCol="0" anchor="t" anchorCtr="0"/>
            <a:lstStyle/>
            <a:p>
              <a:pPr>
                <a:buClr>
                  <a:srgbClr val="A30B1A"/>
                </a:buClr>
              </a:pPr>
              <a:endParaRPr lang="en-US" sz="900" dirty="0" smtClean="0">
                <a:solidFill>
                  <a:srgbClr val="FFFFFF"/>
                </a:solidFill>
              </a:endParaRPr>
            </a:p>
          </p:txBody>
        </p:sp>
        <p:sp>
          <p:nvSpPr>
            <p:cNvPr id="66" name="Flussdiagramm: Datenträger mit sequenziellem Zugriff 65"/>
            <p:cNvSpPr/>
            <p:nvPr/>
          </p:nvSpPr>
          <p:spPr bwMode="gray">
            <a:xfrm>
              <a:off x="2123522" y="3903990"/>
              <a:ext cx="288000" cy="288000"/>
            </a:xfrm>
            <a:prstGeom prst="flowChartMagneticTape">
              <a:avLst/>
            </a:prstGeom>
            <a:noFill/>
            <a:ln w="28575" cap="flat" cmpd="sng" algn="ctr">
              <a:solidFill>
                <a:schemeClr val="bg1"/>
              </a:solidFill>
              <a:prstDash val="solid"/>
            </a:ln>
            <a:effectLst/>
          </p:spPr>
          <p:txBody>
            <a:bodyPr rtlCol="0" anchor="t" anchorCtr="0"/>
            <a:lstStyle/>
            <a:p>
              <a:pPr algn="ctr">
                <a:defRPr/>
              </a:pPr>
              <a:endParaRPr lang="en-US" sz="900" kern="0" dirty="0" smtClean="0">
                <a:solidFill>
                  <a:srgbClr val="000000"/>
                </a:solidFill>
              </a:endParaRPr>
            </a:p>
          </p:txBody>
        </p:sp>
      </p:grpSp>
      <p:sp>
        <p:nvSpPr>
          <p:cNvPr id="67" name="Freihandform 66"/>
          <p:cNvSpPr/>
          <p:nvPr/>
        </p:nvSpPr>
        <p:spPr bwMode="gray">
          <a:xfrm>
            <a:off x="14849452" y="3007742"/>
            <a:ext cx="0" cy="576000"/>
          </a:xfrm>
          <a:custGeom>
            <a:avLst/>
            <a:gdLst>
              <a:gd name="connsiteX0" fmla="*/ 0 w 0"/>
              <a:gd name="connsiteY0" fmla="*/ 0 h 1149531"/>
              <a:gd name="connsiteX1" fmla="*/ 0 w 0"/>
              <a:gd name="connsiteY1" fmla="*/ 1149531 h 1149531"/>
              <a:gd name="connsiteX2" fmla="*/ 0 w 0"/>
              <a:gd name="connsiteY2" fmla="*/ 1149531 h 1149531"/>
              <a:gd name="connsiteX3" fmla="*/ 0 w 0"/>
              <a:gd name="connsiteY3" fmla="*/ 1136469 h 1149531"/>
            </a:gdLst>
            <a:ahLst/>
            <a:cxnLst>
              <a:cxn ang="0">
                <a:pos x="connsiteX0" y="connsiteY0"/>
              </a:cxn>
              <a:cxn ang="0">
                <a:pos x="connsiteX1" y="connsiteY1"/>
              </a:cxn>
              <a:cxn ang="0">
                <a:pos x="connsiteX2" y="connsiteY2"/>
              </a:cxn>
              <a:cxn ang="0">
                <a:pos x="connsiteX3" y="connsiteY3"/>
              </a:cxn>
            </a:cxnLst>
            <a:rect l="l" t="t" r="r" b="b"/>
            <a:pathLst>
              <a:path h="1149531">
                <a:moveTo>
                  <a:pt x="0" y="0"/>
                </a:moveTo>
                <a:lnTo>
                  <a:pt x="0" y="1149531"/>
                </a:lnTo>
                <a:lnTo>
                  <a:pt x="0" y="1149531"/>
                </a:lnTo>
                <a:lnTo>
                  <a:pt x="0" y="1136469"/>
                </a:lnTo>
              </a:path>
            </a:pathLst>
          </a:cu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68" name="Freihandform 67"/>
          <p:cNvSpPr/>
          <p:nvPr/>
        </p:nvSpPr>
        <p:spPr bwMode="gray">
          <a:xfrm>
            <a:off x="15861705" y="3007868"/>
            <a:ext cx="0" cy="576000"/>
          </a:xfrm>
          <a:custGeom>
            <a:avLst/>
            <a:gdLst>
              <a:gd name="connsiteX0" fmla="*/ 0 w 0"/>
              <a:gd name="connsiteY0" fmla="*/ 0 h 1149531"/>
              <a:gd name="connsiteX1" fmla="*/ 0 w 0"/>
              <a:gd name="connsiteY1" fmla="*/ 1149531 h 1149531"/>
              <a:gd name="connsiteX2" fmla="*/ 0 w 0"/>
              <a:gd name="connsiteY2" fmla="*/ 1149531 h 1149531"/>
              <a:gd name="connsiteX3" fmla="*/ 0 w 0"/>
              <a:gd name="connsiteY3" fmla="*/ 1136469 h 1149531"/>
            </a:gdLst>
            <a:ahLst/>
            <a:cxnLst>
              <a:cxn ang="0">
                <a:pos x="connsiteX0" y="connsiteY0"/>
              </a:cxn>
              <a:cxn ang="0">
                <a:pos x="connsiteX1" y="connsiteY1"/>
              </a:cxn>
              <a:cxn ang="0">
                <a:pos x="connsiteX2" y="connsiteY2"/>
              </a:cxn>
              <a:cxn ang="0">
                <a:pos x="connsiteX3" y="connsiteY3"/>
              </a:cxn>
            </a:cxnLst>
            <a:rect l="l" t="t" r="r" b="b"/>
            <a:pathLst>
              <a:path h="1149531">
                <a:moveTo>
                  <a:pt x="0" y="0"/>
                </a:moveTo>
                <a:lnTo>
                  <a:pt x="0" y="1149531"/>
                </a:lnTo>
                <a:lnTo>
                  <a:pt x="0" y="1149531"/>
                </a:lnTo>
                <a:lnTo>
                  <a:pt x="0" y="1136469"/>
                </a:lnTo>
              </a:path>
            </a:pathLst>
          </a:cu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131" name="Freeform 6"/>
          <p:cNvSpPr>
            <a:spLocks noChangeAspect="1" noEditPoints="1"/>
          </p:cNvSpPr>
          <p:nvPr>
            <p:custDataLst>
              <p:tags r:id="rId9"/>
            </p:custDataLst>
          </p:nvPr>
        </p:nvSpPr>
        <p:spPr bwMode="gray">
          <a:xfrm>
            <a:off x="448876" y="2822810"/>
            <a:ext cx="2160000" cy="1082056"/>
          </a:xfrm>
          <a:custGeom>
            <a:avLst/>
            <a:gdLst>
              <a:gd name="T0" fmla="*/ 3434 w 5373"/>
              <a:gd name="T1" fmla="*/ 290 h 2681"/>
              <a:gd name="T2" fmla="*/ 2977 w 5373"/>
              <a:gd name="T3" fmla="*/ 117 h 2681"/>
              <a:gd name="T4" fmla="*/ 1813 w 5373"/>
              <a:gd name="T5" fmla="*/ 355 h 2681"/>
              <a:gd name="T6" fmla="*/ 810 w 5373"/>
              <a:gd name="T7" fmla="*/ 888 h 2681"/>
              <a:gd name="T8" fmla="*/ 319 w 5373"/>
              <a:gd name="T9" fmla="*/ 744 h 2681"/>
              <a:gd name="T10" fmla="*/ 1050 w 5373"/>
              <a:gd name="T11" fmla="*/ 493 h 2681"/>
              <a:gd name="T12" fmla="*/ 1556 w 5373"/>
              <a:gd name="T13" fmla="*/ 632 h 2681"/>
              <a:gd name="T14" fmla="*/ 1506 w 5373"/>
              <a:gd name="T15" fmla="*/ 1080 h 2681"/>
              <a:gd name="T16" fmla="*/ 1377 w 5373"/>
              <a:gd name="T17" fmla="*/ 510 h 2681"/>
              <a:gd name="T18" fmla="*/ 1582 w 5373"/>
              <a:gd name="T19" fmla="*/ 2590 h 2681"/>
              <a:gd name="T20" fmla="*/ 4958 w 5373"/>
              <a:gd name="T21" fmla="*/ 442 h 2681"/>
              <a:gd name="T22" fmla="*/ 3395 w 5373"/>
              <a:gd name="T23" fmla="*/ 104 h 2681"/>
              <a:gd name="T24" fmla="*/ 3480 w 5373"/>
              <a:gd name="T25" fmla="*/ 97 h 2681"/>
              <a:gd name="T26" fmla="*/ 1138 w 5373"/>
              <a:gd name="T27" fmla="*/ 453 h 2681"/>
              <a:gd name="T28" fmla="*/ 1222 w 5373"/>
              <a:gd name="T29" fmla="*/ 141 h 2681"/>
              <a:gd name="T30" fmla="*/ 1016 w 5373"/>
              <a:gd name="T31" fmla="*/ 208 h 2681"/>
              <a:gd name="T32" fmla="*/ 1659 w 5373"/>
              <a:gd name="T33" fmla="*/ 476 h 2681"/>
              <a:gd name="T34" fmla="*/ 1533 w 5373"/>
              <a:gd name="T35" fmla="*/ 466 h 2681"/>
              <a:gd name="T36" fmla="*/ 1441 w 5373"/>
              <a:gd name="T37" fmla="*/ 56 h 2681"/>
              <a:gd name="T38" fmla="*/ 2517 w 5373"/>
              <a:gd name="T39" fmla="*/ 630 h 2681"/>
              <a:gd name="T40" fmla="*/ 647 w 5373"/>
              <a:gd name="T41" fmla="*/ 728 h 2681"/>
              <a:gd name="T42" fmla="*/ 1614 w 5373"/>
              <a:gd name="T43" fmla="*/ 988 h 2681"/>
              <a:gd name="T44" fmla="*/ 2566 w 5373"/>
              <a:gd name="T45" fmla="*/ 697 h 2681"/>
              <a:gd name="T46" fmla="*/ 592 w 5373"/>
              <a:gd name="T47" fmla="*/ 1846 h 2681"/>
              <a:gd name="T48" fmla="*/ 5131 w 5373"/>
              <a:gd name="T49" fmla="*/ 2242 h 2681"/>
              <a:gd name="T50" fmla="*/ 4120 w 5373"/>
              <a:gd name="T51" fmla="*/ 1676 h 2681"/>
              <a:gd name="T52" fmla="*/ 4393 w 5373"/>
              <a:gd name="T53" fmla="*/ 1753 h 2681"/>
              <a:gd name="T54" fmla="*/ 5055 w 5373"/>
              <a:gd name="T55" fmla="*/ 1960 h 2681"/>
              <a:gd name="T56" fmla="*/ 4317 w 5373"/>
              <a:gd name="T57" fmla="*/ 2007 h 2681"/>
              <a:gd name="T58" fmla="*/ 4433 w 5373"/>
              <a:gd name="T59" fmla="*/ 1921 h 2681"/>
              <a:gd name="T60" fmla="*/ 4945 w 5373"/>
              <a:gd name="T61" fmla="*/ 789 h 2681"/>
              <a:gd name="T62" fmla="*/ 4441 w 5373"/>
              <a:gd name="T63" fmla="*/ 1102 h 2681"/>
              <a:gd name="T64" fmla="*/ 4167 w 5373"/>
              <a:gd name="T65" fmla="*/ 1537 h 2681"/>
              <a:gd name="T66" fmla="*/ 3670 w 5373"/>
              <a:gd name="T67" fmla="*/ 1402 h 2681"/>
              <a:gd name="T68" fmla="*/ 3209 w 5373"/>
              <a:gd name="T69" fmla="*/ 1704 h 2681"/>
              <a:gd name="T70" fmla="*/ 2421 w 5373"/>
              <a:gd name="T71" fmla="*/ 1274 h 2681"/>
              <a:gd name="T72" fmla="*/ 2919 w 5373"/>
              <a:gd name="T73" fmla="*/ 613 h 2681"/>
              <a:gd name="T74" fmla="*/ 2854 w 5373"/>
              <a:gd name="T75" fmla="*/ 455 h 2681"/>
              <a:gd name="T76" fmla="*/ 3668 w 5373"/>
              <a:gd name="T77" fmla="*/ 404 h 2681"/>
              <a:gd name="T78" fmla="*/ 4408 w 5373"/>
              <a:gd name="T79" fmla="*/ 354 h 2681"/>
              <a:gd name="T80" fmla="*/ 2691 w 5373"/>
              <a:gd name="T81" fmla="*/ 648 h 2681"/>
              <a:gd name="T82" fmla="*/ 2723 w 5373"/>
              <a:gd name="T83" fmla="*/ 997 h 2681"/>
              <a:gd name="T84" fmla="*/ 3370 w 5373"/>
              <a:gd name="T85" fmla="*/ 472 h 2681"/>
              <a:gd name="T86" fmla="*/ 2971 w 5373"/>
              <a:gd name="T87" fmla="*/ 1146 h 2681"/>
              <a:gd name="T88" fmla="*/ 2785 w 5373"/>
              <a:gd name="T89" fmla="*/ 761 h 2681"/>
              <a:gd name="T90" fmla="*/ 3858 w 5373"/>
              <a:gd name="T91" fmla="*/ 299 h 2681"/>
              <a:gd name="T92" fmla="*/ 2257 w 5373"/>
              <a:gd name="T93" fmla="*/ 535 h 2681"/>
              <a:gd name="T94" fmla="*/ 2012 w 5373"/>
              <a:gd name="T95" fmla="*/ 592 h 2681"/>
              <a:gd name="T96" fmla="*/ 1755 w 5373"/>
              <a:gd name="T97" fmla="*/ 262 h 2681"/>
              <a:gd name="T98" fmla="*/ 2322 w 5373"/>
              <a:gd name="T99" fmla="*/ 311 h 2681"/>
              <a:gd name="T100" fmla="*/ 2332 w 5373"/>
              <a:gd name="T101" fmla="*/ 185 h 2681"/>
              <a:gd name="T102" fmla="*/ 3277 w 5373"/>
              <a:gd name="T103" fmla="*/ 1935 h 2681"/>
              <a:gd name="T104" fmla="*/ 2048 w 5373"/>
              <a:gd name="T105" fmla="*/ 1886 h 2681"/>
              <a:gd name="T106" fmla="*/ 1526 w 5373"/>
              <a:gd name="T107" fmla="*/ 2433 h 2681"/>
              <a:gd name="T108" fmla="*/ 1824 w 5373"/>
              <a:gd name="T109" fmla="*/ 1612 h 2681"/>
              <a:gd name="T110" fmla="*/ 1808 w 5373"/>
              <a:gd name="T111" fmla="*/ 378 h 2681"/>
              <a:gd name="T112" fmla="*/ 4408 w 5373"/>
              <a:gd name="T113" fmla="*/ 1721 h 2681"/>
              <a:gd name="T114" fmla="*/ 4421 w 5373"/>
              <a:gd name="T115" fmla="*/ 1527 h 2681"/>
              <a:gd name="T116" fmla="*/ 4404 w 5373"/>
              <a:gd name="T117" fmla="*/ 1567 h 2681"/>
              <a:gd name="T118" fmla="*/ 4598 w 5373"/>
              <a:gd name="T119" fmla="*/ 1116 h 2681"/>
              <a:gd name="T120" fmla="*/ 4249 w 5373"/>
              <a:gd name="T121" fmla="*/ 1800 h 2681"/>
              <a:gd name="T122" fmla="*/ 4517 w 5373"/>
              <a:gd name="T123" fmla="*/ 1802 h 2681"/>
              <a:gd name="T124" fmla="*/ 4660 w 5373"/>
              <a:gd name="T125" fmla="*/ 1032 h 2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73" h="2681">
                <a:moveTo>
                  <a:pt x="1846" y="547"/>
                </a:moveTo>
                <a:lnTo>
                  <a:pt x="1843" y="545"/>
                </a:lnTo>
                <a:lnTo>
                  <a:pt x="1846" y="545"/>
                </a:lnTo>
                <a:lnTo>
                  <a:pt x="1846" y="547"/>
                </a:lnTo>
                <a:close/>
                <a:moveTo>
                  <a:pt x="1793" y="933"/>
                </a:moveTo>
                <a:lnTo>
                  <a:pt x="1795" y="939"/>
                </a:lnTo>
                <a:lnTo>
                  <a:pt x="1799" y="939"/>
                </a:lnTo>
                <a:lnTo>
                  <a:pt x="1795" y="935"/>
                </a:lnTo>
                <a:lnTo>
                  <a:pt x="1795" y="933"/>
                </a:lnTo>
                <a:lnTo>
                  <a:pt x="1793" y="933"/>
                </a:lnTo>
                <a:close/>
                <a:moveTo>
                  <a:pt x="980" y="1246"/>
                </a:moveTo>
                <a:lnTo>
                  <a:pt x="980" y="1246"/>
                </a:lnTo>
                <a:lnTo>
                  <a:pt x="979" y="1252"/>
                </a:lnTo>
                <a:lnTo>
                  <a:pt x="983" y="1253"/>
                </a:lnTo>
                <a:lnTo>
                  <a:pt x="983" y="1251"/>
                </a:lnTo>
                <a:lnTo>
                  <a:pt x="980" y="1250"/>
                </a:lnTo>
                <a:lnTo>
                  <a:pt x="980" y="1246"/>
                </a:lnTo>
                <a:close/>
                <a:moveTo>
                  <a:pt x="2732" y="599"/>
                </a:moveTo>
                <a:lnTo>
                  <a:pt x="2732" y="599"/>
                </a:lnTo>
                <a:lnTo>
                  <a:pt x="2735" y="599"/>
                </a:lnTo>
                <a:lnTo>
                  <a:pt x="2731" y="598"/>
                </a:lnTo>
                <a:lnTo>
                  <a:pt x="2732" y="599"/>
                </a:lnTo>
                <a:lnTo>
                  <a:pt x="2732" y="599"/>
                </a:lnTo>
                <a:close/>
                <a:moveTo>
                  <a:pt x="3343" y="449"/>
                </a:moveTo>
                <a:lnTo>
                  <a:pt x="3340" y="447"/>
                </a:lnTo>
                <a:lnTo>
                  <a:pt x="3325" y="441"/>
                </a:lnTo>
                <a:lnTo>
                  <a:pt x="3313" y="445"/>
                </a:lnTo>
                <a:lnTo>
                  <a:pt x="3309" y="452"/>
                </a:lnTo>
                <a:lnTo>
                  <a:pt x="3309" y="457"/>
                </a:lnTo>
                <a:lnTo>
                  <a:pt x="3315" y="459"/>
                </a:lnTo>
                <a:lnTo>
                  <a:pt x="3319" y="461"/>
                </a:lnTo>
                <a:lnTo>
                  <a:pt x="3325" y="460"/>
                </a:lnTo>
                <a:lnTo>
                  <a:pt x="3330" y="459"/>
                </a:lnTo>
                <a:lnTo>
                  <a:pt x="3340" y="451"/>
                </a:lnTo>
                <a:lnTo>
                  <a:pt x="3342" y="451"/>
                </a:lnTo>
                <a:lnTo>
                  <a:pt x="3340" y="454"/>
                </a:lnTo>
                <a:lnTo>
                  <a:pt x="3343" y="449"/>
                </a:lnTo>
                <a:close/>
                <a:moveTo>
                  <a:pt x="1507" y="1392"/>
                </a:moveTo>
                <a:lnTo>
                  <a:pt x="1484" y="1394"/>
                </a:lnTo>
                <a:lnTo>
                  <a:pt x="1488" y="1391"/>
                </a:lnTo>
                <a:lnTo>
                  <a:pt x="1494" y="1386"/>
                </a:lnTo>
                <a:lnTo>
                  <a:pt x="1494" y="1383"/>
                </a:lnTo>
                <a:lnTo>
                  <a:pt x="1494" y="1383"/>
                </a:lnTo>
                <a:lnTo>
                  <a:pt x="1481" y="1383"/>
                </a:lnTo>
                <a:lnTo>
                  <a:pt x="1474" y="1376"/>
                </a:lnTo>
                <a:lnTo>
                  <a:pt x="1472" y="1366"/>
                </a:lnTo>
                <a:lnTo>
                  <a:pt x="1471" y="1365"/>
                </a:lnTo>
                <a:lnTo>
                  <a:pt x="1464" y="1366"/>
                </a:lnTo>
                <a:lnTo>
                  <a:pt x="1454" y="1363"/>
                </a:lnTo>
                <a:lnTo>
                  <a:pt x="1447" y="1360"/>
                </a:lnTo>
                <a:lnTo>
                  <a:pt x="1446" y="1357"/>
                </a:lnTo>
                <a:lnTo>
                  <a:pt x="1443" y="1359"/>
                </a:lnTo>
                <a:lnTo>
                  <a:pt x="1441" y="1359"/>
                </a:lnTo>
                <a:lnTo>
                  <a:pt x="1434" y="1357"/>
                </a:lnTo>
                <a:lnTo>
                  <a:pt x="1430" y="1359"/>
                </a:lnTo>
                <a:lnTo>
                  <a:pt x="1430" y="1359"/>
                </a:lnTo>
                <a:lnTo>
                  <a:pt x="1427" y="1359"/>
                </a:lnTo>
                <a:lnTo>
                  <a:pt x="1420" y="1355"/>
                </a:lnTo>
                <a:lnTo>
                  <a:pt x="1426" y="1351"/>
                </a:lnTo>
                <a:lnTo>
                  <a:pt x="1414" y="1351"/>
                </a:lnTo>
                <a:lnTo>
                  <a:pt x="1404" y="1358"/>
                </a:lnTo>
                <a:lnTo>
                  <a:pt x="1395" y="1358"/>
                </a:lnTo>
                <a:lnTo>
                  <a:pt x="1394" y="1363"/>
                </a:lnTo>
                <a:lnTo>
                  <a:pt x="1391" y="1363"/>
                </a:lnTo>
                <a:lnTo>
                  <a:pt x="1385" y="1363"/>
                </a:lnTo>
                <a:lnTo>
                  <a:pt x="1385" y="1360"/>
                </a:lnTo>
                <a:lnTo>
                  <a:pt x="1387" y="1359"/>
                </a:lnTo>
                <a:lnTo>
                  <a:pt x="1390" y="1359"/>
                </a:lnTo>
                <a:lnTo>
                  <a:pt x="1387" y="1355"/>
                </a:lnTo>
                <a:lnTo>
                  <a:pt x="1393" y="1350"/>
                </a:lnTo>
                <a:lnTo>
                  <a:pt x="1405" y="1343"/>
                </a:lnTo>
                <a:lnTo>
                  <a:pt x="1410" y="1343"/>
                </a:lnTo>
                <a:lnTo>
                  <a:pt x="1422" y="1339"/>
                </a:lnTo>
                <a:lnTo>
                  <a:pt x="1429" y="1339"/>
                </a:lnTo>
                <a:lnTo>
                  <a:pt x="1431" y="1342"/>
                </a:lnTo>
                <a:lnTo>
                  <a:pt x="1436" y="1339"/>
                </a:lnTo>
                <a:lnTo>
                  <a:pt x="1435" y="1341"/>
                </a:lnTo>
                <a:lnTo>
                  <a:pt x="1436" y="1342"/>
                </a:lnTo>
                <a:lnTo>
                  <a:pt x="1443" y="1342"/>
                </a:lnTo>
                <a:lnTo>
                  <a:pt x="1449" y="1344"/>
                </a:lnTo>
                <a:lnTo>
                  <a:pt x="1451" y="1343"/>
                </a:lnTo>
                <a:lnTo>
                  <a:pt x="1458" y="1347"/>
                </a:lnTo>
                <a:lnTo>
                  <a:pt x="1463" y="1355"/>
                </a:lnTo>
                <a:lnTo>
                  <a:pt x="1469" y="1355"/>
                </a:lnTo>
                <a:lnTo>
                  <a:pt x="1474" y="1355"/>
                </a:lnTo>
                <a:lnTo>
                  <a:pt x="1481" y="1359"/>
                </a:lnTo>
                <a:lnTo>
                  <a:pt x="1484" y="1362"/>
                </a:lnTo>
                <a:lnTo>
                  <a:pt x="1489" y="1363"/>
                </a:lnTo>
                <a:lnTo>
                  <a:pt x="1487" y="1362"/>
                </a:lnTo>
                <a:lnTo>
                  <a:pt x="1488" y="1360"/>
                </a:lnTo>
                <a:lnTo>
                  <a:pt x="1495" y="1367"/>
                </a:lnTo>
                <a:lnTo>
                  <a:pt x="1493" y="1367"/>
                </a:lnTo>
                <a:lnTo>
                  <a:pt x="1494" y="1369"/>
                </a:lnTo>
                <a:lnTo>
                  <a:pt x="1494" y="1370"/>
                </a:lnTo>
                <a:lnTo>
                  <a:pt x="1497" y="1369"/>
                </a:lnTo>
                <a:lnTo>
                  <a:pt x="1502" y="1370"/>
                </a:lnTo>
                <a:lnTo>
                  <a:pt x="1503" y="1371"/>
                </a:lnTo>
                <a:lnTo>
                  <a:pt x="1504" y="1371"/>
                </a:lnTo>
                <a:lnTo>
                  <a:pt x="1505" y="1371"/>
                </a:lnTo>
                <a:lnTo>
                  <a:pt x="1510" y="1375"/>
                </a:lnTo>
                <a:lnTo>
                  <a:pt x="1516" y="1375"/>
                </a:lnTo>
                <a:lnTo>
                  <a:pt x="1516" y="1375"/>
                </a:lnTo>
                <a:lnTo>
                  <a:pt x="1514" y="1378"/>
                </a:lnTo>
                <a:lnTo>
                  <a:pt x="1510" y="1379"/>
                </a:lnTo>
                <a:lnTo>
                  <a:pt x="1510" y="1383"/>
                </a:lnTo>
                <a:lnTo>
                  <a:pt x="1526" y="1383"/>
                </a:lnTo>
                <a:lnTo>
                  <a:pt x="1532" y="1387"/>
                </a:lnTo>
                <a:lnTo>
                  <a:pt x="1538" y="1387"/>
                </a:lnTo>
                <a:lnTo>
                  <a:pt x="1536" y="1391"/>
                </a:lnTo>
                <a:lnTo>
                  <a:pt x="1528" y="1391"/>
                </a:lnTo>
                <a:lnTo>
                  <a:pt x="1524" y="1395"/>
                </a:lnTo>
                <a:lnTo>
                  <a:pt x="1522" y="1395"/>
                </a:lnTo>
                <a:lnTo>
                  <a:pt x="1507" y="1392"/>
                </a:lnTo>
                <a:close/>
                <a:moveTo>
                  <a:pt x="1493" y="1367"/>
                </a:moveTo>
                <a:lnTo>
                  <a:pt x="1493" y="1367"/>
                </a:lnTo>
                <a:lnTo>
                  <a:pt x="1491" y="1367"/>
                </a:lnTo>
                <a:lnTo>
                  <a:pt x="1490" y="1364"/>
                </a:lnTo>
                <a:lnTo>
                  <a:pt x="1490" y="1367"/>
                </a:lnTo>
                <a:lnTo>
                  <a:pt x="1491" y="1367"/>
                </a:lnTo>
                <a:lnTo>
                  <a:pt x="1493" y="1367"/>
                </a:lnTo>
                <a:close/>
                <a:moveTo>
                  <a:pt x="1823" y="928"/>
                </a:moveTo>
                <a:lnTo>
                  <a:pt x="1824" y="928"/>
                </a:lnTo>
                <a:lnTo>
                  <a:pt x="1826" y="924"/>
                </a:lnTo>
                <a:lnTo>
                  <a:pt x="1823" y="928"/>
                </a:lnTo>
                <a:close/>
                <a:moveTo>
                  <a:pt x="1816" y="886"/>
                </a:moveTo>
                <a:lnTo>
                  <a:pt x="1816" y="889"/>
                </a:lnTo>
                <a:lnTo>
                  <a:pt x="1819" y="885"/>
                </a:lnTo>
                <a:lnTo>
                  <a:pt x="1817" y="886"/>
                </a:lnTo>
                <a:lnTo>
                  <a:pt x="1816" y="886"/>
                </a:lnTo>
                <a:close/>
                <a:moveTo>
                  <a:pt x="1824" y="438"/>
                </a:moveTo>
                <a:lnTo>
                  <a:pt x="1817" y="435"/>
                </a:lnTo>
                <a:lnTo>
                  <a:pt x="1827" y="435"/>
                </a:lnTo>
                <a:lnTo>
                  <a:pt x="1819" y="429"/>
                </a:lnTo>
                <a:lnTo>
                  <a:pt x="1819" y="426"/>
                </a:lnTo>
                <a:lnTo>
                  <a:pt x="1826" y="422"/>
                </a:lnTo>
                <a:lnTo>
                  <a:pt x="1838" y="423"/>
                </a:lnTo>
                <a:lnTo>
                  <a:pt x="1848" y="432"/>
                </a:lnTo>
                <a:lnTo>
                  <a:pt x="1859" y="434"/>
                </a:lnTo>
                <a:lnTo>
                  <a:pt x="1859" y="437"/>
                </a:lnTo>
                <a:lnTo>
                  <a:pt x="1859" y="438"/>
                </a:lnTo>
                <a:lnTo>
                  <a:pt x="1862" y="440"/>
                </a:lnTo>
                <a:lnTo>
                  <a:pt x="1855" y="445"/>
                </a:lnTo>
                <a:lnTo>
                  <a:pt x="1837" y="450"/>
                </a:lnTo>
                <a:lnTo>
                  <a:pt x="1827" y="447"/>
                </a:lnTo>
                <a:lnTo>
                  <a:pt x="1830" y="447"/>
                </a:lnTo>
                <a:lnTo>
                  <a:pt x="1831" y="441"/>
                </a:lnTo>
                <a:lnTo>
                  <a:pt x="1831" y="440"/>
                </a:lnTo>
                <a:lnTo>
                  <a:pt x="1828" y="441"/>
                </a:lnTo>
                <a:lnTo>
                  <a:pt x="1819" y="440"/>
                </a:lnTo>
                <a:lnTo>
                  <a:pt x="1816" y="438"/>
                </a:lnTo>
                <a:lnTo>
                  <a:pt x="1820" y="437"/>
                </a:lnTo>
                <a:lnTo>
                  <a:pt x="1824" y="438"/>
                </a:lnTo>
                <a:close/>
                <a:moveTo>
                  <a:pt x="1834" y="447"/>
                </a:moveTo>
                <a:lnTo>
                  <a:pt x="1837" y="447"/>
                </a:lnTo>
                <a:lnTo>
                  <a:pt x="1840" y="443"/>
                </a:lnTo>
                <a:lnTo>
                  <a:pt x="1834" y="447"/>
                </a:lnTo>
                <a:close/>
                <a:moveTo>
                  <a:pt x="3466" y="445"/>
                </a:moveTo>
                <a:lnTo>
                  <a:pt x="3474" y="449"/>
                </a:lnTo>
                <a:lnTo>
                  <a:pt x="3472" y="447"/>
                </a:lnTo>
                <a:lnTo>
                  <a:pt x="3466" y="445"/>
                </a:lnTo>
                <a:close/>
                <a:moveTo>
                  <a:pt x="1815" y="435"/>
                </a:moveTo>
                <a:lnTo>
                  <a:pt x="1817" y="435"/>
                </a:lnTo>
                <a:lnTo>
                  <a:pt x="1815" y="434"/>
                </a:lnTo>
                <a:lnTo>
                  <a:pt x="1815" y="435"/>
                </a:lnTo>
                <a:close/>
                <a:moveTo>
                  <a:pt x="1821" y="421"/>
                </a:moveTo>
                <a:lnTo>
                  <a:pt x="1816" y="417"/>
                </a:lnTo>
                <a:lnTo>
                  <a:pt x="1816" y="418"/>
                </a:lnTo>
                <a:lnTo>
                  <a:pt x="1818" y="421"/>
                </a:lnTo>
                <a:lnTo>
                  <a:pt x="1821" y="421"/>
                </a:lnTo>
                <a:close/>
                <a:moveTo>
                  <a:pt x="1852" y="467"/>
                </a:moveTo>
                <a:lnTo>
                  <a:pt x="1845" y="470"/>
                </a:lnTo>
                <a:lnTo>
                  <a:pt x="1845" y="469"/>
                </a:lnTo>
                <a:lnTo>
                  <a:pt x="1841" y="472"/>
                </a:lnTo>
                <a:lnTo>
                  <a:pt x="1846" y="471"/>
                </a:lnTo>
                <a:lnTo>
                  <a:pt x="1846" y="470"/>
                </a:lnTo>
                <a:lnTo>
                  <a:pt x="1856" y="467"/>
                </a:lnTo>
                <a:lnTo>
                  <a:pt x="1852" y="467"/>
                </a:lnTo>
                <a:close/>
                <a:moveTo>
                  <a:pt x="3381" y="395"/>
                </a:moveTo>
                <a:lnTo>
                  <a:pt x="3379" y="395"/>
                </a:lnTo>
                <a:lnTo>
                  <a:pt x="3376" y="390"/>
                </a:lnTo>
                <a:lnTo>
                  <a:pt x="3370" y="392"/>
                </a:lnTo>
                <a:lnTo>
                  <a:pt x="3376" y="395"/>
                </a:lnTo>
                <a:lnTo>
                  <a:pt x="3379" y="399"/>
                </a:lnTo>
                <a:lnTo>
                  <a:pt x="3381" y="403"/>
                </a:lnTo>
                <a:lnTo>
                  <a:pt x="3383" y="403"/>
                </a:lnTo>
                <a:lnTo>
                  <a:pt x="3379" y="399"/>
                </a:lnTo>
                <a:lnTo>
                  <a:pt x="3381" y="396"/>
                </a:lnTo>
                <a:lnTo>
                  <a:pt x="3381" y="395"/>
                </a:lnTo>
                <a:close/>
                <a:moveTo>
                  <a:pt x="3407" y="409"/>
                </a:moveTo>
                <a:lnTo>
                  <a:pt x="3403" y="407"/>
                </a:lnTo>
                <a:lnTo>
                  <a:pt x="3402" y="408"/>
                </a:lnTo>
                <a:lnTo>
                  <a:pt x="3407" y="409"/>
                </a:lnTo>
                <a:close/>
                <a:moveTo>
                  <a:pt x="1812" y="889"/>
                </a:moveTo>
                <a:lnTo>
                  <a:pt x="1808" y="898"/>
                </a:lnTo>
                <a:lnTo>
                  <a:pt x="1812" y="890"/>
                </a:lnTo>
                <a:lnTo>
                  <a:pt x="1816" y="894"/>
                </a:lnTo>
                <a:lnTo>
                  <a:pt x="1819" y="886"/>
                </a:lnTo>
                <a:lnTo>
                  <a:pt x="1819" y="889"/>
                </a:lnTo>
                <a:lnTo>
                  <a:pt x="1819" y="894"/>
                </a:lnTo>
                <a:lnTo>
                  <a:pt x="1823" y="893"/>
                </a:lnTo>
                <a:lnTo>
                  <a:pt x="1824" y="893"/>
                </a:lnTo>
                <a:lnTo>
                  <a:pt x="1827" y="891"/>
                </a:lnTo>
                <a:lnTo>
                  <a:pt x="1831" y="890"/>
                </a:lnTo>
                <a:lnTo>
                  <a:pt x="1835" y="894"/>
                </a:lnTo>
                <a:lnTo>
                  <a:pt x="1834" y="897"/>
                </a:lnTo>
                <a:lnTo>
                  <a:pt x="1831" y="897"/>
                </a:lnTo>
                <a:lnTo>
                  <a:pt x="1832" y="900"/>
                </a:lnTo>
                <a:lnTo>
                  <a:pt x="1826" y="905"/>
                </a:lnTo>
                <a:lnTo>
                  <a:pt x="1830" y="905"/>
                </a:lnTo>
                <a:lnTo>
                  <a:pt x="1831" y="905"/>
                </a:lnTo>
                <a:lnTo>
                  <a:pt x="1832" y="905"/>
                </a:lnTo>
                <a:lnTo>
                  <a:pt x="1833" y="904"/>
                </a:lnTo>
                <a:lnTo>
                  <a:pt x="1837" y="906"/>
                </a:lnTo>
                <a:lnTo>
                  <a:pt x="1839" y="903"/>
                </a:lnTo>
                <a:lnTo>
                  <a:pt x="1839" y="904"/>
                </a:lnTo>
                <a:lnTo>
                  <a:pt x="1839" y="913"/>
                </a:lnTo>
                <a:lnTo>
                  <a:pt x="1838" y="913"/>
                </a:lnTo>
                <a:lnTo>
                  <a:pt x="1832" y="913"/>
                </a:lnTo>
                <a:lnTo>
                  <a:pt x="1831" y="913"/>
                </a:lnTo>
                <a:lnTo>
                  <a:pt x="1831" y="915"/>
                </a:lnTo>
                <a:lnTo>
                  <a:pt x="1830" y="916"/>
                </a:lnTo>
                <a:lnTo>
                  <a:pt x="1832" y="917"/>
                </a:lnTo>
                <a:lnTo>
                  <a:pt x="1834" y="917"/>
                </a:lnTo>
                <a:lnTo>
                  <a:pt x="1830" y="921"/>
                </a:lnTo>
                <a:lnTo>
                  <a:pt x="1831" y="924"/>
                </a:lnTo>
                <a:lnTo>
                  <a:pt x="1834" y="926"/>
                </a:lnTo>
                <a:lnTo>
                  <a:pt x="1835" y="921"/>
                </a:lnTo>
                <a:lnTo>
                  <a:pt x="1839" y="917"/>
                </a:lnTo>
                <a:lnTo>
                  <a:pt x="1842" y="917"/>
                </a:lnTo>
                <a:lnTo>
                  <a:pt x="1843" y="913"/>
                </a:lnTo>
                <a:lnTo>
                  <a:pt x="1845" y="915"/>
                </a:lnTo>
                <a:lnTo>
                  <a:pt x="1843" y="917"/>
                </a:lnTo>
                <a:lnTo>
                  <a:pt x="1839" y="924"/>
                </a:lnTo>
                <a:lnTo>
                  <a:pt x="1840" y="928"/>
                </a:lnTo>
                <a:lnTo>
                  <a:pt x="1843" y="924"/>
                </a:lnTo>
                <a:lnTo>
                  <a:pt x="1845" y="920"/>
                </a:lnTo>
                <a:lnTo>
                  <a:pt x="1849" y="926"/>
                </a:lnTo>
                <a:lnTo>
                  <a:pt x="1845" y="929"/>
                </a:lnTo>
                <a:lnTo>
                  <a:pt x="1843" y="940"/>
                </a:lnTo>
                <a:lnTo>
                  <a:pt x="1840" y="942"/>
                </a:lnTo>
                <a:lnTo>
                  <a:pt x="1836" y="940"/>
                </a:lnTo>
                <a:lnTo>
                  <a:pt x="1831" y="942"/>
                </a:lnTo>
                <a:lnTo>
                  <a:pt x="1831" y="932"/>
                </a:lnTo>
                <a:lnTo>
                  <a:pt x="1827" y="941"/>
                </a:lnTo>
                <a:lnTo>
                  <a:pt x="1824" y="941"/>
                </a:lnTo>
                <a:lnTo>
                  <a:pt x="1826" y="936"/>
                </a:lnTo>
                <a:lnTo>
                  <a:pt x="1830" y="928"/>
                </a:lnTo>
                <a:lnTo>
                  <a:pt x="1827" y="921"/>
                </a:lnTo>
                <a:lnTo>
                  <a:pt x="1824" y="920"/>
                </a:lnTo>
                <a:lnTo>
                  <a:pt x="1820" y="928"/>
                </a:lnTo>
                <a:lnTo>
                  <a:pt x="1819" y="929"/>
                </a:lnTo>
                <a:lnTo>
                  <a:pt x="1820" y="925"/>
                </a:lnTo>
                <a:lnTo>
                  <a:pt x="1819" y="929"/>
                </a:lnTo>
                <a:lnTo>
                  <a:pt x="1816" y="929"/>
                </a:lnTo>
                <a:lnTo>
                  <a:pt x="1810" y="938"/>
                </a:lnTo>
                <a:lnTo>
                  <a:pt x="1804" y="940"/>
                </a:lnTo>
                <a:lnTo>
                  <a:pt x="1799" y="936"/>
                </a:lnTo>
                <a:lnTo>
                  <a:pt x="1800" y="935"/>
                </a:lnTo>
                <a:lnTo>
                  <a:pt x="1807" y="932"/>
                </a:lnTo>
                <a:lnTo>
                  <a:pt x="1810" y="928"/>
                </a:lnTo>
                <a:lnTo>
                  <a:pt x="1816" y="925"/>
                </a:lnTo>
                <a:lnTo>
                  <a:pt x="1813" y="925"/>
                </a:lnTo>
                <a:lnTo>
                  <a:pt x="1816" y="921"/>
                </a:lnTo>
                <a:lnTo>
                  <a:pt x="1812" y="924"/>
                </a:lnTo>
                <a:lnTo>
                  <a:pt x="1807" y="923"/>
                </a:lnTo>
                <a:lnTo>
                  <a:pt x="1807" y="926"/>
                </a:lnTo>
                <a:lnTo>
                  <a:pt x="1805" y="928"/>
                </a:lnTo>
                <a:lnTo>
                  <a:pt x="1804" y="926"/>
                </a:lnTo>
                <a:lnTo>
                  <a:pt x="1800" y="928"/>
                </a:lnTo>
                <a:lnTo>
                  <a:pt x="1802" y="926"/>
                </a:lnTo>
                <a:lnTo>
                  <a:pt x="1804" y="925"/>
                </a:lnTo>
                <a:lnTo>
                  <a:pt x="1802" y="925"/>
                </a:lnTo>
                <a:lnTo>
                  <a:pt x="1802" y="925"/>
                </a:lnTo>
                <a:lnTo>
                  <a:pt x="1802" y="925"/>
                </a:lnTo>
                <a:lnTo>
                  <a:pt x="1800" y="925"/>
                </a:lnTo>
                <a:lnTo>
                  <a:pt x="1802" y="918"/>
                </a:lnTo>
                <a:lnTo>
                  <a:pt x="1799" y="920"/>
                </a:lnTo>
                <a:lnTo>
                  <a:pt x="1795" y="923"/>
                </a:lnTo>
                <a:lnTo>
                  <a:pt x="1795" y="924"/>
                </a:lnTo>
                <a:lnTo>
                  <a:pt x="1786" y="926"/>
                </a:lnTo>
                <a:lnTo>
                  <a:pt x="1768" y="924"/>
                </a:lnTo>
                <a:lnTo>
                  <a:pt x="1753" y="925"/>
                </a:lnTo>
                <a:lnTo>
                  <a:pt x="1752" y="925"/>
                </a:lnTo>
                <a:lnTo>
                  <a:pt x="1750" y="920"/>
                </a:lnTo>
                <a:lnTo>
                  <a:pt x="1764" y="908"/>
                </a:lnTo>
                <a:lnTo>
                  <a:pt x="1760" y="906"/>
                </a:lnTo>
                <a:lnTo>
                  <a:pt x="1752" y="908"/>
                </a:lnTo>
                <a:lnTo>
                  <a:pt x="1759" y="901"/>
                </a:lnTo>
                <a:lnTo>
                  <a:pt x="1756" y="904"/>
                </a:lnTo>
                <a:lnTo>
                  <a:pt x="1759" y="906"/>
                </a:lnTo>
                <a:lnTo>
                  <a:pt x="1763" y="895"/>
                </a:lnTo>
                <a:lnTo>
                  <a:pt x="1763" y="897"/>
                </a:lnTo>
                <a:lnTo>
                  <a:pt x="1767" y="898"/>
                </a:lnTo>
                <a:lnTo>
                  <a:pt x="1767" y="897"/>
                </a:lnTo>
                <a:lnTo>
                  <a:pt x="1767" y="897"/>
                </a:lnTo>
                <a:lnTo>
                  <a:pt x="1767" y="890"/>
                </a:lnTo>
                <a:lnTo>
                  <a:pt x="1771" y="886"/>
                </a:lnTo>
                <a:lnTo>
                  <a:pt x="1774" y="889"/>
                </a:lnTo>
                <a:lnTo>
                  <a:pt x="1772" y="887"/>
                </a:lnTo>
                <a:lnTo>
                  <a:pt x="1771" y="886"/>
                </a:lnTo>
                <a:lnTo>
                  <a:pt x="1779" y="869"/>
                </a:lnTo>
                <a:lnTo>
                  <a:pt x="1779" y="869"/>
                </a:lnTo>
                <a:lnTo>
                  <a:pt x="1785" y="862"/>
                </a:lnTo>
                <a:lnTo>
                  <a:pt x="1786" y="860"/>
                </a:lnTo>
                <a:lnTo>
                  <a:pt x="1785" y="858"/>
                </a:lnTo>
                <a:lnTo>
                  <a:pt x="1787" y="856"/>
                </a:lnTo>
                <a:lnTo>
                  <a:pt x="1787" y="855"/>
                </a:lnTo>
                <a:lnTo>
                  <a:pt x="1789" y="852"/>
                </a:lnTo>
                <a:lnTo>
                  <a:pt x="1799" y="846"/>
                </a:lnTo>
                <a:lnTo>
                  <a:pt x="1799" y="853"/>
                </a:lnTo>
                <a:lnTo>
                  <a:pt x="1798" y="853"/>
                </a:lnTo>
                <a:lnTo>
                  <a:pt x="1797" y="856"/>
                </a:lnTo>
                <a:lnTo>
                  <a:pt x="1799" y="855"/>
                </a:lnTo>
                <a:lnTo>
                  <a:pt x="1799" y="858"/>
                </a:lnTo>
                <a:lnTo>
                  <a:pt x="1795" y="863"/>
                </a:lnTo>
                <a:lnTo>
                  <a:pt x="1795" y="867"/>
                </a:lnTo>
                <a:lnTo>
                  <a:pt x="1787" y="879"/>
                </a:lnTo>
                <a:lnTo>
                  <a:pt x="1787" y="882"/>
                </a:lnTo>
                <a:lnTo>
                  <a:pt x="1786" y="885"/>
                </a:lnTo>
                <a:lnTo>
                  <a:pt x="1787" y="885"/>
                </a:lnTo>
                <a:lnTo>
                  <a:pt x="1786" y="887"/>
                </a:lnTo>
                <a:lnTo>
                  <a:pt x="1798" y="875"/>
                </a:lnTo>
                <a:lnTo>
                  <a:pt x="1802" y="881"/>
                </a:lnTo>
                <a:lnTo>
                  <a:pt x="1807" y="879"/>
                </a:lnTo>
                <a:lnTo>
                  <a:pt x="1807" y="881"/>
                </a:lnTo>
                <a:lnTo>
                  <a:pt x="1798" y="889"/>
                </a:lnTo>
                <a:lnTo>
                  <a:pt x="1800" y="889"/>
                </a:lnTo>
                <a:lnTo>
                  <a:pt x="1800" y="889"/>
                </a:lnTo>
                <a:lnTo>
                  <a:pt x="1803" y="890"/>
                </a:lnTo>
                <a:lnTo>
                  <a:pt x="1803" y="890"/>
                </a:lnTo>
                <a:lnTo>
                  <a:pt x="1803" y="890"/>
                </a:lnTo>
                <a:lnTo>
                  <a:pt x="1803" y="890"/>
                </a:lnTo>
                <a:lnTo>
                  <a:pt x="1803" y="890"/>
                </a:lnTo>
                <a:lnTo>
                  <a:pt x="1807" y="889"/>
                </a:lnTo>
                <a:lnTo>
                  <a:pt x="1807" y="889"/>
                </a:lnTo>
                <a:lnTo>
                  <a:pt x="1812" y="889"/>
                </a:lnTo>
                <a:close/>
                <a:moveTo>
                  <a:pt x="1831" y="908"/>
                </a:moveTo>
                <a:lnTo>
                  <a:pt x="1832" y="906"/>
                </a:lnTo>
                <a:lnTo>
                  <a:pt x="1831" y="907"/>
                </a:lnTo>
                <a:lnTo>
                  <a:pt x="1831" y="908"/>
                </a:lnTo>
                <a:close/>
                <a:moveTo>
                  <a:pt x="1827" y="909"/>
                </a:moveTo>
                <a:lnTo>
                  <a:pt x="1830" y="908"/>
                </a:lnTo>
                <a:lnTo>
                  <a:pt x="1830" y="907"/>
                </a:lnTo>
                <a:lnTo>
                  <a:pt x="1827" y="909"/>
                </a:lnTo>
                <a:close/>
                <a:moveTo>
                  <a:pt x="1827" y="915"/>
                </a:moveTo>
                <a:lnTo>
                  <a:pt x="1828" y="915"/>
                </a:lnTo>
                <a:lnTo>
                  <a:pt x="1827" y="913"/>
                </a:lnTo>
                <a:lnTo>
                  <a:pt x="1827" y="915"/>
                </a:lnTo>
                <a:close/>
                <a:moveTo>
                  <a:pt x="1846" y="468"/>
                </a:moveTo>
                <a:lnTo>
                  <a:pt x="1848" y="469"/>
                </a:lnTo>
                <a:lnTo>
                  <a:pt x="1848" y="468"/>
                </a:lnTo>
                <a:lnTo>
                  <a:pt x="1846" y="468"/>
                </a:lnTo>
                <a:close/>
                <a:moveTo>
                  <a:pt x="1823" y="883"/>
                </a:moveTo>
                <a:lnTo>
                  <a:pt x="1823" y="886"/>
                </a:lnTo>
                <a:lnTo>
                  <a:pt x="1827" y="885"/>
                </a:lnTo>
                <a:lnTo>
                  <a:pt x="1826" y="883"/>
                </a:lnTo>
                <a:lnTo>
                  <a:pt x="1823" y="883"/>
                </a:lnTo>
                <a:close/>
                <a:moveTo>
                  <a:pt x="3478" y="439"/>
                </a:moveTo>
                <a:lnTo>
                  <a:pt x="3482" y="439"/>
                </a:lnTo>
                <a:lnTo>
                  <a:pt x="3492" y="433"/>
                </a:lnTo>
                <a:lnTo>
                  <a:pt x="3489" y="430"/>
                </a:lnTo>
                <a:lnTo>
                  <a:pt x="3471" y="415"/>
                </a:lnTo>
                <a:lnTo>
                  <a:pt x="3464" y="419"/>
                </a:lnTo>
                <a:lnTo>
                  <a:pt x="3468" y="422"/>
                </a:lnTo>
                <a:lnTo>
                  <a:pt x="3462" y="420"/>
                </a:lnTo>
                <a:lnTo>
                  <a:pt x="3462" y="422"/>
                </a:lnTo>
                <a:lnTo>
                  <a:pt x="3462" y="426"/>
                </a:lnTo>
                <a:lnTo>
                  <a:pt x="3469" y="430"/>
                </a:lnTo>
                <a:lnTo>
                  <a:pt x="3470" y="430"/>
                </a:lnTo>
                <a:lnTo>
                  <a:pt x="3470" y="430"/>
                </a:lnTo>
                <a:lnTo>
                  <a:pt x="3470" y="430"/>
                </a:lnTo>
                <a:lnTo>
                  <a:pt x="3474" y="430"/>
                </a:lnTo>
                <a:lnTo>
                  <a:pt x="3478" y="431"/>
                </a:lnTo>
                <a:lnTo>
                  <a:pt x="3477" y="435"/>
                </a:lnTo>
                <a:lnTo>
                  <a:pt x="3478" y="439"/>
                </a:lnTo>
                <a:close/>
                <a:moveTo>
                  <a:pt x="1726" y="1454"/>
                </a:moveTo>
                <a:lnTo>
                  <a:pt x="1727" y="1454"/>
                </a:lnTo>
                <a:lnTo>
                  <a:pt x="1726" y="1452"/>
                </a:lnTo>
                <a:lnTo>
                  <a:pt x="1723" y="1454"/>
                </a:lnTo>
                <a:lnTo>
                  <a:pt x="1726" y="1454"/>
                </a:lnTo>
                <a:close/>
                <a:moveTo>
                  <a:pt x="1701" y="1422"/>
                </a:moveTo>
                <a:lnTo>
                  <a:pt x="1700" y="1423"/>
                </a:lnTo>
                <a:lnTo>
                  <a:pt x="1701" y="1423"/>
                </a:lnTo>
                <a:lnTo>
                  <a:pt x="1701" y="1422"/>
                </a:lnTo>
                <a:close/>
                <a:moveTo>
                  <a:pt x="1727" y="1496"/>
                </a:moveTo>
                <a:lnTo>
                  <a:pt x="1727" y="1494"/>
                </a:lnTo>
                <a:lnTo>
                  <a:pt x="1721" y="1497"/>
                </a:lnTo>
                <a:lnTo>
                  <a:pt x="1727" y="1499"/>
                </a:lnTo>
                <a:lnTo>
                  <a:pt x="1727" y="1496"/>
                </a:lnTo>
                <a:close/>
                <a:moveTo>
                  <a:pt x="1731" y="1474"/>
                </a:moveTo>
                <a:lnTo>
                  <a:pt x="1729" y="1473"/>
                </a:lnTo>
                <a:lnTo>
                  <a:pt x="1723" y="1472"/>
                </a:lnTo>
                <a:lnTo>
                  <a:pt x="1721" y="1473"/>
                </a:lnTo>
                <a:lnTo>
                  <a:pt x="1727" y="1475"/>
                </a:lnTo>
                <a:lnTo>
                  <a:pt x="1731" y="1477"/>
                </a:lnTo>
                <a:lnTo>
                  <a:pt x="1731" y="1474"/>
                </a:lnTo>
                <a:close/>
                <a:moveTo>
                  <a:pt x="1672" y="1427"/>
                </a:moveTo>
                <a:lnTo>
                  <a:pt x="1677" y="1427"/>
                </a:lnTo>
                <a:lnTo>
                  <a:pt x="1672" y="1425"/>
                </a:lnTo>
                <a:lnTo>
                  <a:pt x="1672" y="1427"/>
                </a:lnTo>
                <a:close/>
                <a:moveTo>
                  <a:pt x="1681" y="1527"/>
                </a:moveTo>
                <a:lnTo>
                  <a:pt x="1680" y="1528"/>
                </a:lnTo>
                <a:lnTo>
                  <a:pt x="1680" y="1530"/>
                </a:lnTo>
                <a:lnTo>
                  <a:pt x="1682" y="1530"/>
                </a:lnTo>
                <a:lnTo>
                  <a:pt x="1683" y="1531"/>
                </a:lnTo>
                <a:lnTo>
                  <a:pt x="1687" y="1528"/>
                </a:lnTo>
                <a:lnTo>
                  <a:pt x="1686" y="1527"/>
                </a:lnTo>
                <a:lnTo>
                  <a:pt x="1683" y="1528"/>
                </a:lnTo>
                <a:lnTo>
                  <a:pt x="1681" y="1527"/>
                </a:lnTo>
                <a:close/>
                <a:moveTo>
                  <a:pt x="1647" y="1419"/>
                </a:moveTo>
                <a:lnTo>
                  <a:pt x="1652" y="1422"/>
                </a:lnTo>
                <a:lnTo>
                  <a:pt x="1656" y="1419"/>
                </a:lnTo>
                <a:lnTo>
                  <a:pt x="1661" y="1415"/>
                </a:lnTo>
                <a:lnTo>
                  <a:pt x="1660" y="1414"/>
                </a:lnTo>
                <a:lnTo>
                  <a:pt x="1657" y="1413"/>
                </a:lnTo>
                <a:lnTo>
                  <a:pt x="1639" y="1411"/>
                </a:lnTo>
                <a:lnTo>
                  <a:pt x="1634" y="1414"/>
                </a:lnTo>
                <a:lnTo>
                  <a:pt x="1634" y="1415"/>
                </a:lnTo>
                <a:lnTo>
                  <a:pt x="1634" y="1422"/>
                </a:lnTo>
                <a:lnTo>
                  <a:pt x="1647" y="1419"/>
                </a:lnTo>
                <a:close/>
                <a:moveTo>
                  <a:pt x="1720" y="1455"/>
                </a:moveTo>
                <a:lnTo>
                  <a:pt x="1719" y="1454"/>
                </a:lnTo>
                <a:lnTo>
                  <a:pt x="1719" y="1455"/>
                </a:lnTo>
                <a:lnTo>
                  <a:pt x="1720" y="1455"/>
                </a:lnTo>
                <a:close/>
                <a:moveTo>
                  <a:pt x="1713" y="1543"/>
                </a:moveTo>
                <a:lnTo>
                  <a:pt x="1723" y="1542"/>
                </a:lnTo>
                <a:lnTo>
                  <a:pt x="1723" y="1532"/>
                </a:lnTo>
                <a:lnTo>
                  <a:pt x="1727" y="1531"/>
                </a:lnTo>
                <a:lnTo>
                  <a:pt x="1726" y="1531"/>
                </a:lnTo>
                <a:lnTo>
                  <a:pt x="1717" y="1532"/>
                </a:lnTo>
                <a:lnTo>
                  <a:pt x="1719" y="1534"/>
                </a:lnTo>
                <a:lnTo>
                  <a:pt x="1719" y="1539"/>
                </a:lnTo>
                <a:lnTo>
                  <a:pt x="1713" y="1543"/>
                </a:lnTo>
                <a:close/>
                <a:moveTo>
                  <a:pt x="1723" y="1451"/>
                </a:moveTo>
                <a:lnTo>
                  <a:pt x="1723" y="1451"/>
                </a:lnTo>
                <a:lnTo>
                  <a:pt x="1727" y="1451"/>
                </a:lnTo>
                <a:lnTo>
                  <a:pt x="1723" y="1451"/>
                </a:lnTo>
                <a:close/>
                <a:moveTo>
                  <a:pt x="1718" y="1451"/>
                </a:moveTo>
                <a:lnTo>
                  <a:pt x="1719" y="1454"/>
                </a:lnTo>
                <a:lnTo>
                  <a:pt x="1719" y="1451"/>
                </a:lnTo>
                <a:lnTo>
                  <a:pt x="1718" y="1451"/>
                </a:lnTo>
                <a:close/>
                <a:moveTo>
                  <a:pt x="1719" y="1450"/>
                </a:moveTo>
                <a:lnTo>
                  <a:pt x="1723" y="1451"/>
                </a:lnTo>
                <a:lnTo>
                  <a:pt x="1719" y="1445"/>
                </a:lnTo>
                <a:lnTo>
                  <a:pt x="1719" y="1450"/>
                </a:lnTo>
                <a:close/>
                <a:moveTo>
                  <a:pt x="3472" y="430"/>
                </a:moveTo>
                <a:lnTo>
                  <a:pt x="3470" y="430"/>
                </a:lnTo>
                <a:lnTo>
                  <a:pt x="3471" y="430"/>
                </a:lnTo>
                <a:lnTo>
                  <a:pt x="3472" y="430"/>
                </a:lnTo>
                <a:close/>
                <a:moveTo>
                  <a:pt x="1574" y="1505"/>
                </a:moveTo>
                <a:lnTo>
                  <a:pt x="1574" y="1505"/>
                </a:lnTo>
                <a:lnTo>
                  <a:pt x="1573" y="1505"/>
                </a:lnTo>
                <a:lnTo>
                  <a:pt x="1574" y="1505"/>
                </a:lnTo>
                <a:close/>
                <a:moveTo>
                  <a:pt x="1653" y="980"/>
                </a:moveTo>
                <a:lnTo>
                  <a:pt x="1651" y="983"/>
                </a:lnTo>
                <a:lnTo>
                  <a:pt x="1655" y="980"/>
                </a:lnTo>
                <a:lnTo>
                  <a:pt x="1653" y="980"/>
                </a:lnTo>
                <a:close/>
                <a:moveTo>
                  <a:pt x="1543" y="1419"/>
                </a:moveTo>
                <a:lnTo>
                  <a:pt x="1549" y="1419"/>
                </a:lnTo>
                <a:lnTo>
                  <a:pt x="1546" y="1418"/>
                </a:lnTo>
                <a:lnTo>
                  <a:pt x="1543" y="1419"/>
                </a:lnTo>
                <a:close/>
                <a:moveTo>
                  <a:pt x="1382" y="1363"/>
                </a:moveTo>
                <a:lnTo>
                  <a:pt x="1383" y="1362"/>
                </a:lnTo>
                <a:lnTo>
                  <a:pt x="1381" y="1363"/>
                </a:lnTo>
                <a:lnTo>
                  <a:pt x="1382" y="1363"/>
                </a:lnTo>
                <a:close/>
                <a:moveTo>
                  <a:pt x="1383" y="1362"/>
                </a:moveTo>
                <a:lnTo>
                  <a:pt x="1385" y="1360"/>
                </a:lnTo>
                <a:lnTo>
                  <a:pt x="1385" y="1360"/>
                </a:lnTo>
                <a:lnTo>
                  <a:pt x="1383" y="1362"/>
                </a:lnTo>
                <a:close/>
                <a:moveTo>
                  <a:pt x="3361" y="371"/>
                </a:moveTo>
                <a:lnTo>
                  <a:pt x="3363" y="369"/>
                </a:lnTo>
                <a:lnTo>
                  <a:pt x="3369" y="371"/>
                </a:lnTo>
                <a:lnTo>
                  <a:pt x="3369" y="366"/>
                </a:lnTo>
                <a:lnTo>
                  <a:pt x="3377" y="363"/>
                </a:lnTo>
                <a:lnTo>
                  <a:pt x="3376" y="360"/>
                </a:lnTo>
                <a:lnTo>
                  <a:pt x="3383" y="359"/>
                </a:lnTo>
                <a:lnTo>
                  <a:pt x="3376" y="359"/>
                </a:lnTo>
                <a:lnTo>
                  <a:pt x="3379" y="354"/>
                </a:lnTo>
                <a:lnTo>
                  <a:pt x="3385" y="354"/>
                </a:lnTo>
                <a:lnTo>
                  <a:pt x="3373" y="351"/>
                </a:lnTo>
                <a:lnTo>
                  <a:pt x="3381" y="346"/>
                </a:lnTo>
                <a:lnTo>
                  <a:pt x="3384" y="347"/>
                </a:lnTo>
                <a:lnTo>
                  <a:pt x="3387" y="348"/>
                </a:lnTo>
                <a:lnTo>
                  <a:pt x="3383" y="346"/>
                </a:lnTo>
                <a:lnTo>
                  <a:pt x="3387" y="346"/>
                </a:lnTo>
                <a:lnTo>
                  <a:pt x="3383" y="342"/>
                </a:lnTo>
                <a:lnTo>
                  <a:pt x="3387" y="337"/>
                </a:lnTo>
                <a:lnTo>
                  <a:pt x="3390" y="336"/>
                </a:lnTo>
                <a:lnTo>
                  <a:pt x="3392" y="334"/>
                </a:lnTo>
                <a:lnTo>
                  <a:pt x="3399" y="335"/>
                </a:lnTo>
                <a:lnTo>
                  <a:pt x="3405" y="332"/>
                </a:lnTo>
                <a:lnTo>
                  <a:pt x="3399" y="334"/>
                </a:lnTo>
                <a:lnTo>
                  <a:pt x="3394" y="333"/>
                </a:lnTo>
                <a:lnTo>
                  <a:pt x="3396" y="332"/>
                </a:lnTo>
                <a:lnTo>
                  <a:pt x="3397" y="330"/>
                </a:lnTo>
                <a:lnTo>
                  <a:pt x="3397" y="330"/>
                </a:lnTo>
                <a:lnTo>
                  <a:pt x="3399" y="330"/>
                </a:lnTo>
                <a:lnTo>
                  <a:pt x="3401" y="327"/>
                </a:lnTo>
                <a:lnTo>
                  <a:pt x="3413" y="323"/>
                </a:lnTo>
                <a:lnTo>
                  <a:pt x="3395" y="326"/>
                </a:lnTo>
                <a:lnTo>
                  <a:pt x="3391" y="321"/>
                </a:lnTo>
                <a:lnTo>
                  <a:pt x="3407" y="315"/>
                </a:lnTo>
                <a:lnTo>
                  <a:pt x="3403" y="314"/>
                </a:lnTo>
                <a:lnTo>
                  <a:pt x="3407" y="312"/>
                </a:lnTo>
                <a:lnTo>
                  <a:pt x="3411" y="310"/>
                </a:lnTo>
                <a:lnTo>
                  <a:pt x="3424" y="313"/>
                </a:lnTo>
                <a:lnTo>
                  <a:pt x="3412" y="310"/>
                </a:lnTo>
                <a:lnTo>
                  <a:pt x="3421" y="310"/>
                </a:lnTo>
                <a:lnTo>
                  <a:pt x="3413" y="305"/>
                </a:lnTo>
                <a:lnTo>
                  <a:pt x="3414" y="301"/>
                </a:lnTo>
                <a:lnTo>
                  <a:pt x="3428" y="300"/>
                </a:lnTo>
                <a:lnTo>
                  <a:pt x="3417" y="298"/>
                </a:lnTo>
                <a:lnTo>
                  <a:pt x="3417" y="298"/>
                </a:lnTo>
                <a:lnTo>
                  <a:pt x="3434" y="298"/>
                </a:lnTo>
                <a:lnTo>
                  <a:pt x="3431" y="294"/>
                </a:lnTo>
                <a:lnTo>
                  <a:pt x="3424" y="294"/>
                </a:lnTo>
                <a:lnTo>
                  <a:pt x="3434" y="290"/>
                </a:lnTo>
                <a:lnTo>
                  <a:pt x="3429" y="290"/>
                </a:lnTo>
                <a:lnTo>
                  <a:pt x="3431" y="286"/>
                </a:lnTo>
                <a:lnTo>
                  <a:pt x="3425" y="286"/>
                </a:lnTo>
                <a:lnTo>
                  <a:pt x="3424" y="286"/>
                </a:lnTo>
                <a:lnTo>
                  <a:pt x="3424" y="286"/>
                </a:lnTo>
                <a:lnTo>
                  <a:pt x="3417" y="286"/>
                </a:lnTo>
                <a:lnTo>
                  <a:pt x="3417" y="281"/>
                </a:lnTo>
                <a:lnTo>
                  <a:pt x="3427" y="280"/>
                </a:lnTo>
                <a:lnTo>
                  <a:pt x="3431" y="284"/>
                </a:lnTo>
                <a:lnTo>
                  <a:pt x="3434" y="281"/>
                </a:lnTo>
                <a:lnTo>
                  <a:pt x="3437" y="279"/>
                </a:lnTo>
                <a:lnTo>
                  <a:pt x="3436" y="278"/>
                </a:lnTo>
                <a:lnTo>
                  <a:pt x="3437" y="278"/>
                </a:lnTo>
                <a:lnTo>
                  <a:pt x="3450" y="278"/>
                </a:lnTo>
                <a:lnTo>
                  <a:pt x="3447" y="271"/>
                </a:lnTo>
                <a:lnTo>
                  <a:pt x="3458" y="269"/>
                </a:lnTo>
                <a:lnTo>
                  <a:pt x="3454" y="267"/>
                </a:lnTo>
                <a:lnTo>
                  <a:pt x="3466" y="260"/>
                </a:lnTo>
                <a:lnTo>
                  <a:pt x="3489" y="255"/>
                </a:lnTo>
                <a:lnTo>
                  <a:pt x="3485" y="254"/>
                </a:lnTo>
                <a:lnTo>
                  <a:pt x="3488" y="254"/>
                </a:lnTo>
                <a:lnTo>
                  <a:pt x="3495" y="254"/>
                </a:lnTo>
                <a:lnTo>
                  <a:pt x="3491" y="258"/>
                </a:lnTo>
                <a:lnTo>
                  <a:pt x="3493" y="258"/>
                </a:lnTo>
                <a:lnTo>
                  <a:pt x="3500" y="254"/>
                </a:lnTo>
                <a:lnTo>
                  <a:pt x="3497" y="254"/>
                </a:lnTo>
                <a:lnTo>
                  <a:pt x="3499" y="248"/>
                </a:lnTo>
                <a:lnTo>
                  <a:pt x="3508" y="246"/>
                </a:lnTo>
                <a:lnTo>
                  <a:pt x="3519" y="249"/>
                </a:lnTo>
                <a:lnTo>
                  <a:pt x="3537" y="243"/>
                </a:lnTo>
                <a:lnTo>
                  <a:pt x="3544" y="246"/>
                </a:lnTo>
                <a:lnTo>
                  <a:pt x="3564" y="237"/>
                </a:lnTo>
                <a:lnTo>
                  <a:pt x="3570" y="239"/>
                </a:lnTo>
                <a:lnTo>
                  <a:pt x="3567" y="234"/>
                </a:lnTo>
                <a:lnTo>
                  <a:pt x="3592" y="224"/>
                </a:lnTo>
                <a:lnTo>
                  <a:pt x="3599" y="225"/>
                </a:lnTo>
                <a:lnTo>
                  <a:pt x="3607" y="226"/>
                </a:lnTo>
                <a:lnTo>
                  <a:pt x="3613" y="231"/>
                </a:lnTo>
                <a:lnTo>
                  <a:pt x="3610" y="237"/>
                </a:lnTo>
                <a:lnTo>
                  <a:pt x="3611" y="239"/>
                </a:lnTo>
                <a:lnTo>
                  <a:pt x="3603" y="246"/>
                </a:lnTo>
                <a:lnTo>
                  <a:pt x="3604" y="246"/>
                </a:lnTo>
                <a:lnTo>
                  <a:pt x="3558" y="260"/>
                </a:lnTo>
                <a:lnTo>
                  <a:pt x="3539" y="265"/>
                </a:lnTo>
                <a:lnTo>
                  <a:pt x="3536" y="264"/>
                </a:lnTo>
                <a:lnTo>
                  <a:pt x="3533" y="267"/>
                </a:lnTo>
                <a:lnTo>
                  <a:pt x="3508" y="273"/>
                </a:lnTo>
                <a:lnTo>
                  <a:pt x="3506" y="278"/>
                </a:lnTo>
                <a:lnTo>
                  <a:pt x="3506" y="278"/>
                </a:lnTo>
                <a:lnTo>
                  <a:pt x="3505" y="278"/>
                </a:lnTo>
                <a:lnTo>
                  <a:pt x="3502" y="275"/>
                </a:lnTo>
                <a:lnTo>
                  <a:pt x="3500" y="278"/>
                </a:lnTo>
                <a:lnTo>
                  <a:pt x="3493" y="281"/>
                </a:lnTo>
                <a:lnTo>
                  <a:pt x="3495" y="284"/>
                </a:lnTo>
                <a:lnTo>
                  <a:pt x="3493" y="285"/>
                </a:lnTo>
                <a:lnTo>
                  <a:pt x="3490" y="281"/>
                </a:lnTo>
                <a:lnTo>
                  <a:pt x="3490" y="286"/>
                </a:lnTo>
                <a:lnTo>
                  <a:pt x="3482" y="286"/>
                </a:lnTo>
                <a:lnTo>
                  <a:pt x="3493" y="287"/>
                </a:lnTo>
                <a:lnTo>
                  <a:pt x="3486" y="290"/>
                </a:lnTo>
                <a:lnTo>
                  <a:pt x="3489" y="292"/>
                </a:lnTo>
                <a:lnTo>
                  <a:pt x="3488" y="294"/>
                </a:lnTo>
                <a:lnTo>
                  <a:pt x="3482" y="294"/>
                </a:lnTo>
                <a:lnTo>
                  <a:pt x="3477" y="292"/>
                </a:lnTo>
                <a:lnTo>
                  <a:pt x="3481" y="295"/>
                </a:lnTo>
                <a:lnTo>
                  <a:pt x="3480" y="298"/>
                </a:lnTo>
                <a:lnTo>
                  <a:pt x="3471" y="292"/>
                </a:lnTo>
                <a:lnTo>
                  <a:pt x="3473" y="296"/>
                </a:lnTo>
                <a:lnTo>
                  <a:pt x="3471" y="298"/>
                </a:lnTo>
                <a:lnTo>
                  <a:pt x="3471" y="301"/>
                </a:lnTo>
                <a:lnTo>
                  <a:pt x="3458" y="298"/>
                </a:lnTo>
                <a:lnTo>
                  <a:pt x="3464" y="301"/>
                </a:lnTo>
                <a:lnTo>
                  <a:pt x="3466" y="307"/>
                </a:lnTo>
                <a:lnTo>
                  <a:pt x="3462" y="310"/>
                </a:lnTo>
                <a:lnTo>
                  <a:pt x="3459" y="309"/>
                </a:lnTo>
                <a:lnTo>
                  <a:pt x="3460" y="314"/>
                </a:lnTo>
                <a:lnTo>
                  <a:pt x="3458" y="314"/>
                </a:lnTo>
                <a:lnTo>
                  <a:pt x="3458" y="314"/>
                </a:lnTo>
                <a:lnTo>
                  <a:pt x="3450" y="313"/>
                </a:lnTo>
                <a:lnTo>
                  <a:pt x="3447" y="310"/>
                </a:lnTo>
                <a:lnTo>
                  <a:pt x="3446" y="310"/>
                </a:lnTo>
                <a:lnTo>
                  <a:pt x="3446" y="312"/>
                </a:lnTo>
                <a:lnTo>
                  <a:pt x="3447" y="314"/>
                </a:lnTo>
                <a:lnTo>
                  <a:pt x="3444" y="314"/>
                </a:lnTo>
                <a:lnTo>
                  <a:pt x="3451" y="319"/>
                </a:lnTo>
                <a:lnTo>
                  <a:pt x="3454" y="321"/>
                </a:lnTo>
                <a:lnTo>
                  <a:pt x="3450" y="323"/>
                </a:lnTo>
                <a:lnTo>
                  <a:pt x="3446" y="319"/>
                </a:lnTo>
                <a:lnTo>
                  <a:pt x="3432" y="318"/>
                </a:lnTo>
                <a:lnTo>
                  <a:pt x="3443" y="319"/>
                </a:lnTo>
                <a:lnTo>
                  <a:pt x="3447" y="324"/>
                </a:lnTo>
                <a:lnTo>
                  <a:pt x="3442" y="327"/>
                </a:lnTo>
                <a:lnTo>
                  <a:pt x="3433" y="324"/>
                </a:lnTo>
                <a:lnTo>
                  <a:pt x="3433" y="326"/>
                </a:lnTo>
                <a:lnTo>
                  <a:pt x="3440" y="329"/>
                </a:lnTo>
                <a:lnTo>
                  <a:pt x="3436" y="334"/>
                </a:lnTo>
                <a:lnTo>
                  <a:pt x="3433" y="333"/>
                </a:lnTo>
                <a:lnTo>
                  <a:pt x="3433" y="338"/>
                </a:lnTo>
                <a:lnTo>
                  <a:pt x="3432" y="338"/>
                </a:lnTo>
                <a:lnTo>
                  <a:pt x="3432" y="339"/>
                </a:lnTo>
                <a:lnTo>
                  <a:pt x="3421" y="342"/>
                </a:lnTo>
                <a:lnTo>
                  <a:pt x="3431" y="342"/>
                </a:lnTo>
                <a:lnTo>
                  <a:pt x="3429" y="346"/>
                </a:lnTo>
                <a:lnTo>
                  <a:pt x="3428" y="346"/>
                </a:lnTo>
                <a:lnTo>
                  <a:pt x="3426" y="350"/>
                </a:lnTo>
                <a:lnTo>
                  <a:pt x="3417" y="350"/>
                </a:lnTo>
                <a:lnTo>
                  <a:pt x="3425" y="353"/>
                </a:lnTo>
                <a:lnTo>
                  <a:pt x="3421" y="354"/>
                </a:lnTo>
                <a:lnTo>
                  <a:pt x="3420" y="359"/>
                </a:lnTo>
                <a:lnTo>
                  <a:pt x="3413" y="358"/>
                </a:lnTo>
                <a:lnTo>
                  <a:pt x="3418" y="360"/>
                </a:lnTo>
                <a:lnTo>
                  <a:pt x="3412" y="363"/>
                </a:lnTo>
                <a:lnTo>
                  <a:pt x="3417" y="363"/>
                </a:lnTo>
                <a:lnTo>
                  <a:pt x="3417" y="365"/>
                </a:lnTo>
                <a:lnTo>
                  <a:pt x="3418" y="369"/>
                </a:lnTo>
                <a:lnTo>
                  <a:pt x="3413" y="374"/>
                </a:lnTo>
                <a:lnTo>
                  <a:pt x="3418" y="376"/>
                </a:lnTo>
                <a:lnTo>
                  <a:pt x="3420" y="383"/>
                </a:lnTo>
                <a:lnTo>
                  <a:pt x="3428" y="394"/>
                </a:lnTo>
                <a:lnTo>
                  <a:pt x="3434" y="399"/>
                </a:lnTo>
                <a:lnTo>
                  <a:pt x="3440" y="404"/>
                </a:lnTo>
                <a:lnTo>
                  <a:pt x="3448" y="408"/>
                </a:lnTo>
                <a:lnTo>
                  <a:pt x="3446" y="411"/>
                </a:lnTo>
                <a:lnTo>
                  <a:pt x="3436" y="409"/>
                </a:lnTo>
                <a:lnTo>
                  <a:pt x="3444" y="412"/>
                </a:lnTo>
                <a:lnTo>
                  <a:pt x="3440" y="411"/>
                </a:lnTo>
                <a:lnTo>
                  <a:pt x="3442" y="412"/>
                </a:lnTo>
                <a:lnTo>
                  <a:pt x="3440" y="414"/>
                </a:lnTo>
                <a:lnTo>
                  <a:pt x="3436" y="411"/>
                </a:lnTo>
                <a:lnTo>
                  <a:pt x="3433" y="411"/>
                </a:lnTo>
                <a:lnTo>
                  <a:pt x="3429" y="409"/>
                </a:lnTo>
                <a:lnTo>
                  <a:pt x="3429" y="408"/>
                </a:lnTo>
                <a:lnTo>
                  <a:pt x="3428" y="411"/>
                </a:lnTo>
                <a:lnTo>
                  <a:pt x="3431" y="411"/>
                </a:lnTo>
                <a:lnTo>
                  <a:pt x="3434" y="415"/>
                </a:lnTo>
                <a:lnTo>
                  <a:pt x="3432" y="415"/>
                </a:lnTo>
                <a:lnTo>
                  <a:pt x="3424" y="412"/>
                </a:lnTo>
                <a:lnTo>
                  <a:pt x="3426" y="415"/>
                </a:lnTo>
                <a:lnTo>
                  <a:pt x="3424" y="415"/>
                </a:lnTo>
                <a:lnTo>
                  <a:pt x="3420" y="412"/>
                </a:lnTo>
                <a:lnTo>
                  <a:pt x="3421" y="409"/>
                </a:lnTo>
                <a:lnTo>
                  <a:pt x="3419" y="408"/>
                </a:lnTo>
                <a:lnTo>
                  <a:pt x="3417" y="408"/>
                </a:lnTo>
                <a:lnTo>
                  <a:pt x="3412" y="412"/>
                </a:lnTo>
                <a:lnTo>
                  <a:pt x="3402" y="406"/>
                </a:lnTo>
                <a:lnTo>
                  <a:pt x="3401" y="406"/>
                </a:lnTo>
                <a:lnTo>
                  <a:pt x="3401" y="407"/>
                </a:lnTo>
                <a:lnTo>
                  <a:pt x="3392" y="407"/>
                </a:lnTo>
                <a:lnTo>
                  <a:pt x="3392" y="405"/>
                </a:lnTo>
                <a:lnTo>
                  <a:pt x="3392" y="403"/>
                </a:lnTo>
                <a:lnTo>
                  <a:pt x="3387" y="397"/>
                </a:lnTo>
                <a:lnTo>
                  <a:pt x="3398" y="396"/>
                </a:lnTo>
                <a:lnTo>
                  <a:pt x="3385" y="394"/>
                </a:lnTo>
                <a:lnTo>
                  <a:pt x="3385" y="392"/>
                </a:lnTo>
                <a:lnTo>
                  <a:pt x="3385" y="392"/>
                </a:lnTo>
                <a:lnTo>
                  <a:pt x="3383" y="391"/>
                </a:lnTo>
                <a:lnTo>
                  <a:pt x="3385" y="391"/>
                </a:lnTo>
                <a:lnTo>
                  <a:pt x="3383" y="388"/>
                </a:lnTo>
                <a:lnTo>
                  <a:pt x="3388" y="386"/>
                </a:lnTo>
                <a:lnTo>
                  <a:pt x="3387" y="385"/>
                </a:lnTo>
                <a:lnTo>
                  <a:pt x="3386" y="385"/>
                </a:lnTo>
                <a:lnTo>
                  <a:pt x="3379" y="389"/>
                </a:lnTo>
                <a:lnTo>
                  <a:pt x="3373" y="386"/>
                </a:lnTo>
                <a:lnTo>
                  <a:pt x="3373" y="385"/>
                </a:lnTo>
                <a:lnTo>
                  <a:pt x="3371" y="388"/>
                </a:lnTo>
                <a:lnTo>
                  <a:pt x="3370" y="385"/>
                </a:lnTo>
                <a:lnTo>
                  <a:pt x="3369" y="386"/>
                </a:lnTo>
                <a:lnTo>
                  <a:pt x="3369" y="387"/>
                </a:lnTo>
                <a:lnTo>
                  <a:pt x="3370" y="387"/>
                </a:lnTo>
                <a:lnTo>
                  <a:pt x="3365" y="388"/>
                </a:lnTo>
                <a:lnTo>
                  <a:pt x="3361" y="385"/>
                </a:lnTo>
                <a:lnTo>
                  <a:pt x="3358" y="376"/>
                </a:lnTo>
                <a:lnTo>
                  <a:pt x="3361" y="371"/>
                </a:lnTo>
                <a:close/>
                <a:moveTo>
                  <a:pt x="3410" y="331"/>
                </a:moveTo>
                <a:lnTo>
                  <a:pt x="3425" y="335"/>
                </a:lnTo>
                <a:lnTo>
                  <a:pt x="3425" y="334"/>
                </a:lnTo>
                <a:lnTo>
                  <a:pt x="3418" y="332"/>
                </a:lnTo>
                <a:lnTo>
                  <a:pt x="3411" y="330"/>
                </a:lnTo>
                <a:lnTo>
                  <a:pt x="3410" y="331"/>
                </a:lnTo>
                <a:close/>
                <a:moveTo>
                  <a:pt x="1578" y="1416"/>
                </a:moveTo>
                <a:lnTo>
                  <a:pt x="1580" y="1417"/>
                </a:lnTo>
                <a:lnTo>
                  <a:pt x="1585" y="1415"/>
                </a:lnTo>
                <a:lnTo>
                  <a:pt x="1586" y="1415"/>
                </a:lnTo>
                <a:lnTo>
                  <a:pt x="1588" y="1419"/>
                </a:lnTo>
                <a:lnTo>
                  <a:pt x="1593" y="1419"/>
                </a:lnTo>
                <a:lnTo>
                  <a:pt x="1598" y="1415"/>
                </a:lnTo>
                <a:lnTo>
                  <a:pt x="1613" y="1415"/>
                </a:lnTo>
                <a:lnTo>
                  <a:pt x="1615" y="1419"/>
                </a:lnTo>
                <a:lnTo>
                  <a:pt x="1616" y="1419"/>
                </a:lnTo>
                <a:lnTo>
                  <a:pt x="1620" y="1419"/>
                </a:lnTo>
                <a:lnTo>
                  <a:pt x="1620" y="1414"/>
                </a:lnTo>
                <a:lnTo>
                  <a:pt x="1610" y="1408"/>
                </a:lnTo>
                <a:lnTo>
                  <a:pt x="1604" y="1407"/>
                </a:lnTo>
                <a:lnTo>
                  <a:pt x="1606" y="1407"/>
                </a:lnTo>
                <a:lnTo>
                  <a:pt x="1606" y="1402"/>
                </a:lnTo>
                <a:lnTo>
                  <a:pt x="1606" y="1401"/>
                </a:lnTo>
                <a:lnTo>
                  <a:pt x="1598" y="1402"/>
                </a:lnTo>
                <a:lnTo>
                  <a:pt x="1596" y="1397"/>
                </a:lnTo>
                <a:lnTo>
                  <a:pt x="1592" y="1399"/>
                </a:lnTo>
                <a:lnTo>
                  <a:pt x="1588" y="1395"/>
                </a:lnTo>
                <a:lnTo>
                  <a:pt x="1586" y="1397"/>
                </a:lnTo>
                <a:lnTo>
                  <a:pt x="1581" y="1394"/>
                </a:lnTo>
                <a:lnTo>
                  <a:pt x="1577" y="1395"/>
                </a:lnTo>
                <a:lnTo>
                  <a:pt x="1570" y="1394"/>
                </a:lnTo>
                <a:lnTo>
                  <a:pt x="1570" y="1395"/>
                </a:lnTo>
                <a:lnTo>
                  <a:pt x="1563" y="1395"/>
                </a:lnTo>
                <a:lnTo>
                  <a:pt x="1554" y="1392"/>
                </a:lnTo>
                <a:lnTo>
                  <a:pt x="1546" y="1393"/>
                </a:lnTo>
                <a:lnTo>
                  <a:pt x="1546" y="1399"/>
                </a:lnTo>
                <a:lnTo>
                  <a:pt x="1550" y="1399"/>
                </a:lnTo>
                <a:lnTo>
                  <a:pt x="1557" y="1401"/>
                </a:lnTo>
                <a:lnTo>
                  <a:pt x="1554" y="1405"/>
                </a:lnTo>
                <a:lnTo>
                  <a:pt x="1558" y="1412"/>
                </a:lnTo>
                <a:lnTo>
                  <a:pt x="1558" y="1415"/>
                </a:lnTo>
                <a:lnTo>
                  <a:pt x="1559" y="1415"/>
                </a:lnTo>
                <a:lnTo>
                  <a:pt x="1557" y="1419"/>
                </a:lnTo>
                <a:lnTo>
                  <a:pt x="1549" y="1419"/>
                </a:lnTo>
                <a:lnTo>
                  <a:pt x="1554" y="1420"/>
                </a:lnTo>
                <a:lnTo>
                  <a:pt x="1565" y="1418"/>
                </a:lnTo>
                <a:lnTo>
                  <a:pt x="1570" y="1422"/>
                </a:lnTo>
                <a:lnTo>
                  <a:pt x="1570" y="1420"/>
                </a:lnTo>
                <a:lnTo>
                  <a:pt x="1573" y="1426"/>
                </a:lnTo>
                <a:lnTo>
                  <a:pt x="1578" y="1419"/>
                </a:lnTo>
                <a:lnTo>
                  <a:pt x="1578" y="1416"/>
                </a:lnTo>
                <a:close/>
                <a:moveTo>
                  <a:pt x="1627" y="1418"/>
                </a:moveTo>
                <a:lnTo>
                  <a:pt x="1626" y="1418"/>
                </a:lnTo>
                <a:lnTo>
                  <a:pt x="1627" y="1419"/>
                </a:lnTo>
                <a:lnTo>
                  <a:pt x="1627" y="1418"/>
                </a:lnTo>
                <a:close/>
                <a:moveTo>
                  <a:pt x="2586" y="663"/>
                </a:moveTo>
                <a:lnTo>
                  <a:pt x="2591" y="660"/>
                </a:lnTo>
                <a:lnTo>
                  <a:pt x="2594" y="660"/>
                </a:lnTo>
                <a:lnTo>
                  <a:pt x="2597" y="660"/>
                </a:lnTo>
                <a:lnTo>
                  <a:pt x="2593" y="664"/>
                </a:lnTo>
                <a:lnTo>
                  <a:pt x="2594" y="666"/>
                </a:lnTo>
                <a:lnTo>
                  <a:pt x="2593" y="667"/>
                </a:lnTo>
                <a:lnTo>
                  <a:pt x="2593" y="667"/>
                </a:lnTo>
                <a:lnTo>
                  <a:pt x="2592" y="672"/>
                </a:lnTo>
                <a:lnTo>
                  <a:pt x="2590" y="672"/>
                </a:lnTo>
                <a:lnTo>
                  <a:pt x="2592" y="668"/>
                </a:lnTo>
                <a:lnTo>
                  <a:pt x="2590" y="668"/>
                </a:lnTo>
                <a:lnTo>
                  <a:pt x="2586" y="663"/>
                </a:lnTo>
                <a:close/>
                <a:moveTo>
                  <a:pt x="2590" y="664"/>
                </a:moveTo>
                <a:lnTo>
                  <a:pt x="2592" y="668"/>
                </a:lnTo>
                <a:lnTo>
                  <a:pt x="2593" y="667"/>
                </a:lnTo>
                <a:lnTo>
                  <a:pt x="2592" y="664"/>
                </a:lnTo>
                <a:lnTo>
                  <a:pt x="2590" y="664"/>
                </a:lnTo>
                <a:close/>
                <a:moveTo>
                  <a:pt x="1729" y="1482"/>
                </a:moveTo>
                <a:lnTo>
                  <a:pt x="1727" y="1487"/>
                </a:lnTo>
                <a:lnTo>
                  <a:pt x="1729" y="1488"/>
                </a:lnTo>
                <a:lnTo>
                  <a:pt x="1732" y="1485"/>
                </a:lnTo>
                <a:lnTo>
                  <a:pt x="1729" y="1482"/>
                </a:lnTo>
                <a:close/>
                <a:moveTo>
                  <a:pt x="1540" y="1423"/>
                </a:moveTo>
                <a:lnTo>
                  <a:pt x="1538" y="1421"/>
                </a:lnTo>
                <a:lnTo>
                  <a:pt x="1538" y="1423"/>
                </a:lnTo>
                <a:lnTo>
                  <a:pt x="1540" y="1423"/>
                </a:lnTo>
                <a:close/>
                <a:moveTo>
                  <a:pt x="1542" y="1415"/>
                </a:moveTo>
                <a:lnTo>
                  <a:pt x="1542" y="1415"/>
                </a:lnTo>
                <a:lnTo>
                  <a:pt x="1536" y="1415"/>
                </a:lnTo>
                <a:lnTo>
                  <a:pt x="1530" y="1415"/>
                </a:lnTo>
                <a:lnTo>
                  <a:pt x="1530" y="1415"/>
                </a:lnTo>
                <a:lnTo>
                  <a:pt x="1530" y="1416"/>
                </a:lnTo>
                <a:lnTo>
                  <a:pt x="1537" y="1419"/>
                </a:lnTo>
                <a:lnTo>
                  <a:pt x="1538" y="1421"/>
                </a:lnTo>
                <a:lnTo>
                  <a:pt x="1538" y="1420"/>
                </a:lnTo>
                <a:lnTo>
                  <a:pt x="1543" y="1419"/>
                </a:lnTo>
                <a:lnTo>
                  <a:pt x="1542" y="1419"/>
                </a:lnTo>
                <a:lnTo>
                  <a:pt x="1542" y="1415"/>
                </a:lnTo>
                <a:close/>
                <a:moveTo>
                  <a:pt x="2726" y="599"/>
                </a:moveTo>
                <a:lnTo>
                  <a:pt x="2728" y="599"/>
                </a:lnTo>
                <a:lnTo>
                  <a:pt x="2729" y="599"/>
                </a:lnTo>
                <a:lnTo>
                  <a:pt x="2728" y="596"/>
                </a:lnTo>
                <a:lnTo>
                  <a:pt x="2726" y="599"/>
                </a:lnTo>
                <a:close/>
                <a:moveTo>
                  <a:pt x="2695" y="617"/>
                </a:moveTo>
                <a:lnTo>
                  <a:pt x="2695" y="621"/>
                </a:lnTo>
                <a:lnTo>
                  <a:pt x="2699" y="619"/>
                </a:lnTo>
                <a:lnTo>
                  <a:pt x="2695" y="617"/>
                </a:lnTo>
                <a:close/>
                <a:moveTo>
                  <a:pt x="2709" y="608"/>
                </a:moveTo>
                <a:lnTo>
                  <a:pt x="2709" y="611"/>
                </a:lnTo>
                <a:lnTo>
                  <a:pt x="2712" y="611"/>
                </a:lnTo>
                <a:lnTo>
                  <a:pt x="2709" y="608"/>
                </a:lnTo>
                <a:close/>
                <a:moveTo>
                  <a:pt x="1800" y="923"/>
                </a:moveTo>
                <a:lnTo>
                  <a:pt x="1798" y="923"/>
                </a:lnTo>
                <a:lnTo>
                  <a:pt x="1800" y="924"/>
                </a:lnTo>
                <a:lnTo>
                  <a:pt x="1800" y="923"/>
                </a:lnTo>
                <a:close/>
                <a:moveTo>
                  <a:pt x="2600" y="650"/>
                </a:moveTo>
                <a:lnTo>
                  <a:pt x="2598" y="650"/>
                </a:lnTo>
                <a:lnTo>
                  <a:pt x="2597" y="653"/>
                </a:lnTo>
                <a:lnTo>
                  <a:pt x="2598" y="653"/>
                </a:lnTo>
                <a:lnTo>
                  <a:pt x="2600" y="650"/>
                </a:lnTo>
                <a:close/>
                <a:moveTo>
                  <a:pt x="801" y="879"/>
                </a:moveTo>
                <a:lnTo>
                  <a:pt x="800" y="878"/>
                </a:lnTo>
                <a:lnTo>
                  <a:pt x="800" y="878"/>
                </a:lnTo>
                <a:lnTo>
                  <a:pt x="801" y="879"/>
                </a:lnTo>
                <a:lnTo>
                  <a:pt x="801" y="879"/>
                </a:lnTo>
                <a:lnTo>
                  <a:pt x="801" y="879"/>
                </a:lnTo>
                <a:lnTo>
                  <a:pt x="801" y="879"/>
                </a:lnTo>
                <a:close/>
                <a:moveTo>
                  <a:pt x="1804" y="861"/>
                </a:moveTo>
                <a:lnTo>
                  <a:pt x="1805" y="861"/>
                </a:lnTo>
                <a:lnTo>
                  <a:pt x="1805" y="860"/>
                </a:lnTo>
                <a:lnTo>
                  <a:pt x="1804" y="861"/>
                </a:lnTo>
                <a:close/>
                <a:moveTo>
                  <a:pt x="2597" y="657"/>
                </a:moveTo>
                <a:lnTo>
                  <a:pt x="2597" y="653"/>
                </a:lnTo>
                <a:lnTo>
                  <a:pt x="2597" y="651"/>
                </a:lnTo>
                <a:lnTo>
                  <a:pt x="2593" y="655"/>
                </a:lnTo>
                <a:lnTo>
                  <a:pt x="2594" y="658"/>
                </a:lnTo>
                <a:lnTo>
                  <a:pt x="2597" y="657"/>
                </a:lnTo>
                <a:close/>
                <a:moveTo>
                  <a:pt x="2731" y="599"/>
                </a:moveTo>
                <a:lnTo>
                  <a:pt x="2732" y="599"/>
                </a:lnTo>
                <a:lnTo>
                  <a:pt x="2731" y="598"/>
                </a:lnTo>
                <a:lnTo>
                  <a:pt x="2731" y="598"/>
                </a:lnTo>
                <a:lnTo>
                  <a:pt x="2729" y="596"/>
                </a:lnTo>
                <a:lnTo>
                  <a:pt x="2731" y="599"/>
                </a:lnTo>
                <a:close/>
                <a:moveTo>
                  <a:pt x="836" y="913"/>
                </a:moveTo>
                <a:lnTo>
                  <a:pt x="835" y="913"/>
                </a:lnTo>
                <a:lnTo>
                  <a:pt x="835" y="914"/>
                </a:lnTo>
                <a:lnTo>
                  <a:pt x="836" y="914"/>
                </a:lnTo>
                <a:lnTo>
                  <a:pt x="836" y="914"/>
                </a:lnTo>
                <a:lnTo>
                  <a:pt x="836" y="913"/>
                </a:lnTo>
                <a:lnTo>
                  <a:pt x="836" y="913"/>
                </a:lnTo>
                <a:close/>
                <a:moveTo>
                  <a:pt x="2726" y="600"/>
                </a:moveTo>
                <a:lnTo>
                  <a:pt x="2723" y="603"/>
                </a:lnTo>
                <a:lnTo>
                  <a:pt x="2724" y="603"/>
                </a:lnTo>
                <a:lnTo>
                  <a:pt x="2726" y="600"/>
                </a:lnTo>
                <a:close/>
                <a:moveTo>
                  <a:pt x="829" y="929"/>
                </a:moveTo>
                <a:lnTo>
                  <a:pt x="828" y="930"/>
                </a:lnTo>
                <a:lnTo>
                  <a:pt x="831" y="929"/>
                </a:lnTo>
                <a:lnTo>
                  <a:pt x="829" y="929"/>
                </a:lnTo>
                <a:close/>
                <a:moveTo>
                  <a:pt x="1730" y="1557"/>
                </a:moveTo>
                <a:lnTo>
                  <a:pt x="1730" y="1555"/>
                </a:lnTo>
                <a:lnTo>
                  <a:pt x="1728" y="1557"/>
                </a:lnTo>
                <a:lnTo>
                  <a:pt x="1730" y="1557"/>
                </a:lnTo>
                <a:close/>
                <a:moveTo>
                  <a:pt x="2729" y="593"/>
                </a:moveTo>
                <a:lnTo>
                  <a:pt x="2728" y="591"/>
                </a:lnTo>
                <a:lnTo>
                  <a:pt x="2724" y="593"/>
                </a:lnTo>
                <a:lnTo>
                  <a:pt x="2728" y="595"/>
                </a:lnTo>
                <a:lnTo>
                  <a:pt x="2729" y="593"/>
                </a:lnTo>
                <a:close/>
                <a:moveTo>
                  <a:pt x="1674" y="920"/>
                </a:moveTo>
                <a:lnTo>
                  <a:pt x="1675" y="920"/>
                </a:lnTo>
                <a:lnTo>
                  <a:pt x="1676" y="918"/>
                </a:lnTo>
                <a:lnTo>
                  <a:pt x="1674" y="920"/>
                </a:lnTo>
                <a:lnTo>
                  <a:pt x="1674" y="920"/>
                </a:lnTo>
                <a:close/>
                <a:moveTo>
                  <a:pt x="1696" y="894"/>
                </a:moveTo>
                <a:lnTo>
                  <a:pt x="1710" y="897"/>
                </a:lnTo>
                <a:lnTo>
                  <a:pt x="1716" y="895"/>
                </a:lnTo>
                <a:lnTo>
                  <a:pt x="1713" y="892"/>
                </a:lnTo>
                <a:lnTo>
                  <a:pt x="1708" y="890"/>
                </a:lnTo>
                <a:lnTo>
                  <a:pt x="1704" y="886"/>
                </a:lnTo>
                <a:lnTo>
                  <a:pt x="1691" y="882"/>
                </a:lnTo>
                <a:lnTo>
                  <a:pt x="1680" y="879"/>
                </a:lnTo>
                <a:lnTo>
                  <a:pt x="1676" y="882"/>
                </a:lnTo>
                <a:lnTo>
                  <a:pt x="1685" y="885"/>
                </a:lnTo>
                <a:lnTo>
                  <a:pt x="1689" y="890"/>
                </a:lnTo>
                <a:lnTo>
                  <a:pt x="1696" y="894"/>
                </a:lnTo>
                <a:close/>
                <a:moveTo>
                  <a:pt x="1805" y="886"/>
                </a:moveTo>
                <a:lnTo>
                  <a:pt x="1804" y="885"/>
                </a:lnTo>
                <a:lnTo>
                  <a:pt x="1802" y="886"/>
                </a:lnTo>
                <a:lnTo>
                  <a:pt x="1805" y="886"/>
                </a:lnTo>
                <a:close/>
                <a:moveTo>
                  <a:pt x="1675" y="918"/>
                </a:moveTo>
                <a:lnTo>
                  <a:pt x="1676" y="918"/>
                </a:lnTo>
                <a:lnTo>
                  <a:pt x="1676" y="917"/>
                </a:lnTo>
                <a:lnTo>
                  <a:pt x="1675" y="918"/>
                </a:lnTo>
                <a:close/>
                <a:moveTo>
                  <a:pt x="1719" y="927"/>
                </a:moveTo>
                <a:lnTo>
                  <a:pt x="1721" y="924"/>
                </a:lnTo>
                <a:lnTo>
                  <a:pt x="1713" y="929"/>
                </a:lnTo>
                <a:lnTo>
                  <a:pt x="1712" y="933"/>
                </a:lnTo>
                <a:lnTo>
                  <a:pt x="1713" y="933"/>
                </a:lnTo>
                <a:lnTo>
                  <a:pt x="1719" y="927"/>
                </a:lnTo>
                <a:close/>
                <a:moveTo>
                  <a:pt x="1732" y="1521"/>
                </a:moveTo>
                <a:lnTo>
                  <a:pt x="1729" y="1525"/>
                </a:lnTo>
                <a:lnTo>
                  <a:pt x="1732" y="1523"/>
                </a:lnTo>
                <a:lnTo>
                  <a:pt x="1732" y="1521"/>
                </a:lnTo>
                <a:close/>
                <a:moveTo>
                  <a:pt x="1804" y="853"/>
                </a:moveTo>
                <a:lnTo>
                  <a:pt x="1805" y="853"/>
                </a:lnTo>
                <a:lnTo>
                  <a:pt x="1807" y="849"/>
                </a:lnTo>
                <a:lnTo>
                  <a:pt x="1802" y="849"/>
                </a:lnTo>
                <a:lnTo>
                  <a:pt x="1804" y="853"/>
                </a:lnTo>
                <a:close/>
                <a:moveTo>
                  <a:pt x="2590" y="655"/>
                </a:moveTo>
                <a:lnTo>
                  <a:pt x="2585" y="658"/>
                </a:lnTo>
                <a:lnTo>
                  <a:pt x="2590" y="659"/>
                </a:lnTo>
                <a:lnTo>
                  <a:pt x="2590" y="655"/>
                </a:lnTo>
                <a:close/>
                <a:moveTo>
                  <a:pt x="1743" y="993"/>
                </a:moveTo>
                <a:lnTo>
                  <a:pt x="1745" y="992"/>
                </a:lnTo>
                <a:lnTo>
                  <a:pt x="1740" y="992"/>
                </a:lnTo>
                <a:lnTo>
                  <a:pt x="1743" y="993"/>
                </a:lnTo>
                <a:close/>
                <a:moveTo>
                  <a:pt x="1699" y="952"/>
                </a:moveTo>
                <a:lnTo>
                  <a:pt x="1699" y="955"/>
                </a:lnTo>
                <a:lnTo>
                  <a:pt x="1703" y="954"/>
                </a:lnTo>
                <a:lnTo>
                  <a:pt x="1703" y="952"/>
                </a:lnTo>
                <a:lnTo>
                  <a:pt x="1703" y="951"/>
                </a:lnTo>
                <a:lnTo>
                  <a:pt x="1708" y="947"/>
                </a:lnTo>
                <a:lnTo>
                  <a:pt x="1713" y="946"/>
                </a:lnTo>
                <a:lnTo>
                  <a:pt x="1694" y="947"/>
                </a:lnTo>
                <a:lnTo>
                  <a:pt x="1687" y="943"/>
                </a:lnTo>
                <a:lnTo>
                  <a:pt x="1687" y="949"/>
                </a:lnTo>
                <a:lnTo>
                  <a:pt x="1683" y="949"/>
                </a:lnTo>
                <a:lnTo>
                  <a:pt x="1683" y="949"/>
                </a:lnTo>
                <a:lnTo>
                  <a:pt x="1686" y="951"/>
                </a:lnTo>
                <a:lnTo>
                  <a:pt x="1693" y="952"/>
                </a:lnTo>
                <a:lnTo>
                  <a:pt x="1698" y="949"/>
                </a:lnTo>
                <a:lnTo>
                  <a:pt x="1696" y="951"/>
                </a:lnTo>
                <a:lnTo>
                  <a:pt x="1699" y="952"/>
                </a:lnTo>
                <a:close/>
                <a:moveTo>
                  <a:pt x="1678" y="940"/>
                </a:moveTo>
                <a:lnTo>
                  <a:pt x="1679" y="938"/>
                </a:lnTo>
                <a:lnTo>
                  <a:pt x="1679" y="935"/>
                </a:lnTo>
                <a:lnTo>
                  <a:pt x="1674" y="942"/>
                </a:lnTo>
                <a:lnTo>
                  <a:pt x="1679" y="945"/>
                </a:lnTo>
                <a:lnTo>
                  <a:pt x="1679" y="945"/>
                </a:lnTo>
                <a:lnTo>
                  <a:pt x="1679" y="949"/>
                </a:lnTo>
                <a:lnTo>
                  <a:pt x="1683" y="949"/>
                </a:lnTo>
                <a:lnTo>
                  <a:pt x="1683" y="942"/>
                </a:lnTo>
                <a:lnTo>
                  <a:pt x="1678" y="940"/>
                </a:lnTo>
                <a:close/>
                <a:moveTo>
                  <a:pt x="3352" y="88"/>
                </a:moveTo>
                <a:lnTo>
                  <a:pt x="3346" y="85"/>
                </a:lnTo>
                <a:lnTo>
                  <a:pt x="3343" y="88"/>
                </a:lnTo>
                <a:lnTo>
                  <a:pt x="3345" y="89"/>
                </a:lnTo>
                <a:lnTo>
                  <a:pt x="3348" y="88"/>
                </a:lnTo>
                <a:lnTo>
                  <a:pt x="3352" y="88"/>
                </a:lnTo>
                <a:close/>
                <a:moveTo>
                  <a:pt x="2964" y="400"/>
                </a:moveTo>
                <a:lnTo>
                  <a:pt x="2959" y="400"/>
                </a:lnTo>
                <a:lnTo>
                  <a:pt x="2961" y="401"/>
                </a:lnTo>
                <a:lnTo>
                  <a:pt x="2962" y="402"/>
                </a:lnTo>
                <a:lnTo>
                  <a:pt x="2964" y="400"/>
                </a:lnTo>
                <a:close/>
                <a:moveTo>
                  <a:pt x="222" y="650"/>
                </a:moveTo>
                <a:lnTo>
                  <a:pt x="223" y="650"/>
                </a:lnTo>
                <a:lnTo>
                  <a:pt x="221" y="650"/>
                </a:lnTo>
                <a:lnTo>
                  <a:pt x="221" y="651"/>
                </a:lnTo>
                <a:lnTo>
                  <a:pt x="221" y="651"/>
                </a:lnTo>
                <a:lnTo>
                  <a:pt x="222" y="650"/>
                </a:lnTo>
                <a:close/>
                <a:moveTo>
                  <a:pt x="2959" y="407"/>
                </a:moveTo>
                <a:lnTo>
                  <a:pt x="2956" y="408"/>
                </a:lnTo>
                <a:lnTo>
                  <a:pt x="2957" y="411"/>
                </a:lnTo>
                <a:lnTo>
                  <a:pt x="2959" y="413"/>
                </a:lnTo>
                <a:lnTo>
                  <a:pt x="2961" y="411"/>
                </a:lnTo>
                <a:lnTo>
                  <a:pt x="2962" y="410"/>
                </a:lnTo>
                <a:lnTo>
                  <a:pt x="2961" y="408"/>
                </a:lnTo>
                <a:lnTo>
                  <a:pt x="2959" y="407"/>
                </a:lnTo>
                <a:close/>
                <a:moveTo>
                  <a:pt x="2784" y="537"/>
                </a:moveTo>
                <a:lnTo>
                  <a:pt x="2782" y="538"/>
                </a:lnTo>
                <a:lnTo>
                  <a:pt x="2783" y="541"/>
                </a:lnTo>
                <a:lnTo>
                  <a:pt x="2784" y="537"/>
                </a:lnTo>
                <a:close/>
                <a:moveTo>
                  <a:pt x="3002" y="173"/>
                </a:moveTo>
                <a:lnTo>
                  <a:pt x="3006" y="171"/>
                </a:lnTo>
                <a:lnTo>
                  <a:pt x="3001" y="166"/>
                </a:lnTo>
                <a:lnTo>
                  <a:pt x="2998" y="168"/>
                </a:lnTo>
                <a:lnTo>
                  <a:pt x="3002" y="173"/>
                </a:lnTo>
                <a:close/>
                <a:moveTo>
                  <a:pt x="2975" y="202"/>
                </a:moveTo>
                <a:lnTo>
                  <a:pt x="2967" y="198"/>
                </a:lnTo>
                <a:lnTo>
                  <a:pt x="2958" y="198"/>
                </a:lnTo>
                <a:lnTo>
                  <a:pt x="2948" y="193"/>
                </a:lnTo>
                <a:lnTo>
                  <a:pt x="2948" y="191"/>
                </a:lnTo>
                <a:lnTo>
                  <a:pt x="2953" y="187"/>
                </a:lnTo>
                <a:lnTo>
                  <a:pt x="2947" y="186"/>
                </a:lnTo>
                <a:lnTo>
                  <a:pt x="2916" y="191"/>
                </a:lnTo>
                <a:lnTo>
                  <a:pt x="2926" y="196"/>
                </a:lnTo>
                <a:lnTo>
                  <a:pt x="2919" y="202"/>
                </a:lnTo>
                <a:lnTo>
                  <a:pt x="2919" y="206"/>
                </a:lnTo>
                <a:lnTo>
                  <a:pt x="2915" y="208"/>
                </a:lnTo>
                <a:lnTo>
                  <a:pt x="2915" y="210"/>
                </a:lnTo>
                <a:lnTo>
                  <a:pt x="2945" y="208"/>
                </a:lnTo>
                <a:lnTo>
                  <a:pt x="2938" y="212"/>
                </a:lnTo>
                <a:lnTo>
                  <a:pt x="2939" y="213"/>
                </a:lnTo>
                <a:lnTo>
                  <a:pt x="2935" y="215"/>
                </a:lnTo>
                <a:lnTo>
                  <a:pt x="2935" y="218"/>
                </a:lnTo>
                <a:lnTo>
                  <a:pt x="2943" y="218"/>
                </a:lnTo>
                <a:lnTo>
                  <a:pt x="2959" y="210"/>
                </a:lnTo>
                <a:lnTo>
                  <a:pt x="2965" y="204"/>
                </a:lnTo>
                <a:lnTo>
                  <a:pt x="2975" y="202"/>
                </a:lnTo>
                <a:close/>
                <a:moveTo>
                  <a:pt x="2773" y="558"/>
                </a:moveTo>
                <a:lnTo>
                  <a:pt x="2774" y="557"/>
                </a:lnTo>
                <a:lnTo>
                  <a:pt x="2773" y="556"/>
                </a:lnTo>
                <a:lnTo>
                  <a:pt x="2768" y="558"/>
                </a:lnTo>
                <a:lnTo>
                  <a:pt x="2773" y="558"/>
                </a:lnTo>
                <a:close/>
                <a:moveTo>
                  <a:pt x="2886" y="127"/>
                </a:moveTo>
                <a:lnTo>
                  <a:pt x="2872" y="124"/>
                </a:lnTo>
                <a:lnTo>
                  <a:pt x="2885" y="120"/>
                </a:lnTo>
                <a:lnTo>
                  <a:pt x="2894" y="124"/>
                </a:lnTo>
                <a:lnTo>
                  <a:pt x="2898" y="121"/>
                </a:lnTo>
                <a:lnTo>
                  <a:pt x="2893" y="120"/>
                </a:lnTo>
                <a:lnTo>
                  <a:pt x="2888" y="115"/>
                </a:lnTo>
                <a:lnTo>
                  <a:pt x="2899" y="120"/>
                </a:lnTo>
                <a:lnTo>
                  <a:pt x="2899" y="116"/>
                </a:lnTo>
                <a:lnTo>
                  <a:pt x="2901" y="113"/>
                </a:lnTo>
                <a:lnTo>
                  <a:pt x="2896" y="113"/>
                </a:lnTo>
                <a:lnTo>
                  <a:pt x="2900" y="109"/>
                </a:lnTo>
                <a:lnTo>
                  <a:pt x="2911" y="114"/>
                </a:lnTo>
                <a:lnTo>
                  <a:pt x="2912" y="118"/>
                </a:lnTo>
                <a:lnTo>
                  <a:pt x="2911" y="118"/>
                </a:lnTo>
                <a:lnTo>
                  <a:pt x="2911" y="118"/>
                </a:lnTo>
                <a:lnTo>
                  <a:pt x="2911" y="120"/>
                </a:lnTo>
                <a:lnTo>
                  <a:pt x="2931" y="118"/>
                </a:lnTo>
                <a:lnTo>
                  <a:pt x="2931" y="120"/>
                </a:lnTo>
                <a:lnTo>
                  <a:pt x="2926" y="124"/>
                </a:lnTo>
                <a:lnTo>
                  <a:pt x="2931" y="121"/>
                </a:lnTo>
                <a:lnTo>
                  <a:pt x="2935" y="129"/>
                </a:lnTo>
                <a:lnTo>
                  <a:pt x="2937" y="127"/>
                </a:lnTo>
                <a:lnTo>
                  <a:pt x="2938" y="118"/>
                </a:lnTo>
                <a:lnTo>
                  <a:pt x="2939" y="117"/>
                </a:lnTo>
                <a:lnTo>
                  <a:pt x="2939" y="118"/>
                </a:lnTo>
                <a:lnTo>
                  <a:pt x="2945" y="118"/>
                </a:lnTo>
                <a:lnTo>
                  <a:pt x="2946" y="110"/>
                </a:lnTo>
                <a:lnTo>
                  <a:pt x="2953" y="112"/>
                </a:lnTo>
                <a:lnTo>
                  <a:pt x="2949" y="113"/>
                </a:lnTo>
                <a:lnTo>
                  <a:pt x="2953" y="115"/>
                </a:lnTo>
                <a:lnTo>
                  <a:pt x="2949" y="118"/>
                </a:lnTo>
                <a:lnTo>
                  <a:pt x="2947" y="121"/>
                </a:lnTo>
                <a:lnTo>
                  <a:pt x="2949" y="124"/>
                </a:lnTo>
                <a:lnTo>
                  <a:pt x="2953" y="120"/>
                </a:lnTo>
                <a:lnTo>
                  <a:pt x="2956" y="121"/>
                </a:lnTo>
                <a:lnTo>
                  <a:pt x="2956" y="120"/>
                </a:lnTo>
                <a:lnTo>
                  <a:pt x="2956" y="118"/>
                </a:lnTo>
                <a:lnTo>
                  <a:pt x="2968" y="118"/>
                </a:lnTo>
                <a:lnTo>
                  <a:pt x="2965" y="116"/>
                </a:lnTo>
                <a:lnTo>
                  <a:pt x="2971" y="118"/>
                </a:lnTo>
                <a:lnTo>
                  <a:pt x="2972" y="115"/>
                </a:lnTo>
                <a:lnTo>
                  <a:pt x="2972" y="116"/>
                </a:lnTo>
                <a:lnTo>
                  <a:pt x="2972" y="118"/>
                </a:lnTo>
                <a:lnTo>
                  <a:pt x="2977" y="117"/>
                </a:lnTo>
                <a:lnTo>
                  <a:pt x="2981" y="116"/>
                </a:lnTo>
                <a:lnTo>
                  <a:pt x="2980" y="117"/>
                </a:lnTo>
                <a:lnTo>
                  <a:pt x="2980" y="118"/>
                </a:lnTo>
                <a:lnTo>
                  <a:pt x="3008" y="124"/>
                </a:lnTo>
                <a:lnTo>
                  <a:pt x="3006" y="129"/>
                </a:lnTo>
                <a:lnTo>
                  <a:pt x="3010" y="130"/>
                </a:lnTo>
                <a:lnTo>
                  <a:pt x="2989" y="140"/>
                </a:lnTo>
                <a:lnTo>
                  <a:pt x="2991" y="143"/>
                </a:lnTo>
                <a:lnTo>
                  <a:pt x="2987" y="147"/>
                </a:lnTo>
                <a:lnTo>
                  <a:pt x="2983" y="149"/>
                </a:lnTo>
                <a:lnTo>
                  <a:pt x="2980" y="151"/>
                </a:lnTo>
                <a:lnTo>
                  <a:pt x="2973" y="149"/>
                </a:lnTo>
                <a:lnTo>
                  <a:pt x="2967" y="152"/>
                </a:lnTo>
                <a:lnTo>
                  <a:pt x="2964" y="158"/>
                </a:lnTo>
                <a:lnTo>
                  <a:pt x="2956" y="158"/>
                </a:lnTo>
                <a:lnTo>
                  <a:pt x="2942" y="152"/>
                </a:lnTo>
                <a:lnTo>
                  <a:pt x="2944" y="147"/>
                </a:lnTo>
                <a:lnTo>
                  <a:pt x="2911" y="148"/>
                </a:lnTo>
                <a:lnTo>
                  <a:pt x="2911" y="146"/>
                </a:lnTo>
                <a:lnTo>
                  <a:pt x="2907" y="146"/>
                </a:lnTo>
                <a:lnTo>
                  <a:pt x="2898" y="142"/>
                </a:lnTo>
                <a:lnTo>
                  <a:pt x="2907" y="142"/>
                </a:lnTo>
                <a:lnTo>
                  <a:pt x="2920" y="142"/>
                </a:lnTo>
                <a:lnTo>
                  <a:pt x="2911" y="138"/>
                </a:lnTo>
                <a:lnTo>
                  <a:pt x="2931" y="136"/>
                </a:lnTo>
                <a:lnTo>
                  <a:pt x="2938" y="132"/>
                </a:lnTo>
                <a:lnTo>
                  <a:pt x="2886" y="136"/>
                </a:lnTo>
                <a:lnTo>
                  <a:pt x="2876" y="130"/>
                </a:lnTo>
                <a:lnTo>
                  <a:pt x="2886" y="127"/>
                </a:lnTo>
                <a:close/>
                <a:moveTo>
                  <a:pt x="2968" y="122"/>
                </a:moveTo>
                <a:lnTo>
                  <a:pt x="2969" y="122"/>
                </a:lnTo>
                <a:lnTo>
                  <a:pt x="2970" y="120"/>
                </a:lnTo>
                <a:lnTo>
                  <a:pt x="2968" y="122"/>
                </a:lnTo>
                <a:close/>
                <a:moveTo>
                  <a:pt x="2914" y="426"/>
                </a:moveTo>
                <a:lnTo>
                  <a:pt x="2915" y="429"/>
                </a:lnTo>
                <a:lnTo>
                  <a:pt x="2917" y="426"/>
                </a:lnTo>
                <a:lnTo>
                  <a:pt x="2914" y="426"/>
                </a:lnTo>
                <a:close/>
                <a:moveTo>
                  <a:pt x="2952" y="405"/>
                </a:moveTo>
                <a:lnTo>
                  <a:pt x="2952" y="403"/>
                </a:lnTo>
                <a:lnTo>
                  <a:pt x="2951" y="403"/>
                </a:lnTo>
                <a:lnTo>
                  <a:pt x="2948" y="403"/>
                </a:lnTo>
                <a:lnTo>
                  <a:pt x="2948" y="407"/>
                </a:lnTo>
                <a:lnTo>
                  <a:pt x="2949" y="407"/>
                </a:lnTo>
                <a:lnTo>
                  <a:pt x="2948" y="407"/>
                </a:lnTo>
                <a:lnTo>
                  <a:pt x="2944" y="408"/>
                </a:lnTo>
                <a:lnTo>
                  <a:pt x="2939" y="407"/>
                </a:lnTo>
                <a:lnTo>
                  <a:pt x="2939" y="408"/>
                </a:lnTo>
                <a:lnTo>
                  <a:pt x="2939" y="407"/>
                </a:lnTo>
                <a:lnTo>
                  <a:pt x="2930" y="408"/>
                </a:lnTo>
                <a:lnTo>
                  <a:pt x="2931" y="410"/>
                </a:lnTo>
                <a:lnTo>
                  <a:pt x="2931" y="413"/>
                </a:lnTo>
                <a:lnTo>
                  <a:pt x="2947" y="411"/>
                </a:lnTo>
                <a:lnTo>
                  <a:pt x="2952" y="405"/>
                </a:lnTo>
                <a:close/>
                <a:moveTo>
                  <a:pt x="2915" y="423"/>
                </a:moveTo>
                <a:lnTo>
                  <a:pt x="2914" y="423"/>
                </a:lnTo>
                <a:lnTo>
                  <a:pt x="2915" y="425"/>
                </a:lnTo>
                <a:lnTo>
                  <a:pt x="2915" y="423"/>
                </a:lnTo>
                <a:close/>
                <a:moveTo>
                  <a:pt x="2929" y="417"/>
                </a:moveTo>
                <a:lnTo>
                  <a:pt x="2926" y="417"/>
                </a:lnTo>
                <a:lnTo>
                  <a:pt x="2928" y="419"/>
                </a:lnTo>
                <a:lnTo>
                  <a:pt x="2929" y="417"/>
                </a:lnTo>
                <a:close/>
                <a:moveTo>
                  <a:pt x="2940" y="417"/>
                </a:moveTo>
                <a:lnTo>
                  <a:pt x="2936" y="418"/>
                </a:lnTo>
                <a:lnTo>
                  <a:pt x="2946" y="419"/>
                </a:lnTo>
                <a:lnTo>
                  <a:pt x="2940" y="417"/>
                </a:lnTo>
                <a:close/>
                <a:moveTo>
                  <a:pt x="3020" y="166"/>
                </a:moveTo>
                <a:lnTo>
                  <a:pt x="3031" y="163"/>
                </a:lnTo>
                <a:lnTo>
                  <a:pt x="3032" y="163"/>
                </a:lnTo>
                <a:lnTo>
                  <a:pt x="3033" y="163"/>
                </a:lnTo>
                <a:lnTo>
                  <a:pt x="3032" y="163"/>
                </a:lnTo>
                <a:lnTo>
                  <a:pt x="3032" y="163"/>
                </a:lnTo>
                <a:lnTo>
                  <a:pt x="3031" y="163"/>
                </a:lnTo>
                <a:lnTo>
                  <a:pt x="3025" y="163"/>
                </a:lnTo>
                <a:lnTo>
                  <a:pt x="3020" y="164"/>
                </a:lnTo>
                <a:lnTo>
                  <a:pt x="3020" y="166"/>
                </a:lnTo>
                <a:close/>
                <a:moveTo>
                  <a:pt x="2964" y="115"/>
                </a:moveTo>
                <a:lnTo>
                  <a:pt x="2964" y="116"/>
                </a:lnTo>
                <a:lnTo>
                  <a:pt x="2965" y="116"/>
                </a:lnTo>
                <a:lnTo>
                  <a:pt x="2964" y="115"/>
                </a:lnTo>
                <a:lnTo>
                  <a:pt x="2964" y="115"/>
                </a:lnTo>
                <a:close/>
                <a:moveTo>
                  <a:pt x="3018" y="121"/>
                </a:moveTo>
                <a:lnTo>
                  <a:pt x="3017" y="122"/>
                </a:lnTo>
                <a:lnTo>
                  <a:pt x="3017" y="124"/>
                </a:lnTo>
                <a:lnTo>
                  <a:pt x="3021" y="121"/>
                </a:lnTo>
                <a:lnTo>
                  <a:pt x="3018" y="121"/>
                </a:lnTo>
                <a:close/>
                <a:moveTo>
                  <a:pt x="2919" y="101"/>
                </a:moveTo>
                <a:lnTo>
                  <a:pt x="2912" y="100"/>
                </a:lnTo>
                <a:lnTo>
                  <a:pt x="2915" y="103"/>
                </a:lnTo>
                <a:lnTo>
                  <a:pt x="2919" y="101"/>
                </a:lnTo>
                <a:close/>
                <a:moveTo>
                  <a:pt x="2968" y="113"/>
                </a:moveTo>
                <a:lnTo>
                  <a:pt x="2965" y="112"/>
                </a:lnTo>
                <a:lnTo>
                  <a:pt x="2965" y="113"/>
                </a:lnTo>
                <a:lnTo>
                  <a:pt x="2964" y="113"/>
                </a:lnTo>
                <a:lnTo>
                  <a:pt x="2967" y="113"/>
                </a:lnTo>
                <a:lnTo>
                  <a:pt x="2968" y="113"/>
                </a:lnTo>
                <a:close/>
                <a:moveTo>
                  <a:pt x="2914" y="423"/>
                </a:moveTo>
                <a:lnTo>
                  <a:pt x="2914" y="421"/>
                </a:lnTo>
                <a:lnTo>
                  <a:pt x="2910" y="419"/>
                </a:lnTo>
                <a:lnTo>
                  <a:pt x="2909" y="421"/>
                </a:lnTo>
                <a:lnTo>
                  <a:pt x="2907" y="425"/>
                </a:lnTo>
                <a:lnTo>
                  <a:pt x="2910" y="425"/>
                </a:lnTo>
                <a:lnTo>
                  <a:pt x="2914" y="425"/>
                </a:lnTo>
                <a:lnTo>
                  <a:pt x="2914" y="423"/>
                </a:lnTo>
                <a:close/>
                <a:moveTo>
                  <a:pt x="3039" y="166"/>
                </a:moveTo>
                <a:lnTo>
                  <a:pt x="3045" y="164"/>
                </a:lnTo>
                <a:lnTo>
                  <a:pt x="3033" y="163"/>
                </a:lnTo>
                <a:lnTo>
                  <a:pt x="3036" y="165"/>
                </a:lnTo>
                <a:lnTo>
                  <a:pt x="3039" y="166"/>
                </a:lnTo>
                <a:close/>
                <a:moveTo>
                  <a:pt x="2920" y="104"/>
                </a:moveTo>
                <a:lnTo>
                  <a:pt x="2923" y="103"/>
                </a:lnTo>
                <a:lnTo>
                  <a:pt x="2919" y="103"/>
                </a:lnTo>
                <a:lnTo>
                  <a:pt x="2920" y="104"/>
                </a:lnTo>
                <a:close/>
                <a:moveTo>
                  <a:pt x="2935" y="113"/>
                </a:moveTo>
                <a:lnTo>
                  <a:pt x="2935" y="115"/>
                </a:lnTo>
                <a:lnTo>
                  <a:pt x="2939" y="116"/>
                </a:lnTo>
                <a:lnTo>
                  <a:pt x="2939" y="112"/>
                </a:lnTo>
                <a:lnTo>
                  <a:pt x="2935" y="113"/>
                </a:lnTo>
                <a:close/>
                <a:moveTo>
                  <a:pt x="2915" y="104"/>
                </a:moveTo>
                <a:lnTo>
                  <a:pt x="2911" y="103"/>
                </a:lnTo>
                <a:lnTo>
                  <a:pt x="2913" y="104"/>
                </a:lnTo>
                <a:lnTo>
                  <a:pt x="2915" y="104"/>
                </a:lnTo>
                <a:close/>
                <a:moveTo>
                  <a:pt x="2782" y="552"/>
                </a:moveTo>
                <a:lnTo>
                  <a:pt x="2779" y="552"/>
                </a:lnTo>
                <a:lnTo>
                  <a:pt x="2779" y="553"/>
                </a:lnTo>
                <a:lnTo>
                  <a:pt x="2782" y="552"/>
                </a:lnTo>
                <a:close/>
                <a:moveTo>
                  <a:pt x="2939" y="116"/>
                </a:moveTo>
                <a:lnTo>
                  <a:pt x="2939" y="117"/>
                </a:lnTo>
                <a:lnTo>
                  <a:pt x="2939" y="116"/>
                </a:lnTo>
                <a:lnTo>
                  <a:pt x="2939" y="116"/>
                </a:lnTo>
                <a:close/>
                <a:moveTo>
                  <a:pt x="2886" y="116"/>
                </a:moveTo>
                <a:lnTo>
                  <a:pt x="2880" y="115"/>
                </a:lnTo>
                <a:lnTo>
                  <a:pt x="2876" y="116"/>
                </a:lnTo>
                <a:lnTo>
                  <a:pt x="2882" y="118"/>
                </a:lnTo>
                <a:lnTo>
                  <a:pt x="2886" y="116"/>
                </a:lnTo>
                <a:close/>
                <a:moveTo>
                  <a:pt x="2905" y="108"/>
                </a:moveTo>
                <a:lnTo>
                  <a:pt x="2901" y="109"/>
                </a:lnTo>
                <a:lnTo>
                  <a:pt x="2904" y="109"/>
                </a:lnTo>
                <a:lnTo>
                  <a:pt x="2905" y="108"/>
                </a:lnTo>
                <a:close/>
                <a:moveTo>
                  <a:pt x="2915" y="430"/>
                </a:moveTo>
                <a:lnTo>
                  <a:pt x="2917" y="429"/>
                </a:lnTo>
                <a:lnTo>
                  <a:pt x="2915" y="429"/>
                </a:lnTo>
                <a:lnTo>
                  <a:pt x="2915" y="430"/>
                </a:lnTo>
                <a:close/>
                <a:moveTo>
                  <a:pt x="2903" y="423"/>
                </a:moveTo>
                <a:lnTo>
                  <a:pt x="2897" y="418"/>
                </a:lnTo>
                <a:lnTo>
                  <a:pt x="2896" y="419"/>
                </a:lnTo>
                <a:lnTo>
                  <a:pt x="2898" y="425"/>
                </a:lnTo>
                <a:lnTo>
                  <a:pt x="2900" y="425"/>
                </a:lnTo>
                <a:lnTo>
                  <a:pt x="2903" y="423"/>
                </a:lnTo>
                <a:close/>
                <a:moveTo>
                  <a:pt x="2910" y="430"/>
                </a:moveTo>
                <a:lnTo>
                  <a:pt x="2914" y="430"/>
                </a:lnTo>
                <a:lnTo>
                  <a:pt x="2914" y="429"/>
                </a:lnTo>
                <a:lnTo>
                  <a:pt x="2910" y="429"/>
                </a:lnTo>
                <a:lnTo>
                  <a:pt x="2910" y="430"/>
                </a:lnTo>
                <a:close/>
                <a:moveTo>
                  <a:pt x="2900" y="429"/>
                </a:moveTo>
                <a:lnTo>
                  <a:pt x="2898" y="426"/>
                </a:lnTo>
                <a:lnTo>
                  <a:pt x="2895" y="430"/>
                </a:lnTo>
                <a:lnTo>
                  <a:pt x="2898" y="429"/>
                </a:lnTo>
                <a:lnTo>
                  <a:pt x="2900" y="429"/>
                </a:lnTo>
                <a:close/>
                <a:moveTo>
                  <a:pt x="2796" y="484"/>
                </a:moveTo>
                <a:lnTo>
                  <a:pt x="2801" y="481"/>
                </a:lnTo>
                <a:lnTo>
                  <a:pt x="2802" y="477"/>
                </a:lnTo>
                <a:lnTo>
                  <a:pt x="2801" y="476"/>
                </a:lnTo>
                <a:lnTo>
                  <a:pt x="2796" y="484"/>
                </a:lnTo>
                <a:close/>
                <a:moveTo>
                  <a:pt x="2889" y="306"/>
                </a:moveTo>
                <a:lnTo>
                  <a:pt x="2893" y="302"/>
                </a:lnTo>
                <a:lnTo>
                  <a:pt x="2886" y="302"/>
                </a:lnTo>
                <a:lnTo>
                  <a:pt x="2889" y="306"/>
                </a:lnTo>
                <a:close/>
                <a:moveTo>
                  <a:pt x="2895" y="421"/>
                </a:moveTo>
                <a:lnTo>
                  <a:pt x="2892" y="423"/>
                </a:lnTo>
                <a:lnTo>
                  <a:pt x="2896" y="423"/>
                </a:lnTo>
                <a:lnTo>
                  <a:pt x="2895" y="421"/>
                </a:lnTo>
                <a:close/>
                <a:moveTo>
                  <a:pt x="2806" y="476"/>
                </a:moveTo>
                <a:lnTo>
                  <a:pt x="2805" y="476"/>
                </a:lnTo>
                <a:lnTo>
                  <a:pt x="2802" y="477"/>
                </a:lnTo>
                <a:lnTo>
                  <a:pt x="2802" y="479"/>
                </a:lnTo>
                <a:lnTo>
                  <a:pt x="2806" y="476"/>
                </a:lnTo>
                <a:close/>
                <a:moveTo>
                  <a:pt x="2852" y="454"/>
                </a:moveTo>
                <a:lnTo>
                  <a:pt x="2847" y="454"/>
                </a:lnTo>
                <a:lnTo>
                  <a:pt x="2851" y="456"/>
                </a:lnTo>
                <a:lnTo>
                  <a:pt x="2852" y="454"/>
                </a:lnTo>
                <a:close/>
                <a:moveTo>
                  <a:pt x="2818" y="471"/>
                </a:moveTo>
                <a:lnTo>
                  <a:pt x="2816" y="471"/>
                </a:lnTo>
                <a:lnTo>
                  <a:pt x="2818" y="472"/>
                </a:lnTo>
                <a:lnTo>
                  <a:pt x="2818" y="471"/>
                </a:lnTo>
                <a:close/>
                <a:moveTo>
                  <a:pt x="2832" y="460"/>
                </a:moveTo>
                <a:lnTo>
                  <a:pt x="2831" y="460"/>
                </a:lnTo>
                <a:lnTo>
                  <a:pt x="2831" y="460"/>
                </a:lnTo>
                <a:lnTo>
                  <a:pt x="2832" y="460"/>
                </a:lnTo>
                <a:close/>
                <a:moveTo>
                  <a:pt x="2831" y="457"/>
                </a:moveTo>
                <a:lnTo>
                  <a:pt x="2831" y="457"/>
                </a:lnTo>
                <a:lnTo>
                  <a:pt x="2828" y="456"/>
                </a:lnTo>
                <a:lnTo>
                  <a:pt x="2827" y="460"/>
                </a:lnTo>
                <a:lnTo>
                  <a:pt x="2821" y="457"/>
                </a:lnTo>
                <a:lnTo>
                  <a:pt x="2820" y="461"/>
                </a:lnTo>
                <a:lnTo>
                  <a:pt x="2821" y="463"/>
                </a:lnTo>
                <a:lnTo>
                  <a:pt x="2831" y="460"/>
                </a:lnTo>
                <a:lnTo>
                  <a:pt x="2831" y="460"/>
                </a:lnTo>
                <a:lnTo>
                  <a:pt x="2831" y="457"/>
                </a:lnTo>
                <a:close/>
                <a:moveTo>
                  <a:pt x="2827" y="454"/>
                </a:moveTo>
                <a:lnTo>
                  <a:pt x="2827" y="454"/>
                </a:lnTo>
                <a:lnTo>
                  <a:pt x="2828" y="456"/>
                </a:lnTo>
                <a:lnTo>
                  <a:pt x="2828" y="455"/>
                </a:lnTo>
                <a:lnTo>
                  <a:pt x="2831" y="457"/>
                </a:lnTo>
                <a:lnTo>
                  <a:pt x="2828" y="452"/>
                </a:lnTo>
                <a:lnTo>
                  <a:pt x="2827" y="454"/>
                </a:lnTo>
                <a:close/>
                <a:moveTo>
                  <a:pt x="2831" y="457"/>
                </a:moveTo>
                <a:lnTo>
                  <a:pt x="2831" y="457"/>
                </a:lnTo>
                <a:lnTo>
                  <a:pt x="2831" y="457"/>
                </a:lnTo>
                <a:lnTo>
                  <a:pt x="2831" y="457"/>
                </a:lnTo>
                <a:close/>
                <a:moveTo>
                  <a:pt x="2883" y="426"/>
                </a:moveTo>
                <a:lnTo>
                  <a:pt x="2888" y="425"/>
                </a:lnTo>
                <a:lnTo>
                  <a:pt x="2883" y="423"/>
                </a:lnTo>
                <a:lnTo>
                  <a:pt x="2883" y="426"/>
                </a:lnTo>
                <a:close/>
                <a:moveTo>
                  <a:pt x="2774" y="178"/>
                </a:moveTo>
                <a:lnTo>
                  <a:pt x="2787" y="187"/>
                </a:lnTo>
                <a:lnTo>
                  <a:pt x="2787" y="185"/>
                </a:lnTo>
                <a:lnTo>
                  <a:pt x="2783" y="179"/>
                </a:lnTo>
                <a:lnTo>
                  <a:pt x="2775" y="176"/>
                </a:lnTo>
                <a:lnTo>
                  <a:pt x="2775" y="170"/>
                </a:lnTo>
                <a:lnTo>
                  <a:pt x="2776" y="170"/>
                </a:lnTo>
                <a:lnTo>
                  <a:pt x="2774" y="166"/>
                </a:lnTo>
                <a:lnTo>
                  <a:pt x="2765" y="164"/>
                </a:lnTo>
                <a:lnTo>
                  <a:pt x="2767" y="168"/>
                </a:lnTo>
                <a:lnTo>
                  <a:pt x="2774" y="178"/>
                </a:lnTo>
                <a:close/>
                <a:moveTo>
                  <a:pt x="2905" y="151"/>
                </a:moveTo>
                <a:lnTo>
                  <a:pt x="2904" y="151"/>
                </a:lnTo>
                <a:lnTo>
                  <a:pt x="2902" y="152"/>
                </a:lnTo>
                <a:lnTo>
                  <a:pt x="2905" y="151"/>
                </a:lnTo>
                <a:close/>
                <a:moveTo>
                  <a:pt x="2884" y="434"/>
                </a:moveTo>
                <a:lnTo>
                  <a:pt x="2888" y="433"/>
                </a:lnTo>
                <a:lnTo>
                  <a:pt x="2883" y="429"/>
                </a:lnTo>
                <a:lnTo>
                  <a:pt x="2884" y="434"/>
                </a:lnTo>
                <a:close/>
                <a:moveTo>
                  <a:pt x="2775" y="138"/>
                </a:moveTo>
                <a:lnTo>
                  <a:pt x="2768" y="136"/>
                </a:lnTo>
                <a:lnTo>
                  <a:pt x="2770" y="138"/>
                </a:lnTo>
                <a:lnTo>
                  <a:pt x="2775" y="138"/>
                </a:lnTo>
                <a:close/>
                <a:moveTo>
                  <a:pt x="2971" y="397"/>
                </a:moveTo>
                <a:lnTo>
                  <a:pt x="2972" y="398"/>
                </a:lnTo>
                <a:lnTo>
                  <a:pt x="2974" y="396"/>
                </a:lnTo>
                <a:lnTo>
                  <a:pt x="2971" y="396"/>
                </a:lnTo>
                <a:lnTo>
                  <a:pt x="2971" y="397"/>
                </a:lnTo>
                <a:close/>
                <a:moveTo>
                  <a:pt x="2985" y="234"/>
                </a:moveTo>
                <a:lnTo>
                  <a:pt x="2972" y="242"/>
                </a:lnTo>
                <a:lnTo>
                  <a:pt x="2972" y="243"/>
                </a:lnTo>
                <a:lnTo>
                  <a:pt x="2985" y="234"/>
                </a:lnTo>
                <a:lnTo>
                  <a:pt x="2985" y="234"/>
                </a:lnTo>
                <a:close/>
                <a:moveTo>
                  <a:pt x="2788" y="541"/>
                </a:moveTo>
                <a:lnTo>
                  <a:pt x="2787" y="548"/>
                </a:lnTo>
                <a:lnTo>
                  <a:pt x="2794" y="546"/>
                </a:lnTo>
                <a:lnTo>
                  <a:pt x="2788" y="541"/>
                </a:lnTo>
                <a:close/>
                <a:moveTo>
                  <a:pt x="2771" y="148"/>
                </a:moveTo>
                <a:lnTo>
                  <a:pt x="2775" y="152"/>
                </a:lnTo>
                <a:lnTo>
                  <a:pt x="2776" y="158"/>
                </a:lnTo>
                <a:lnTo>
                  <a:pt x="2784" y="154"/>
                </a:lnTo>
                <a:lnTo>
                  <a:pt x="2782" y="151"/>
                </a:lnTo>
                <a:lnTo>
                  <a:pt x="2783" y="151"/>
                </a:lnTo>
                <a:lnTo>
                  <a:pt x="2786" y="152"/>
                </a:lnTo>
                <a:lnTo>
                  <a:pt x="2789" y="151"/>
                </a:lnTo>
                <a:lnTo>
                  <a:pt x="2785" y="158"/>
                </a:lnTo>
                <a:lnTo>
                  <a:pt x="2787" y="162"/>
                </a:lnTo>
                <a:lnTo>
                  <a:pt x="2794" y="162"/>
                </a:lnTo>
                <a:lnTo>
                  <a:pt x="2796" y="163"/>
                </a:lnTo>
                <a:lnTo>
                  <a:pt x="2779" y="162"/>
                </a:lnTo>
                <a:lnTo>
                  <a:pt x="2786" y="166"/>
                </a:lnTo>
                <a:lnTo>
                  <a:pt x="2783" y="170"/>
                </a:lnTo>
                <a:lnTo>
                  <a:pt x="2786" y="173"/>
                </a:lnTo>
                <a:lnTo>
                  <a:pt x="2805" y="175"/>
                </a:lnTo>
                <a:lnTo>
                  <a:pt x="2793" y="178"/>
                </a:lnTo>
                <a:lnTo>
                  <a:pt x="2801" y="182"/>
                </a:lnTo>
                <a:lnTo>
                  <a:pt x="2802" y="186"/>
                </a:lnTo>
                <a:lnTo>
                  <a:pt x="2812" y="187"/>
                </a:lnTo>
                <a:lnTo>
                  <a:pt x="2821" y="182"/>
                </a:lnTo>
                <a:lnTo>
                  <a:pt x="2823" y="182"/>
                </a:lnTo>
                <a:lnTo>
                  <a:pt x="2827" y="182"/>
                </a:lnTo>
                <a:lnTo>
                  <a:pt x="2822" y="179"/>
                </a:lnTo>
                <a:lnTo>
                  <a:pt x="2823" y="174"/>
                </a:lnTo>
                <a:lnTo>
                  <a:pt x="2823" y="171"/>
                </a:lnTo>
                <a:lnTo>
                  <a:pt x="2827" y="170"/>
                </a:lnTo>
                <a:lnTo>
                  <a:pt x="2827" y="173"/>
                </a:lnTo>
                <a:lnTo>
                  <a:pt x="2831" y="174"/>
                </a:lnTo>
                <a:lnTo>
                  <a:pt x="2836" y="166"/>
                </a:lnTo>
                <a:lnTo>
                  <a:pt x="2838" y="168"/>
                </a:lnTo>
                <a:lnTo>
                  <a:pt x="2837" y="173"/>
                </a:lnTo>
                <a:lnTo>
                  <a:pt x="2834" y="174"/>
                </a:lnTo>
                <a:lnTo>
                  <a:pt x="2839" y="179"/>
                </a:lnTo>
                <a:lnTo>
                  <a:pt x="2846" y="178"/>
                </a:lnTo>
                <a:lnTo>
                  <a:pt x="2853" y="170"/>
                </a:lnTo>
                <a:lnTo>
                  <a:pt x="2858" y="172"/>
                </a:lnTo>
                <a:lnTo>
                  <a:pt x="2849" y="182"/>
                </a:lnTo>
                <a:lnTo>
                  <a:pt x="2842" y="182"/>
                </a:lnTo>
                <a:lnTo>
                  <a:pt x="2841" y="185"/>
                </a:lnTo>
                <a:lnTo>
                  <a:pt x="2842" y="186"/>
                </a:lnTo>
                <a:lnTo>
                  <a:pt x="2835" y="186"/>
                </a:lnTo>
                <a:lnTo>
                  <a:pt x="2831" y="190"/>
                </a:lnTo>
                <a:lnTo>
                  <a:pt x="2820" y="191"/>
                </a:lnTo>
                <a:lnTo>
                  <a:pt x="2821" y="193"/>
                </a:lnTo>
                <a:lnTo>
                  <a:pt x="2815" y="191"/>
                </a:lnTo>
                <a:lnTo>
                  <a:pt x="2811" y="192"/>
                </a:lnTo>
                <a:lnTo>
                  <a:pt x="2811" y="197"/>
                </a:lnTo>
                <a:lnTo>
                  <a:pt x="2814" y="198"/>
                </a:lnTo>
                <a:lnTo>
                  <a:pt x="2813" y="201"/>
                </a:lnTo>
                <a:lnTo>
                  <a:pt x="2816" y="202"/>
                </a:lnTo>
                <a:lnTo>
                  <a:pt x="2861" y="196"/>
                </a:lnTo>
                <a:lnTo>
                  <a:pt x="2858" y="198"/>
                </a:lnTo>
                <a:lnTo>
                  <a:pt x="2827" y="204"/>
                </a:lnTo>
                <a:lnTo>
                  <a:pt x="2849" y="210"/>
                </a:lnTo>
                <a:lnTo>
                  <a:pt x="2848" y="213"/>
                </a:lnTo>
                <a:lnTo>
                  <a:pt x="2842" y="210"/>
                </a:lnTo>
                <a:lnTo>
                  <a:pt x="2825" y="210"/>
                </a:lnTo>
                <a:lnTo>
                  <a:pt x="2821" y="210"/>
                </a:lnTo>
                <a:lnTo>
                  <a:pt x="2815" y="210"/>
                </a:lnTo>
                <a:lnTo>
                  <a:pt x="2820" y="217"/>
                </a:lnTo>
                <a:lnTo>
                  <a:pt x="2824" y="222"/>
                </a:lnTo>
                <a:lnTo>
                  <a:pt x="2832" y="222"/>
                </a:lnTo>
                <a:lnTo>
                  <a:pt x="2837" y="226"/>
                </a:lnTo>
                <a:lnTo>
                  <a:pt x="2846" y="222"/>
                </a:lnTo>
                <a:lnTo>
                  <a:pt x="2853" y="225"/>
                </a:lnTo>
                <a:lnTo>
                  <a:pt x="2839" y="229"/>
                </a:lnTo>
                <a:lnTo>
                  <a:pt x="2858" y="239"/>
                </a:lnTo>
                <a:lnTo>
                  <a:pt x="2863" y="235"/>
                </a:lnTo>
                <a:lnTo>
                  <a:pt x="2860" y="232"/>
                </a:lnTo>
                <a:lnTo>
                  <a:pt x="2863" y="226"/>
                </a:lnTo>
                <a:lnTo>
                  <a:pt x="2865" y="226"/>
                </a:lnTo>
                <a:lnTo>
                  <a:pt x="2871" y="214"/>
                </a:lnTo>
                <a:lnTo>
                  <a:pt x="2879" y="209"/>
                </a:lnTo>
                <a:lnTo>
                  <a:pt x="2881" y="201"/>
                </a:lnTo>
                <a:lnTo>
                  <a:pt x="2879" y="197"/>
                </a:lnTo>
                <a:lnTo>
                  <a:pt x="2879" y="192"/>
                </a:lnTo>
                <a:lnTo>
                  <a:pt x="2890" y="191"/>
                </a:lnTo>
                <a:lnTo>
                  <a:pt x="2887" y="185"/>
                </a:lnTo>
                <a:lnTo>
                  <a:pt x="2887" y="181"/>
                </a:lnTo>
                <a:lnTo>
                  <a:pt x="2887" y="182"/>
                </a:lnTo>
                <a:lnTo>
                  <a:pt x="2900" y="182"/>
                </a:lnTo>
                <a:lnTo>
                  <a:pt x="2898" y="177"/>
                </a:lnTo>
                <a:lnTo>
                  <a:pt x="2900" y="174"/>
                </a:lnTo>
                <a:lnTo>
                  <a:pt x="2919" y="174"/>
                </a:lnTo>
                <a:lnTo>
                  <a:pt x="2905" y="178"/>
                </a:lnTo>
                <a:lnTo>
                  <a:pt x="2913" y="181"/>
                </a:lnTo>
                <a:lnTo>
                  <a:pt x="2911" y="182"/>
                </a:lnTo>
                <a:lnTo>
                  <a:pt x="2915" y="185"/>
                </a:lnTo>
                <a:lnTo>
                  <a:pt x="2911" y="187"/>
                </a:lnTo>
                <a:lnTo>
                  <a:pt x="2931" y="185"/>
                </a:lnTo>
                <a:lnTo>
                  <a:pt x="2931" y="178"/>
                </a:lnTo>
                <a:lnTo>
                  <a:pt x="2931" y="174"/>
                </a:lnTo>
                <a:lnTo>
                  <a:pt x="2924" y="174"/>
                </a:lnTo>
                <a:lnTo>
                  <a:pt x="2926" y="166"/>
                </a:lnTo>
                <a:lnTo>
                  <a:pt x="2909" y="161"/>
                </a:lnTo>
                <a:lnTo>
                  <a:pt x="2915" y="158"/>
                </a:lnTo>
                <a:lnTo>
                  <a:pt x="2907" y="156"/>
                </a:lnTo>
                <a:lnTo>
                  <a:pt x="2904" y="159"/>
                </a:lnTo>
                <a:lnTo>
                  <a:pt x="2906" y="160"/>
                </a:lnTo>
                <a:lnTo>
                  <a:pt x="2902" y="159"/>
                </a:lnTo>
                <a:lnTo>
                  <a:pt x="2900" y="156"/>
                </a:lnTo>
                <a:lnTo>
                  <a:pt x="2887" y="154"/>
                </a:lnTo>
                <a:lnTo>
                  <a:pt x="2886" y="145"/>
                </a:lnTo>
                <a:lnTo>
                  <a:pt x="2880" y="140"/>
                </a:lnTo>
                <a:lnTo>
                  <a:pt x="2872" y="145"/>
                </a:lnTo>
                <a:lnTo>
                  <a:pt x="2871" y="143"/>
                </a:lnTo>
                <a:lnTo>
                  <a:pt x="2872" y="140"/>
                </a:lnTo>
                <a:lnTo>
                  <a:pt x="2876" y="136"/>
                </a:lnTo>
                <a:lnTo>
                  <a:pt x="2863" y="130"/>
                </a:lnTo>
                <a:lnTo>
                  <a:pt x="2860" y="129"/>
                </a:lnTo>
                <a:lnTo>
                  <a:pt x="2858" y="132"/>
                </a:lnTo>
                <a:lnTo>
                  <a:pt x="2854" y="126"/>
                </a:lnTo>
                <a:lnTo>
                  <a:pt x="2849" y="126"/>
                </a:lnTo>
                <a:lnTo>
                  <a:pt x="2845" y="129"/>
                </a:lnTo>
                <a:lnTo>
                  <a:pt x="2848" y="132"/>
                </a:lnTo>
                <a:lnTo>
                  <a:pt x="2841" y="133"/>
                </a:lnTo>
                <a:lnTo>
                  <a:pt x="2845" y="151"/>
                </a:lnTo>
                <a:lnTo>
                  <a:pt x="2853" y="164"/>
                </a:lnTo>
                <a:lnTo>
                  <a:pt x="2843" y="154"/>
                </a:lnTo>
                <a:lnTo>
                  <a:pt x="2842" y="156"/>
                </a:lnTo>
                <a:lnTo>
                  <a:pt x="2843" y="152"/>
                </a:lnTo>
                <a:lnTo>
                  <a:pt x="2839" y="151"/>
                </a:lnTo>
                <a:lnTo>
                  <a:pt x="2835" y="140"/>
                </a:lnTo>
                <a:lnTo>
                  <a:pt x="2826" y="132"/>
                </a:lnTo>
                <a:lnTo>
                  <a:pt x="2815" y="143"/>
                </a:lnTo>
                <a:lnTo>
                  <a:pt x="2820" y="151"/>
                </a:lnTo>
                <a:lnTo>
                  <a:pt x="2819" y="152"/>
                </a:lnTo>
                <a:lnTo>
                  <a:pt x="2812" y="146"/>
                </a:lnTo>
                <a:lnTo>
                  <a:pt x="2807" y="146"/>
                </a:lnTo>
                <a:lnTo>
                  <a:pt x="2809" y="142"/>
                </a:lnTo>
                <a:lnTo>
                  <a:pt x="2794" y="142"/>
                </a:lnTo>
                <a:lnTo>
                  <a:pt x="2816" y="136"/>
                </a:lnTo>
                <a:lnTo>
                  <a:pt x="2815" y="132"/>
                </a:lnTo>
                <a:lnTo>
                  <a:pt x="2797" y="135"/>
                </a:lnTo>
                <a:lnTo>
                  <a:pt x="2789" y="132"/>
                </a:lnTo>
                <a:lnTo>
                  <a:pt x="2791" y="136"/>
                </a:lnTo>
                <a:lnTo>
                  <a:pt x="2791" y="138"/>
                </a:lnTo>
                <a:lnTo>
                  <a:pt x="2782" y="132"/>
                </a:lnTo>
                <a:lnTo>
                  <a:pt x="2775" y="135"/>
                </a:lnTo>
                <a:lnTo>
                  <a:pt x="2779" y="141"/>
                </a:lnTo>
                <a:lnTo>
                  <a:pt x="2771" y="142"/>
                </a:lnTo>
                <a:lnTo>
                  <a:pt x="2768" y="142"/>
                </a:lnTo>
                <a:lnTo>
                  <a:pt x="2771" y="145"/>
                </a:lnTo>
                <a:lnTo>
                  <a:pt x="2771" y="148"/>
                </a:lnTo>
                <a:close/>
                <a:moveTo>
                  <a:pt x="2816" y="475"/>
                </a:moveTo>
                <a:lnTo>
                  <a:pt x="2814" y="475"/>
                </a:lnTo>
                <a:lnTo>
                  <a:pt x="2807" y="475"/>
                </a:lnTo>
                <a:lnTo>
                  <a:pt x="2806" y="479"/>
                </a:lnTo>
                <a:lnTo>
                  <a:pt x="2807" y="479"/>
                </a:lnTo>
                <a:lnTo>
                  <a:pt x="2816" y="475"/>
                </a:lnTo>
                <a:close/>
                <a:moveTo>
                  <a:pt x="2897" y="426"/>
                </a:moveTo>
                <a:lnTo>
                  <a:pt x="2896" y="425"/>
                </a:lnTo>
                <a:lnTo>
                  <a:pt x="2892" y="426"/>
                </a:lnTo>
                <a:lnTo>
                  <a:pt x="2891" y="423"/>
                </a:lnTo>
                <a:lnTo>
                  <a:pt x="2883" y="429"/>
                </a:lnTo>
                <a:lnTo>
                  <a:pt x="2889" y="430"/>
                </a:lnTo>
                <a:lnTo>
                  <a:pt x="2897" y="426"/>
                </a:lnTo>
                <a:close/>
                <a:moveTo>
                  <a:pt x="2888" y="421"/>
                </a:moveTo>
                <a:lnTo>
                  <a:pt x="2889" y="423"/>
                </a:lnTo>
                <a:lnTo>
                  <a:pt x="2891" y="423"/>
                </a:lnTo>
                <a:lnTo>
                  <a:pt x="2891" y="419"/>
                </a:lnTo>
                <a:lnTo>
                  <a:pt x="2888" y="421"/>
                </a:lnTo>
                <a:close/>
                <a:moveTo>
                  <a:pt x="2795" y="527"/>
                </a:moveTo>
                <a:lnTo>
                  <a:pt x="2794" y="524"/>
                </a:lnTo>
                <a:lnTo>
                  <a:pt x="2790" y="529"/>
                </a:lnTo>
                <a:lnTo>
                  <a:pt x="2795" y="527"/>
                </a:lnTo>
                <a:close/>
                <a:moveTo>
                  <a:pt x="2814" y="471"/>
                </a:moveTo>
                <a:lnTo>
                  <a:pt x="2813" y="471"/>
                </a:lnTo>
                <a:lnTo>
                  <a:pt x="2814" y="472"/>
                </a:lnTo>
                <a:lnTo>
                  <a:pt x="2814" y="471"/>
                </a:lnTo>
                <a:close/>
                <a:moveTo>
                  <a:pt x="1045" y="488"/>
                </a:moveTo>
                <a:lnTo>
                  <a:pt x="1043" y="488"/>
                </a:lnTo>
                <a:lnTo>
                  <a:pt x="1043" y="493"/>
                </a:lnTo>
                <a:lnTo>
                  <a:pt x="1046" y="492"/>
                </a:lnTo>
                <a:lnTo>
                  <a:pt x="1045" y="488"/>
                </a:lnTo>
                <a:close/>
                <a:moveTo>
                  <a:pt x="1807" y="335"/>
                </a:moveTo>
                <a:lnTo>
                  <a:pt x="1802" y="334"/>
                </a:lnTo>
                <a:lnTo>
                  <a:pt x="1806" y="335"/>
                </a:lnTo>
                <a:lnTo>
                  <a:pt x="1807" y="335"/>
                </a:lnTo>
                <a:close/>
                <a:moveTo>
                  <a:pt x="1807" y="354"/>
                </a:moveTo>
                <a:lnTo>
                  <a:pt x="1803" y="359"/>
                </a:lnTo>
                <a:lnTo>
                  <a:pt x="1810" y="359"/>
                </a:lnTo>
                <a:lnTo>
                  <a:pt x="1816" y="353"/>
                </a:lnTo>
                <a:lnTo>
                  <a:pt x="1813" y="350"/>
                </a:lnTo>
                <a:lnTo>
                  <a:pt x="1807" y="354"/>
                </a:lnTo>
                <a:close/>
                <a:moveTo>
                  <a:pt x="1804" y="336"/>
                </a:moveTo>
                <a:lnTo>
                  <a:pt x="1803" y="337"/>
                </a:lnTo>
                <a:lnTo>
                  <a:pt x="1807" y="337"/>
                </a:lnTo>
                <a:lnTo>
                  <a:pt x="1806" y="337"/>
                </a:lnTo>
                <a:lnTo>
                  <a:pt x="1810" y="336"/>
                </a:lnTo>
                <a:lnTo>
                  <a:pt x="1806" y="335"/>
                </a:lnTo>
                <a:lnTo>
                  <a:pt x="1805" y="336"/>
                </a:lnTo>
                <a:lnTo>
                  <a:pt x="1804" y="336"/>
                </a:lnTo>
                <a:close/>
                <a:moveTo>
                  <a:pt x="1802" y="334"/>
                </a:moveTo>
                <a:lnTo>
                  <a:pt x="1802" y="334"/>
                </a:lnTo>
                <a:lnTo>
                  <a:pt x="1802" y="334"/>
                </a:lnTo>
                <a:lnTo>
                  <a:pt x="1804" y="334"/>
                </a:lnTo>
                <a:lnTo>
                  <a:pt x="1801" y="333"/>
                </a:lnTo>
                <a:lnTo>
                  <a:pt x="1801" y="334"/>
                </a:lnTo>
                <a:lnTo>
                  <a:pt x="1800" y="334"/>
                </a:lnTo>
                <a:lnTo>
                  <a:pt x="1801" y="334"/>
                </a:lnTo>
                <a:lnTo>
                  <a:pt x="1800" y="334"/>
                </a:lnTo>
                <a:lnTo>
                  <a:pt x="1802" y="334"/>
                </a:lnTo>
                <a:close/>
                <a:moveTo>
                  <a:pt x="1810" y="359"/>
                </a:moveTo>
                <a:lnTo>
                  <a:pt x="1810" y="359"/>
                </a:lnTo>
                <a:lnTo>
                  <a:pt x="1808" y="360"/>
                </a:lnTo>
                <a:lnTo>
                  <a:pt x="1810" y="359"/>
                </a:lnTo>
                <a:close/>
                <a:moveTo>
                  <a:pt x="1780" y="788"/>
                </a:moveTo>
                <a:lnTo>
                  <a:pt x="1781" y="788"/>
                </a:lnTo>
                <a:lnTo>
                  <a:pt x="1780" y="786"/>
                </a:lnTo>
                <a:lnTo>
                  <a:pt x="1780" y="788"/>
                </a:lnTo>
                <a:close/>
                <a:moveTo>
                  <a:pt x="1801" y="323"/>
                </a:moveTo>
                <a:lnTo>
                  <a:pt x="1790" y="321"/>
                </a:lnTo>
                <a:lnTo>
                  <a:pt x="1796" y="325"/>
                </a:lnTo>
                <a:lnTo>
                  <a:pt x="1801" y="323"/>
                </a:lnTo>
                <a:close/>
                <a:moveTo>
                  <a:pt x="1222" y="348"/>
                </a:moveTo>
                <a:lnTo>
                  <a:pt x="1224" y="348"/>
                </a:lnTo>
                <a:lnTo>
                  <a:pt x="1222" y="347"/>
                </a:lnTo>
                <a:lnTo>
                  <a:pt x="1222" y="348"/>
                </a:lnTo>
                <a:close/>
                <a:moveTo>
                  <a:pt x="1095" y="479"/>
                </a:moveTo>
                <a:lnTo>
                  <a:pt x="1097" y="476"/>
                </a:lnTo>
                <a:lnTo>
                  <a:pt x="1094" y="477"/>
                </a:lnTo>
                <a:lnTo>
                  <a:pt x="1095" y="479"/>
                </a:lnTo>
                <a:close/>
                <a:moveTo>
                  <a:pt x="1046" y="499"/>
                </a:moveTo>
                <a:lnTo>
                  <a:pt x="1046" y="493"/>
                </a:lnTo>
                <a:lnTo>
                  <a:pt x="1043" y="496"/>
                </a:lnTo>
                <a:lnTo>
                  <a:pt x="1046" y="499"/>
                </a:lnTo>
                <a:close/>
                <a:moveTo>
                  <a:pt x="1719" y="729"/>
                </a:moveTo>
                <a:lnTo>
                  <a:pt x="1716" y="728"/>
                </a:lnTo>
                <a:lnTo>
                  <a:pt x="1715" y="729"/>
                </a:lnTo>
                <a:lnTo>
                  <a:pt x="1719" y="729"/>
                </a:lnTo>
                <a:close/>
                <a:moveTo>
                  <a:pt x="1456" y="839"/>
                </a:moveTo>
                <a:lnTo>
                  <a:pt x="1456" y="840"/>
                </a:lnTo>
                <a:lnTo>
                  <a:pt x="1460" y="840"/>
                </a:lnTo>
                <a:lnTo>
                  <a:pt x="1461" y="837"/>
                </a:lnTo>
                <a:lnTo>
                  <a:pt x="1456" y="839"/>
                </a:lnTo>
                <a:close/>
                <a:moveTo>
                  <a:pt x="1284" y="435"/>
                </a:moveTo>
                <a:lnTo>
                  <a:pt x="1284" y="431"/>
                </a:lnTo>
                <a:lnTo>
                  <a:pt x="1281" y="433"/>
                </a:lnTo>
                <a:lnTo>
                  <a:pt x="1284" y="435"/>
                </a:lnTo>
                <a:close/>
                <a:moveTo>
                  <a:pt x="1802" y="925"/>
                </a:moveTo>
                <a:lnTo>
                  <a:pt x="1797" y="927"/>
                </a:lnTo>
                <a:lnTo>
                  <a:pt x="1802" y="926"/>
                </a:lnTo>
                <a:lnTo>
                  <a:pt x="1802" y="925"/>
                </a:lnTo>
                <a:lnTo>
                  <a:pt x="1802" y="925"/>
                </a:lnTo>
                <a:close/>
                <a:moveTo>
                  <a:pt x="1799" y="342"/>
                </a:moveTo>
                <a:lnTo>
                  <a:pt x="1799" y="341"/>
                </a:lnTo>
                <a:lnTo>
                  <a:pt x="1796" y="342"/>
                </a:lnTo>
                <a:lnTo>
                  <a:pt x="1799" y="342"/>
                </a:lnTo>
                <a:close/>
                <a:moveTo>
                  <a:pt x="3354" y="124"/>
                </a:moveTo>
                <a:lnTo>
                  <a:pt x="3346" y="130"/>
                </a:lnTo>
                <a:lnTo>
                  <a:pt x="3339" y="130"/>
                </a:lnTo>
                <a:lnTo>
                  <a:pt x="3359" y="130"/>
                </a:lnTo>
                <a:lnTo>
                  <a:pt x="3354" y="124"/>
                </a:lnTo>
                <a:close/>
                <a:moveTo>
                  <a:pt x="1799" y="809"/>
                </a:moveTo>
                <a:lnTo>
                  <a:pt x="1802" y="811"/>
                </a:lnTo>
                <a:lnTo>
                  <a:pt x="1802" y="809"/>
                </a:lnTo>
                <a:lnTo>
                  <a:pt x="1800" y="809"/>
                </a:lnTo>
                <a:lnTo>
                  <a:pt x="1799" y="809"/>
                </a:lnTo>
                <a:close/>
                <a:moveTo>
                  <a:pt x="2743" y="590"/>
                </a:moveTo>
                <a:lnTo>
                  <a:pt x="2740" y="590"/>
                </a:lnTo>
                <a:lnTo>
                  <a:pt x="2731" y="595"/>
                </a:lnTo>
                <a:lnTo>
                  <a:pt x="2735" y="595"/>
                </a:lnTo>
                <a:lnTo>
                  <a:pt x="2743" y="590"/>
                </a:lnTo>
                <a:close/>
                <a:moveTo>
                  <a:pt x="1813" y="355"/>
                </a:moveTo>
                <a:lnTo>
                  <a:pt x="1813" y="360"/>
                </a:lnTo>
                <a:lnTo>
                  <a:pt x="1816" y="358"/>
                </a:lnTo>
                <a:lnTo>
                  <a:pt x="1816" y="355"/>
                </a:lnTo>
                <a:lnTo>
                  <a:pt x="1819" y="355"/>
                </a:lnTo>
                <a:lnTo>
                  <a:pt x="1816" y="353"/>
                </a:lnTo>
                <a:lnTo>
                  <a:pt x="1815" y="355"/>
                </a:lnTo>
                <a:lnTo>
                  <a:pt x="1813" y="355"/>
                </a:lnTo>
                <a:close/>
                <a:moveTo>
                  <a:pt x="1803" y="890"/>
                </a:moveTo>
                <a:lnTo>
                  <a:pt x="1803" y="889"/>
                </a:lnTo>
                <a:lnTo>
                  <a:pt x="1803" y="890"/>
                </a:lnTo>
                <a:lnTo>
                  <a:pt x="1803" y="890"/>
                </a:lnTo>
                <a:lnTo>
                  <a:pt x="1803" y="890"/>
                </a:lnTo>
                <a:close/>
                <a:moveTo>
                  <a:pt x="3102" y="120"/>
                </a:moveTo>
                <a:lnTo>
                  <a:pt x="3070" y="124"/>
                </a:lnTo>
                <a:lnTo>
                  <a:pt x="3072" y="125"/>
                </a:lnTo>
                <a:lnTo>
                  <a:pt x="3102" y="120"/>
                </a:lnTo>
                <a:close/>
                <a:moveTo>
                  <a:pt x="1807" y="348"/>
                </a:moveTo>
                <a:lnTo>
                  <a:pt x="1812" y="349"/>
                </a:lnTo>
                <a:lnTo>
                  <a:pt x="1815" y="348"/>
                </a:lnTo>
                <a:lnTo>
                  <a:pt x="1808" y="346"/>
                </a:lnTo>
                <a:lnTo>
                  <a:pt x="1807" y="348"/>
                </a:lnTo>
                <a:close/>
                <a:moveTo>
                  <a:pt x="1803" y="336"/>
                </a:moveTo>
                <a:lnTo>
                  <a:pt x="1801" y="336"/>
                </a:lnTo>
                <a:lnTo>
                  <a:pt x="1800" y="337"/>
                </a:lnTo>
                <a:lnTo>
                  <a:pt x="1803" y="336"/>
                </a:lnTo>
                <a:close/>
                <a:moveTo>
                  <a:pt x="1808" y="352"/>
                </a:moveTo>
                <a:lnTo>
                  <a:pt x="1812" y="350"/>
                </a:lnTo>
                <a:lnTo>
                  <a:pt x="1808" y="350"/>
                </a:lnTo>
                <a:lnTo>
                  <a:pt x="1808" y="352"/>
                </a:lnTo>
                <a:close/>
                <a:moveTo>
                  <a:pt x="1801" y="358"/>
                </a:moveTo>
                <a:lnTo>
                  <a:pt x="1807" y="353"/>
                </a:lnTo>
                <a:lnTo>
                  <a:pt x="1799" y="355"/>
                </a:lnTo>
                <a:lnTo>
                  <a:pt x="1801" y="358"/>
                </a:lnTo>
                <a:close/>
                <a:moveTo>
                  <a:pt x="2828" y="465"/>
                </a:moveTo>
                <a:lnTo>
                  <a:pt x="2831" y="461"/>
                </a:lnTo>
                <a:lnTo>
                  <a:pt x="2831" y="460"/>
                </a:lnTo>
                <a:lnTo>
                  <a:pt x="2827" y="463"/>
                </a:lnTo>
                <a:lnTo>
                  <a:pt x="2828" y="465"/>
                </a:lnTo>
                <a:close/>
                <a:moveTo>
                  <a:pt x="1803" y="339"/>
                </a:moveTo>
                <a:lnTo>
                  <a:pt x="1801" y="341"/>
                </a:lnTo>
                <a:lnTo>
                  <a:pt x="1800" y="344"/>
                </a:lnTo>
                <a:lnTo>
                  <a:pt x="1803" y="339"/>
                </a:lnTo>
                <a:close/>
                <a:moveTo>
                  <a:pt x="3336" y="117"/>
                </a:moveTo>
                <a:lnTo>
                  <a:pt x="3331" y="120"/>
                </a:lnTo>
                <a:lnTo>
                  <a:pt x="3335" y="124"/>
                </a:lnTo>
                <a:lnTo>
                  <a:pt x="3343" y="120"/>
                </a:lnTo>
                <a:lnTo>
                  <a:pt x="3336" y="117"/>
                </a:lnTo>
                <a:close/>
                <a:moveTo>
                  <a:pt x="3280" y="105"/>
                </a:moveTo>
                <a:lnTo>
                  <a:pt x="3281" y="112"/>
                </a:lnTo>
                <a:lnTo>
                  <a:pt x="3298" y="104"/>
                </a:lnTo>
                <a:lnTo>
                  <a:pt x="3301" y="105"/>
                </a:lnTo>
                <a:lnTo>
                  <a:pt x="3299" y="102"/>
                </a:lnTo>
                <a:lnTo>
                  <a:pt x="3306" y="99"/>
                </a:lnTo>
                <a:lnTo>
                  <a:pt x="3310" y="102"/>
                </a:lnTo>
                <a:lnTo>
                  <a:pt x="3320" y="104"/>
                </a:lnTo>
                <a:lnTo>
                  <a:pt x="3315" y="101"/>
                </a:lnTo>
                <a:lnTo>
                  <a:pt x="3318" y="101"/>
                </a:lnTo>
                <a:lnTo>
                  <a:pt x="3317" y="101"/>
                </a:lnTo>
                <a:lnTo>
                  <a:pt x="3302" y="96"/>
                </a:lnTo>
                <a:lnTo>
                  <a:pt x="3295" y="100"/>
                </a:lnTo>
                <a:lnTo>
                  <a:pt x="3264" y="104"/>
                </a:lnTo>
                <a:lnTo>
                  <a:pt x="3274" y="107"/>
                </a:lnTo>
                <a:lnTo>
                  <a:pt x="3280" y="105"/>
                </a:lnTo>
                <a:close/>
                <a:moveTo>
                  <a:pt x="819" y="898"/>
                </a:moveTo>
                <a:lnTo>
                  <a:pt x="823" y="901"/>
                </a:lnTo>
                <a:lnTo>
                  <a:pt x="818" y="897"/>
                </a:lnTo>
                <a:lnTo>
                  <a:pt x="819" y="898"/>
                </a:lnTo>
                <a:close/>
                <a:moveTo>
                  <a:pt x="820" y="889"/>
                </a:moveTo>
                <a:lnTo>
                  <a:pt x="820" y="890"/>
                </a:lnTo>
                <a:lnTo>
                  <a:pt x="822" y="889"/>
                </a:lnTo>
                <a:lnTo>
                  <a:pt x="822" y="889"/>
                </a:lnTo>
                <a:lnTo>
                  <a:pt x="820" y="889"/>
                </a:lnTo>
                <a:close/>
                <a:moveTo>
                  <a:pt x="2739" y="584"/>
                </a:moveTo>
                <a:lnTo>
                  <a:pt x="2732" y="587"/>
                </a:lnTo>
                <a:lnTo>
                  <a:pt x="2739" y="585"/>
                </a:lnTo>
                <a:lnTo>
                  <a:pt x="2739" y="584"/>
                </a:lnTo>
                <a:close/>
                <a:moveTo>
                  <a:pt x="3346" y="89"/>
                </a:moveTo>
                <a:lnTo>
                  <a:pt x="3345" y="89"/>
                </a:lnTo>
                <a:lnTo>
                  <a:pt x="3343" y="89"/>
                </a:lnTo>
                <a:lnTo>
                  <a:pt x="3346" y="89"/>
                </a:lnTo>
                <a:close/>
                <a:moveTo>
                  <a:pt x="831" y="908"/>
                </a:moveTo>
                <a:lnTo>
                  <a:pt x="831" y="905"/>
                </a:lnTo>
                <a:lnTo>
                  <a:pt x="829" y="908"/>
                </a:lnTo>
                <a:lnTo>
                  <a:pt x="831" y="908"/>
                </a:lnTo>
                <a:close/>
                <a:moveTo>
                  <a:pt x="3333" y="105"/>
                </a:moveTo>
                <a:lnTo>
                  <a:pt x="3328" y="105"/>
                </a:lnTo>
                <a:lnTo>
                  <a:pt x="3328" y="105"/>
                </a:lnTo>
                <a:lnTo>
                  <a:pt x="3329" y="105"/>
                </a:lnTo>
                <a:lnTo>
                  <a:pt x="3326" y="107"/>
                </a:lnTo>
                <a:lnTo>
                  <a:pt x="3315" y="105"/>
                </a:lnTo>
                <a:lnTo>
                  <a:pt x="3301" y="112"/>
                </a:lnTo>
                <a:lnTo>
                  <a:pt x="3310" y="108"/>
                </a:lnTo>
                <a:lnTo>
                  <a:pt x="3314" y="112"/>
                </a:lnTo>
                <a:lnTo>
                  <a:pt x="3303" y="113"/>
                </a:lnTo>
                <a:lnTo>
                  <a:pt x="3313" y="115"/>
                </a:lnTo>
                <a:lnTo>
                  <a:pt x="3295" y="113"/>
                </a:lnTo>
                <a:lnTo>
                  <a:pt x="3293" y="115"/>
                </a:lnTo>
                <a:lnTo>
                  <a:pt x="3290" y="116"/>
                </a:lnTo>
                <a:lnTo>
                  <a:pt x="3293" y="118"/>
                </a:lnTo>
                <a:lnTo>
                  <a:pt x="3295" y="120"/>
                </a:lnTo>
                <a:lnTo>
                  <a:pt x="3302" y="117"/>
                </a:lnTo>
                <a:lnTo>
                  <a:pt x="3306" y="118"/>
                </a:lnTo>
                <a:lnTo>
                  <a:pt x="3310" y="119"/>
                </a:lnTo>
                <a:lnTo>
                  <a:pt x="3305" y="120"/>
                </a:lnTo>
                <a:lnTo>
                  <a:pt x="3301" y="123"/>
                </a:lnTo>
                <a:lnTo>
                  <a:pt x="3301" y="124"/>
                </a:lnTo>
                <a:lnTo>
                  <a:pt x="3312" y="123"/>
                </a:lnTo>
                <a:lnTo>
                  <a:pt x="3313" y="120"/>
                </a:lnTo>
                <a:lnTo>
                  <a:pt x="3313" y="122"/>
                </a:lnTo>
                <a:lnTo>
                  <a:pt x="3325" y="122"/>
                </a:lnTo>
                <a:lnTo>
                  <a:pt x="3320" y="118"/>
                </a:lnTo>
                <a:lnTo>
                  <a:pt x="3317" y="118"/>
                </a:lnTo>
                <a:lnTo>
                  <a:pt x="3319" y="116"/>
                </a:lnTo>
                <a:lnTo>
                  <a:pt x="3321" y="114"/>
                </a:lnTo>
                <a:lnTo>
                  <a:pt x="3335" y="114"/>
                </a:lnTo>
                <a:lnTo>
                  <a:pt x="3335" y="110"/>
                </a:lnTo>
                <a:lnTo>
                  <a:pt x="3335" y="108"/>
                </a:lnTo>
                <a:lnTo>
                  <a:pt x="3352" y="107"/>
                </a:lnTo>
                <a:lnTo>
                  <a:pt x="3362" y="100"/>
                </a:lnTo>
                <a:lnTo>
                  <a:pt x="3359" y="100"/>
                </a:lnTo>
                <a:lnTo>
                  <a:pt x="3356" y="99"/>
                </a:lnTo>
                <a:lnTo>
                  <a:pt x="3349" y="100"/>
                </a:lnTo>
                <a:lnTo>
                  <a:pt x="3342" y="100"/>
                </a:lnTo>
                <a:lnTo>
                  <a:pt x="3354" y="96"/>
                </a:lnTo>
                <a:lnTo>
                  <a:pt x="3350" y="94"/>
                </a:lnTo>
                <a:lnTo>
                  <a:pt x="3340" y="97"/>
                </a:lnTo>
                <a:lnTo>
                  <a:pt x="3323" y="101"/>
                </a:lnTo>
                <a:lnTo>
                  <a:pt x="3335" y="101"/>
                </a:lnTo>
                <a:lnTo>
                  <a:pt x="3333" y="105"/>
                </a:lnTo>
                <a:close/>
                <a:moveTo>
                  <a:pt x="3231" y="510"/>
                </a:moveTo>
                <a:lnTo>
                  <a:pt x="3229" y="510"/>
                </a:lnTo>
                <a:lnTo>
                  <a:pt x="3232" y="511"/>
                </a:lnTo>
                <a:lnTo>
                  <a:pt x="3231" y="510"/>
                </a:lnTo>
                <a:close/>
                <a:moveTo>
                  <a:pt x="3109" y="443"/>
                </a:moveTo>
                <a:lnTo>
                  <a:pt x="3105" y="443"/>
                </a:lnTo>
                <a:lnTo>
                  <a:pt x="3112" y="445"/>
                </a:lnTo>
                <a:lnTo>
                  <a:pt x="3109" y="443"/>
                </a:lnTo>
                <a:close/>
                <a:moveTo>
                  <a:pt x="1367" y="1528"/>
                </a:moveTo>
                <a:lnTo>
                  <a:pt x="1356" y="1516"/>
                </a:lnTo>
                <a:lnTo>
                  <a:pt x="1350" y="1509"/>
                </a:lnTo>
                <a:lnTo>
                  <a:pt x="1337" y="1499"/>
                </a:lnTo>
                <a:lnTo>
                  <a:pt x="1338" y="1496"/>
                </a:lnTo>
                <a:lnTo>
                  <a:pt x="1341" y="1499"/>
                </a:lnTo>
                <a:lnTo>
                  <a:pt x="1341" y="1499"/>
                </a:lnTo>
                <a:lnTo>
                  <a:pt x="1343" y="1499"/>
                </a:lnTo>
                <a:lnTo>
                  <a:pt x="1341" y="1497"/>
                </a:lnTo>
                <a:lnTo>
                  <a:pt x="1340" y="1495"/>
                </a:lnTo>
                <a:lnTo>
                  <a:pt x="1338" y="1495"/>
                </a:lnTo>
                <a:lnTo>
                  <a:pt x="1340" y="1491"/>
                </a:lnTo>
                <a:lnTo>
                  <a:pt x="1338" y="1491"/>
                </a:lnTo>
                <a:lnTo>
                  <a:pt x="1340" y="1486"/>
                </a:lnTo>
                <a:lnTo>
                  <a:pt x="1338" y="1485"/>
                </a:lnTo>
                <a:lnTo>
                  <a:pt x="1337" y="1486"/>
                </a:lnTo>
                <a:lnTo>
                  <a:pt x="1336" y="1491"/>
                </a:lnTo>
                <a:lnTo>
                  <a:pt x="1335" y="1491"/>
                </a:lnTo>
                <a:lnTo>
                  <a:pt x="1336" y="1492"/>
                </a:lnTo>
                <a:lnTo>
                  <a:pt x="1335" y="1494"/>
                </a:lnTo>
                <a:lnTo>
                  <a:pt x="1324" y="1492"/>
                </a:lnTo>
                <a:lnTo>
                  <a:pt x="1325" y="1495"/>
                </a:lnTo>
                <a:lnTo>
                  <a:pt x="1315" y="1491"/>
                </a:lnTo>
                <a:lnTo>
                  <a:pt x="1309" y="1491"/>
                </a:lnTo>
                <a:lnTo>
                  <a:pt x="1306" y="1487"/>
                </a:lnTo>
                <a:lnTo>
                  <a:pt x="1305" y="1487"/>
                </a:lnTo>
                <a:lnTo>
                  <a:pt x="1303" y="1489"/>
                </a:lnTo>
                <a:lnTo>
                  <a:pt x="1295" y="1487"/>
                </a:lnTo>
                <a:lnTo>
                  <a:pt x="1283" y="1487"/>
                </a:lnTo>
                <a:lnTo>
                  <a:pt x="1270" y="1476"/>
                </a:lnTo>
                <a:lnTo>
                  <a:pt x="1272" y="1470"/>
                </a:lnTo>
                <a:lnTo>
                  <a:pt x="1265" y="1465"/>
                </a:lnTo>
                <a:lnTo>
                  <a:pt x="1265" y="1463"/>
                </a:lnTo>
                <a:lnTo>
                  <a:pt x="1262" y="1461"/>
                </a:lnTo>
                <a:lnTo>
                  <a:pt x="1248" y="1449"/>
                </a:lnTo>
                <a:lnTo>
                  <a:pt x="1241" y="1446"/>
                </a:lnTo>
                <a:lnTo>
                  <a:pt x="1241" y="1448"/>
                </a:lnTo>
                <a:lnTo>
                  <a:pt x="1248" y="1450"/>
                </a:lnTo>
                <a:lnTo>
                  <a:pt x="1239" y="1448"/>
                </a:lnTo>
                <a:lnTo>
                  <a:pt x="1241" y="1447"/>
                </a:lnTo>
                <a:lnTo>
                  <a:pt x="1239" y="1447"/>
                </a:lnTo>
                <a:lnTo>
                  <a:pt x="1237" y="1448"/>
                </a:lnTo>
                <a:lnTo>
                  <a:pt x="1237" y="1444"/>
                </a:lnTo>
                <a:lnTo>
                  <a:pt x="1234" y="1447"/>
                </a:lnTo>
                <a:lnTo>
                  <a:pt x="1238" y="1451"/>
                </a:lnTo>
                <a:lnTo>
                  <a:pt x="1231" y="1451"/>
                </a:lnTo>
                <a:lnTo>
                  <a:pt x="1230" y="1451"/>
                </a:lnTo>
                <a:lnTo>
                  <a:pt x="1214" y="1455"/>
                </a:lnTo>
                <a:lnTo>
                  <a:pt x="1203" y="1453"/>
                </a:lnTo>
                <a:lnTo>
                  <a:pt x="1194" y="1450"/>
                </a:lnTo>
                <a:lnTo>
                  <a:pt x="1189" y="1448"/>
                </a:lnTo>
                <a:lnTo>
                  <a:pt x="1183" y="1446"/>
                </a:lnTo>
                <a:lnTo>
                  <a:pt x="1181" y="1442"/>
                </a:lnTo>
                <a:lnTo>
                  <a:pt x="1167" y="1438"/>
                </a:lnTo>
                <a:lnTo>
                  <a:pt x="1164" y="1437"/>
                </a:lnTo>
                <a:lnTo>
                  <a:pt x="1147" y="1431"/>
                </a:lnTo>
                <a:lnTo>
                  <a:pt x="1137" y="1425"/>
                </a:lnTo>
                <a:lnTo>
                  <a:pt x="1133" y="1419"/>
                </a:lnTo>
                <a:lnTo>
                  <a:pt x="1129" y="1422"/>
                </a:lnTo>
                <a:lnTo>
                  <a:pt x="1112" y="1415"/>
                </a:lnTo>
                <a:lnTo>
                  <a:pt x="1104" y="1407"/>
                </a:lnTo>
                <a:lnTo>
                  <a:pt x="1090" y="1400"/>
                </a:lnTo>
                <a:lnTo>
                  <a:pt x="1081" y="1392"/>
                </a:lnTo>
                <a:lnTo>
                  <a:pt x="1079" y="1384"/>
                </a:lnTo>
                <a:lnTo>
                  <a:pt x="1085" y="1382"/>
                </a:lnTo>
                <a:lnTo>
                  <a:pt x="1084" y="1379"/>
                </a:lnTo>
                <a:lnTo>
                  <a:pt x="1080" y="1379"/>
                </a:lnTo>
                <a:lnTo>
                  <a:pt x="1084" y="1374"/>
                </a:lnTo>
                <a:lnTo>
                  <a:pt x="1086" y="1369"/>
                </a:lnTo>
                <a:lnTo>
                  <a:pt x="1079" y="1365"/>
                </a:lnTo>
                <a:lnTo>
                  <a:pt x="1076" y="1359"/>
                </a:lnTo>
                <a:lnTo>
                  <a:pt x="1076" y="1354"/>
                </a:lnTo>
                <a:lnTo>
                  <a:pt x="1075" y="1349"/>
                </a:lnTo>
                <a:lnTo>
                  <a:pt x="1068" y="1341"/>
                </a:lnTo>
                <a:lnTo>
                  <a:pt x="1059" y="1330"/>
                </a:lnTo>
                <a:lnTo>
                  <a:pt x="1049" y="1322"/>
                </a:lnTo>
                <a:lnTo>
                  <a:pt x="1048" y="1322"/>
                </a:lnTo>
                <a:lnTo>
                  <a:pt x="1048" y="1319"/>
                </a:lnTo>
                <a:lnTo>
                  <a:pt x="1048" y="1320"/>
                </a:lnTo>
                <a:lnTo>
                  <a:pt x="1046" y="1317"/>
                </a:lnTo>
                <a:lnTo>
                  <a:pt x="1047" y="1319"/>
                </a:lnTo>
                <a:lnTo>
                  <a:pt x="1044" y="1317"/>
                </a:lnTo>
                <a:lnTo>
                  <a:pt x="1044" y="1314"/>
                </a:lnTo>
                <a:lnTo>
                  <a:pt x="1043" y="1314"/>
                </a:lnTo>
                <a:lnTo>
                  <a:pt x="1041" y="1310"/>
                </a:lnTo>
                <a:lnTo>
                  <a:pt x="1044" y="1313"/>
                </a:lnTo>
                <a:lnTo>
                  <a:pt x="1044" y="1310"/>
                </a:lnTo>
                <a:lnTo>
                  <a:pt x="1039" y="1309"/>
                </a:lnTo>
                <a:lnTo>
                  <a:pt x="1039" y="1309"/>
                </a:lnTo>
                <a:lnTo>
                  <a:pt x="1035" y="1308"/>
                </a:lnTo>
                <a:lnTo>
                  <a:pt x="1034" y="1306"/>
                </a:lnTo>
                <a:lnTo>
                  <a:pt x="1032" y="1306"/>
                </a:lnTo>
                <a:lnTo>
                  <a:pt x="1032" y="1305"/>
                </a:lnTo>
                <a:lnTo>
                  <a:pt x="1031" y="1305"/>
                </a:lnTo>
                <a:lnTo>
                  <a:pt x="1034" y="1301"/>
                </a:lnTo>
                <a:lnTo>
                  <a:pt x="1028" y="1302"/>
                </a:lnTo>
                <a:lnTo>
                  <a:pt x="1025" y="1299"/>
                </a:lnTo>
                <a:lnTo>
                  <a:pt x="1024" y="1296"/>
                </a:lnTo>
                <a:lnTo>
                  <a:pt x="1027" y="1291"/>
                </a:lnTo>
                <a:lnTo>
                  <a:pt x="1028" y="1294"/>
                </a:lnTo>
                <a:lnTo>
                  <a:pt x="1028" y="1291"/>
                </a:lnTo>
                <a:lnTo>
                  <a:pt x="1023" y="1285"/>
                </a:lnTo>
                <a:lnTo>
                  <a:pt x="1023" y="1284"/>
                </a:lnTo>
                <a:lnTo>
                  <a:pt x="1020" y="1287"/>
                </a:lnTo>
                <a:lnTo>
                  <a:pt x="1016" y="1282"/>
                </a:lnTo>
                <a:lnTo>
                  <a:pt x="1011" y="1282"/>
                </a:lnTo>
                <a:lnTo>
                  <a:pt x="1008" y="1277"/>
                </a:lnTo>
                <a:lnTo>
                  <a:pt x="1006" y="1271"/>
                </a:lnTo>
                <a:lnTo>
                  <a:pt x="1008" y="1267"/>
                </a:lnTo>
                <a:lnTo>
                  <a:pt x="1005" y="1265"/>
                </a:lnTo>
                <a:lnTo>
                  <a:pt x="1003" y="1267"/>
                </a:lnTo>
                <a:lnTo>
                  <a:pt x="1001" y="1265"/>
                </a:lnTo>
                <a:lnTo>
                  <a:pt x="995" y="1259"/>
                </a:lnTo>
                <a:lnTo>
                  <a:pt x="990" y="1257"/>
                </a:lnTo>
                <a:lnTo>
                  <a:pt x="988" y="1252"/>
                </a:lnTo>
                <a:lnTo>
                  <a:pt x="983" y="1251"/>
                </a:lnTo>
                <a:lnTo>
                  <a:pt x="984" y="1250"/>
                </a:lnTo>
                <a:lnTo>
                  <a:pt x="983" y="1245"/>
                </a:lnTo>
                <a:lnTo>
                  <a:pt x="980" y="1246"/>
                </a:lnTo>
                <a:lnTo>
                  <a:pt x="980" y="1242"/>
                </a:lnTo>
                <a:lnTo>
                  <a:pt x="978" y="1241"/>
                </a:lnTo>
                <a:lnTo>
                  <a:pt x="976" y="1234"/>
                </a:lnTo>
                <a:lnTo>
                  <a:pt x="976" y="1229"/>
                </a:lnTo>
                <a:lnTo>
                  <a:pt x="968" y="1222"/>
                </a:lnTo>
                <a:lnTo>
                  <a:pt x="968" y="1212"/>
                </a:lnTo>
                <a:lnTo>
                  <a:pt x="960" y="1211"/>
                </a:lnTo>
                <a:lnTo>
                  <a:pt x="960" y="1208"/>
                </a:lnTo>
                <a:lnTo>
                  <a:pt x="956" y="1206"/>
                </a:lnTo>
                <a:lnTo>
                  <a:pt x="957" y="1209"/>
                </a:lnTo>
                <a:lnTo>
                  <a:pt x="954" y="1208"/>
                </a:lnTo>
                <a:lnTo>
                  <a:pt x="942" y="1201"/>
                </a:lnTo>
                <a:lnTo>
                  <a:pt x="947" y="1206"/>
                </a:lnTo>
                <a:lnTo>
                  <a:pt x="946" y="1215"/>
                </a:lnTo>
                <a:lnTo>
                  <a:pt x="947" y="1217"/>
                </a:lnTo>
                <a:lnTo>
                  <a:pt x="948" y="1230"/>
                </a:lnTo>
                <a:lnTo>
                  <a:pt x="950" y="1234"/>
                </a:lnTo>
                <a:lnTo>
                  <a:pt x="964" y="1245"/>
                </a:lnTo>
                <a:lnTo>
                  <a:pt x="965" y="1252"/>
                </a:lnTo>
                <a:lnTo>
                  <a:pt x="966" y="1251"/>
                </a:lnTo>
                <a:lnTo>
                  <a:pt x="967" y="1254"/>
                </a:lnTo>
                <a:lnTo>
                  <a:pt x="969" y="1254"/>
                </a:lnTo>
                <a:lnTo>
                  <a:pt x="971" y="1258"/>
                </a:lnTo>
                <a:lnTo>
                  <a:pt x="972" y="1258"/>
                </a:lnTo>
                <a:lnTo>
                  <a:pt x="972" y="1260"/>
                </a:lnTo>
                <a:lnTo>
                  <a:pt x="976" y="1264"/>
                </a:lnTo>
                <a:lnTo>
                  <a:pt x="976" y="1267"/>
                </a:lnTo>
                <a:lnTo>
                  <a:pt x="979" y="1271"/>
                </a:lnTo>
                <a:lnTo>
                  <a:pt x="983" y="1272"/>
                </a:lnTo>
                <a:lnTo>
                  <a:pt x="988" y="1283"/>
                </a:lnTo>
                <a:lnTo>
                  <a:pt x="988" y="1282"/>
                </a:lnTo>
                <a:lnTo>
                  <a:pt x="992" y="1285"/>
                </a:lnTo>
                <a:lnTo>
                  <a:pt x="992" y="1287"/>
                </a:lnTo>
                <a:lnTo>
                  <a:pt x="994" y="1291"/>
                </a:lnTo>
                <a:lnTo>
                  <a:pt x="997" y="1299"/>
                </a:lnTo>
                <a:lnTo>
                  <a:pt x="998" y="1302"/>
                </a:lnTo>
                <a:lnTo>
                  <a:pt x="1002" y="1305"/>
                </a:lnTo>
                <a:lnTo>
                  <a:pt x="1003" y="1309"/>
                </a:lnTo>
                <a:lnTo>
                  <a:pt x="1006" y="1314"/>
                </a:lnTo>
                <a:lnTo>
                  <a:pt x="1005" y="1320"/>
                </a:lnTo>
                <a:lnTo>
                  <a:pt x="1006" y="1322"/>
                </a:lnTo>
                <a:lnTo>
                  <a:pt x="1011" y="1326"/>
                </a:lnTo>
                <a:lnTo>
                  <a:pt x="1009" y="1326"/>
                </a:lnTo>
                <a:lnTo>
                  <a:pt x="1011" y="1326"/>
                </a:lnTo>
                <a:lnTo>
                  <a:pt x="1013" y="1324"/>
                </a:lnTo>
                <a:lnTo>
                  <a:pt x="1011" y="1322"/>
                </a:lnTo>
                <a:lnTo>
                  <a:pt x="1013" y="1322"/>
                </a:lnTo>
                <a:lnTo>
                  <a:pt x="1020" y="1327"/>
                </a:lnTo>
                <a:lnTo>
                  <a:pt x="1021" y="1332"/>
                </a:lnTo>
                <a:lnTo>
                  <a:pt x="1024" y="1337"/>
                </a:lnTo>
                <a:lnTo>
                  <a:pt x="1023" y="1344"/>
                </a:lnTo>
                <a:lnTo>
                  <a:pt x="1017" y="1347"/>
                </a:lnTo>
                <a:lnTo>
                  <a:pt x="1016" y="1347"/>
                </a:lnTo>
                <a:lnTo>
                  <a:pt x="1011" y="1334"/>
                </a:lnTo>
                <a:lnTo>
                  <a:pt x="995" y="1323"/>
                </a:lnTo>
                <a:lnTo>
                  <a:pt x="991" y="1322"/>
                </a:lnTo>
                <a:lnTo>
                  <a:pt x="990" y="1322"/>
                </a:lnTo>
                <a:lnTo>
                  <a:pt x="989" y="1320"/>
                </a:lnTo>
                <a:lnTo>
                  <a:pt x="990" y="1321"/>
                </a:lnTo>
                <a:lnTo>
                  <a:pt x="989" y="1318"/>
                </a:lnTo>
                <a:lnTo>
                  <a:pt x="988" y="1318"/>
                </a:lnTo>
                <a:lnTo>
                  <a:pt x="987" y="1318"/>
                </a:lnTo>
                <a:lnTo>
                  <a:pt x="984" y="1318"/>
                </a:lnTo>
                <a:lnTo>
                  <a:pt x="984" y="1310"/>
                </a:lnTo>
                <a:lnTo>
                  <a:pt x="982" y="1313"/>
                </a:lnTo>
                <a:lnTo>
                  <a:pt x="984" y="1302"/>
                </a:lnTo>
                <a:lnTo>
                  <a:pt x="984" y="1299"/>
                </a:lnTo>
                <a:lnTo>
                  <a:pt x="980" y="1294"/>
                </a:lnTo>
                <a:lnTo>
                  <a:pt x="977" y="1294"/>
                </a:lnTo>
                <a:lnTo>
                  <a:pt x="969" y="1287"/>
                </a:lnTo>
                <a:lnTo>
                  <a:pt x="971" y="1284"/>
                </a:lnTo>
                <a:lnTo>
                  <a:pt x="967" y="1286"/>
                </a:lnTo>
                <a:lnTo>
                  <a:pt x="966" y="1286"/>
                </a:lnTo>
                <a:lnTo>
                  <a:pt x="964" y="1288"/>
                </a:lnTo>
                <a:lnTo>
                  <a:pt x="960" y="1282"/>
                </a:lnTo>
                <a:lnTo>
                  <a:pt x="958" y="1282"/>
                </a:lnTo>
                <a:lnTo>
                  <a:pt x="953" y="1280"/>
                </a:lnTo>
                <a:lnTo>
                  <a:pt x="948" y="1276"/>
                </a:lnTo>
                <a:lnTo>
                  <a:pt x="948" y="1274"/>
                </a:lnTo>
                <a:lnTo>
                  <a:pt x="942" y="1269"/>
                </a:lnTo>
                <a:lnTo>
                  <a:pt x="942" y="1267"/>
                </a:lnTo>
                <a:lnTo>
                  <a:pt x="954" y="1268"/>
                </a:lnTo>
                <a:lnTo>
                  <a:pt x="953" y="1267"/>
                </a:lnTo>
                <a:lnTo>
                  <a:pt x="954" y="1264"/>
                </a:lnTo>
                <a:lnTo>
                  <a:pt x="957" y="1256"/>
                </a:lnTo>
                <a:lnTo>
                  <a:pt x="944" y="1242"/>
                </a:lnTo>
                <a:lnTo>
                  <a:pt x="941" y="1241"/>
                </a:lnTo>
                <a:lnTo>
                  <a:pt x="932" y="1236"/>
                </a:lnTo>
                <a:lnTo>
                  <a:pt x="931" y="1227"/>
                </a:lnTo>
                <a:lnTo>
                  <a:pt x="928" y="1226"/>
                </a:lnTo>
                <a:lnTo>
                  <a:pt x="928" y="1227"/>
                </a:lnTo>
                <a:lnTo>
                  <a:pt x="924" y="1226"/>
                </a:lnTo>
                <a:lnTo>
                  <a:pt x="924" y="1220"/>
                </a:lnTo>
                <a:lnTo>
                  <a:pt x="923" y="1217"/>
                </a:lnTo>
                <a:lnTo>
                  <a:pt x="923" y="1212"/>
                </a:lnTo>
                <a:lnTo>
                  <a:pt x="919" y="1208"/>
                </a:lnTo>
                <a:lnTo>
                  <a:pt x="920" y="1203"/>
                </a:lnTo>
                <a:lnTo>
                  <a:pt x="916" y="1201"/>
                </a:lnTo>
                <a:lnTo>
                  <a:pt x="912" y="1192"/>
                </a:lnTo>
                <a:lnTo>
                  <a:pt x="914" y="1192"/>
                </a:lnTo>
                <a:lnTo>
                  <a:pt x="913" y="1190"/>
                </a:lnTo>
                <a:lnTo>
                  <a:pt x="912" y="1190"/>
                </a:lnTo>
                <a:lnTo>
                  <a:pt x="912" y="1188"/>
                </a:lnTo>
                <a:lnTo>
                  <a:pt x="912" y="1184"/>
                </a:lnTo>
                <a:lnTo>
                  <a:pt x="909" y="1179"/>
                </a:lnTo>
                <a:lnTo>
                  <a:pt x="900" y="1174"/>
                </a:lnTo>
                <a:lnTo>
                  <a:pt x="896" y="1174"/>
                </a:lnTo>
                <a:lnTo>
                  <a:pt x="893" y="1168"/>
                </a:lnTo>
                <a:lnTo>
                  <a:pt x="885" y="1166"/>
                </a:lnTo>
                <a:lnTo>
                  <a:pt x="877" y="1162"/>
                </a:lnTo>
                <a:lnTo>
                  <a:pt x="866" y="1162"/>
                </a:lnTo>
                <a:lnTo>
                  <a:pt x="862" y="1157"/>
                </a:lnTo>
                <a:lnTo>
                  <a:pt x="864" y="1149"/>
                </a:lnTo>
                <a:lnTo>
                  <a:pt x="859" y="1147"/>
                </a:lnTo>
                <a:lnTo>
                  <a:pt x="859" y="1142"/>
                </a:lnTo>
                <a:lnTo>
                  <a:pt x="844" y="1129"/>
                </a:lnTo>
                <a:lnTo>
                  <a:pt x="843" y="1126"/>
                </a:lnTo>
                <a:lnTo>
                  <a:pt x="843" y="1126"/>
                </a:lnTo>
                <a:lnTo>
                  <a:pt x="843" y="1118"/>
                </a:lnTo>
                <a:lnTo>
                  <a:pt x="840" y="1118"/>
                </a:lnTo>
                <a:lnTo>
                  <a:pt x="835" y="1112"/>
                </a:lnTo>
                <a:lnTo>
                  <a:pt x="835" y="1109"/>
                </a:lnTo>
                <a:lnTo>
                  <a:pt x="835" y="1108"/>
                </a:lnTo>
                <a:lnTo>
                  <a:pt x="835" y="1106"/>
                </a:lnTo>
                <a:lnTo>
                  <a:pt x="836" y="1106"/>
                </a:lnTo>
                <a:lnTo>
                  <a:pt x="839" y="1107"/>
                </a:lnTo>
                <a:lnTo>
                  <a:pt x="843" y="1108"/>
                </a:lnTo>
                <a:lnTo>
                  <a:pt x="836" y="1099"/>
                </a:lnTo>
                <a:lnTo>
                  <a:pt x="835" y="1098"/>
                </a:lnTo>
                <a:lnTo>
                  <a:pt x="835" y="1099"/>
                </a:lnTo>
                <a:lnTo>
                  <a:pt x="835" y="1100"/>
                </a:lnTo>
                <a:lnTo>
                  <a:pt x="834" y="1103"/>
                </a:lnTo>
                <a:lnTo>
                  <a:pt x="830" y="1098"/>
                </a:lnTo>
                <a:lnTo>
                  <a:pt x="827" y="1099"/>
                </a:lnTo>
                <a:lnTo>
                  <a:pt x="827" y="1094"/>
                </a:lnTo>
                <a:lnTo>
                  <a:pt x="831" y="1098"/>
                </a:lnTo>
                <a:lnTo>
                  <a:pt x="827" y="1092"/>
                </a:lnTo>
                <a:lnTo>
                  <a:pt x="815" y="1081"/>
                </a:lnTo>
                <a:lnTo>
                  <a:pt x="815" y="1068"/>
                </a:lnTo>
                <a:lnTo>
                  <a:pt x="812" y="1060"/>
                </a:lnTo>
                <a:lnTo>
                  <a:pt x="810" y="1058"/>
                </a:lnTo>
                <a:lnTo>
                  <a:pt x="808" y="1057"/>
                </a:lnTo>
                <a:lnTo>
                  <a:pt x="810" y="1049"/>
                </a:lnTo>
                <a:lnTo>
                  <a:pt x="812" y="1038"/>
                </a:lnTo>
                <a:lnTo>
                  <a:pt x="807" y="1031"/>
                </a:lnTo>
                <a:lnTo>
                  <a:pt x="807" y="1027"/>
                </a:lnTo>
                <a:lnTo>
                  <a:pt x="807" y="1022"/>
                </a:lnTo>
                <a:lnTo>
                  <a:pt x="807" y="1016"/>
                </a:lnTo>
                <a:lnTo>
                  <a:pt x="806" y="1012"/>
                </a:lnTo>
                <a:lnTo>
                  <a:pt x="809" y="1005"/>
                </a:lnTo>
                <a:lnTo>
                  <a:pt x="809" y="1005"/>
                </a:lnTo>
                <a:lnTo>
                  <a:pt x="810" y="1005"/>
                </a:lnTo>
                <a:lnTo>
                  <a:pt x="811" y="997"/>
                </a:lnTo>
                <a:lnTo>
                  <a:pt x="811" y="975"/>
                </a:lnTo>
                <a:lnTo>
                  <a:pt x="811" y="970"/>
                </a:lnTo>
                <a:lnTo>
                  <a:pt x="811" y="965"/>
                </a:lnTo>
                <a:lnTo>
                  <a:pt x="816" y="965"/>
                </a:lnTo>
                <a:lnTo>
                  <a:pt x="815" y="952"/>
                </a:lnTo>
                <a:lnTo>
                  <a:pt x="819" y="950"/>
                </a:lnTo>
                <a:lnTo>
                  <a:pt x="815" y="949"/>
                </a:lnTo>
                <a:lnTo>
                  <a:pt x="814" y="942"/>
                </a:lnTo>
                <a:lnTo>
                  <a:pt x="815" y="947"/>
                </a:lnTo>
                <a:lnTo>
                  <a:pt x="816" y="943"/>
                </a:lnTo>
                <a:lnTo>
                  <a:pt x="815" y="943"/>
                </a:lnTo>
                <a:lnTo>
                  <a:pt x="817" y="941"/>
                </a:lnTo>
                <a:lnTo>
                  <a:pt x="811" y="941"/>
                </a:lnTo>
                <a:lnTo>
                  <a:pt x="811" y="939"/>
                </a:lnTo>
                <a:lnTo>
                  <a:pt x="816" y="936"/>
                </a:lnTo>
                <a:lnTo>
                  <a:pt x="814" y="935"/>
                </a:lnTo>
                <a:lnTo>
                  <a:pt x="811" y="938"/>
                </a:lnTo>
                <a:lnTo>
                  <a:pt x="809" y="923"/>
                </a:lnTo>
                <a:lnTo>
                  <a:pt x="805" y="916"/>
                </a:lnTo>
                <a:lnTo>
                  <a:pt x="803" y="909"/>
                </a:lnTo>
                <a:lnTo>
                  <a:pt x="814" y="913"/>
                </a:lnTo>
                <a:lnTo>
                  <a:pt x="824" y="915"/>
                </a:lnTo>
                <a:lnTo>
                  <a:pt x="827" y="913"/>
                </a:lnTo>
                <a:lnTo>
                  <a:pt x="830" y="915"/>
                </a:lnTo>
                <a:lnTo>
                  <a:pt x="831" y="913"/>
                </a:lnTo>
                <a:lnTo>
                  <a:pt x="831" y="915"/>
                </a:lnTo>
                <a:lnTo>
                  <a:pt x="833" y="917"/>
                </a:lnTo>
                <a:lnTo>
                  <a:pt x="833" y="921"/>
                </a:lnTo>
                <a:lnTo>
                  <a:pt x="831" y="920"/>
                </a:lnTo>
                <a:lnTo>
                  <a:pt x="826" y="930"/>
                </a:lnTo>
                <a:lnTo>
                  <a:pt x="828" y="930"/>
                </a:lnTo>
                <a:lnTo>
                  <a:pt x="825" y="932"/>
                </a:lnTo>
                <a:lnTo>
                  <a:pt x="827" y="935"/>
                </a:lnTo>
                <a:lnTo>
                  <a:pt x="827" y="932"/>
                </a:lnTo>
                <a:lnTo>
                  <a:pt x="831" y="935"/>
                </a:lnTo>
                <a:lnTo>
                  <a:pt x="835" y="931"/>
                </a:lnTo>
                <a:lnTo>
                  <a:pt x="831" y="929"/>
                </a:lnTo>
                <a:lnTo>
                  <a:pt x="831" y="927"/>
                </a:lnTo>
                <a:lnTo>
                  <a:pt x="829" y="929"/>
                </a:lnTo>
                <a:lnTo>
                  <a:pt x="828" y="929"/>
                </a:lnTo>
                <a:lnTo>
                  <a:pt x="831" y="924"/>
                </a:lnTo>
                <a:lnTo>
                  <a:pt x="831" y="924"/>
                </a:lnTo>
                <a:lnTo>
                  <a:pt x="831" y="926"/>
                </a:lnTo>
                <a:lnTo>
                  <a:pt x="835" y="924"/>
                </a:lnTo>
                <a:lnTo>
                  <a:pt x="835" y="929"/>
                </a:lnTo>
                <a:lnTo>
                  <a:pt x="835" y="931"/>
                </a:lnTo>
                <a:lnTo>
                  <a:pt x="839" y="927"/>
                </a:lnTo>
                <a:lnTo>
                  <a:pt x="836" y="923"/>
                </a:lnTo>
                <a:lnTo>
                  <a:pt x="839" y="917"/>
                </a:lnTo>
                <a:lnTo>
                  <a:pt x="839" y="916"/>
                </a:lnTo>
                <a:lnTo>
                  <a:pt x="836" y="914"/>
                </a:lnTo>
                <a:lnTo>
                  <a:pt x="836" y="913"/>
                </a:lnTo>
                <a:lnTo>
                  <a:pt x="836" y="913"/>
                </a:lnTo>
                <a:lnTo>
                  <a:pt x="835" y="913"/>
                </a:lnTo>
                <a:lnTo>
                  <a:pt x="836" y="911"/>
                </a:lnTo>
                <a:lnTo>
                  <a:pt x="835" y="910"/>
                </a:lnTo>
                <a:lnTo>
                  <a:pt x="835" y="911"/>
                </a:lnTo>
                <a:lnTo>
                  <a:pt x="833" y="913"/>
                </a:lnTo>
                <a:lnTo>
                  <a:pt x="835" y="914"/>
                </a:lnTo>
                <a:lnTo>
                  <a:pt x="835" y="914"/>
                </a:lnTo>
                <a:lnTo>
                  <a:pt x="839" y="916"/>
                </a:lnTo>
                <a:lnTo>
                  <a:pt x="836" y="917"/>
                </a:lnTo>
                <a:lnTo>
                  <a:pt x="833" y="913"/>
                </a:lnTo>
                <a:lnTo>
                  <a:pt x="835" y="910"/>
                </a:lnTo>
                <a:lnTo>
                  <a:pt x="833" y="909"/>
                </a:lnTo>
                <a:lnTo>
                  <a:pt x="836" y="909"/>
                </a:lnTo>
                <a:lnTo>
                  <a:pt x="836" y="905"/>
                </a:lnTo>
                <a:lnTo>
                  <a:pt x="835" y="903"/>
                </a:lnTo>
                <a:lnTo>
                  <a:pt x="833" y="901"/>
                </a:lnTo>
                <a:lnTo>
                  <a:pt x="831" y="900"/>
                </a:lnTo>
                <a:lnTo>
                  <a:pt x="831" y="901"/>
                </a:lnTo>
                <a:lnTo>
                  <a:pt x="830" y="901"/>
                </a:lnTo>
                <a:lnTo>
                  <a:pt x="829" y="898"/>
                </a:lnTo>
                <a:lnTo>
                  <a:pt x="825" y="898"/>
                </a:lnTo>
                <a:lnTo>
                  <a:pt x="823" y="892"/>
                </a:lnTo>
                <a:lnTo>
                  <a:pt x="822" y="889"/>
                </a:lnTo>
                <a:lnTo>
                  <a:pt x="823" y="889"/>
                </a:lnTo>
                <a:lnTo>
                  <a:pt x="822" y="889"/>
                </a:lnTo>
                <a:lnTo>
                  <a:pt x="822" y="883"/>
                </a:lnTo>
                <a:lnTo>
                  <a:pt x="817" y="888"/>
                </a:lnTo>
                <a:lnTo>
                  <a:pt x="819" y="889"/>
                </a:lnTo>
                <a:lnTo>
                  <a:pt x="816" y="889"/>
                </a:lnTo>
                <a:lnTo>
                  <a:pt x="816" y="889"/>
                </a:lnTo>
                <a:lnTo>
                  <a:pt x="815" y="889"/>
                </a:lnTo>
                <a:lnTo>
                  <a:pt x="815" y="888"/>
                </a:lnTo>
                <a:lnTo>
                  <a:pt x="812" y="885"/>
                </a:lnTo>
                <a:lnTo>
                  <a:pt x="814" y="881"/>
                </a:lnTo>
                <a:lnTo>
                  <a:pt x="812" y="879"/>
                </a:lnTo>
                <a:lnTo>
                  <a:pt x="816" y="878"/>
                </a:lnTo>
                <a:lnTo>
                  <a:pt x="814" y="875"/>
                </a:lnTo>
                <a:lnTo>
                  <a:pt x="812" y="874"/>
                </a:lnTo>
                <a:lnTo>
                  <a:pt x="814" y="878"/>
                </a:lnTo>
                <a:lnTo>
                  <a:pt x="811" y="879"/>
                </a:lnTo>
                <a:lnTo>
                  <a:pt x="811" y="881"/>
                </a:lnTo>
                <a:lnTo>
                  <a:pt x="811" y="882"/>
                </a:lnTo>
                <a:lnTo>
                  <a:pt x="807" y="883"/>
                </a:lnTo>
                <a:lnTo>
                  <a:pt x="809" y="883"/>
                </a:lnTo>
                <a:lnTo>
                  <a:pt x="810" y="887"/>
                </a:lnTo>
                <a:lnTo>
                  <a:pt x="812" y="885"/>
                </a:lnTo>
                <a:lnTo>
                  <a:pt x="815" y="889"/>
                </a:lnTo>
                <a:lnTo>
                  <a:pt x="815" y="890"/>
                </a:lnTo>
                <a:lnTo>
                  <a:pt x="812" y="891"/>
                </a:lnTo>
                <a:lnTo>
                  <a:pt x="811" y="889"/>
                </a:lnTo>
                <a:lnTo>
                  <a:pt x="811" y="889"/>
                </a:lnTo>
                <a:lnTo>
                  <a:pt x="811" y="889"/>
                </a:lnTo>
                <a:lnTo>
                  <a:pt x="811" y="889"/>
                </a:lnTo>
                <a:lnTo>
                  <a:pt x="809" y="889"/>
                </a:lnTo>
                <a:lnTo>
                  <a:pt x="810" y="888"/>
                </a:lnTo>
                <a:lnTo>
                  <a:pt x="804" y="882"/>
                </a:lnTo>
                <a:lnTo>
                  <a:pt x="806" y="883"/>
                </a:lnTo>
                <a:lnTo>
                  <a:pt x="804" y="881"/>
                </a:lnTo>
                <a:lnTo>
                  <a:pt x="801" y="879"/>
                </a:lnTo>
                <a:lnTo>
                  <a:pt x="804" y="875"/>
                </a:lnTo>
                <a:lnTo>
                  <a:pt x="801" y="876"/>
                </a:lnTo>
                <a:lnTo>
                  <a:pt x="800" y="878"/>
                </a:lnTo>
                <a:lnTo>
                  <a:pt x="800" y="878"/>
                </a:lnTo>
                <a:lnTo>
                  <a:pt x="800" y="878"/>
                </a:lnTo>
                <a:lnTo>
                  <a:pt x="800" y="881"/>
                </a:lnTo>
                <a:lnTo>
                  <a:pt x="798" y="881"/>
                </a:lnTo>
                <a:lnTo>
                  <a:pt x="797" y="881"/>
                </a:lnTo>
                <a:lnTo>
                  <a:pt x="798" y="876"/>
                </a:lnTo>
                <a:lnTo>
                  <a:pt x="799" y="873"/>
                </a:lnTo>
                <a:lnTo>
                  <a:pt x="795" y="873"/>
                </a:lnTo>
                <a:lnTo>
                  <a:pt x="795" y="871"/>
                </a:lnTo>
                <a:lnTo>
                  <a:pt x="791" y="870"/>
                </a:lnTo>
                <a:lnTo>
                  <a:pt x="791" y="870"/>
                </a:lnTo>
                <a:lnTo>
                  <a:pt x="790" y="869"/>
                </a:lnTo>
                <a:lnTo>
                  <a:pt x="792" y="864"/>
                </a:lnTo>
                <a:lnTo>
                  <a:pt x="787" y="872"/>
                </a:lnTo>
                <a:lnTo>
                  <a:pt x="790" y="873"/>
                </a:lnTo>
                <a:lnTo>
                  <a:pt x="791" y="872"/>
                </a:lnTo>
                <a:lnTo>
                  <a:pt x="791" y="873"/>
                </a:lnTo>
                <a:lnTo>
                  <a:pt x="791" y="873"/>
                </a:lnTo>
                <a:lnTo>
                  <a:pt x="792" y="874"/>
                </a:lnTo>
                <a:lnTo>
                  <a:pt x="793" y="877"/>
                </a:lnTo>
                <a:lnTo>
                  <a:pt x="794" y="877"/>
                </a:lnTo>
                <a:lnTo>
                  <a:pt x="794" y="876"/>
                </a:lnTo>
                <a:lnTo>
                  <a:pt x="794" y="877"/>
                </a:lnTo>
                <a:lnTo>
                  <a:pt x="795" y="877"/>
                </a:lnTo>
                <a:lnTo>
                  <a:pt x="795" y="879"/>
                </a:lnTo>
                <a:lnTo>
                  <a:pt x="796" y="881"/>
                </a:lnTo>
                <a:lnTo>
                  <a:pt x="800" y="883"/>
                </a:lnTo>
                <a:lnTo>
                  <a:pt x="798" y="885"/>
                </a:lnTo>
                <a:lnTo>
                  <a:pt x="801" y="889"/>
                </a:lnTo>
                <a:lnTo>
                  <a:pt x="812" y="894"/>
                </a:lnTo>
                <a:lnTo>
                  <a:pt x="818" y="901"/>
                </a:lnTo>
                <a:lnTo>
                  <a:pt x="819" y="904"/>
                </a:lnTo>
                <a:lnTo>
                  <a:pt x="820" y="903"/>
                </a:lnTo>
                <a:lnTo>
                  <a:pt x="823" y="909"/>
                </a:lnTo>
                <a:lnTo>
                  <a:pt x="820" y="908"/>
                </a:lnTo>
                <a:lnTo>
                  <a:pt x="818" y="912"/>
                </a:lnTo>
                <a:lnTo>
                  <a:pt x="797" y="903"/>
                </a:lnTo>
                <a:lnTo>
                  <a:pt x="796" y="901"/>
                </a:lnTo>
                <a:lnTo>
                  <a:pt x="799" y="897"/>
                </a:lnTo>
                <a:lnTo>
                  <a:pt x="799" y="894"/>
                </a:lnTo>
                <a:lnTo>
                  <a:pt x="798" y="898"/>
                </a:lnTo>
                <a:lnTo>
                  <a:pt x="790" y="901"/>
                </a:lnTo>
                <a:lnTo>
                  <a:pt x="787" y="897"/>
                </a:lnTo>
                <a:lnTo>
                  <a:pt x="789" y="894"/>
                </a:lnTo>
                <a:lnTo>
                  <a:pt x="787" y="895"/>
                </a:lnTo>
                <a:lnTo>
                  <a:pt x="786" y="892"/>
                </a:lnTo>
                <a:lnTo>
                  <a:pt x="783" y="894"/>
                </a:lnTo>
                <a:lnTo>
                  <a:pt x="784" y="892"/>
                </a:lnTo>
                <a:lnTo>
                  <a:pt x="781" y="890"/>
                </a:lnTo>
                <a:lnTo>
                  <a:pt x="783" y="894"/>
                </a:lnTo>
                <a:lnTo>
                  <a:pt x="779" y="892"/>
                </a:lnTo>
                <a:lnTo>
                  <a:pt x="779" y="893"/>
                </a:lnTo>
                <a:lnTo>
                  <a:pt x="776" y="893"/>
                </a:lnTo>
                <a:lnTo>
                  <a:pt x="773" y="888"/>
                </a:lnTo>
                <a:lnTo>
                  <a:pt x="781" y="885"/>
                </a:lnTo>
                <a:lnTo>
                  <a:pt x="771" y="883"/>
                </a:lnTo>
                <a:lnTo>
                  <a:pt x="771" y="886"/>
                </a:lnTo>
                <a:lnTo>
                  <a:pt x="767" y="883"/>
                </a:lnTo>
                <a:lnTo>
                  <a:pt x="767" y="883"/>
                </a:lnTo>
                <a:lnTo>
                  <a:pt x="767" y="883"/>
                </a:lnTo>
                <a:lnTo>
                  <a:pt x="765" y="879"/>
                </a:lnTo>
                <a:lnTo>
                  <a:pt x="767" y="878"/>
                </a:lnTo>
                <a:lnTo>
                  <a:pt x="764" y="879"/>
                </a:lnTo>
                <a:lnTo>
                  <a:pt x="759" y="875"/>
                </a:lnTo>
                <a:lnTo>
                  <a:pt x="755" y="878"/>
                </a:lnTo>
                <a:lnTo>
                  <a:pt x="755" y="874"/>
                </a:lnTo>
                <a:lnTo>
                  <a:pt x="755" y="871"/>
                </a:lnTo>
                <a:lnTo>
                  <a:pt x="755" y="869"/>
                </a:lnTo>
                <a:lnTo>
                  <a:pt x="751" y="871"/>
                </a:lnTo>
                <a:lnTo>
                  <a:pt x="747" y="867"/>
                </a:lnTo>
                <a:lnTo>
                  <a:pt x="747" y="863"/>
                </a:lnTo>
                <a:lnTo>
                  <a:pt x="755" y="863"/>
                </a:lnTo>
                <a:lnTo>
                  <a:pt x="765" y="867"/>
                </a:lnTo>
                <a:lnTo>
                  <a:pt x="780" y="871"/>
                </a:lnTo>
                <a:lnTo>
                  <a:pt x="781" y="869"/>
                </a:lnTo>
                <a:lnTo>
                  <a:pt x="779" y="867"/>
                </a:lnTo>
                <a:lnTo>
                  <a:pt x="781" y="866"/>
                </a:lnTo>
                <a:lnTo>
                  <a:pt x="783" y="865"/>
                </a:lnTo>
                <a:lnTo>
                  <a:pt x="781" y="865"/>
                </a:lnTo>
                <a:lnTo>
                  <a:pt x="780" y="865"/>
                </a:lnTo>
                <a:lnTo>
                  <a:pt x="781" y="863"/>
                </a:lnTo>
                <a:lnTo>
                  <a:pt x="780" y="863"/>
                </a:lnTo>
                <a:lnTo>
                  <a:pt x="781" y="862"/>
                </a:lnTo>
                <a:lnTo>
                  <a:pt x="773" y="863"/>
                </a:lnTo>
                <a:lnTo>
                  <a:pt x="773" y="862"/>
                </a:lnTo>
                <a:lnTo>
                  <a:pt x="774" y="861"/>
                </a:lnTo>
                <a:lnTo>
                  <a:pt x="773" y="861"/>
                </a:lnTo>
                <a:lnTo>
                  <a:pt x="771" y="861"/>
                </a:lnTo>
                <a:lnTo>
                  <a:pt x="773" y="857"/>
                </a:lnTo>
                <a:lnTo>
                  <a:pt x="766" y="858"/>
                </a:lnTo>
                <a:lnTo>
                  <a:pt x="755" y="856"/>
                </a:lnTo>
                <a:lnTo>
                  <a:pt x="755" y="855"/>
                </a:lnTo>
                <a:lnTo>
                  <a:pt x="760" y="853"/>
                </a:lnTo>
                <a:lnTo>
                  <a:pt x="757" y="853"/>
                </a:lnTo>
                <a:lnTo>
                  <a:pt x="760" y="850"/>
                </a:lnTo>
                <a:lnTo>
                  <a:pt x="763" y="846"/>
                </a:lnTo>
                <a:lnTo>
                  <a:pt x="763" y="842"/>
                </a:lnTo>
                <a:lnTo>
                  <a:pt x="759" y="843"/>
                </a:lnTo>
                <a:lnTo>
                  <a:pt x="759" y="848"/>
                </a:lnTo>
                <a:lnTo>
                  <a:pt x="759" y="849"/>
                </a:lnTo>
                <a:lnTo>
                  <a:pt x="756" y="847"/>
                </a:lnTo>
                <a:lnTo>
                  <a:pt x="757" y="840"/>
                </a:lnTo>
                <a:lnTo>
                  <a:pt x="759" y="840"/>
                </a:lnTo>
                <a:lnTo>
                  <a:pt x="756" y="840"/>
                </a:lnTo>
                <a:lnTo>
                  <a:pt x="756" y="835"/>
                </a:lnTo>
                <a:lnTo>
                  <a:pt x="763" y="831"/>
                </a:lnTo>
                <a:lnTo>
                  <a:pt x="763" y="832"/>
                </a:lnTo>
                <a:lnTo>
                  <a:pt x="759" y="836"/>
                </a:lnTo>
                <a:lnTo>
                  <a:pt x="761" y="836"/>
                </a:lnTo>
                <a:lnTo>
                  <a:pt x="767" y="832"/>
                </a:lnTo>
                <a:lnTo>
                  <a:pt x="765" y="829"/>
                </a:lnTo>
                <a:lnTo>
                  <a:pt x="770" y="824"/>
                </a:lnTo>
                <a:lnTo>
                  <a:pt x="767" y="822"/>
                </a:lnTo>
                <a:lnTo>
                  <a:pt x="767" y="825"/>
                </a:lnTo>
                <a:lnTo>
                  <a:pt x="759" y="832"/>
                </a:lnTo>
                <a:lnTo>
                  <a:pt x="755" y="834"/>
                </a:lnTo>
                <a:lnTo>
                  <a:pt x="755" y="832"/>
                </a:lnTo>
                <a:lnTo>
                  <a:pt x="755" y="832"/>
                </a:lnTo>
                <a:lnTo>
                  <a:pt x="755" y="833"/>
                </a:lnTo>
                <a:lnTo>
                  <a:pt x="755" y="832"/>
                </a:lnTo>
                <a:lnTo>
                  <a:pt x="755" y="832"/>
                </a:lnTo>
                <a:lnTo>
                  <a:pt x="755" y="832"/>
                </a:lnTo>
                <a:lnTo>
                  <a:pt x="755" y="828"/>
                </a:lnTo>
                <a:lnTo>
                  <a:pt x="752" y="831"/>
                </a:lnTo>
                <a:lnTo>
                  <a:pt x="752" y="832"/>
                </a:lnTo>
                <a:lnTo>
                  <a:pt x="752" y="831"/>
                </a:lnTo>
                <a:lnTo>
                  <a:pt x="753" y="832"/>
                </a:lnTo>
                <a:lnTo>
                  <a:pt x="752" y="832"/>
                </a:lnTo>
                <a:lnTo>
                  <a:pt x="751" y="832"/>
                </a:lnTo>
                <a:lnTo>
                  <a:pt x="751" y="832"/>
                </a:lnTo>
                <a:lnTo>
                  <a:pt x="751" y="832"/>
                </a:lnTo>
                <a:lnTo>
                  <a:pt x="751" y="832"/>
                </a:lnTo>
                <a:lnTo>
                  <a:pt x="750" y="831"/>
                </a:lnTo>
                <a:lnTo>
                  <a:pt x="751" y="829"/>
                </a:lnTo>
                <a:lnTo>
                  <a:pt x="751" y="828"/>
                </a:lnTo>
                <a:lnTo>
                  <a:pt x="751" y="828"/>
                </a:lnTo>
                <a:lnTo>
                  <a:pt x="751" y="828"/>
                </a:lnTo>
                <a:lnTo>
                  <a:pt x="751" y="828"/>
                </a:lnTo>
                <a:lnTo>
                  <a:pt x="752" y="826"/>
                </a:lnTo>
                <a:lnTo>
                  <a:pt x="751" y="828"/>
                </a:lnTo>
                <a:lnTo>
                  <a:pt x="750" y="825"/>
                </a:lnTo>
                <a:lnTo>
                  <a:pt x="750" y="824"/>
                </a:lnTo>
                <a:lnTo>
                  <a:pt x="752" y="824"/>
                </a:lnTo>
                <a:lnTo>
                  <a:pt x="752" y="822"/>
                </a:lnTo>
                <a:lnTo>
                  <a:pt x="749" y="823"/>
                </a:lnTo>
                <a:lnTo>
                  <a:pt x="749" y="822"/>
                </a:lnTo>
                <a:lnTo>
                  <a:pt x="749" y="823"/>
                </a:lnTo>
                <a:lnTo>
                  <a:pt x="748" y="823"/>
                </a:lnTo>
                <a:lnTo>
                  <a:pt x="746" y="817"/>
                </a:lnTo>
                <a:lnTo>
                  <a:pt x="743" y="815"/>
                </a:lnTo>
                <a:lnTo>
                  <a:pt x="741" y="812"/>
                </a:lnTo>
                <a:lnTo>
                  <a:pt x="743" y="812"/>
                </a:lnTo>
                <a:lnTo>
                  <a:pt x="748" y="814"/>
                </a:lnTo>
                <a:lnTo>
                  <a:pt x="752" y="812"/>
                </a:lnTo>
                <a:lnTo>
                  <a:pt x="746" y="812"/>
                </a:lnTo>
                <a:lnTo>
                  <a:pt x="741" y="807"/>
                </a:lnTo>
                <a:lnTo>
                  <a:pt x="741" y="805"/>
                </a:lnTo>
                <a:lnTo>
                  <a:pt x="739" y="805"/>
                </a:lnTo>
                <a:lnTo>
                  <a:pt x="739" y="804"/>
                </a:lnTo>
                <a:lnTo>
                  <a:pt x="739" y="802"/>
                </a:lnTo>
                <a:lnTo>
                  <a:pt x="745" y="802"/>
                </a:lnTo>
                <a:lnTo>
                  <a:pt x="744" y="801"/>
                </a:lnTo>
                <a:lnTo>
                  <a:pt x="745" y="798"/>
                </a:lnTo>
                <a:lnTo>
                  <a:pt x="735" y="805"/>
                </a:lnTo>
                <a:lnTo>
                  <a:pt x="739" y="805"/>
                </a:lnTo>
                <a:lnTo>
                  <a:pt x="739" y="805"/>
                </a:lnTo>
                <a:lnTo>
                  <a:pt x="741" y="807"/>
                </a:lnTo>
                <a:lnTo>
                  <a:pt x="740" y="810"/>
                </a:lnTo>
                <a:lnTo>
                  <a:pt x="741" y="814"/>
                </a:lnTo>
                <a:lnTo>
                  <a:pt x="743" y="816"/>
                </a:lnTo>
                <a:lnTo>
                  <a:pt x="743" y="817"/>
                </a:lnTo>
                <a:lnTo>
                  <a:pt x="743" y="820"/>
                </a:lnTo>
                <a:lnTo>
                  <a:pt x="742" y="825"/>
                </a:lnTo>
                <a:lnTo>
                  <a:pt x="740" y="824"/>
                </a:lnTo>
                <a:lnTo>
                  <a:pt x="738" y="822"/>
                </a:lnTo>
                <a:lnTo>
                  <a:pt x="743" y="817"/>
                </a:lnTo>
                <a:lnTo>
                  <a:pt x="737" y="821"/>
                </a:lnTo>
                <a:lnTo>
                  <a:pt x="738" y="816"/>
                </a:lnTo>
                <a:lnTo>
                  <a:pt x="738" y="816"/>
                </a:lnTo>
                <a:lnTo>
                  <a:pt x="738" y="810"/>
                </a:lnTo>
                <a:lnTo>
                  <a:pt x="735" y="811"/>
                </a:lnTo>
                <a:lnTo>
                  <a:pt x="725" y="803"/>
                </a:lnTo>
                <a:lnTo>
                  <a:pt x="725" y="802"/>
                </a:lnTo>
                <a:lnTo>
                  <a:pt x="724" y="802"/>
                </a:lnTo>
                <a:lnTo>
                  <a:pt x="723" y="802"/>
                </a:lnTo>
                <a:lnTo>
                  <a:pt x="723" y="796"/>
                </a:lnTo>
                <a:lnTo>
                  <a:pt x="723" y="796"/>
                </a:lnTo>
                <a:lnTo>
                  <a:pt x="723" y="795"/>
                </a:lnTo>
                <a:lnTo>
                  <a:pt x="722" y="792"/>
                </a:lnTo>
                <a:lnTo>
                  <a:pt x="719" y="792"/>
                </a:lnTo>
                <a:lnTo>
                  <a:pt x="719" y="785"/>
                </a:lnTo>
                <a:lnTo>
                  <a:pt x="727" y="791"/>
                </a:lnTo>
                <a:lnTo>
                  <a:pt x="720" y="785"/>
                </a:lnTo>
                <a:lnTo>
                  <a:pt x="723" y="783"/>
                </a:lnTo>
                <a:lnTo>
                  <a:pt x="722" y="783"/>
                </a:lnTo>
                <a:lnTo>
                  <a:pt x="724" y="782"/>
                </a:lnTo>
                <a:lnTo>
                  <a:pt x="726" y="780"/>
                </a:lnTo>
                <a:lnTo>
                  <a:pt x="731" y="780"/>
                </a:lnTo>
                <a:lnTo>
                  <a:pt x="726" y="777"/>
                </a:lnTo>
                <a:lnTo>
                  <a:pt x="727" y="774"/>
                </a:lnTo>
                <a:lnTo>
                  <a:pt x="723" y="779"/>
                </a:lnTo>
                <a:lnTo>
                  <a:pt x="722" y="782"/>
                </a:lnTo>
                <a:lnTo>
                  <a:pt x="720" y="782"/>
                </a:lnTo>
                <a:lnTo>
                  <a:pt x="719" y="782"/>
                </a:lnTo>
                <a:lnTo>
                  <a:pt x="719" y="782"/>
                </a:lnTo>
                <a:lnTo>
                  <a:pt x="719" y="782"/>
                </a:lnTo>
                <a:lnTo>
                  <a:pt x="719" y="782"/>
                </a:lnTo>
                <a:lnTo>
                  <a:pt x="719" y="782"/>
                </a:lnTo>
                <a:lnTo>
                  <a:pt x="719" y="782"/>
                </a:lnTo>
                <a:lnTo>
                  <a:pt x="721" y="779"/>
                </a:lnTo>
                <a:lnTo>
                  <a:pt x="717" y="782"/>
                </a:lnTo>
                <a:lnTo>
                  <a:pt x="715" y="777"/>
                </a:lnTo>
                <a:lnTo>
                  <a:pt x="718" y="776"/>
                </a:lnTo>
                <a:lnTo>
                  <a:pt x="713" y="776"/>
                </a:lnTo>
                <a:lnTo>
                  <a:pt x="712" y="773"/>
                </a:lnTo>
                <a:lnTo>
                  <a:pt x="711" y="776"/>
                </a:lnTo>
                <a:lnTo>
                  <a:pt x="708" y="776"/>
                </a:lnTo>
                <a:lnTo>
                  <a:pt x="707" y="776"/>
                </a:lnTo>
                <a:lnTo>
                  <a:pt x="707" y="776"/>
                </a:lnTo>
                <a:lnTo>
                  <a:pt x="708" y="776"/>
                </a:lnTo>
                <a:lnTo>
                  <a:pt x="707" y="777"/>
                </a:lnTo>
                <a:lnTo>
                  <a:pt x="707" y="770"/>
                </a:lnTo>
                <a:lnTo>
                  <a:pt x="706" y="772"/>
                </a:lnTo>
                <a:lnTo>
                  <a:pt x="707" y="772"/>
                </a:lnTo>
                <a:lnTo>
                  <a:pt x="707" y="772"/>
                </a:lnTo>
                <a:lnTo>
                  <a:pt x="706" y="772"/>
                </a:lnTo>
                <a:lnTo>
                  <a:pt x="707" y="771"/>
                </a:lnTo>
                <a:lnTo>
                  <a:pt x="707" y="769"/>
                </a:lnTo>
                <a:lnTo>
                  <a:pt x="708" y="770"/>
                </a:lnTo>
                <a:lnTo>
                  <a:pt x="709" y="768"/>
                </a:lnTo>
                <a:lnTo>
                  <a:pt x="707" y="764"/>
                </a:lnTo>
                <a:lnTo>
                  <a:pt x="707" y="767"/>
                </a:lnTo>
                <a:lnTo>
                  <a:pt x="703" y="770"/>
                </a:lnTo>
                <a:lnTo>
                  <a:pt x="704" y="770"/>
                </a:lnTo>
                <a:lnTo>
                  <a:pt x="703" y="770"/>
                </a:lnTo>
                <a:lnTo>
                  <a:pt x="703" y="770"/>
                </a:lnTo>
                <a:lnTo>
                  <a:pt x="703" y="769"/>
                </a:lnTo>
                <a:lnTo>
                  <a:pt x="703" y="769"/>
                </a:lnTo>
                <a:lnTo>
                  <a:pt x="703" y="768"/>
                </a:lnTo>
                <a:lnTo>
                  <a:pt x="703" y="768"/>
                </a:lnTo>
                <a:lnTo>
                  <a:pt x="703" y="767"/>
                </a:lnTo>
                <a:lnTo>
                  <a:pt x="703" y="765"/>
                </a:lnTo>
                <a:lnTo>
                  <a:pt x="703" y="762"/>
                </a:lnTo>
                <a:lnTo>
                  <a:pt x="703" y="759"/>
                </a:lnTo>
                <a:lnTo>
                  <a:pt x="710" y="756"/>
                </a:lnTo>
                <a:lnTo>
                  <a:pt x="711" y="758"/>
                </a:lnTo>
                <a:lnTo>
                  <a:pt x="713" y="755"/>
                </a:lnTo>
                <a:lnTo>
                  <a:pt x="699" y="760"/>
                </a:lnTo>
                <a:lnTo>
                  <a:pt x="702" y="760"/>
                </a:lnTo>
                <a:lnTo>
                  <a:pt x="698" y="766"/>
                </a:lnTo>
                <a:lnTo>
                  <a:pt x="698" y="765"/>
                </a:lnTo>
                <a:lnTo>
                  <a:pt x="696" y="763"/>
                </a:lnTo>
                <a:lnTo>
                  <a:pt x="698" y="760"/>
                </a:lnTo>
                <a:lnTo>
                  <a:pt x="695" y="760"/>
                </a:lnTo>
                <a:lnTo>
                  <a:pt x="692" y="756"/>
                </a:lnTo>
                <a:lnTo>
                  <a:pt x="687" y="756"/>
                </a:lnTo>
                <a:lnTo>
                  <a:pt x="687" y="751"/>
                </a:lnTo>
                <a:lnTo>
                  <a:pt x="691" y="747"/>
                </a:lnTo>
                <a:lnTo>
                  <a:pt x="691" y="751"/>
                </a:lnTo>
                <a:lnTo>
                  <a:pt x="695" y="754"/>
                </a:lnTo>
                <a:lnTo>
                  <a:pt x="695" y="753"/>
                </a:lnTo>
                <a:lnTo>
                  <a:pt x="697" y="752"/>
                </a:lnTo>
                <a:lnTo>
                  <a:pt x="698" y="754"/>
                </a:lnTo>
                <a:lnTo>
                  <a:pt x="699" y="751"/>
                </a:lnTo>
                <a:lnTo>
                  <a:pt x="699" y="751"/>
                </a:lnTo>
                <a:lnTo>
                  <a:pt x="699" y="751"/>
                </a:lnTo>
                <a:lnTo>
                  <a:pt x="699" y="749"/>
                </a:lnTo>
                <a:lnTo>
                  <a:pt x="695" y="746"/>
                </a:lnTo>
                <a:lnTo>
                  <a:pt x="695" y="747"/>
                </a:lnTo>
                <a:lnTo>
                  <a:pt x="691" y="744"/>
                </a:lnTo>
                <a:lnTo>
                  <a:pt x="695" y="739"/>
                </a:lnTo>
                <a:lnTo>
                  <a:pt x="691" y="740"/>
                </a:lnTo>
                <a:lnTo>
                  <a:pt x="687" y="738"/>
                </a:lnTo>
                <a:lnTo>
                  <a:pt x="686" y="736"/>
                </a:lnTo>
                <a:lnTo>
                  <a:pt x="687" y="735"/>
                </a:lnTo>
                <a:lnTo>
                  <a:pt x="687" y="732"/>
                </a:lnTo>
                <a:lnTo>
                  <a:pt x="686" y="735"/>
                </a:lnTo>
                <a:lnTo>
                  <a:pt x="683" y="732"/>
                </a:lnTo>
                <a:lnTo>
                  <a:pt x="680" y="731"/>
                </a:lnTo>
                <a:lnTo>
                  <a:pt x="679" y="732"/>
                </a:lnTo>
                <a:lnTo>
                  <a:pt x="677" y="731"/>
                </a:lnTo>
                <a:lnTo>
                  <a:pt x="678" y="728"/>
                </a:lnTo>
                <a:lnTo>
                  <a:pt x="677" y="724"/>
                </a:lnTo>
                <a:lnTo>
                  <a:pt x="679" y="721"/>
                </a:lnTo>
                <a:lnTo>
                  <a:pt x="683" y="723"/>
                </a:lnTo>
                <a:lnTo>
                  <a:pt x="679" y="721"/>
                </a:lnTo>
                <a:lnTo>
                  <a:pt x="679" y="721"/>
                </a:lnTo>
                <a:lnTo>
                  <a:pt x="679" y="721"/>
                </a:lnTo>
                <a:lnTo>
                  <a:pt x="675" y="719"/>
                </a:lnTo>
                <a:lnTo>
                  <a:pt x="675" y="715"/>
                </a:lnTo>
                <a:lnTo>
                  <a:pt x="675" y="719"/>
                </a:lnTo>
                <a:lnTo>
                  <a:pt x="673" y="713"/>
                </a:lnTo>
                <a:lnTo>
                  <a:pt x="676" y="709"/>
                </a:lnTo>
                <a:lnTo>
                  <a:pt x="672" y="713"/>
                </a:lnTo>
                <a:lnTo>
                  <a:pt x="669" y="713"/>
                </a:lnTo>
                <a:lnTo>
                  <a:pt x="670" y="706"/>
                </a:lnTo>
                <a:lnTo>
                  <a:pt x="673" y="704"/>
                </a:lnTo>
                <a:lnTo>
                  <a:pt x="670" y="704"/>
                </a:lnTo>
                <a:lnTo>
                  <a:pt x="666" y="709"/>
                </a:lnTo>
                <a:lnTo>
                  <a:pt x="665" y="708"/>
                </a:lnTo>
                <a:lnTo>
                  <a:pt x="665" y="708"/>
                </a:lnTo>
                <a:lnTo>
                  <a:pt x="660" y="707"/>
                </a:lnTo>
                <a:lnTo>
                  <a:pt x="661" y="706"/>
                </a:lnTo>
                <a:lnTo>
                  <a:pt x="658" y="704"/>
                </a:lnTo>
                <a:lnTo>
                  <a:pt x="655" y="698"/>
                </a:lnTo>
                <a:lnTo>
                  <a:pt x="655" y="696"/>
                </a:lnTo>
                <a:lnTo>
                  <a:pt x="653" y="697"/>
                </a:lnTo>
                <a:lnTo>
                  <a:pt x="653" y="696"/>
                </a:lnTo>
                <a:lnTo>
                  <a:pt x="650" y="685"/>
                </a:lnTo>
                <a:lnTo>
                  <a:pt x="651" y="690"/>
                </a:lnTo>
                <a:lnTo>
                  <a:pt x="646" y="686"/>
                </a:lnTo>
                <a:lnTo>
                  <a:pt x="651" y="698"/>
                </a:lnTo>
                <a:lnTo>
                  <a:pt x="651" y="704"/>
                </a:lnTo>
                <a:lnTo>
                  <a:pt x="651" y="711"/>
                </a:lnTo>
                <a:lnTo>
                  <a:pt x="650" y="711"/>
                </a:lnTo>
                <a:lnTo>
                  <a:pt x="647" y="706"/>
                </a:lnTo>
                <a:lnTo>
                  <a:pt x="641" y="705"/>
                </a:lnTo>
                <a:lnTo>
                  <a:pt x="643" y="702"/>
                </a:lnTo>
                <a:lnTo>
                  <a:pt x="639" y="697"/>
                </a:lnTo>
                <a:lnTo>
                  <a:pt x="644" y="696"/>
                </a:lnTo>
                <a:lnTo>
                  <a:pt x="639" y="696"/>
                </a:lnTo>
                <a:lnTo>
                  <a:pt x="639" y="696"/>
                </a:lnTo>
                <a:lnTo>
                  <a:pt x="636" y="697"/>
                </a:lnTo>
                <a:lnTo>
                  <a:pt x="631" y="692"/>
                </a:lnTo>
                <a:lnTo>
                  <a:pt x="630" y="693"/>
                </a:lnTo>
                <a:lnTo>
                  <a:pt x="624" y="690"/>
                </a:lnTo>
                <a:lnTo>
                  <a:pt x="626" y="693"/>
                </a:lnTo>
                <a:lnTo>
                  <a:pt x="631" y="696"/>
                </a:lnTo>
                <a:lnTo>
                  <a:pt x="635" y="698"/>
                </a:lnTo>
                <a:lnTo>
                  <a:pt x="639" y="704"/>
                </a:lnTo>
                <a:lnTo>
                  <a:pt x="635" y="707"/>
                </a:lnTo>
                <a:lnTo>
                  <a:pt x="630" y="704"/>
                </a:lnTo>
                <a:lnTo>
                  <a:pt x="630" y="704"/>
                </a:lnTo>
                <a:lnTo>
                  <a:pt x="631" y="705"/>
                </a:lnTo>
                <a:lnTo>
                  <a:pt x="632" y="707"/>
                </a:lnTo>
                <a:lnTo>
                  <a:pt x="631" y="709"/>
                </a:lnTo>
                <a:lnTo>
                  <a:pt x="627" y="705"/>
                </a:lnTo>
                <a:lnTo>
                  <a:pt x="617" y="702"/>
                </a:lnTo>
                <a:lnTo>
                  <a:pt x="619" y="700"/>
                </a:lnTo>
                <a:lnTo>
                  <a:pt x="616" y="700"/>
                </a:lnTo>
                <a:lnTo>
                  <a:pt x="609" y="691"/>
                </a:lnTo>
                <a:lnTo>
                  <a:pt x="602" y="688"/>
                </a:lnTo>
                <a:lnTo>
                  <a:pt x="586" y="681"/>
                </a:lnTo>
                <a:lnTo>
                  <a:pt x="590" y="677"/>
                </a:lnTo>
                <a:lnTo>
                  <a:pt x="590" y="679"/>
                </a:lnTo>
                <a:lnTo>
                  <a:pt x="590" y="677"/>
                </a:lnTo>
                <a:lnTo>
                  <a:pt x="590" y="676"/>
                </a:lnTo>
                <a:lnTo>
                  <a:pt x="598" y="676"/>
                </a:lnTo>
                <a:lnTo>
                  <a:pt x="589" y="670"/>
                </a:lnTo>
                <a:lnTo>
                  <a:pt x="590" y="671"/>
                </a:lnTo>
                <a:lnTo>
                  <a:pt x="590" y="677"/>
                </a:lnTo>
                <a:lnTo>
                  <a:pt x="587" y="671"/>
                </a:lnTo>
                <a:lnTo>
                  <a:pt x="583" y="674"/>
                </a:lnTo>
                <a:lnTo>
                  <a:pt x="577" y="675"/>
                </a:lnTo>
                <a:lnTo>
                  <a:pt x="563" y="671"/>
                </a:lnTo>
                <a:lnTo>
                  <a:pt x="564" y="669"/>
                </a:lnTo>
                <a:lnTo>
                  <a:pt x="563" y="665"/>
                </a:lnTo>
                <a:lnTo>
                  <a:pt x="560" y="667"/>
                </a:lnTo>
                <a:lnTo>
                  <a:pt x="563" y="669"/>
                </a:lnTo>
                <a:lnTo>
                  <a:pt x="558" y="671"/>
                </a:lnTo>
                <a:lnTo>
                  <a:pt x="543" y="668"/>
                </a:lnTo>
                <a:lnTo>
                  <a:pt x="526" y="671"/>
                </a:lnTo>
                <a:lnTo>
                  <a:pt x="520" y="668"/>
                </a:lnTo>
                <a:lnTo>
                  <a:pt x="516" y="668"/>
                </a:lnTo>
                <a:lnTo>
                  <a:pt x="510" y="664"/>
                </a:lnTo>
                <a:lnTo>
                  <a:pt x="513" y="656"/>
                </a:lnTo>
                <a:lnTo>
                  <a:pt x="515" y="652"/>
                </a:lnTo>
                <a:lnTo>
                  <a:pt x="505" y="660"/>
                </a:lnTo>
                <a:lnTo>
                  <a:pt x="498" y="659"/>
                </a:lnTo>
                <a:lnTo>
                  <a:pt x="501" y="656"/>
                </a:lnTo>
                <a:lnTo>
                  <a:pt x="491" y="656"/>
                </a:lnTo>
                <a:lnTo>
                  <a:pt x="496" y="653"/>
                </a:lnTo>
                <a:lnTo>
                  <a:pt x="494" y="652"/>
                </a:lnTo>
                <a:lnTo>
                  <a:pt x="494" y="652"/>
                </a:lnTo>
                <a:lnTo>
                  <a:pt x="494" y="652"/>
                </a:lnTo>
                <a:lnTo>
                  <a:pt x="494" y="651"/>
                </a:lnTo>
                <a:lnTo>
                  <a:pt x="494" y="651"/>
                </a:lnTo>
                <a:lnTo>
                  <a:pt x="494" y="651"/>
                </a:lnTo>
                <a:lnTo>
                  <a:pt x="494" y="651"/>
                </a:lnTo>
                <a:lnTo>
                  <a:pt x="493" y="649"/>
                </a:lnTo>
                <a:lnTo>
                  <a:pt x="487" y="651"/>
                </a:lnTo>
                <a:lnTo>
                  <a:pt x="485" y="648"/>
                </a:lnTo>
                <a:lnTo>
                  <a:pt x="486" y="644"/>
                </a:lnTo>
                <a:lnTo>
                  <a:pt x="481" y="648"/>
                </a:lnTo>
                <a:lnTo>
                  <a:pt x="480" y="648"/>
                </a:lnTo>
                <a:lnTo>
                  <a:pt x="475" y="652"/>
                </a:lnTo>
                <a:lnTo>
                  <a:pt x="470" y="652"/>
                </a:lnTo>
                <a:lnTo>
                  <a:pt x="470" y="648"/>
                </a:lnTo>
                <a:lnTo>
                  <a:pt x="468" y="651"/>
                </a:lnTo>
                <a:lnTo>
                  <a:pt x="465" y="647"/>
                </a:lnTo>
                <a:lnTo>
                  <a:pt x="471" y="641"/>
                </a:lnTo>
                <a:lnTo>
                  <a:pt x="465" y="646"/>
                </a:lnTo>
                <a:lnTo>
                  <a:pt x="463" y="644"/>
                </a:lnTo>
                <a:lnTo>
                  <a:pt x="461" y="647"/>
                </a:lnTo>
                <a:lnTo>
                  <a:pt x="460" y="648"/>
                </a:lnTo>
                <a:lnTo>
                  <a:pt x="463" y="647"/>
                </a:lnTo>
                <a:lnTo>
                  <a:pt x="461" y="652"/>
                </a:lnTo>
                <a:lnTo>
                  <a:pt x="460" y="652"/>
                </a:lnTo>
                <a:lnTo>
                  <a:pt x="456" y="654"/>
                </a:lnTo>
                <a:lnTo>
                  <a:pt x="462" y="652"/>
                </a:lnTo>
                <a:lnTo>
                  <a:pt x="463" y="656"/>
                </a:lnTo>
                <a:lnTo>
                  <a:pt x="456" y="659"/>
                </a:lnTo>
                <a:lnTo>
                  <a:pt x="460" y="658"/>
                </a:lnTo>
                <a:lnTo>
                  <a:pt x="462" y="659"/>
                </a:lnTo>
                <a:lnTo>
                  <a:pt x="465" y="656"/>
                </a:lnTo>
                <a:lnTo>
                  <a:pt x="467" y="659"/>
                </a:lnTo>
                <a:lnTo>
                  <a:pt x="463" y="663"/>
                </a:lnTo>
                <a:lnTo>
                  <a:pt x="467" y="660"/>
                </a:lnTo>
                <a:lnTo>
                  <a:pt x="465" y="664"/>
                </a:lnTo>
                <a:lnTo>
                  <a:pt x="465" y="664"/>
                </a:lnTo>
                <a:lnTo>
                  <a:pt x="462" y="667"/>
                </a:lnTo>
                <a:lnTo>
                  <a:pt x="462" y="665"/>
                </a:lnTo>
                <a:lnTo>
                  <a:pt x="461" y="672"/>
                </a:lnTo>
                <a:lnTo>
                  <a:pt x="450" y="672"/>
                </a:lnTo>
                <a:lnTo>
                  <a:pt x="450" y="667"/>
                </a:lnTo>
                <a:lnTo>
                  <a:pt x="446" y="671"/>
                </a:lnTo>
                <a:lnTo>
                  <a:pt x="446" y="669"/>
                </a:lnTo>
                <a:lnTo>
                  <a:pt x="444" y="667"/>
                </a:lnTo>
                <a:lnTo>
                  <a:pt x="442" y="672"/>
                </a:lnTo>
                <a:lnTo>
                  <a:pt x="438" y="670"/>
                </a:lnTo>
                <a:lnTo>
                  <a:pt x="438" y="677"/>
                </a:lnTo>
                <a:lnTo>
                  <a:pt x="437" y="675"/>
                </a:lnTo>
                <a:lnTo>
                  <a:pt x="437" y="677"/>
                </a:lnTo>
                <a:lnTo>
                  <a:pt x="432" y="681"/>
                </a:lnTo>
                <a:lnTo>
                  <a:pt x="433" y="675"/>
                </a:lnTo>
                <a:lnTo>
                  <a:pt x="429" y="681"/>
                </a:lnTo>
                <a:lnTo>
                  <a:pt x="426" y="679"/>
                </a:lnTo>
                <a:lnTo>
                  <a:pt x="426" y="681"/>
                </a:lnTo>
                <a:lnTo>
                  <a:pt x="426" y="682"/>
                </a:lnTo>
                <a:lnTo>
                  <a:pt x="423" y="688"/>
                </a:lnTo>
                <a:lnTo>
                  <a:pt x="418" y="688"/>
                </a:lnTo>
                <a:lnTo>
                  <a:pt x="418" y="686"/>
                </a:lnTo>
                <a:lnTo>
                  <a:pt x="415" y="685"/>
                </a:lnTo>
                <a:lnTo>
                  <a:pt x="413" y="688"/>
                </a:lnTo>
                <a:lnTo>
                  <a:pt x="408" y="685"/>
                </a:lnTo>
                <a:lnTo>
                  <a:pt x="409" y="682"/>
                </a:lnTo>
                <a:lnTo>
                  <a:pt x="416" y="681"/>
                </a:lnTo>
                <a:lnTo>
                  <a:pt x="422" y="674"/>
                </a:lnTo>
                <a:lnTo>
                  <a:pt x="416" y="677"/>
                </a:lnTo>
                <a:lnTo>
                  <a:pt x="409" y="675"/>
                </a:lnTo>
                <a:lnTo>
                  <a:pt x="413" y="669"/>
                </a:lnTo>
                <a:lnTo>
                  <a:pt x="419" y="660"/>
                </a:lnTo>
                <a:lnTo>
                  <a:pt x="420" y="658"/>
                </a:lnTo>
                <a:lnTo>
                  <a:pt x="419" y="652"/>
                </a:lnTo>
                <a:lnTo>
                  <a:pt x="432" y="647"/>
                </a:lnTo>
                <a:lnTo>
                  <a:pt x="434" y="648"/>
                </a:lnTo>
                <a:lnTo>
                  <a:pt x="441" y="648"/>
                </a:lnTo>
                <a:lnTo>
                  <a:pt x="452" y="652"/>
                </a:lnTo>
                <a:lnTo>
                  <a:pt x="449" y="648"/>
                </a:lnTo>
                <a:lnTo>
                  <a:pt x="442" y="648"/>
                </a:lnTo>
                <a:lnTo>
                  <a:pt x="437" y="643"/>
                </a:lnTo>
                <a:lnTo>
                  <a:pt x="437" y="644"/>
                </a:lnTo>
                <a:lnTo>
                  <a:pt x="429" y="644"/>
                </a:lnTo>
                <a:lnTo>
                  <a:pt x="422" y="645"/>
                </a:lnTo>
                <a:lnTo>
                  <a:pt x="421" y="647"/>
                </a:lnTo>
                <a:lnTo>
                  <a:pt x="415" y="648"/>
                </a:lnTo>
                <a:lnTo>
                  <a:pt x="412" y="653"/>
                </a:lnTo>
                <a:lnTo>
                  <a:pt x="413" y="656"/>
                </a:lnTo>
                <a:lnTo>
                  <a:pt x="409" y="656"/>
                </a:lnTo>
                <a:lnTo>
                  <a:pt x="404" y="660"/>
                </a:lnTo>
                <a:lnTo>
                  <a:pt x="402" y="663"/>
                </a:lnTo>
                <a:lnTo>
                  <a:pt x="399" y="664"/>
                </a:lnTo>
                <a:lnTo>
                  <a:pt x="396" y="663"/>
                </a:lnTo>
                <a:lnTo>
                  <a:pt x="401" y="668"/>
                </a:lnTo>
                <a:lnTo>
                  <a:pt x="399" y="671"/>
                </a:lnTo>
                <a:lnTo>
                  <a:pt x="390" y="676"/>
                </a:lnTo>
                <a:lnTo>
                  <a:pt x="390" y="676"/>
                </a:lnTo>
                <a:lnTo>
                  <a:pt x="390" y="675"/>
                </a:lnTo>
                <a:lnTo>
                  <a:pt x="389" y="680"/>
                </a:lnTo>
                <a:lnTo>
                  <a:pt x="387" y="680"/>
                </a:lnTo>
                <a:lnTo>
                  <a:pt x="389" y="677"/>
                </a:lnTo>
                <a:lnTo>
                  <a:pt x="387" y="674"/>
                </a:lnTo>
                <a:lnTo>
                  <a:pt x="386" y="679"/>
                </a:lnTo>
                <a:lnTo>
                  <a:pt x="381" y="681"/>
                </a:lnTo>
                <a:lnTo>
                  <a:pt x="381" y="682"/>
                </a:lnTo>
                <a:lnTo>
                  <a:pt x="377" y="684"/>
                </a:lnTo>
                <a:lnTo>
                  <a:pt x="379" y="684"/>
                </a:lnTo>
                <a:lnTo>
                  <a:pt x="373" y="688"/>
                </a:lnTo>
                <a:lnTo>
                  <a:pt x="373" y="692"/>
                </a:lnTo>
                <a:lnTo>
                  <a:pt x="385" y="692"/>
                </a:lnTo>
                <a:lnTo>
                  <a:pt x="390" y="697"/>
                </a:lnTo>
                <a:lnTo>
                  <a:pt x="386" y="701"/>
                </a:lnTo>
                <a:lnTo>
                  <a:pt x="377" y="704"/>
                </a:lnTo>
                <a:lnTo>
                  <a:pt x="379" y="705"/>
                </a:lnTo>
                <a:lnTo>
                  <a:pt x="374" y="708"/>
                </a:lnTo>
                <a:lnTo>
                  <a:pt x="377" y="708"/>
                </a:lnTo>
                <a:lnTo>
                  <a:pt x="375" y="712"/>
                </a:lnTo>
                <a:lnTo>
                  <a:pt x="373" y="712"/>
                </a:lnTo>
                <a:lnTo>
                  <a:pt x="370" y="716"/>
                </a:lnTo>
                <a:lnTo>
                  <a:pt x="363" y="716"/>
                </a:lnTo>
                <a:lnTo>
                  <a:pt x="362" y="717"/>
                </a:lnTo>
                <a:lnTo>
                  <a:pt x="360" y="720"/>
                </a:lnTo>
                <a:lnTo>
                  <a:pt x="355" y="720"/>
                </a:lnTo>
                <a:lnTo>
                  <a:pt x="353" y="724"/>
                </a:lnTo>
                <a:lnTo>
                  <a:pt x="345" y="724"/>
                </a:lnTo>
                <a:lnTo>
                  <a:pt x="345" y="728"/>
                </a:lnTo>
                <a:lnTo>
                  <a:pt x="347" y="728"/>
                </a:lnTo>
                <a:lnTo>
                  <a:pt x="342" y="732"/>
                </a:lnTo>
                <a:lnTo>
                  <a:pt x="344" y="732"/>
                </a:lnTo>
                <a:lnTo>
                  <a:pt x="342" y="736"/>
                </a:lnTo>
                <a:lnTo>
                  <a:pt x="336" y="736"/>
                </a:lnTo>
                <a:lnTo>
                  <a:pt x="333" y="740"/>
                </a:lnTo>
                <a:lnTo>
                  <a:pt x="329" y="738"/>
                </a:lnTo>
                <a:lnTo>
                  <a:pt x="326" y="742"/>
                </a:lnTo>
                <a:lnTo>
                  <a:pt x="327" y="743"/>
                </a:lnTo>
                <a:lnTo>
                  <a:pt x="324" y="742"/>
                </a:lnTo>
                <a:lnTo>
                  <a:pt x="320" y="744"/>
                </a:lnTo>
                <a:lnTo>
                  <a:pt x="319" y="744"/>
                </a:lnTo>
                <a:lnTo>
                  <a:pt x="318" y="744"/>
                </a:lnTo>
                <a:lnTo>
                  <a:pt x="319" y="744"/>
                </a:lnTo>
                <a:lnTo>
                  <a:pt x="319" y="744"/>
                </a:lnTo>
                <a:lnTo>
                  <a:pt x="318" y="744"/>
                </a:lnTo>
                <a:lnTo>
                  <a:pt x="318" y="744"/>
                </a:lnTo>
                <a:lnTo>
                  <a:pt x="318" y="744"/>
                </a:lnTo>
                <a:lnTo>
                  <a:pt x="315" y="747"/>
                </a:lnTo>
                <a:lnTo>
                  <a:pt x="311" y="752"/>
                </a:lnTo>
                <a:lnTo>
                  <a:pt x="314" y="752"/>
                </a:lnTo>
                <a:lnTo>
                  <a:pt x="315" y="752"/>
                </a:lnTo>
                <a:lnTo>
                  <a:pt x="318" y="752"/>
                </a:lnTo>
                <a:lnTo>
                  <a:pt x="318" y="752"/>
                </a:lnTo>
                <a:lnTo>
                  <a:pt x="316" y="753"/>
                </a:lnTo>
                <a:lnTo>
                  <a:pt x="316" y="753"/>
                </a:lnTo>
                <a:lnTo>
                  <a:pt x="315" y="753"/>
                </a:lnTo>
                <a:lnTo>
                  <a:pt x="314" y="757"/>
                </a:lnTo>
                <a:lnTo>
                  <a:pt x="312" y="756"/>
                </a:lnTo>
                <a:lnTo>
                  <a:pt x="309" y="756"/>
                </a:lnTo>
                <a:lnTo>
                  <a:pt x="309" y="758"/>
                </a:lnTo>
                <a:lnTo>
                  <a:pt x="307" y="756"/>
                </a:lnTo>
                <a:lnTo>
                  <a:pt x="307" y="758"/>
                </a:lnTo>
                <a:lnTo>
                  <a:pt x="301" y="759"/>
                </a:lnTo>
                <a:lnTo>
                  <a:pt x="296" y="765"/>
                </a:lnTo>
                <a:lnTo>
                  <a:pt x="297" y="760"/>
                </a:lnTo>
                <a:lnTo>
                  <a:pt x="294" y="760"/>
                </a:lnTo>
                <a:lnTo>
                  <a:pt x="289" y="763"/>
                </a:lnTo>
                <a:lnTo>
                  <a:pt x="286" y="765"/>
                </a:lnTo>
                <a:lnTo>
                  <a:pt x="284" y="769"/>
                </a:lnTo>
                <a:lnTo>
                  <a:pt x="283" y="768"/>
                </a:lnTo>
                <a:lnTo>
                  <a:pt x="281" y="768"/>
                </a:lnTo>
                <a:lnTo>
                  <a:pt x="281" y="767"/>
                </a:lnTo>
                <a:lnTo>
                  <a:pt x="277" y="767"/>
                </a:lnTo>
                <a:lnTo>
                  <a:pt x="274" y="772"/>
                </a:lnTo>
                <a:lnTo>
                  <a:pt x="269" y="772"/>
                </a:lnTo>
                <a:lnTo>
                  <a:pt x="269" y="767"/>
                </a:lnTo>
                <a:lnTo>
                  <a:pt x="270" y="765"/>
                </a:lnTo>
                <a:lnTo>
                  <a:pt x="269" y="764"/>
                </a:lnTo>
                <a:lnTo>
                  <a:pt x="265" y="770"/>
                </a:lnTo>
                <a:lnTo>
                  <a:pt x="262" y="773"/>
                </a:lnTo>
                <a:lnTo>
                  <a:pt x="262" y="774"/>
                </a:lnTo>
                <a:lnTo>
                  <a:pt x="257" y="776"/>
                </a:lnTo>
                <a:lnTo>
                  <a:pt x="257" y="776"/>
                </a:lnTo>
                <a:lnTo>
                  <a:pt x="256" y="776"/>
                </a:lnTo>
                <a:lnTo>
                  <a:pt x="255" y="772"/>
                </a:lnTo>
                <a:lnTo>
                  <a:pt x="255" y="772"/>
                </a:lnTo>
                <a:lnTo>
                  <a:pt x="256" y="772"/>
                </a:lnTo>
                <a:lnTo>
                  <a:pt x="255" y="769"/>
                </a:lnTo>
                <a:lnTo>
                  <a:pt x="259" y="764"/>
                </a:lnTo>
                <a:lnTo>
                  <a:pt x="265" y="760"/>
                </a:lnTo>
                <a:lnTo>
                  <a:pt x="277" y="760"/>
                </a:lnTo>
                <a:lnTo>
                  <a:pt x="281" y="764"/>
                </a:lnTo>
                <a:lnTo>
                  <a:pt x="279" y="759"/>
                </a:lnTo>
                <a:lnTo>
                  <a:pt x="285" y="762"/>
                </a:lnTo>
                <a:lnTo>
                  <a:pt x="285" y="759"/>
                </a:lnTo>
                <a:lnTo>
                  <a:pt x="281" y="756"/>
                </a:lnTo>
                <a:lnTo>
                  <a:pt x="286" y="749"/>
                </a:lnTo>
                <a:lnTo>
                  <a:pt x="304" y="740"/>
                </a:lnTo>
                <a:lnTo>
                  <a:pt x="309" y="740"/>
                </a:lnTo>
                <a:lnTo>
                  <a:pt x="309" y="732"/>
                </a:lnTo>
                <a:lnTo>
                  <a:pt x="321" y="725"/>
                </a:lnTo>
                <a:lnTo>
                  <a:pt x="324" y="725"/>
                </a:lnTo>
                <a:lnTo>
                  <a:pt x="326" y="728"/>
                </a:lnTo>
                <a:lnTo>
                  <a:pt x="327" y="728"/>
                </a:lnTo>
                <a:lnTo>
                  <a:pt x="329" y="728"/>
                </a:lnTo>
                <a:lnTo>
                  <a:pt x="329" y="723"/>
                </a:lnTo>
                <a:lnTo>
                  <a:pt x="327" y="724"/>
                </a:lnTo>
                <a:lnTo>
                  <a:pt x="324" y="721"/>
                </a:lnTo>
                <a:lnTo>
                  <a:pt x="326" y="712"/>
                </a:lnTo>
                <a:lnTo>
                  <a:pt x="328" y="709"/>
                </a:lnTo>
                <a:lnTo>
                  <a:pt x="325" y="708"/>
                </a:lnTo>
                <a:lnTo>
                  <a:pt x="325" y="704"/>
                </a:lnTo>
                <a:lnTo>
                  <a:pt x="333" y="697"/>
                </a:lnTo>
                <a:lnTo>
                  <a:pt x="338" y="689"/>
                </a:lnTo>
                <a:lnTo>
                  <a:pt x="334" y="694"/>
                </a:lnTo>
                <a:lnTo>
                  <a:pt x="318" y="702"/>
                </a:lnTo>
                <a:lnTo>
                  <a:pt x="311" y="698"/>
                </a:lnTo>
                <a:lnTo>
                  <a:pt x="314" y="696"/>
                </a:lnTo>
                <a:lnTo>
                  <a:pt x="318" y="696"/>
                </a:lnTo>
                <a:lnTo>
                  <a:pt x="322" y="696"/>
                </a:lnTo>
                <a:lnTo>
                  <a:pt x="313" y="686"/>
                </a:lnTo>
                <a:lnTo>
                  <a:pt x="313" y="690"/>
                </a:lnTo>
                <a:lnTo>
                  <a:pt x="311" y="696"/>
                </a:lnTo>
                <a:lnTo>
                  <a:pt x="311" y="696"/>
                </a:lnTo>
                <a:lnTo>
                  <a:pt x="308" y="696"/>
                </a:lnTo>
                <a:lnTo>
                  <a:pt x="310" y="700"/>
                </a:lnTo>
                <a:lnTo>
                  <a:pt x="309" y="700"/>
                </a:lnTo>
                <a:lnTo>
                  <a:pt x="310" y="702"/>
                </a:lnTo>
                <a:lnTo>
                  <a:pt x="307" y="704"/>
                </a:lnTo>
                <a:lnTo>
                  <a:pt x="304" y="704"/>
                </a:lnTo>
                <a:lnTo>
                  <a:pt x="297" y="692"/>
                </a:lnTo>
                <a:lnTo>
                  <a:pt x="292" y="697"/>
                </a:lnTo>
                <a:lnTo>
                  <a:pt x="288" y="692"/>
                </a:lnTo>
                <a:lnTo>
                  <a:pt x="286" y="691"/>
                </a:lnTo>
                <a:lnTo>
                  <a:pt x="276" y="698"/>
                </a:lnTo>
                <a:lnTo>
                  <a:pt x="275" y="698"/>
                </a:lnTo>
                <a:lnTo>
                  <a:pt x="275" y="698"/>
                </a:lnTo>
                <a:lnTo>
                  <a:pt x="269" y="702"/>
                </a:lnTo>
                <a:lnTo>
                  <a:pt x="261" y="700"/>
                </a:lnTo>
                <a:lnTo>
                  <a:pt x="264" y="700"/>
                </a:lnTo>
                <a:lnTo>
                  <a:pt x="267" y="698"/>
                </a:lnTo>
                <a:lnTo>
                  <a:pt x="265" y="693"/>
                </a:lnTo>
                <a:lnTo>
                  <a:pt x="265" y="690"/>
                </a:lnTo>
                <a:lnTo>
                  <a:pt x="269" y="688"/>
                </a:lnTo>
                <a:lnTo>
                  <a:pt x="264" y="690"/>
                </a:lnTo>
                <a:lnTo>
                  <a:pt x="263" y="688"/>
                </a:lnTo>
                <a:lnTo>
                  <a:pt x="263" y="684"/>
                </a:lnTo>
                <a:lnTo>
                  <a:pt x="267" y="681"/>
                </a:lnTo>
                <a:lnTo>
                  <a:pt x="259" y="667"/>
                </a:lnTo>
                <a:lnTo>
                  <a:pt x="260" y="664"/>
                </a:lnTo>
                <a:lnTo>
                  <a:pt x="257" y="665"/>
                </a:lnTo>
                <a:lnTo>
                  <a:pt x="257" y="663"/>
                </a:lnTo>
                <a:lnTo>
                  <a:pt x="258" y="656"/>
                </a:lnTo>
                <a:lnTo>
                  <a:pt x="254" y="663"/>
                </a:lnTo>
                <a:lnTo>
                  <a:pt x="253" y="665"/>
                </a:lnTo>
                <a:lnTo>
                  <a:pt x="253" y="669"/>
                </a:lnTo>
                <a:lnTo>
                  <a:pt x="244" y="676"/>
                </a:lnTo>
                <a:lnTo>
                  <a:pt x="232" y="676"/>
                </a:lnTo>
                <a:lnTo>
                  <a:pt x="230" y="671"/>
                </a:lnTo>
                <a:lnTo>
                  <a:pt x="232" y="669"/>
                </a:lnTo>
                <a:lnTo>
                  <a:pt x="226" y="668"/>
                </a:lnTo>
                <a:lnTo>
                  <a:pt x="225" y="663"/>
                </a:lnTo>
                <a:lnTo>
                  <a:pt x="218" y="660"/>
                </a:lnTo>
                <a:lnTo>
                  <a:pt x="213" y="660"/>
                </a:lnTo>
                <a:lnTo>
                  <a:pt x="221" y="652"/>
                </a:lnTo>
                <a:lnTo>
                  <a:pt x="217" y="652"/>
                </a:lnTo>
                <a:lnTo>
                  <a:pt x="217" y="648"/>
                </a:lnTo>
                <a:lnTo>
                  <a:pt x="217" y="648"/>
                </a:lnTo>
                <a:lnTo>
                  <a:pt x="216" y="648"/>
                </a:lnTo>
                <a:lnTo>
                  <a:pt x="223" y="644"/>
                </a:lnTo>
                <a:lnTo>
                  <a:pt x="217" y="644"/>
                </a:lnTo>
                <a:lnTo>
                  <a:pt x="217" y="641"/>
                </a:lnTo>
                <a:lnTo>
                  <a:pt x="216" y="644"/>
                </a:lnTo>
                <a:lnTo>
                  <a:pt x="215" y="644"/>
                </a:lnTo>
                <a:lnTo>
                  <a:pt x="217" y="639"/>
                </a:lnTo>
                <a:lnTo>
                  <a:pt x="215" y="640"/>
                </a:lnTo>
                <a:lnTo>
                  <a:pt x="213" y="644"/>
                </a:lnTo>
                <a:lnTo>
                  <a:pt x="215" y="644"/>
                </a:lnTo>
                <a:lnTo>
                  <a:pt x="212" y="647"/>
                </a:lnTo>
                <a:lnTo>
                  <a:pt x="209" y="644"/>
                </a:lnTo>
                <a:lnTo>
                  <a:pt x="209" y="641"/>
                </a:lnTo>
                <a:lnTo>
                  <a:pt x="205" y="640"/>
                </a:lnTo>
                <a:lnTo>
                  <a:pt x="205" y="637"/>
                </a:lnTo>
                <a:lnTo>
                  <a:pt x="205" y="636"/>
                </a:lnTo>
                <a:lnTo>
                  <a:pt x="205" y="635"/>
                </a:lnTo>
                <a:lnTo>
                  <a:pt x="201" y="636"/>
                </a:lnTo>
                <a:lnTo>
                  <a:pt x="201" y="632"/>
                </a:lnTo>
                <a:lnTo>
                  <a:pt x="201" y="631"/>
                </a:lnTo>
                <a:lnTo>
                  <a:pt x="203" y="633"/>
                </a:lnTo>
                <a:lnTo>
                  <a:pt x="208" y="633"/>
                </a:lnTo>
                <a:lnTo>
                  <a:pt x="204" y="632"/>
                </a:lnTo>
                <a:lnTo>
                  <a:pt x="210" y="632"/>
                </a:lnTo>
                <a:lnTo>
                  <a:pt x="208" y="626"/>
                </a:lnTo>
                <a:lnTo>
                  <a:pt x="210" y="621"/>
                </a:lnTo>
                <a:lnTo>
                  <a:pt x="216" y="613"/>
                </a:lnTo>
                <a:lnTo>
                  <a:pt x="219" y="612"/>
                </a:lnTo>
                <a:lnTo>
                  <a:pt x="225" y="614"/>
                </a:lnTo>
                <a:lnTo>
                  <a:pt x="222" y="612"/>
                </a:lnTo>
                <a:lnTo>
                  <a:pt x="226" y="607"/>
                </a:lnTo>
                <a:lnTo>
                  <a:pt x="223" y="609"/>
                </a:lnTo>
                <a:lnTo>
                  <a:pt x="222" y="606"/>
                </a:lnTo>
                <a:lnTo>
                  <a:pt x="225" y="604"/>
                </a:lnTo>
                <a:lnTo>
                  <a:pt x="229" y="604"/>
                </a:lnTo>
                <a:lnTo>
                  <a:pt x="225" y="599"/>
                </a:lnTo>
                <a:lnTo>
                  <a:pt x="226" y="595"/>
                </a:lnTo>
                <a:lnTo>
                  <a:pt x="234" y="595"/>
                </a:lnTo>
                <a:lnTo>
                  <a:pt x="244" y="604"/>
                </a:lnTo>
                <a:lnTo>
                  <a:pt x="247" y="604"/>
                </a:lnTo>
                <a:lnTo>
                  <a:pt x="255" y="597"/>
                </a:lnTo>
                <a:lnTo>
                  <a:pt x="258" y="591"/>
                </a:lnTo>
                <a:lnTo>
                  <a:pt x="263" y="591"/>
                </a:lnTo>
                <a:lnTo>
                  <a:pt x="260" y="591"/>
                </a:lnTo>
                <a:lnTo>
                  <a:pt x="273" y="588"/>
                </a:lnTo>
                <a:lnTo>
                  <a:pt x="277" y="582"/>
                </a:lnTo>
                <a:lnTo>
                  <a:pt x="277" y="579"/>
                </a:lnTo>
                <a:lnTo>
                  <a:pt x="276" y="571"/>
                </a:lnTo>
                <a:lnTo>
                  <a:pt x="275" y="567"/>
                </a:lnTo>
                <a:lnTo>
                  <a:pt x="270" y="567"/>
                </a:lnTo>
                <a:lnTo>
                  <a:pt x="270" y="563"/>
                </a:lnTo>
                <a:lnTo>
                  <a:pt x="275" y="565"/>
                </a:lnTo>
                <a:lnTo>
                  <a:pt x="277" y="562"/>
                </a:lnTo>
                <a:lnTo>
                  <a:pt x="277" y="559"/>
                </a:lnTo>
                <a:lnTo>
                  <a:pt x="274" y="556"/>
                </a:lnTo>
                <a:lnTo>
                  <a:pt x="270" y="559"/>
                </a:lnTo>
                <a:lnTo>
                  <a:pt x="260" y="559"/>
                </a:lnTo>
                <a:lnTo>
                  <a:pt x="253" y="565"/>
                </a:lnTo>
                <a:lnTo>
                  <a:pt x="253" y="566"/>
                </a:lnTo>
                <a:lnTo>
                  <a:pt x="250" y="567"/>
                </a:lnTo>
                <a:lnTo>
                  <a:pt x="249" y="565"/>
                </a:lnTo>
                <a:lnTo>
                  <a:pt x="247" y="559"/>
                </a:lnTo>
                <a:lnTo>
                  <a:pt x="244" y="563"/>
                </a:lnTo>
                <a:lnTo>
                  <a:pt x="248" y="565"/>
                </a:lnTo>
                <a:lnTo>
                  <a:pt x="247" y="566"/>
                </a:lnTo>
                <a:lnTo>
                  <a:pt x="241" y="563"/>
                </a:lnTo>
                <a:lnTo>
                  <a:pt x="237" y="562"/>
                </a:lnTo>
                <a:lnTo>
                  <a:pt x="221" y="563"/>
                </a:lnTo>
                <a:lnTo>
                  <a:pt x="221" y="567"/>
                </a:lnTo>
                <a:lnTo>
                  <a:pt x="223" y="567"/>
                </a:lnTo>
                <a:lnTo>
                  <a:pt x="219" y="568"/>
                </a:lnTo>
                <a:lnTo>
                  <a:pt x="204" y="563"/>
                </a:lnTo>
                <a:lnTo>
                  <a:pt x="199" y="559"/>
                </a:lnTo>
                <a:lnTo>
                  <a:pt x="197" y="558"/>
                </a:lnTo>
                <a:lnTo>
                  <a:pt x="199" y="554"/>
                </a:lnTo>
                <a:lnTo>
                  <a:pt x="191" y="547"/>
                </a:lnTo>
                <a:lnTo>
                  <a:pt x="196" y="550"/>
                </a:lnTo>
                <a:lnTo>
                  <a:pt x="198" y="545"/>
                </a:lnTo>
                <a:lnTo>
                  <a:pt x="184" y="542"/>
                </a:lnTo>
                <a:lnTo>
                  <a:pt x="173" y="536"/>
                </a:lnTo>
                <a:lnTo>
                  <a:pt x="177" y="533"/>
                </a:lnTo>
                <a:lnTo>
                  <a:pt x="174" y="536"/>
                </a:lnTo>
                <a:lnTo>
                  <a:pt x="181" y="535"/>
                </a:lnTo>
                <a:lnTo>
                  <a:pt x="181" y="533"/>
                </a:lnTo>
                <a:lnTo>
                  <a:pt x="181" y="531"/>
                </a:lnTo>
                <a:lnTo>
                  <a:pt x="189" y="531"/>
                </a:lnTo>
                <a:lnTo>
                  <a:pt x="192" y="531"/>
                </a:lnTo>
                <a:lnTo>
                  <a:pt x="191" y="529"/>
                </a:lnTo>
                <a:lnTo>
                  <a:pt x="200" y="524"/>
                </a:lnTo>
                <a:lnTo>
                  <a:pt x="208" y="525"/>
                </a:lnTo>
                <a:lnTo>
                  <a:pt x="211" y="524"/>
                </a:lnTo>
                <a:lnTo>
                  <a:pt x="206" y="522"/>
                </a:lnTo>
                <a:lnTo>
                  <a:pt x="210" y="520"/>
                </a:lnTo>
                <a:lnTo>
                  <a:pt x="229" y="515"/>
                </a:lnTo>
                <a:lnTo>
                  <a:pt x="236" y="515"/>
                </a:lnTo>
                <a:lnTo>
                  <a:pt x="235" y="517"/>
                </a:lnTo>
                <a:lnTo>
                  <a:pt x="233" y="519"/>
                </a:lnTo>
                <a:lnTo>
                  <a:pt x="233" y="520"/>
                </a:lnTo>
                <a:lnTo>
                  <a:pt x="229" y="525"/>
                </a:lnTo>
                <a:lnTo>
                  <a:pt x="238" y="531"/>
                </a:lnTo>
                <a:lnTo>
                  <a:pt x="263" y="531"/>
                </a:lnTo>
                <a:lnTo>
                  <a:pt x="265" y="531"/>
                </a:lnTo>
                <a:lnTo>
                  <a:pt x="270" y="523"/>
                </a:lnTo>
                <a:lnTo>
                  <a:pt x="277" y="523"/>
                </a:lnTo>
                <a:lnTo>
                  <a:pt x="274" y="520"/>
                </a:lnTo>
                <a:lnTo>
                  <a:pt x="269" y="517"/>
                </a:lnTo>
                <a:lnTo>
                  <a:pt x="261" y="519"/>
                </a:lnTo>
                <a:lnTo>
                  <a:pt x="261" y="513"/>
                </a:lnTo>
                <a:lnTo>
                  <a:pt x="258" y="509"/>
                </a:lnTo>
                <a:lnTo>
                  <a:pt x="256" y="508"/>
                </a:lnTo>
                <a:lnTo>
                  <a:pt x="252" y="506"/>
                </a:lnTo>
                <a:lnTo>
                  <a:pt x="258" y="504"/>
                </a:lnTo>
                <a:lnTo>
                  <a:pt x="261" y="507"/>
                </a:lnTo>
                <a:lnTo>
                  <a:pt x="263" y="512"/>
                </a:lnTo>
                <a:lnTo>
                  <a:pt x="269" y="517"/>
                </a:lnTo>
                <a:lnTo>
                  <a:pt x="272" y="515"/>
                </a:lnTo>
                <a:lnTo>
                  <a:pt x="270" y="515"/>
                </a:lnTo>
                <a:lnTo>
                  <a:pt x="264" y="512"/>
                </a:lnTo>
                <a:lnTo>
                  <a:pt x="267" y="507"/>
                </a:lnTo>
                <a:lnTo>
                  <a:pt x="270" y="507"/>
                </a:lnTo>
                <a:lnTo>
                  <a:pt x="264" y="503"/>
                </a:lnTo>
                <a:lnTo>
                  <a:pt x="256" y="503"/>
                </a:lnTo>
                <a:lnTo>
                  <a:pt x="257" y="499"/>
                </a:lnTo>
                <a:lnTo>
                  <a:pt x="253" y="502"/>
                </a:lnTo>
                <a:lnTo>
                  <a:pt x="233" y="501"/>
                </a:lnTo>
                <a:lnTo>
                  <a:pt x="233" y="494"/>
                </a:lnTo>
                <a:lnTo>
                  <a:pt x="230" y="487"/>
                </a:lnTo>
                <a:lnTo>
                  <a:pt x="213" y="475"/>
                </a:lnTo>
                <a:lnTo>
                  <a:pt x="192" y="468"/>
                </a:lnTo>
                <a:lnTo>
                  <a:pt x="199" y="467"/>
                </a:lnTo>
                <a:lnTo>
                  <a:pt x="201" y="463"/>
                </a:lnTo>
                <a:lnTo>
                  <a:pt x="201" y="455"/>
                </a:lnTo>
                <a:lnTo>
                  <a:pt x="228" y="452"/>
                </a:lnTo>
                <a:lnTo>
                  <a:pt x="236" y="448"/>
                </a:lnTo>
                <a:lnTo>
                  <a:pt x="241" y="440"/>
                </a:lnTo>
                <a:lnTo>
                  <a:pt x="241" y="443"/>
                </a:lnTo>
                <a:lnTo>
                  <a:pt x="246" y="441"/>
                </a:lnTo>
                <a:lnTo>
                  <a:pt x="249" y="433"/>
                </a:lnTo>
                <a:lnTo>
                  <a:pt x="248" y="431"/>
                </a:lnTo>
                <a:lnTo>
                  <a:pt x="263" y="417"/>
                </a:lnTo>
                <a:lnTo>
                  <a:pt x="265" y="418"/>
                </a:lnTo>
                <a:lnTo>
                  <a:pt x="260" y="421"/>
                </a:lnTo>
                <a:lnTo>
                  <a:pt x="273" y="418"/>
                </a:lnTo>
                <a:lnTo>
                  <a:pt x="289" y="409"/>
                </a:lnTo>
                <a:lnTo>
                  <a:pt x="289" y="415"/>
                </a:lnTo>
                <a:lnTo>
                  <a:pt x="291" y="415"/>
                </a:lnTo>
                <a:lnTo>
                  <a:pt x="293" y="417"/>
                </a:lnTo>
                <a:lnTo>
                  <a:pt x="294" y="413"/>
                </a:lnTo>
                <a:lnTo>
                  <a:pt x="296" y="413"/>
                </a:lnTo>
                <a:lnTo>
                  <a:pt x="292" y="411"/>
                </a:lnTo>
                <a:lnTo>
                  <a:pt x="289" y="411"/>
                </a:lnTo>
                <a:lnTo>
                  <a:pt x="301" y="405"/>
                </a:lnTo>
                <a:lnTo>
                  <a:pt x="303" y="406"/>
                </a:lnTo>
                <a:lnTo>
                  <a:pt x="307" y="404"/>
                </a:lnTo>
                <a:lnTo>
                  <a:pt x="323" y="402"/>
                </a:lnTo>
                <a:lnTo>
                  <a:pt x="341" y="390"/>
                </a:lnTo>
                <a:lnTo>
                  <a:pt x="343" y="391"/>
                </a:lnTo>
                <a:lnTo>
                  <a:pt x="355" y="395"/>
                </a:lnTo>
                <a:lnTo>
                  <a:pt x="356" y="396"/>
                </a:lnTo>
                <a:lnTo>
                  <a:pt x="353" y="399"/>
                </a:lnTo>
                <a:lnTo>
                  <a:pt x="347" y="403"/>
                </a:lnTo>
                <a:lnTo>
                  <a:pt x="349" y="403"/>
                </a:lnTo>
                <a:lnTo>
                  <a:pt x="349" y="406"/>
                </a:lnTo>
                <a:lnTo>
                  <a:pt x="355" y="402"/>
                </a:lnTo>
                <a:lnTo>
                  <a:pt x="359" y="399"/>
                </a:lnTo>
                <a:lnTo>
                  <a:pt x="362" y="399"/>
                </a:lnTo>
                <a:lnTo>
                  <a:pt x="359" y="396"/>
                </a:lnTo>
                <a:lnTo>
                  <a:pt x="361" y="394"/>
                </a:lnTo>
                <a:lnTo>
                  <a:pt x="361" y="397"/>
                </a:lnTo>
                <a:lnTo>
                  <a:pt x="363" y="399"/>
                </a:lnTo>
                <a:lnTo>
                  <a:pt x="367" y="399"/>
                </a:lnTo>
                <a:lnTo>
                  <a:pt x="370" y="400"/>
                </a:lnTo>
                <a:lnTo>
                  <a:pt x="369" y="401"/>
                </a:lnTo>
                <a:lnTo>
                  <a:pt x="369" y="402"/>
                </a:lnTo>
                <a:lnTo>
                  <a:pt x="375" y="405"/>
                </a:lnTo>
                <a:lnTo>
                  <a:pt x="381" y="403"/>
                </a:lnTo>
                <a:lnTo>
                  <a:pt x="390" y="403"/>
                </a:lnTo>
                <a:lnTo>
                  <a:pt x="404" y="403"/>
                </a:lnTo>
                <a:lnTo>
                  <a:pt x="402" y="407"/>
                </a:lnTo>
                <a:lnTo>
                  <a:pt x="407" y="411"/>
                </a:lnTo>
                <a:lnTo>
                  <a:pt x="413" y="411"/>
                </a:lnTo>
                <a:lnTo>
                  <a:pt x="408" y="414"/>
                </a:lnTo>
                <a:lnTo>
                  <a:pt x="420" y="417"/>
                </a:lnTo>
                <a:lnTo>
                  <a:pt x="421" y="415"/>
                </a:lnTo>
                <a:lnTo>
                  <a:pt x="426" y="415"/>
                </a:lnTo>
                <a:lnTo>
                  <a:pt x="430" y="415"/>
                </a:lnTo>
                <a:lnTo>
                  <a:pt x="430" y="413"/>
                </a:lnTo>
                <a:lnTo>
                  <a:pt x="439" y="415"/>
                </a:lnTo>
                <a:lnTo>
                  <a:pt x="449" y="415"/>
                </a:lnTo>
                <a:lnTo>
                  <a:pt x="460" y="418"/>
                </a:lnTo>
                <a:lnTo>
                  <a:pt x="463" y="416"/>
                </a:lnTo>
                <a:lnTo>
                  <a:pt x="471" y="420"/>
                </a:lnTo>
                <a:lnTo>
                  <a:pt x="498" y="421"/>
                </a:lnTo>
                <a:lnTo>
                  <a:pt x="510" y="428"/>
                </a:lnTo>
                <a:lnTo>
                  <a:pt x="534" y="422"/>
                </a:lnTo>
                <a:lnTo>
                  <a:pt x="543" y="427"/>
                </a:lnTo>
                <a:lnTo>
                  <a:pt x="563" y="439"/>
                </a:lnTo>
                <a:lnTo>
                  <a:pt x="566" y="439"/>
                </a:lnTo>
                <a:lnTo>
                  <a:pt x="566" y="439"/>
                </a:lnTo>
                <a:lnTo>
                  <a:pt x="592" y="442"/>
                </a:lnTo>
                <a:lnTo>
                  <a:pt x="600" y="448"/>
                </a:lnTo>
                <a:lnTo>
                  <a:pt x="619" y="456"/>
                </a:lnTo>
                <a:lnTo>
                  <a:pt x="637" y="458"/>
                </a:lnTo>
                <a:lnTo>
                  <a:pt x="648" y="463"/>
                </a:lnTo>
                <a:lnTo>
                  <a:pt x="651" y="463"/>
                </a:lnTo>
                <a:lnTo>
                  <a:pt x="646" y="459"/>
                </a:lnTo>
                <a:lnTo>
                  <a:pt x="649" y="459"/>
                </a:lnTo>
                <a:lnTo>
                  <a:pt x="645" y="458"/>
                </a:lnTo>
                <a:lnTo>
                  <a:pt x="648" y="457"/>
                </a:lnTo>
                <a:lnTo>
                  <a:pt x="639" y="456"/>
                </a:lnTo>
                <a:lnTo>
                  <a:pt x="639" y="453"/>
                </a:lnTo>
                <a:lnTo>
                  <a:pt x="645" y="455"/>
                </a:lnTo>
                <a:lnTo>
                  <a:pt x="646" y="455"/>
                </a:lnTo>
                <a:lnTo>
                  <a:pt x="639" y="453"/>
                </a:lnTo>
                <a:lnTo>
                  <a:pt x="639" y="448"/>
                </a:lnTo>
                <a:lnTo>
                  <a:pt x="645" y="451"/>
                </a:lnTo>
                <a:lnTo>
                  <a:pt x="641" y="448"/>
                </a:lnTo>
                <a:lnTo>
                  <a:pt x="646" y="447"/>
                </a:lnTo>
                <a:lnTo>
                  <a:pt x="651" y="448"/>
                </a:lnTo>
                <a:lnTo>
                  <a:pt x="649" y="443"/>
                </a:lnTo>
                <a:lnTo>
                  <a:pt x="651" y="443"/>
                </a:lnTo>
                <a:lnTo>
                  <a:pt x="659" y="443"/>
                </a:lnTo>
                <a:lnTo>
                  <a:pt x="659" y="439"/>
                </a:lnTo>
                <a:lnTo>
                  <a:pt x="660" y="439"/>
                </a:lnTo>
                <a:lnTo>
                  <a:pt x="663" y="439"/>
                </a:lnTo>
                <a:lnTo>
                  <a:pt x="663" y="443"/>
                </a:lnTo>
                <a:lnTo>
                  <a:pt x="671" y="443"/>
                </a:lnTo>
                <a:lnTo>
                  <a:pt x="664" y="451"/>
                </a:lnTo>
                <a:lnTo>
                  <a:pt x="673" y="445"/>
                </a:lnTo>
                <a:lnTo>
                  <a:pt x="681" y="443"/>
                </a:lnTo>
                <a:lnTo>
                  <a:pt x="685" y="439"/>
                </a:lnTo>
                <a:lnTo>
                  <a:pt x="690" y="439"/>
                </a:lnTo>
                <a:lnTo>
                  <a:pt x="690" y="437"/>
                </a:lnTo>
                <a:lnTo>
                  <a:pt x="695" y="436"/>
                </a:lnTo>
                <a:lnTo>
                  <a:pt x="705" y="431"/>
                </a:lnTo>
                <a:lnTo>
                  <a:pt x="707" y="431"/>
                </a:lnTo>
                <a:lnTo>
                  <a:pt x="707" y="433"/>
                </a:lnTo>
                <a:lnTo>
                  <a:pt x="712" y="429"/>
                </a:lnTo>
                <a:lnTo>
                  <a:pt x="718" y="427"/>
                </a:lnTo>
                <a:lnTo>
                  <a:pt x="719" y="427"/>
                </a:lnTo>
                <a:lnTo>
                  <a:pt x="719" y="425"/>
                </a:lnTo>
                <a:lnTo>
                  <a:pt x="726" y="428"/>
                </a:lnTo>
                <a:lnTo>
                  <a:pt x="730" y="422"/>
                </a:lnTo>
                <a:lnTo>
                  <a:pt x="734" y="425"/>
                </a:lnTo>
                <a:lnTo>
                  <a:pt x="733" y="429"/>
                </a:lnTo>
                <a:lnTo>
                  <a:pt x="719" y="435"/>
                </a:lnTo>
                <a:lnTo>
                  <a:pt x="712" y="440"/>
                </a:lnTo>
                <a:lnTo>
                  <a:pt x="711" y="439"/>
                </a:lnTo>
                <a:lnTo>
                  <a:pt x="709" y="439"/>
                </a:lnTo>
                <a:lnTo>
                  <a:pt x="711" y="443"/>
                </a:lnTo>
                <a:lnTo>
                  <a:pt x="708" y="440"/>
                </a:lnTo>
                <a:lnTo>
                  <a:pt x="708" y="440"/>
                </a:lnTo>
                <a:lnTo>
                  <a:pt x="708" y="440"/>
                </a:lnTo>
                <a:lnTo>
                  <a:pt x="708" y="440"/>
                </a:lnTo>
                <a:lnTo>
                  <a:pt x="708" y="440"/>
                </a:lnTo>
                <a:lnTo>
                  <a:pt x="697" y="442"/>
                </a:lnTo>
                <a:lnTo>
                  <a:pt x="695" y="443"/>
                </a:lnTo>
                <a:lnTo>
                  <a:pt x="695" y="445"/>
                </a:lnTo>
                <a:lnTo>
                  <a:pt x="686" y="448"/>
                </a:lnTo>
                <a:lnTo>
                  <a:pt x="685" y="453"/>
                </a:lnTo>
                <a:lnTo>
                  <a:pt x="679" y="454"/>
                </a:lnTo>
                <a:lnTo>
                  <a:pt x="679" y="456"/>
                </a:lnTo>
                <a:lnTo>
                  <a:pt x="674" y="459"/>
                </a:lnTo>
                <a:lnTo>
                  <a:pt x="685" y="463"/>
                </a:lnTo>
                <a:lnTo>
                  <a:pt x="678" y="459"/>
                </a:lnTo>
                <a:lnTo>
                  <a:pt x="686" y="459"/>
                </a:lnTo>
                <a:lnTo>
                  <a:pt x="685" y="454"/>
                </a:lnTo>
                <a:lnTo>
                  <a:pt x="690" y="452"/>
                </a:lnTo>
                <a:lnTo>
                  <a:pt x="692" y="448"/>
                </a:lnTo>
                <a:lnTo>
                  <a:pt x="693" y="453"/>
                </a:lnTo>
                <a:lnTo>
                  <a:pt x="701" y="447"/>
                </a:lnTo>
                <a:lnTo>
                  <a:pt x="697" y="447"/>
                </a:lnTo>
                <a:lnTo>
                  <a:pt x="701" y="443"/>
                </a:lnTo>
                <a:lnTo>
                  <a:pt x="705" y="443"/>
                </a:lnTo>
                <a:lnTo>
                  <a:pt x="704" y="447"/>
                </a:lnTo>
                <a:lnTo>
                  <a:pt x="707" y="442"/>
                </a:lnTo>
                <a:lnTo>
                  <a:pt x="707" y="445"/>
                </a:lnTo>
                <a:lnTo>
                  <a:pt x="705" y="447"/>
                </a:lnTo>
                <a:lnTo>
                  <a:pt x="707" y="447"/>
                </a:lnTo>
                <a:lnTo>
                  <a:pt x="709" y="445"/>
                </a:lnTo>
                <a:lnTo>
                  <a:pt x="711" y="443"/>
                </a:lnTo>
                <a:lnTo>
                  <a:pt x="709" y="447"/>
                </a:lnTo>
                <a:lnTo>
                  <a:pt x="712" y="442"/>
                </a:lnTo>
                <a:lnTo>
                  <a:pt x="711" y="447"/>
                </a:lnTo>
                <a:lnTo>
                  <a:pt x="712" y="445"/>
                </a:lnTo>
                <a:lnTo>
                  <a:pt x="712" y="447"/>
                </a:lnTo>
                <a:lnTo>
                  <a:pt x="719" y="436"/>
                </a:lnTo>
                <a:lnTo>
                  <a:pt x="737" y="431"/>
                </a:lnTo>
                <a:lnTo>
                  <a:pt x="739" y="430"/>
                </a:lnTo>
                <a:lnTo>
                  <a:pt x="739" y="435"/>
                </a:lnTo>
                <a:lnTo>
                  <a:pt x="735" y="435"/>
                </a:lnTo>
                <a:lnTo>
                  <a:pt x="735" y="439"/>
                </a:lnTo>
                <a:lnTo>
                  <a:pt x="741" y="439"/>
                </a:lnTo>
                <a:lnTo>
                  <a:pt x="747" y="430"/>
                </a:lnTo>
                <a:lnTo>
                  <a:pt x="747" y="425"/>
                </a:lnTo>
                <a:lnTo>
                  <a:pt x="762" y="422"/>
                </a:lnTo>
                <a:lnTo>
                  <a:pt x="753" y="420"/>
                </a:lnTo>
                <a:lnTo>
                  <a:pt x="756" y="419"/>
                </a:lnTo>
                <a:lnTo>
                  <a:pt x="752" y="419"/>
                </a:lnTo>
                <a:lnTo>
                  <a:pt x="753" y="412"/>
                </a:lnTo>
                <a:lnTo>
                  <a:pt x="766" y="422"/>
                </a:lnTo>
                <a:lnTo>
                  <a:pt x="773" y="435"/>
                </a:lnTo>
                <a:lnTo>
                  <a:pt x="778" y="442"/>
                </a:lnTo>
                <a:lnTo>
                  <a:pt x="791" y="447"/>
                </a:lnTo>
                <a:lnTo>
                  <a:pt x="791" y="445"/>
                </a:lnTo>
                <a:lnTo>
                  <a:pt x="797" y="443"/>
                </a:lnTo>
                <a:lnTo>
                  <a:pt x="791" y="439"/>
                </a:lnTo>
                <a:lnTo>
                  <a:pt x="791" y="436"/>
                </a:lnTo>
                <a:lnTo>
                  <a:pt x="795" y="436"/>
                </a:lnTo>
                <a:lnTo>
                  <a:pt x="793" y="435"/>
                </a:lnTo>
                <a:lnTo>
                  <a:pt x="797" y="435"/>
                </a:lnTo>
                <a:lnTo>
                  <a:pt x="799" y="429"/>
                </a:lnTo>
                <a:lnTo>
                  <a:pt x="795" y="430"/>
                </a:lnTo>
                <a:lnTo>
                  <a:pt x="795" y="429"/>
                </a:lnTo>
                <a:lnTo>
                  <a:pt x="797" y="428"/>
                </a:lnTo>
                <a:lnTo>
                  <a:pt x="797" y="429"/>
                </a:lnTo>
                <a:lnTo>
                  <a:pt x="804" y="428"/>
                </a:lnTo>
                <a:lnTo>
                  <a:pt x="805" y="429"/>
                </a:lnTo>
                <a:lnTo>
                  <a:pt x="807" y="428"/>
                </a:lnTo>
                <a:lnTo>
                  <a:pt x="805" y="436"/>
                </a:lnTo>
                <a:lnTo>
                  <a:pt x="811" y="437"/>
                </a:lnTo>
                <a:lnTo>
                  <a:pt x="805" y="447"/>
                </a:lnTo>
                <a:lnTo>
                  <a:pt x="807" y="447"/>
                </a:lnTo>
                <a:lnTo>
                  <a:pt x="819" y="447"/>
                </a:lnTo>
                <a:lnTo>
                  <a:pt x="819" y="443"/>
                </a:lnTo>
                <a:lnTo>
                  <a:pt x="824" y="443"/>
                </a:lnTo>
                <a:lnTo>
                  <a:pt x="826" y="437"/>
                </a:lnTo>
                <a:lnTo>
                  <a:pt x="827" y="435"/>
                </a:lnTo>
                <a:lnTo>
                  <a:pt x="846" y="435"/>
                </a:lnTo>
                <a:lnTo>
                  <a:pt x="859" y="440"/>
                </a:lnTo>
                <a:lnTo>
                  <a:pt x="867" y="445"/>
                </a:lnTo>
                <a:lnTo>
                  <a:pt x="887" y="448"/>
                </a:lnTo>
                <a:lnTo>
                  <a:pt x="899" y="455"/>
                </a:lnTo>
                <a:lnTo>
                  <a:pt x="912" y="459"/>
                </a:lnTo>
                <a:lnTo>
                  <a:pt x="930" y="460"/>
                </a:lnTo>
                <a:lnTo>
                  <a:pt x="924" y="459"/>
                </a:lnTo>
                <a:lnTo>
                  <a:pt x="935" y="459"/>
                </a:lnTo>
                <a:lnTo>
                  <a:pt x="952" y="464"/>
                </a:lnTo>
                <a:lnTo>
                  <a:pt x="956" y="468"/>
                </a:lnTo>
                <a:lnTo>
                  <a:pt x="956" y="474"/>
                </a:lnTo>
                <a:lnTo>
                  <a:pt x="936" y="476"/>
                </a:lnTo>
                <a:lnTo>
                  <a:pt x="936" y="479"/>
                </a:lnTo>
                <a:lnTo>
                  <a:pt x="941" y="481"/>
                </a:lnTo>
                <a:lnTo>
                  <a:pt x="936" y="482"/>
                </a:lnTo>
                <a:lnTo>
                  <a:pt x="943" y="486"/>
                </a:lnTo>
                <a:lnTo>
                  <a:pt x="980" y="488"/>
                </a:lnTo>
                <a:lnTo>
                  <a:pt x="998" y="485"/>
                </a:lnTo>
                <a:lnTo>
                  <a:pt x="1002" y="487"/>
                </a:lnTo>
                <a:lnTo>
                  <a:pt x="1014" y="481"/>
                </a:lnTo>
                <a:lnTo>
                  <a:pt x="1016" y="482"/>
                </a:lnTo>
                <a:lnTo>
                  <a:pt x="1016" y="485"/>
                </a:lnTo>
                <a:lnTo>
                  <a:pt x="1016" y="491"/>
                </a:lnTo>
                <a:lnTo>
                  <a:pt x="1028" y="491"/>
                </a:lnTo>
                <a:lnTo>
                  <a:pt x="1031" y="494"/>
                </a:lnTo>
                <a:lnTo>
                  <a:pt x="1029" y="493"/>
                </a:lnTo>
                <a:lnTo>
                  <a:pt x="1032" y="497"/>
                </a:lnTo>
                <a:lnTo>
                  <a:pt x="1032" y="491"/>
                </a:lnTo>
                <a:lnTo>
                  <a:pt x="1035" y="491"/>
                </a:lnTo>
                <a:lnTo>
                  <a:pt x="1038" y="498"/>
                </a:lnTo>
                <a:lnTo>
                  <a:pt x="1039" y="497"/>
                </a:lnTo>
                <a:lnTo>
                  <a:pt x="1045" y="500"/>
                </a:lnTo>
                <a:lnTo>
                  <a:pt x="1046" y="507"/>
                </a:lnTo>
                <a:lnTo>
                  <a:pt x="1045" y="507"/>
                </a:lnTo>
                <a:lnTo>
                  <a:pt x="1043" y="505"/>
                </a:lnTo>
                <a:lnTo>
                  <a:pt x="1044" y="507"/>
                </a:lnTo>
                <a:lnTo>
                  <a:pt x="1043" y="507"/>
                </a:lnTo>
                <a:lnTo>
                  <a:pt x="1042" y="507"/>
                </a:lnTo>
                <a:lnTo>
                  <a:pt x="1035" y="503"/>
                </a:lnTo>
                <a:lnTo>
                  <a:pt x="1036" y="505"/>
                </a:lnTo>
                <a:lnTo>
                  <a:pt x="1042" y="507"/>
                </a:lnTo>
                <a:lnTo>
                  <a:pt x="1044" y="515"/>
                </a:lnTo>
                <a:lnTo>
                  <a:pt x="1044" y="511"/>
                </a:lnTo>
                <a:lnTo>
                  <a:pt x="1055" y="522"/>
                </a:lnTo>
                <a:lnTo>
                  <a:pt x="1050" y="516"/>
                </a:lnTo>
                <a:lnTo>
                  <a:pt x="1047" y="509"/>
                </a:lnTo>
                <a:lnTo>
                  <a:pt x="1049" y="505"/>
                </a:lnTo>
                <a:lnTo>
                  <a:pt x="1052" y="511"/>
                </a:lnTo>
                <a:lnTo>
                  <a:pt x="1054" y="511"/>
                </a:lnTo>
                <a:lnTo>
                  <a:pt x="1052" y="508"/>
                </a:lnTo>
                <a:lnTo>
                  <a:pt x="1057" y="510"/>
                </a:lnTo>
                <a:lnTo>
                  <a:pt x="1052" y="505"/>
                </a:lnTo>
                <a:lnTo>
                  <a:pt x="1052" y="503"/>
                </a:lnTo>
                <a:lnTo>
                  <a:pt x="1052" y="503"/>
                </a:lnTo>
                <a:lnTo>
                  <a:pt x="1052" y="500"/>
                </a:lnTo>
                <a:lnTo>
                  <a:pt x="1053" y="501"/>
                </a:lnTo>
                <a:lnTo>
                  <a:pt x="1052" y="502"/>
                </a:lnTo>
                <a:lnTo>
                  <a:pt x="1052" y="503"/>
                </a:lnTo>
                <a:lnTo>
                  <a:pt x="1054" y="503"/>
                </a:lnTo>
                <a:lnTo>
                  <a:pt x="1052" y="501"/>
                </a:lnTo>
                <a:lnTo>
                  <a:pt x="1051" y="500"/>
                </a:lnTo>
                <a:lnTo>
                  <a:pt x="1049" y="497"/>
                </a:lnTo>
                <a:lnTo>
                  <a:pt x="1050" y="493"/>
                </a:lnTo>
                <a:lnTo>
                  <a:pt x="1044" y="487"/>
                </a:lnTo>
                <a:lnTo>
                  <a:pt x="1045" y="485"/>
                </a:lnTo>
                <a:lnTo>
                  <a:pt x="1049" y="482"/>
                </a:lnTo>
                <a:lnTo>
                  <a:pt x="1044" y="481"/>
                </a:lnTo>
                <a:lnTo>
                  <a:pt x="1052" y="479"/>
                </a:lnTo>
                <a:lnTo>
                  <a:pt x="1060" y="477"/>
                </a:lnTo>
                <a:lnTo>
                  <a:pt x="1060" y="476"/>
                </a:lnTo>
                <a:lnTo>
                  <a:pt x="1063" y="474"/>
                </a:lnTo>
                <a:lnTo>
                  <a:pt x="1067" y="477"/>
                </a:lnTo>
                <a:lnTo>
                  <a:pt x="1067" y="476"/>
                </a:lnTo>
                <a:lnTo>
                  <a:pt x="1064" y="474"/>
                </a:lnTo>
                <a:lnTo>
                  <a:pt x="1064" y="473"/>
                </a:lnTo>
                <a:lnTo>
                  <a:pt x="1064" y="473"/>
                </a:lnTo>
                <a:lnTo>
                  <a:pt x="1062" y="469"/>
                </a:lnTo>
                <a:lnTo>
                  <a:pt x="1056" y="474"/>
                </a:lnTo>
                <a:lnTo>
                  <a:pt x="1050" y="470"/>
                </a:lnTo>
                <a:lnTo>
                  <a:pt x="1047" y="473"/>
                </a:lnTo>
                <a:lnTo>
                  <a:pt x="1046" y="475"/>
                </a:lnTo>
                <a:lnTo>
                  <a:pt x="1050" y="477"/>
                </a:lnTo>
                <a:lnTo>
                  <a:pt x="1039" y="478"/>
                </a:lnTo>
                <a:lnTo>
                  <a:pt x="1038" y="479"/>
                </a:lnTo>
                <a:lnTo>
                  <a:pt x="1036" y="479"/>
                </a:lnTo>
                <a:lnTo>
                  <a:pt x="1036" y="473"/>
                </a:lnTo>
                <a:lnTo>
                  <a:pt x="1033" y="474"/>
                </a:lnTo>
                <a:lnTo>
                  <a:pt x="1039" y="465"/>
                </a:lnTo>
                <a:lnTo>
                  <a:pt x="1056" y="463"/>
                </a:lnTo>
                <a:lnTo>
                  <a:pt x="1069" y="456"/>
                </a:lnTo>
                <a:lnTo>
                  <a:pt x="1076" y="458"/>
                </a:lnTo>
                <a:lnTo>
                  <a:pt x="1080" y="462"/>
                </a:lnTo>
                <a:lnTo>
                  <a:pt x="1080" y="465"/>
                </a:lnTo>
                <a:lnTo>
                  <a:pt x="1082" y="468"/>
                </a:lnTo>
                <a:lnTo>
                  <a:pt x="1079" y="470"/>
                </a:lnTo>
                <a:lnTo>
                  <a:pt x="1087" y="474"/>
                </a:lnTo>
                <a:lnTo>
                  <a:pt x="1090" y="474"/>
                </a:lnTo>
                <a:lnTo>
                  <a:pt x="1089" y="475"/>
                </a:lnTo>
                <a:lnTo>
                  <a:pt x="1094" y="475"/>
                </a:lnTo>
                <a:lnTo>
                  <a:pt x="1091" y="477"/>
                </a:lnTo>
                <a:lnTo>
                  <a:pt x="1095" y="479"/>
                </a:lnTo>
                <a:lnTo>
                  <a:pt x="1106" y="479"/>
                </a:lnTo>
                <a:lnTo>
                  <a:pt x="1111" y="477"/>
                </a:lnTo>
                <a:lnTo>
                  <a:pt x="1112" y="478"/>
                </a:lnTo>
                <a:lnTo>
                  <a:pt x="1111" y="483"/>
                </a:lnTo>
                <a:lnTo>
                  <a:pt x="1127" y="491"/>
                </a:lnTo>
                <a:lnTo>
                  <a:pt x="1131" y="491"/>
                </a:lnTo>
                <a:lnTo>
                  <a:pt x="1138" y="490"/>
                </a:lnTo>
                <a:lnTo>
                  <a:pt x="1155" y="485"/>
                </a:lnTo>
                <a:lnTo>
                  <a:pt x="1168" y="486"/>
                </a:lnTo>
                <a:lnTo>
                  <a:pt x="1172" y="487"/>
                </a:lnTo>
                <a:lnTo>
                  <a:pt x="1184" y="486"/>
                </a:lnTo>
                <a:lnTo>
                  <a:pt x="1177" y="482"/>
                </a:lnTo>
                <a:lnTo>
                  <a:pt x="1177" y="479"/>
                </a:lnTo>
                <a:lnTo>
                  <a:pt x="1181" y="479"/>
                </a:lnTo>
                <a:lnTo>
                  <a:pt x="1188" y="488"/>
                </a:lnTo>
                <a:lnTo>
                  <a:pt x="1197" y="490"/>
                </a:lnTo>
                <a:lnTo>
                  <a:pt x="1201" y="488"/>
                </a:lnTo>
                <a:lnTo>
                  <a:pt x="1201" y="486"/>
                </a:lnTo>
                <a:lnTo>
                  <a:pt x="1201" y="482"/>
                </a:lnTo>
                <a:lnTo>
                  <a:pt x="1200" y="485"/>
                </a:lnTo>
                <a:lnTo>
                  <a:pt x="1195" y="481"/>
                </a:lnTo>
                <a:lnTo>
                  <a:pt x="1190" y="482"/>
                </a:lnTo>
                <a:lnTo>
                  <a:pt x="1188" y="485"/>
                </a:lnTo>
                <a:lnTo>
                  <a:pt x="1181" y="478"/>
                </a:lnTo>
                <a:lnTo>
                  <a:pt x="1181" y="479"/>
                </a:lnTo>
                <a:lnTo>
                  <a:pt x="1181" y="477"/>
                </a:lnTo>
                <a:lnTo>
                  <a:pt x="1181" y="477"/>
                </a:lnTo>
                <a:lnTo>
                  <a:pt x="1181" y="477"/>
                </a:lnTo>
                <a:lnTo>
                  <a:pt x="1181" y="476"/>
                </a:lnTo>
                <a:lnTo>
                  <a:pt x="1180" y="472"/>
                </a:lnTo>
                <a:lnTo>
                  <a:pt x="1181" y="472"/>
                </a:lnTo>
                <a:lnTo>
                  <a:pt x="1182" y="473"/>
                </a:lnTo>
                <a:lnTo>
                  <a:pt x="1182" y="472"/>
                </a:lnTo>
                <a:lnTo>
                  <a:pt x="1181" y="471"/>
                </a:lnTo>
                <a:lnTo>
                  <a:pt x="1184" y="469"/>
                </a:lnTo>
                <a:lnTo>
                  <a:pt x="1187" y="473"/>
                </a:lnTo>
                <a:lnTo>
                  <a:pt x="1192" y="471"/>
                </a:lnTo>
                <a:lnTo>
                  <a:pt x="1190" y="468"/>
                </a:lnTo>
                <a:lnTo>
                  <a:pt x="1191" y="466"/>
                </a:lnTo>
                <a:lnTo>
                  <a:pt x="1196" y="471"/>
                </a:lnTo>
                <a:lnTo>
                  <a:pt x="1202" y="471"/>
                </a:lnTo>
                <a:lnTo>
                  <a:pt x="1204" y="471"/>
                </a:lnTo>
                <a:lnTo>
                  <a:pt x="1203" y="474"/>
                </a:lnTo>
                <a:lnTo>
                  <a:pt x="1214" y="473"/>
                </a:lnTo>
                <a:lnTo>
                  <a:pt x="1207" y="479"/>
                </a:lnTo>
                <a:lnTo>
                  <a:pt x="1209" y="481"/>
                </a:lnTo>
                <a:lnTo>
                  <a:pt x="1218" y="474"/>
                </a:lnTo>
                <a:lnTo>
                  <a:pt x="1215" y="486"/>
                </a:lnTo>
                <a:lnTo>
                  <a:pt x="1217" y="489"/>
                </a:lnTo>
                <a:lnTo>
                  <a:pt x="1213" y="495"/>
                </a:lnTo>
                <a:lnTo>
                  <a:pt x="1217" y="495"/>
                </a:lnTo>
                <a:lnTo>
                  <a:pt x="1215" y="503"/>
                </a:lnTo>
                <a:lnTo>
                  <a:pt x="1217" y="503"/>
                </a:lnTo>
                <a:lnTo>
                  <a:pt x="1221" y="497"/>
                </a:lnTo>
                <a:lnTo>
                  <a:pt x="1221" y="499"/>
                </a:lnTo>
                <a:lnTo>
                  <a:pt x="1220" y="503"/>
                </a:lnTo>
                <a:lnTo>
                  <a:pt x="1226" y="502"/>
                </a:lnTo>
                <a:lnTo>
                  <a:pt x="1228" y="511"/>
                </a:lnTo>
                <a:lnTo>
                  <a:pt x="1229" y="511"/>
                </a:lnTo>
                <a:lnTo>
                  <a:pt x="1229" y="507"/>
                </a:lnTo>
                <a:lnTo>
                  <a:pt x="1227" y="502"/>
                </a:lnTo>
                <a:lnTo>
                  <a:pt x="1230" y="499"/>
                </a:lnTo>
                <a:lnTo>
                  <a:pt x="1225" y="497"/>
                </a:lnTo>
                <a:lnTo>
                  <a:pt x="1225" y="492"/>
                </a:lnTo>
                <a:lnTo>
                  <a:pt x="1222" y="488"/>
                </a:lnTo>
                <a:lnTo>
                  <a:pt x="1225" y="486"/>
                </a:lnTo>
                <a:lnTo>
                  <a:pt x="1228" y="479"/>
                </a:lnTo>
                <a:lnTo>
                  <a:pt x="1237" y="479"/>
                </a:lnTo>
                <a:lnTo>
                  <a:pt x="1245" y="474"/>
                </a:lnTo>
                <a:lnTo>
                  <a:pt x="1245" y="469"/>
                </a:lnTo>
                <a:lnTo>
                  <a:pt x="1251" y="466"/>
                </a:lnTo>
                <a:lnTo>
                  <a:pt x="1253" y="459"/>
                </a:lnTo>
                <a:lnTo>
                  <a:pt x="1250" y="459"/>
                </a:lnTo>
                <a:lnTo>
                  <a:pt x="1247" y="463"/>
                </a:lnTo>
                <a:lnTo>
                  <a:pt x="1241" y="463"/>
                </a:lnTo>
                <a:lnTo>
                  <a:pt x="1237" y="463"/>
                </a:lnTo>
                <a:lnTo>
                  <a:pt x="1237" y="458"/>
                </a:lnTo>
                <a:lnTo>
                  <a:pt x="1237" y="456"/>
                </a:lnTo>
                <a:lnTo>
                  <a:pt x="1247" y="455"/>
                </a:lnTo>
                <a:lnTo>
                  <a:pt x="1241" y="455"/>
                </a:lnTo>
                <a:lnTo>
                  <a:pt x="1241" y="447"/>
                </a:lnTo>
                <a:lnTo>
                  <a:pt x="1253" y="443"/>
                </a:lnTo>
                <a:lnTo>
                  <a:pt x="1249" y="448"/>
                </a:lnTo>
                <a:lnTo>
                  <a:pt x="1249" y="451"/>
                </a:lnTo>
                <a:lnTo>
                  <a:pt x="1257" y="447"/>
                </a:lnTo>
                <a:lnTo>
                  <a:pt x="1254" y="447"/>
                </a:lnTo>
                <a:lnTo>
                  <a:pt x="1257" y="444"/>
                </a:lnTo>
                <a:lnTo>
                  <a:pt x="1255" y="442"/>
                </a:lnTo>
                <a:lnTo>
                  <a:pt x="1244" y="443"/>
                </a:lnTo>
                <a:lnTo>
                  <a:pt x="1240" y="437"/>
                </a:lnTo>
                <a:lnTo>
                  <a:pt x="1236" y="442"/>
                </a:lnTo>
                <a:lnTo>
                  <a:pt x="1224" y="439"/>
                </a:lnTo>
                <a:lnTo>
                  <a:pt x="1221" y="439"/>
                </a:lnTo>
                <a:lnTo>
                  <a:pt x="1216" y="432"/>
                </a:lnTo>
                <a:lnTo>
                  <a:pt x="1209" y="425"/>
                </a:lnTo>
                <a:lnTo>
                  <a:pt x="1209" y="420"/>
                </a:lnTo>
                <a:lnTo>
                  <a:pt x="1215" y="415"/>
                </a:lnTo>
                <a:lnTo>
                  <a:pt x="1222" y="415"/>
                </a:lnTo>
                <a:lnTo>
                  <a:pt x="1218" y="413"/>
                </a:lnTo>
                <a:lnTo>
                  <a:pt x="1222" y="409"/>
                </a:lnTo>
                <a:lnTo>
                  <a:pt x="1217" y="412"/>
                </a:lnTo>
                <a:lnTo>
                  <a:pt x="1210" y="408"/>
                </a:lnTo>
                <a:lnTo>
                  <a:pt x="1213" y="401"/>
                </a:lnTo>
                <a:lnTo>
                  <a:pt x="1214" y="400"/>
                </a:lnTo>
                <a:lnTo>
                  <a:pt x="1210" y="399"/>
                </a:lnTo>
                <a:lnTo>
                  <a:pt x="1213" y="399"/>
                </a:lnTo>
                <a:lnTo>
                  <a:pt x="1213" y="395"/>
                </a:lnTo>
                <a:lnTo>
                  <a:pt x="1209" y="395"/>
                </a:lnTo>
                <a:lnTo>
                  <a:pt x="1209" y="394"/>
                </a:lnTo>
                <a:lnTo>
                  <a:pt x="1213" y="396"/>
                </a:lnTo>
                <a:lnTo>
                  <a:pt x="1213" y="395"/>
                </a:lnTo>
                <a:lnTo>
                  <a:pt x="1213" y="394"/>
                </a:lnTo>
                <a:lnTo>
                  <a:pt x="1218" y="390"/>
                </a:lnTo>
                <a:lnTo>
                  <a:pt x="1225" y="394"/>
                </a:lnTo>
                <a:lnTo>
                  <a:pt x="1226" y="390"/>
                </a:lnTo>
                <a:lnTo>
                  <a:pt x="1224" y="389"/>
                </a:lnTo>
                <a:lnTo>
                  <a:pt x="1221" y="386"/>
                </a:lnTo>
                <a:lnTo>
                  <a:pt x="1229" y="383"/>
                </a:lnTo>
                <a:lnTo>
                  <a:pt x="1226" y="383"/>
                </a:lnTo>
                <a:lnTo>
                  <a:pt x="1228" y="379"/>
                </a:lnTo>
                <a:lnTo>
                  <a:pt x="1229" y="379"/>
                </a:lnTo>
                <a:lnTo>
                  <a:pt x="1237" y="379"/>
                </a:lnTo>
                <a:lnTo>
                  <a:pt x="1237" y="382"/>
                </a:lnTo>
                <a:lnTo>
                  <a:pt x="1241" y="383"/>
                </a:lnTo>
                <a:lnTo>
                  <a:pt x="1241" y="383"/>
                </a:lnTo>
                <a:lnTo>
                  <a:pt x="1241" y="385"/>
                </a:lnTo>
                <a:lnTo>
                  <a:pt x="1245" y="379"/>
                </a:lnTo>
                <a:lnTo>
                  <a:pt x="1251" y="382"/>
                </a:lnTo>
                <a:lnTo>
                  <a:pt x="1250" y="385"/>
                </a:lnTo>
                <a:lnTo>
                  <a:pt x="1263" y="393"/>
                </a:lnTo>
                <a:lnTo>
                  <a:pt x="1264" y="397"/>
                </a:lnTo>
                <a:lnTo>
                  <a:pt x="1262" y="405"/>
                </a:lnTo>
                <a:lnTo>
                  <a:pt x="1261" y="406"/>
                </a:lnTo>
                <a:lnTo>
                  <a:pt x="1273" y="412"/>
                </a:lnTo>
                <a:lnTo>
                  <a:pt x="1271" y="416"/>
                </a:lnTo>
                <a:lnTo>
                  <a:pt x="1273" y="419"/>
                </a:lnTo>
                <a:lnTo>
                  <a:pt x="1273" y="422"/>
                </a:lnTo>
                <a:lnTo>
                  <a:pt x="1280" y="419"/>
                </a:lnTo>
                <a:lnTo>
                  <a:pt x="1281" y="419"/>
                </a:lnTo>
                <a:lnTo>
                  <a:pt x="1284" y="424"/>
                </a:lnTo>
                <a:lnTo>
                  <a:pt x="1277" y="425"/>
                </a:lnTo>
                <a:lnTo>
                  <a:pt x="1273" y="424"/>
                </a:lnTo>
                <a:lnTo>
                  <a:pt x="1270" y="428"/>
                </a:lnTo>
                <a:lnTo>
                  <a:pt x="1277" y="430"/>
                </a:lnTo>
                <a:lnTo>
                  <a:pt x="1266" y="439"/>
                </a:lnTo>
                <a:lnTo>
                  <a:pt x="1269" y="439"/>
                </a:lnTo>
                <a:lnTo>
                  <a:pt x="1273" y="439"/>
                </a:lnTo>
                <a:lnTo>
                  <a:pt x="1276" y="440"/>
                </a:lnTo>
                <a:lnTo>
                  <a:pt x="1280" y="442"/>
                </a:lnTo>
                <a:lnTo>
                  <a:pt x="1284" y="439"/>
                </a:lnTo>
                <a:lnTo>
                  <a:pt x="1288" y="439"/>
                </a:lnTo>
                <a:lnTo>
                  <a:pt x="1290" y="439"/>
                </a:lnTo>
                <a:lnTo>
                  <a:pt x="1288" y="440"/>
                </a:lnTo>
                <a:lnTo>
                  <a:pt x="1293" y="442"/>
                </a:lnTo>
                <a:lnTo>
                  <a:pt x="1293" y="440"/>
                </a:lnTo>
                <a:lnTo>
                  <a:pt x="1302" y="443"/>
                </a:lnTo>
                <a:lnTo>
                  <a:pt x="1298" y="443"/>
                </a:lnTo>
                <a:lnTo>
                  <a:pt x="1295" y="445"/>
                </a:lnTo>
                <a:lnTo>
                  <a:pt x="1292" y="448"/>
                </a:lnTo>
                <a:lnTo>
                  <a:pt x="1283" y="445"/>
                </a:lnTo>
                <a:lnTo>
                  <a:pt x="1293" y="453"/>
                </a:lnTo>
                <a:lnTo>
                  <a:pt x="1293" y="456"/>
                </a:lnTo>
                <a:lnTo>
                  <a:pt x="1298" y="458"/>
                </a:lnTo>
                <a:lnTo>
                  <a:pt x="1297" y="462"/>
                </a:lnTo>
                <a:lnTo>
                  <a:pt x="1297" y="468"/>
                </a:lnTo>
                <a:lnTo>
                  <a:pt x="1296" y="470"/>
                </a:lnTo>
                <a:lnTo>
                  <a:pt x="1302" y="471"/>
                </a:lnTo>
                <a:lnTo>
                  <a:pt x="1300" y="474"/>
                </a:lnTo>
                <a:lnTo>
                  <a:pt x="1302" y="475"/>
                </a:lnTo>
                <a:lnTo>
                  <a:pt x="1304" y="475"/>
                </a:lnTo>
                <a:lnTo>
                  <a:pt x="1307" y="470"/>
                </a:lnTo>
                <a:lnTo>
                  <a:pt x="1306" y="465"/>
                </a:lnTo>
                <a:lnTo>
                  <a:pt x="1309" y="463"/>
                </a:lnTo>
                <a:lnTo>
                  <a:pt x="1309" y="462"/>
                </a:lnTo>
                <a:lnTo>
                  <a:pt x="1309" y="462"/>
                </a:lnTo>
                <a:lnTo>
                  <a:pt x="1309" y="462"/>
                </a:lnTo>
                <a:lnTo>
                  <a:pt x="1309" y="454"/>
                </a:lnTo>
                <a:lnTo>
                  <a:pt x="1315" y="451"/>
                </a:lnTo>
                <a:lnTo>
                  <a:pt x="1321" y="451"/>
                </a:lnTo>
                <a:lnTo>
                  <a:pt x="1335" y="461"/>
                </a:lnTo>
                <a:lnTo>
                  <a:pt x="1337" y="473"/>
                </a:lnTo>
                <a:lnTo>
                  <a:pt x="1336" y="476"/>
                </a:lnTo>
                <a:lnTo>
                  <a:pt x="1332" y="470"/>
                </a:lnTo>
                <a:lnTo>
                  <a:pt x="1328" y="473"/>
                </a:lnTo>
                <a:lnTo>
                  <a:pt x="1329" y="477"/>
                </a:lnTo>
                <a:lnTo>
                  <a:pt x="1329" y="482"/>
                </a:lnTo>
                <a:lnTo>
                  <a:pt x="1333" y="488"/>
                </a:lnTo>
                <a:lnTo>
                  <a:pt x="1344" y="499"/>
                </a:lnTo>
                <a:lnTo>
                  <a:pt x="1341" y="504"/>
                </a:lnTo>
                <a:lnTo>
                  <a:pt x="1348" y="500"/>
                </a:lnTo>
                <a:lnTo>
                  <a:pt x="1347" y="497"/>
                </a:lnTo>
                <a:lnTo>
                  <a:pt x="1350" y="496"/>
                </a:lnTo>
                <a:lnTo>
                  <a:pt x="1355" y="497"/>
                </a:lnTo>
                <a:lnTo>
                  <a:pt x="1357" y="490"/>
                </a:lnTo>
                <a:lnTo>
                  <a:pt x="1355" y="488"/>
                </a:lnTo>
                <a:lnTo>
                  <a:pt x="1365" y="479"/>
                </a:lnTo>
                <a:lnTo>
                  <a:pt x="1365" y="473"/>
                </a:lnTo>
                <a:lnTo>
                  <a:pt x="1365" y="469"/>
                </a:lnTo>
                <a:lnTo>
                  <a:pt x="1365" y="463"/>
                </a:lnTo>
                <a:lnTo>
                  <a:pt x="1370" y="463"/>
                </a:lnTo>
                <a:lnTo>
                  <a:pt x="1377" y="463"/>
                </a:lnTo>
                <a:lnTo>
                  <a:pt x="1377" y="459"/>
                </a:lnTo>
                <a:lnTo>
                  <a:pt x="1381" y="459"/>
                </a:lnTo>
                <a:lnTo>
                  <a:pt x="1380" y="455"/>
                </a:lnTo>
                <a:lnTo>
                  <a:pt x="1385" y="455"/>
                </a:lnTo>
                <a:lnTo>
                  <a:pt x="1376" y="452"/>
                </a:lnTo>
                <a:lnTo>
                  <a:pt x="1377" y="450"/>
                </a:lnTo>
                <a:lnTo>
                  <a:pt x="1373" y="451"/>
                </a:lnTo>
                <a:lnTo>
                  <a:pt x="1373" y="450"/>
                </a:lnTo>
                <a:lnTo>
                  <a:pt x="1369" y="448"/>
                </a:lnTo>
                <a:lnTo>
                  <a:pt x="1369" y="445"/>
                </a:lnTo>
                <a:lnTo>
                  <a:pt x="1373" y="443"/>
                </a:lnTo>
                <a:lnTo>
                  <a:pt x="1369" y="443"/>
                </a:lnTo>
                <a:lnTo>
                  <a:pt x="1370" y="439"/>
                </a:lnTo>
                <a:lnTo>
                  <a:pt x="1373" y="439"/>
                </a:lnTo>
                <a:lnTo>
                  <a:pt x="1369" y="434"/>
                </a:lnTo>
                <a:lnTo>
                  <a:pt x="1377" y="436"/>
                </a:lnTo>
                <a:lnTo>
                  <a:pt x="1387" y="433"/>
                </a:lnTo>
                <a:lnTo>
                  <a:pt x="1394" y="439"/>
                </a:lnTo>
                <a:lnTo>
                  <a:pt x="1399" y="439"/>
                </a:lnTo>
                <a:lnTo>
                  <a:pt x="1396" y="438"/>
                </a:lnTo>
                <a:lnTo>
                  <a:pt x="1418" y="439"/>
                </a:lnTo>
                <a:lnTo>
                  <a:pt x="1414" y="439"/>
                </a:lnTo>
                <a:lnTo>
                  <a:pt x="1414" y="442"/>
                </a:lnTo>
                <a:lnTo>
                  <a:pt x="1401" y="440"/>
                </a:lnTo>
                <a:lnTo>
                  <a:pt x="1414" y="445"/>
                </a:lnTo>
                <a:lnTo>
                  <a:pt x="1414" y="451"/>
                </a:lnTo>
                <a:lnTo>
                  <a:pt x="1426" y="451"/>
                </a:lnTo>
                <a:lnTo>
                  <a:pt x="1430" y="450"/>
                </a:lnTo>
                <a:lnTo>
                  <a:pt x="1430" y="451"/>
                </a:lnTo>
                <a:lnTo>
                  <a:pt x="1426" y="455"/>
                </a:lnTo>
                <a:lnTo>
                  <a:pt x="1422" y="459"/>
                </a:lnTo>
                <a:lnTo>
                  <a:pt x="1430" y="459"/>
                </a:lnTo>
                <a:lnTo>
                  <a:pt x="1430" y="462"/>
                </a:lnTo>
                <a:lnTo>
                  <a:pt x="1430" y="465"/>
                </a:lnTo>
                <a:lnTo>
                  <a:pt x="1421" y="470"/>
                </a:lnTo>
                <a:lnTo>
                  <a:pt x="1419" y="468"/>
                </a:lnTo>
                <a:lnTo>
                  <a:pt x="1418" y="470"/>
                </a:lnTo>
                <a:lnTo>
                  <a:pt x="1414" y="468"/>
                </a:lnTo>
                <a:lnTo>
                  <a:pt x="1416" y="475"/>
                </a:lnTo>
                <a:lnTo>
                  <a:pt x="1418" y="475"/>
                </a:lnTo>
                <a:lnTo>
                  <a:pt x="1416" y="477"/>
                </a:lnTo>
                <a:lnTo>
                  <a:pt x="1420" y="477"/>
                </a:lnTo>
                <a:lnTo>
                  <a:pt x="1423" y="476"/>
                </a:lnTo>
                <a:lnTo>
                  <a:pt x="1420" y="481"/>
                </a:lnTo>
                <a:lnTo>
                  <a:pt x="1422" y="482"/>
                </a:lnTo>
                <a:lnTo>
                  <a:pt x="1433" y="494"/>
                </a:lnTo>
                <a:lnTo>
                  <a:pt x="1429" y="505"/>
                </a:lnTo>
                <a:lnTo>
                  <a:pt x="1423" y="509"/>
                </a:lnTo>
                <a:lnTo>
                  <a:pt x="1414" y="519"/>
                </a:lnTo>
                <a:lnTo>
                  <a:pt x="1407" y="519"/>
                </a:lnTo>
                <a:lnTo>
                  <a:pt x="1399" y="523"/>
                </a:lnTo>
                <a:lnTo>
                  <a:pt x="1395" y="519"/>
                </a:lnTo>
                <a:lnTo>
                  <a:pt x="1392" y="516"/>
                </a:lnTo>
                <a:lnTo>
                  <a:pt x="1390" y="513"/>
                </a:lnTo>
                <a:lnTo>
                  <a:pt x="1389" y="510"/>
                </a:lnTo>
                <a:lnTo>
                  <a:pt x="1389" y="513"/>
                </a:lnTo>
                <a:lnTo>
                  <a:pt x="1389" y="515"/>
                </a:lnTo>
                <a:lnTo>
                  <a:pt x="1396" y="527"/>
                </a:lnTo>
                <a:lnTo>
                  <a:pt x="1395" y="527"/>
                </a:lnTo>
                <a:lnTo>
                  <a:pt x="1385" y="520"/>
                </a:lnTo>
                <a:lnTo>
                  <a:pt x="1384" y="523"/>
                </a:lnTo>
                <a:lnTo>
                  <a:pt x="1387" y="527"/>
                </a:lnTo>
                <a:lnTo>
                  <a:pt x="1374" y="525"/>
                </a:lnTo>
                <a:lnTo>
                  <a:pt x="1370" y="516"/>
                </a:lnTo>
                <a:lnTo>
                  <a:pt x="1366" y="519"/>
                </a:lnTo>
                <a:lnTo>
                  <a:pt x="1352" y="519"/>
                </a:lnTo>
                <a:lnTo>
                  <a:pt x="1354" y="523"/>
                </a:lnTo>
                <a:lnTo>
                  <a:pt x="1352" y="523"/>
                </a:lnTo>
                <a:lnTo>
                  <a:pt x="1354" y="524"/>
                </a:lnTo>
                <a:lnTo>
                  <a:pt x="1365" y="527"/>
                </a:lnTo>
                <a:lnTo>
                  <a:pt x="1363" y="530"/>
                </a:lnTo>
                <a:lnTo>
                  <a:pt x="1357" y="533"/>
                </a:lnTo>
                <a:lnTo>
                  <a:pt x="1355" y="538"/>
                </a:lnTo>
                <a:lnTo>
                  <a:pt x="1344" y="547"/>
                </a:lnTo>
                <a:lnTo>
                  <a:pt x="1335" y="546"/>
                </a:lnTo>
                <a:lnTo>
                  <a:pt x="1323" y="540"/>
                </a:lnTo>
                <a:lnTo>
                  <a:pt x="1321" y="540"/>
                </a:lnTo>
                <a:lnTo>
                  <a:pt x="1310" y="535"/>
                </a:lnTo>
                <a:lnTo>
                  <a:pt x="1306" y="535"/>
                </a:lnTo>
                <a:lnTo>
                  <a:pt x="1307" y="534"/>
                </a:lnTo>
                <a:lnTo>
                  <a:pt x="1302" y="535"/>
                </a:lnTo>
                <a:lnTo>
                  <a:pt x="1306" y="535"/>
                </a:lnTo>
                <a:lnTo>
                  <a:pt x="1319" y="547"/>
                </a:lnTo>
                <a:lnTo>
                  <a:pt x="1344" y="547"/>
                </a:lnTo>
                <a:lnTo>
                  <a:pt x="1350" y="551"/>
                </a:lnTo>
                <a:lnTo>
                  <a:pt x="1341" y="566"/>
                </a:lnTo>
                <a:lnTo>
                  <a:pt x="1337" y="567"/>
                </a:lnTo>
                <a:lnTo>
                  <a:pt x="1335" y="573"/>
                </a:lnTo>
                <a:lnTo>
                  <a:pt x="1333" y="576"/>
                </a:lnTo>
                <a:lnTo>
                  <a:pt x="1324" y="580"/>
                </a:lnTo>
                <a:lnTo>
                  <a:pt x="1320" y="579"/>
                </a:lnTo>
                <a:lnTo>
                  <a:pt x="1321" y="580"/>
                </a:lnTo>
                <a:lnTo>
                  <a:pt x="1313" y="577"/>
                </a:lnTo>
                <a:lnTo>
                  <a:pt x="1313" y="580"/>
                </a:lnTo>
                <a:lnTo>
                  <a:pt x="1308" y="577"/>
                </a:lnTo>
                <a:lnTo>
                  <a:pt x="1307" y="579"/>
                </a:lnTo>
                <a:lnTo>
                  <a:pt x="1307" y="579"/>
                </a:lnTo>
                <a:lnTo>
                  <a:pt x="1307" y="580"/>
                </a:lnTo>
                <a:lnTo>
                  <a:pt x="1302" y="579"/>
                </a:lnTo>
                <a:lnTo>
                  <a:pt x="1306" y="584"/>
                </a:lnTo>
                <a:lnTo>
                  <a:pt x="1303" y="589"/>
                </a:lnTo>
                <a:lnTo>
                  <a:pt x="1296" y="586"/>
                </a:lnTo>
                <a:lnTo>
                  <a:pt x="1295" y="591"/>
                </a:lnTo>
                <a:lnTo>
                  <a:pt x="1292" y="591"/>
                </a:lnTo>
                <a:lnTo>
                  <a:pt x="1284" y="587"/>
                </a:lnTo>
                <a:lnTo>
                  <a:pt x="1281" y="587"/>
                </a:lnTo>
                <a:lnTo>
                  <a:pt x="1282" y="588"/>
                </a:lnTo>
                <a:lnTo>
                  <a:pt x="1293" y="592"/>
                </a:lnTo>
                <a:lnTo>
                  <a:pt x="1292" y="591"/>
                </a:lnTo>
                <a:lnTo>
                  <a:pt x="1295" y="592"/>
                </a:lnTo>
                <a:lnTo>
                  <a:pt x="1296" y="603"/>
                </a:lnTo>
                <a:lnTo>
                  <a:pt x="1295" y="604"/>
                </a:lnTo>
                <a:lnTo>
                  <a:pt x="1290" y="604"/>
                </a:lnTo>
                <a:lnTo>
                  <a:pt x="1284" y="608"/>
                </a:lnTo>
                <a:lnTo>
                  <a:pt x="1270" y="608"/>
                </a:lnTo>
                <a:lnTo>
                  <a:pt x="1273" y="611"/>
                </a:lnTo>
                <a:lnTo>
                  <a:pt x="1280" y="612"/>
                </a:lnTo>
                <a:lnTo>
                  <a:pt x="1276" y="614"/>
                </a:lnTo>
                <a:lnTo>
                  <a:pt x="1272" y="612"/>
                </a:lnTo>
                <a:lnTo>
                  <a:pt x="1265" y="615"/>
                </a:lnTo>
                <a:lnTo>
                  <a:pt x="1265" y="619"/>
                </a:lnTo>
                <a:lnTo>
                  <a:pt x="1266" y="620"/>
                </a:lnTo>
                <a:lnTo>
                  <a:pt x="1260" y="620"/>
                </a:lnTo>
                <a:lnTo>
                  <a:pt x="1266" y="624"/>
                </a:lnTo>
                <a:lnTo>
                  <a:pt x="1262" y="624"/>
                </a:lnTo>
                <a:lnTo>
                  <a:pt x="1263" y="627"/>
                </a:lnTo>
                <a:lnTo>
                  <a:pt x="1261" y="628"/>
                </a:lnTo>
                <a:lnTo>
                  <a:pt x="1261" y="628"/>
                </a:lnTo>
                <a:lnTo>
                  <a:pt x="1260" y="628"/>
                </a:lnTo>
                <a:lnTo>
                  <a:pt x="1260" y="628"/>
                </a:lnTo>
                <a:lnTo>
                  <a:pt x="1260" y="628"/>
                </a:lnTo>
                <a:lnTo>
                  <a:pt x="1257" y="628"/>
                </a:lnTo>
                <a:lnTo>
                  <a:pt x="1259" y="628"/>
                </a:lnTo>
                <a:lnTo>
                  <a:pt x="1257" y="627"/>
                </a:lnTo>
                <a:lnTo>
                  <a:pt x="1253" y="626"/>
                </a:lnTo>
                <a:lnTo>
                  <a:pt x="1253" y="630"/>
                </a:lnTo>
                <a:lnTo>
                  <a:pt x="1257" y="631"/>
                </a:lnTo>
                <a:lnTo>
                  <a:pt x="1248" y="638"/>
                </a:lnTo>
                <a:lnTo>
                  <a:pt x="1250" y="642"/>
                </a:lnTo>
                <a:lnTo>
                  <a:pt x="1243" y="653"/>
                </a:lnTo>
                <a:lnTo>
                  <a:pt x="1241" y="660"/>
                </a:lnTo>
                <a:lnTo>
                  <a:pt x="1237" y="660"/>
                </a:lnTo>
                <a:lnTo>
                  <a:pt x="1238" y="662"/>
                </a:lnTo>
                <a:lnTo>
                  <a:pt x="1233" y="672"/>
                </a:lnTo>
                <a:lnTo>
                  <a:pt x="1233" y="679"/>
                </a:lnTo>
                <a:lnTo>
                  <a:pt x="1234" y="684"/>
                </a:lnTo>
                <a:lnTo>
                  <a:pt x="1233" y="687"/>
                </a:lnTo>
                <a:lnTo>
                  <a:pt x="1233" y="690"/>
                </a:lnTo>
                <a:lnTo>
                  <a:pt x="1241" y="700"/>
                </a:lnTo>
                <a:lnTo>
                  <a:pt x="1244" y="700"/>
                </a:lnTo>
                <a:lnTo>
                  <a:pt x="1241" y="702"/>
                </a:lnTo>
                <a:lnTo>
                  <a:pt x="1245" y="700"/>
                </a:lnTo>
                <a:lnTo>
                  <a:pt x="1260" y="700"/>
                </a:lnTo>
                <a:lnTo>
                  <a:pt x="1270" y="730"/>
                </a:lnTo>
                <a:lnTo>
                  <a:pt x="1268" y="734"/>
                </a:lnTo>
                <a:lnTo>
                  <a:pt x="1265" y="739"/>
                </a:lnTo>
                <a:lnTo>
                  <a:pt x="1270" y="736"/>
                </a:lnTo>
                <a:lnTo>
                  <a:pt x="1274" y="736"/>
                </a:lnTo>
                <a:lnTo>
                  <a:pt x="1269" y="739"/>
                </a:lnTo>
                <a:lnTo>
                  <a:pt x="1292" y="732"/>
                </a:lnTo>
                <a:lnTo>
                  <a:pt x="1324" y="740"/>
                </a:lnTo>
                <a:lnTo>
                  <a:pt x="1335" y="747"/>
                </a:lnTo>
                <a:lnTo>
                  <a:pt x="1340" y="754"/>
                </a:lnTo>
                <a:lnTo>
                  <a:pt x="1344" y="757"/>
                </a:lnTo>
                <a:lnTo>
                  <a:pt x="1368" y="766"/>
                </a:lnTo>
                <a:lnTo>
                  <a:pt x="1373" y="772"/>
                </a:lnTo>
                <a:lnTo>
                  <a:pt x="1376" y="772"/>
                </a:lnTo>
                <a:lnTo>
                  <a:pt x="1374" y="774"/>
                </a:lnTo>
                <a:lnTo>
                  <a:pt x="1377" y="771"/>
                </a:lnTo>
                <a:lnTo>
                  <a:pt x="1384" y="774"/>
                </a:lnTo>
                <a:lnTo>
                  <a:pt x="1393" y="771"/>
                </a:lnTo>
                <a:lnTo>
                  <a:pt x="1399" y="775"/>
                </a:lnTo>
                <a:lnTo>
                  <a:pt x="1396" y="771"/>
                </a:lnTo>
                <a:lnTo>
                  <a:pt x="1408" y="774"/>
                </a:lnTo>
                <a:lnTo>
                  <a:pt x="1416" y="777"/>
                </a:lnTo>
                <a:lnTo>
                  <a:pt x="1417" y="775"/>
                </a:lnTo>
                <a:lnTo>
                  <a:pt x="1419" y="782"/>
                </a:lnTo>
                <a:lnTo>
                  <a:pt x="1414" y="791"/>
                </a:lnTo>
                <a:lnTo>
                  <a:pt x="1414" y="795"/>
                </a:lnTo>
                <a:lnTo>
                  <a:pt x="1416" y="797"/>
                </a:lnTo>
                <a:lnTo>
                  <a:pt x="1418" y="802"/>
                </a:lnTo>
                <a:lnTo>
                  <a:pt x="1418" y="805"/>
                </a:lnTo>
                <a:lnTo>
                  <a:pt x="1418" y="813"/>
                </a:lnTo>
                <a:lnTo>
                  <a:pt x="1414" y="816"/>
                </a:lnTo>
                <a:lnTo>
                  <a:pt x="1414" y="817"/>
                </a:lnTo>
                <a:lnTo>
                  <a:pt x="1426" y="831"/>
                </a:lnTo>
                <a:lnTo>
                  <a:pt x="1426" y="832"/>
                </a:lnTo>
                <a:lnTo>
                  <a:pt x="1424" y="836"/>
                </a:lnTo>
                <a:lnTo>
                  <a:pt x="1429" y="834"/>
                </a:lnTo>
                <a:lnTo>
                  <a:pt x="1430" y="837"/>
                </a:lnTo>
                <a:lnTo>
                  <a:pt x="1437" y="839"/>
                </a:lnTo>
                <a:lnTo>
                  <a:pt x="1442" y="847"/>
                </a:lnTo>
                <a:lnTo>
                  <a:pt x="1445" y="853"/>
                </a:lnTo>
                <a:lnTo>
                  <a:pt x="1449" y="853"/>
                </a:lnTo>
                <a:lnTo>
                  <a:pt x="1455" y="857"/>
                </a:lnTo>
                <a:lnTo>
                  <a:pt x="1456" y="852"/>
                </a:lnTo>
                <a:lnTo>
                  <a:pt x="1461" y="849"/>
                </a:lnTo>
                <a:lnTo>
                  <a:pt x="1463" y="849"/>
                </a:lnTo>
                <a:lnTo>
                  <a:pt x="1461" y="853"/>
                </a:lnTo>
                <a:lnTo>
                  <a:pt x="1466" y="853"/>
                </a:lnTo>
                <a:lnTo>
                  <a:pt x="1466" y="849"/>
                </a:lnTo>
                <a:lnTo>
                  <a:pt x="1466" y="848"/>
                </a:lnTo>
                <a:lnTo>
                  <a:pt x="1461" y="843"/>
                </a:lnTo>
                <a:lnTo>
                  <a:pt x="1466" y="842"/>
                </a:lnTo>
                <a:lnTo>
                  <a:pt x="1466" y="840"/>
                </a:lnTo>
                <a:lnTo>
                  <a:pt x="1470" y="837"/>
                </a:lnTo>
                <a:lnTo>
                  <a:pt x="1470" y="828"/>
                </a:lnTo>
                <a:lnTo>
                  <a:pt x="1469" y="828"/>
                </a:lnTo>
                <a:lnTo>
                  <a:pt x="1470" y="828"/>
                </a:lnTo>
                <a:lnTo>
                  <a:pt x="1466" y="822"/>
                </a:lnTo>
                <a:lnTo>
                  <a:pt x="1466" y="822"/>
                </a:lnTo>
                <a:lnTo>
                  <a:pt x="1466" y="813"/>
                </a:lnTo>
                <a:lnTo>
                  <a:pt x="1463" y="812"/>
                </a:lnTo>
                <a:lnTo>
                  <a:pt x="1467" y="812"/>
                </a:lnTo>
                <a:lnTo>
                  <a:pt x="1462" y="806"/>
                </a:lnTo>
                <a:lnTo>
                  <a:pt x="1463" y="802"/>
                </a:lnTo>
                <a:lnTo>
                  <a:pt x="1467" y="802"/>
                </a:lnTo>
                <a:lnTo>
                  <a:pt x="1462" y="801"/>
                </a:lnTo>
                <a:lnTo>
                  <a:pt x="1462" y="800"/>
                </a:lnTo>
                <a:lnTo>
                  <a:pt x="1466" y="800"/>
                </a:lnTo>
                <a:lnTo>
                  <a:pt x="1462" y="797"/>
                </a:lnTo>
                <a:lnTo>
                  <a:pt x="1462" y="796"/>
                </a:lnTo>
                <a:lnTo>
                  <a:pt x="1461" y="796"/>
                </a:lnTo>
                <a:lnTo>
                  <a:pt x="1459" y="787"/>
                </a:lnTo>
                <a:lnTo>
                  <a:pt x="1455" y="785"/>
                </a:lnTo>
                <a:lnTo>
                  <a:pt x="1475" y="777"/>
                </a:lnTo>
                <a:lnTo>
                  <a:pt x="1482" y="771"/>
                </a:lnTo>
                <a:lnTo>
                  <a:pt x="1491" y="765"/>
                </a:lnTo>
                <a:lnTo>
                  <a:pt x="1498" y="757"/>
                </a:lnTo>
                <a:lnTo>
                  <a:pt x="1498" y="748"/>
                </a:lnTo>
                <a:lnTo>
                  <a:pt x="1498" y="734"/>
                </a:lnTo>
                <a:lnTo>
                  <a:pt x="1495" y="721"/>
                </a:lnTo>
                <a:lnTo>
                  <a:pt x="1488" y="710"/>
                </a:lnTo>
                <a:lnTo>
                  <a:pt x="1481" y="706"/>
                </a:lnTo>
                <a:lnTo>
                  <a:pt x="1474" y="702"/>
                </a:lnTo>
                <a:lnTo>
                  <a:pt x="1475" y="704"/>
                </a:lnTo>
                <a:lnTo>
                  <a:pt x="1472" y="702"/>
                </a:lnTo>
                <a:lnTo>
                  <a:pt x="1472" y="702"/>
                </a:lnTo>
                <a:lnTo>
                  <a:pt x="1474" y="700"/>
                </a:lnTo>
                <a:lnTo>
                  <a:pt x="1472" y="694"/>
                </a:lnTo>
                <a:lnTo>
                  <a:pt x="1475" y="695"/>
                </a:lnTo>
                <a:lnTo>
                  <a:pt x="1479" y="689"/>
                </a:lnTo>
                <a:lnTo>
                  <a:pt x="1485" y="684"/>
                </a:lnTo>
                <a:lnTo>
                  <a:pt x="1482" y="684"/>
                </a:lnTo>
                <a:lnTo>
                  <a:pt x="1482" y="681"/>
                </a:lnTo>
                <a:lnTo>
                  <a:pt x="1482" y="677"/>
                </a:lnTo>
                <a:lnTo>
                  <a:pt x="1489" y="681"/>
                </a:lnTo>
                <a:lnTo>
                  <a:pt x="1486" y="677"/>
                </a:lnTo>
                <a:lnTo>
                  <a:pt x="1489" y="676"/>
                </a:lnTo>
                <a:lnTo>
                  <a:pt x="1488" y="672"/>
                </a:lnTo>
                <a:lnTo>
                  <a:pt x="1497" y="668"/>
                </a:lnTo>
                <a:lnTo>
                  <a:pt x="1492" y="668"/>
                </a:lnTo>
                <a:lnTo>
                  <a:pt x="1489" y="672"/>
                </a:lnTo>
                <a:lnTo>
                  <a:pt x="1486" y="669"/>
                </a:lnTo>
                <a:lnTo>
                  <a:pt x="1488" y="666"/>
                </a:lnTo>
                <a:lnTo>
                  <a:pt x="1483" y="662"/>
                </a:lnTo>
                <a:lnTo>
                  <a:pt x="1488" y="660"/>
                </a:lnTo>
                <a:lnTo>
                  <a:pt x="1482" y="657"/>
                </a:lnTo>
                <a:lnTo>
                  <a:pt x="1486" y="656"/>
                </a:lnTo>
                <a:lnTo>
                  <a:pt x="1477" y="656"/>
                </a:lnTo>
                <a:lnTo>
                  <a:pt x="1485" y="644"/>
                </a:lnTo>
                <a:lnTo>
                  <a:pt x="1482" y="639"/>
                </a:lnTo>
                <a:lnTo>
                  <a:pt x="1486" y="638"/>
                </a:lnTo>
                <a:lnTo>
                  <a:pt x="1481" y="633"/>
                </a:lnTo>
                <a:lnTo>
                  <a:pt x="1477" y="622"/>
                </a:lnTo>
                <a:lnTo>
                  <a:pt x="1481" y="617"/>
                </a:lnTo>
                <a:lnTo>
                  <a:pt x="1486" y="616"/>
                </a:lnTo>
                <a:lnTo>
                  <a:pt x="1496" y="616"/>
                </a:lnTo>
                <a:lnTo>
                  <a:pt x="1514" y="620"/>
                </a:lnTo>
                <a:lnTo>
                  <a:pt x="1510" y="622"/>
                </a:lnTo>
                <a:lnTo>
                  <a:pt x="1519" y="619"/>
                </a:lnTo>
                <a:lnTo>
                  <a:pt x="1529" y="624"/>
                </a:lnTo>
                <a:lnTo>
                  <a:pt x="1526" y="622"/>
                </a:lnTo>
                <a:lnTo>
                  <a:pt x="1542" y="615"/>
                </a:lnTo>
                <a:lnTo>
                  <a:pt x="1553" y="624"/>
                </a:lnTo>
                <a:lnTo>
                  <a:pt x="1558" y="624"/>
                </a:lnTo>
                <a:lnTo>
                  <a:pt x="1558" y="626"/>
                </a:lnTo>
                <a:lnTo>
                  <a:pt x="1556" y="632"/>
                </a:lnTo>
                <a:lnTo>
                  <a:pt x="1558" y="632"/>
                </a:lnTo>
                <a:lnTo>
                  <a:pt x="1558" y="628"/>
                </a:lnTo>
                <a:lnTo>
                  <a:pt x="1562" y="628"/>
                </a:lnTo>
                <a:lnTo>
                  <a:pt x="1566" y="633"/>
                </a:lnTo>
                <a:lnTo>
                  <a:pt x="1562" y="637"/>
                </a:lnTo>
                <a:lnTo>
                  <a:pt x="1566" y="635"/>
                </a:lnTo>
                <a:lnTo>
                  <a:pt x="1566" y="633"/>
                </a:lnTo>
                <a:lnTo>
                  <a:pt x="1571" y="635"/>
                </a:lnTo>
                <a:lnTo>
                  <a:pt x="1574" y="638"/>
                </a:lnTo>
                <a:lnTo>
                  <a:pt x="1567" y="640"/>
                </a:lnTo>
                <a:lnTo>
                  <a:pt x="1571" y="640"/>
                </a:lnTo>
                <a:lnTo>
                  <a:pt x="1575" y="647"/>
                </a:lnTo>
                <a:lnTo>
                  <a:pt x="1588" y="648"/>
                </a:lnTo>
                <a:lnTo>
                  <a:pt x="1593" y="647"/>
                </a:lnTo>
                <a:lnTo>
                  <a:pt x="1594" y="651"/>
                </a:lnTo>
                <a:lnTo>
                  <a:pt x="1596" y="654"/>
                </a:lnTo>
                <a:lnTo>
                  <a:pt x="1600" y="652"/>
                </a:lnTo>
                <a:lnTo>
                  <a:pt x="1598" y="652"/>
                </a:lnTo>
                <a:lnTo>
                  <a:pt x="1598" y="648"/>
                </a:lnTo>
                <a:lnTo>
                  <a:pt x="1601" y="646"/>
                </a:lnTo>
                <a:lnTo>
                  <a:pt x="1604" y="653"/>
                </a:lnTo>
                <a:lnTo>
                  <a:pt x="1599" y="656"/>
                </a:lnTo>
                <a:lnTo>
                  <a:pt x="1600" y="658"/>
                </a:lnTo>
                <a:lnTo>
                  <a:pt x="1597" y="660"/>
                </a:lnTo>
                <a:lnTo>
                  <a:pt x="1598" y="662"/>
                </a:lnTo>
                <a:lnTo>
                  <a:pt x="1598" y="665"/>
                </a:lnTo>
                <a:lnTo>
                  <a:pt x="1598" y="665"/>
                </a:lnTo>
                <a:lnTo>
                  <a:pt x="1598" y="669"/>
                </a:lnTo>
                <a:lnTo>
                  <a:pt x="1587" y="672"/>
                </a:lnTo>
                <a:lnTo>
                  <a:pt x="1582" y="671"/>
                </a:lnTo>
                <a:lnTo>
                  <a:pt x="1586" y="676"/>
                </a:lnTo>
                <a:lnTo>
                  <a:pt x="1600" y="676"/>
                </a:lnTo>
                <a:lnTo>
                  <a:pt x="1601" y="675"/>
                </a:lnTo>
                <a:lnTo>
                  <a:pt x="1602" y="680"/>
                </a:lnTo>
                <a:lnTo>
                  <a:pt x="1600" y="684"/>
                </a:lnTo>
                <a:lnTo>
                  <a:pt x="1601" y="688"/>
                </a:lnTo>
                <a:lnTo>
                  <a:pt x="1604" y="688"/>
                </a:lnTo>
                <a:lnTo>
                  <a:pt x="1605" y="688"/>
                </a:lnTo>
                <a:lnTo>
                  <a:pt x="1607" y="692"/>
                </a:lnTo>
                <a:lnTo>
                  <a:pt x="1606" y="692"/>
                </a:lnTo>
                <a:lnTo>
                  <a:pt x="1606" y="696"/>
                </a:lnTo>
                <a:lnTo>
                  <a:pt x="1614" y="696"/>
                </a:lnTo>
                <a:lnTo>
                  <a:pt x="1620" y="699"/>
                </a:lnTo>
                <a:lnTo>
                  <a:pt x="1621" y="705"/>
                </a:lnTo>
                <a:lnTo>
                  <a:pt x="1625" y="702"/>
                </a:lnTo>
                <a:lnTo>
                  <a:pt x="1626" y="704"/>
                </a:lnTo>
                <a:lnTo>
                  <a:pt x="1626" y="705"/>
                </a:lnTo>
                <a:lnTo>
                  <a:pt x="1626" y="709"/>
                </a:lnTo>
                <a:lnTo>
                  <a:pt x="1623" y="713"/>
                </a:lnTo>
                <a:lnTo>
                  <a:pt x="1628" y="709"/>
                </a:lnTo>
                <a:lnTo>
                  <a:pt x="1630" y="710"/>
                </a:lnTo>
                <a:lnTo>
                  <a:pt x="1628" y="717"/>
                </a:lnTo>
                <a:lnTo>
                  <a:pt x="1631" y="710"/>
                </a:lnTo>
                <a:lnTo>
                  <a:pt x="1638" y="707"/>
                </a:lnTo>
                <a:lnTo>
                  <a:pt x="1640" y="704"/>
                </a:lnTo>
                <a:lnTo>
                  <a:pt x="1644" y="704"/>
                </a:lnTo>
                <a:lnTo>
                  <a:pt x="1645" y="700"/>
                </a:lnTo>
                <a:lnTo>
                  <a:pt x="1647" y="698"/>
                </a:lnTo>
                <a:lnTo>
                  <a:pt x="1655" y="702"/>
                </a:lnTo>
                <a:lnTo>
                  <a:pt x="1652" y="700"/>
                </a:lnTo>
                <a:lnTo>
                  <a:pt x="1653" y="700"/>
                </a:lnTo>
                <a:lnTo>
                  <a:pt x="1657" y="700"/>
                </a:lnTo>
                <a:lnTo>
                  <a:pt x="1653" y="698"/>
                </a:lnTo>
                <a:lnTo>
                  <a:pt x="1657" y="696"/>
                </a:lnTo>
                <a:lnTo>
                  <a:pt x="1664" y="696"/>
                </a:lnTo>
                <a:lnTo>
                  <a:pt x="1658" y="692"/>
                </a:lnTo>
                <a:lnTo>
                  <a:pt x="1656" y="687"/>
                </a:lnTo>
                <a:lnTo>
                  <a:pt x="1658" y="688"/>
                </a:lnTo>
                <a:lnTo>
                  <a:pt x="1658" y="684"/>
                </a:lnTo>
                <a:lnTo>
                  <a:pt x="1664" y="687"/>
                </a:lnTo>
                <a:lnTo>
                  <a:pt x="1660" y="683"/>
                </a:lnTo>
                <a:lnTo>
                  <a:pt x="1668" y="684"/>
                </a:lnTo>
                <a:lnTo>
                  <a:pt x="1661" y="683"/>
                </a:lnTo>
                <a:lnTo>
                  <a:pt x="1660" y="677"/>
                </a:lnTo>
                <a:lnTo>
                  <a:pt x="1664" y="673"/>
                </a:lnTo>
                <a:lnTo>
                  <a:pt x="1668" y="676"/>
                </a:lnTo>
                <a:lnTo>
                  <a:pt x="1665" y="673"/>
                </a:lnTo>
                <a:lnTo>
                  <a:pt x="1671" y="662"/>
                </a:lnTo>
                <a:lnTo>
                  <a:pt x="1676" y="666"/>
                </a:lnTo>
                <a:lnTo>
                  <a:pt x="1672" y="668"/>
                </a:lnTo>
                <a:lnTo>
                  <a:pt x="1676" y="668"/>
                </a:lnTo>
                <a:lnTo>
                  <a:pt x="1678" y="669"/>
                </a:lnTo>
                <a:lnTo>
                  <a:pt x="1675" y="669"/>
                </a:lnTo>
                <a:lnTo>
                  <a:pt x="1670" y="671"/>
                </a:lnTo>
                <a:lnTo>
                  <a:pt x="1675" y="669"/>
                </a:lnTo>
                <a:lnTo>
                  <a:pt x="1675" y="672"/>
                </a:lnTo>
                <a:lnTo>
                  <a:pt x="1679" y="672"/>
                </a:lnTo>
                <a:lnTo>
                  <a:pt x="1679" y="673"/>
                </a:lnTo>
                <a:lnTo>
                  <a:pt x="1679" y="674"/>
                </a:lnTo>
                <a:lnTo>
                  <a:pt x="1679" y="680"/>
                </a:lnTo>
                <a:lnTo>
                  <a:pt x="1681" y="680"/>
                </a:lnTo>
                <a:lnTo>
                  <a:pt x="1682" y="681"/>
                </a:lnTo>
                <a:lnTo>
                  <a:pt x="1687" y="683"/>
                </a:lnTo>
                <a:lnTo>
                  <a:pt x="1686" y="685"/>
                </a:lnTo>
                <a:lnTo>
                  <a:pt x="1684" y="687"/>
                </a:lnTo>
                <a:lnTo>
                  <a:pt x="1687" y="685"/>
                </a:lnTo>
                <a:lnTo>
                  <a:pt x="1693" y="690"/>
                </a:lnTo>
                <a:lnTo>
                  <a:pt x="1689" y="696"/>
                </a:lnTo>
                <a:lnTo>
                  <a:pt x="1693" y="696"/>
                </a:lnTo>
                <a:lnTo>
                  <a:pt x="1695" y="697"/>
                </a:lnTo>
                <a:lnTo>
                  <a:pt x="1698" y="695"/>
                </a:lnTo>
                <a:lnTo>
                  <a:pt x="1701" y="700"/>
                </a:lnTo>
                <a:lnTo>
                  <a:pt x="1689" y="711"/>
                </a:lnTo>
                <a:lnTo>
                  <a:pt x="1694" y="708"/>
                </a:lnTo>
                <a:lnTo>
                  <a:pt x="1703" y="708"/>
                </a:lnTo>
                <a:lnTo>
                  <a:pt x="1703" y="709"/>
                </a:lnTo>
                <a:lnTo>
                  <a:pt x="1701" y="712"/>
                </a:lnTo>
                <a:lnTo>
                  <a:pt x="1703" y="712"/>
                </a:lnTo>
                <a:lnTo>
                  <a:pt x="1704" y="712"/>
                </a:lnTo>
                <a:lnTo>
                  <a:pt x="1703" y="712"/>
                </a:lnTo>
                <a:lnTo>
                  <a:pt x="1703" y="713"/>
                </a:lnTo>
                <a:lnTo>
                  <a:pt x="1706" y="711"/>
                </a:lnTo>
                <a:lnTo>
                  <a:pt x="1708" y="715"/>
                </a:lnTo>
                <a:lnTo>
                  <a:pt x="1701" y="717"/>
                </a:lnTo>
                <a:lnTo>
                  <a:pt x="1710" y="715"/>
                </a:lnTo>
                <a:lnTo>
                  <a:pt x="1711" y="717"/>
                </a:lnTo>
                <a:lnTo>
                  <a:pt x="1711" y="718"/>
                </a:lnTo>
                <a:lnTo>
                  <a:pt x="1711" y="721"/>
                </a:lnTo>
                <a:lnTo>
                  <a:pt x="1710" y="719"/>
                </a:lnTo>
                <a:lnTo>
                  <a:pt x="1710" y="721"/>
                </a:lnTo>
                <a:lnTo>
                  <a:pt x="1713" y="723"/>
                </a:lnTo>
                <a:lnTo>
                  <a:pt x="1712" y="724"/>
                </a:lnTo>
                <a:lnTo>
                  <a:pt x="1708" y="728"/>
                </a:lnTo>
                <a:lnTo>
                  <a:pt x="1704" y="728"/>
                </a:lnTo>
                <a:lnTo>
                  <a:pt x="1707" y="732"/>
                </a:lnTo>
                <a:lnTo>
                  <a:pt x="1713" y="732"/>
                </a:lnTo>
                <a:lnTo>
                  <a:pt x="1715" y="732"/>
                </a:lnTo>
                <a:lnTo>
                  <a:pt x="1711" y="734"/>
                </a:lnTo>
                <a:lnTo>
                  <a:pt x="1719" y="734"/>
                </a:lnTo>
                <a:lnTo>
                  <a:pt x="1719" y="736"/>
                </a:lnTo>
                <a:lnTo>
                  <a:pt x="1719" y="739"/>
                </a:lnTo>
                <a:lnTo>
                  <a:pt x="1716" y="744"/>
                </a:lnTo>
                <a:lnTo>
                  <a:pt x="1715" y="744"/>
                </a:lnTo>
                <a:lnTo>
                  <a:pt x="1716" y="744"/>
                </a:lnTo>
                <a:lnTo>
                  <a:pt x="1715" y="744"/>
                </a:lnTo>
                <a:lnTo>
                  <a:pt x="1713" y="744"/>
                </a:lnTo>
                <a:lnTo>
                  <a:pt x="1711" y="744"/>
                </a:lnTo>
                <a:lnTo>
                  <a:pt x="1711" y="743"/>
                </a:lnTo>
                <a:lnTo>
                  <a:pt x="1707" y="742"/>
                </a:lnTo>
                <a:lnTo>
                  <a:pt x="1704" y="742"/>
                </a:lnTo>
                <a:lnTo>
                  <a:pt x="1711" y="747"/>
                </a:lnTo>
                <a:lnTo>
                  <a:pt x="1710" y="747"/>
                </a:lnTo>
                <a:lnTo>
                  <a:pt x="1711" y="748"/>
                </a:lnTo>
                <a:lnTo>
                  <a:pt x="1711" y="748"/>
                </a:lnTo>
                <a:lnTo>
                  <a:pt x="1712" y="748"/>
                </a:lnTo>
                <a:lnTo>
                  <a:pt x="1715" y="748"/>
                </a:lnTo>
                <a:lnTo>
                  <a:pt x="1715" y="752"/>
                </a:lnTo>
                <a:lnTo>
                  <a:pt x="1711" y="751"/>
                </a:lnTo>
                <a:lnTo>
                  <a:pt x="1711" y="756"/>
                </a:lnTo>
                <a:lnTo>
                  <a:pt x="1716" y="756"/>
                </a:lnTo>
                <a:lnTo>
                  <a:pt x="1720" y="756"/>
                </a:lnTo>
                <a:lnTo>
                  <a:pt x="1721" y="756"/>
                </a:lnTo>
                <a:lnTo>
                  <a:pt x="1723" y="756"/>
                </a:lnTo>
                <a:lnTo>
                  <a:pt x="1720" y="760"/>
                </a:lnTo>
                <a:lnTo>
                  <a:pt x="1724" y="760"/>
                </a:lnTo>
                <a:lnTo>
                  <a:pt x="1726" y="760"/>
                </a:lnTo>
                <a:lnTo>
                  <a:pt x="1727" y="760"/>
                </a:lnTo>
                <a:lnTo>
                  <a:pt x="1731" y="760"/>
                </a:lnTo>
                <a:lnTo>
                  <a:pt x="1729" y="763"/>
                </a:lnTo>
                <a:lnTo>
                  <a:pt x="1732" y="760"/>
                </a:lnTo>
                <a:lnTo>
                  <a:pt x="1731" y="766"/>
                </a:lnTo>
                <a:lnTo>
                  <a:pt x="1734" y="760"/>
                </a:lnTo>
                <a:lnTo>
                  <a:pt x="1738" y="764"/>
                </a:lnTo>
                <a:lnTo>
                  <a:pt x="1734" y="768"/>
                </a:lnTo>
                <a:lnTo>
                  <a:pt x="1737" y="768"/>
                </a:lnTo>
                <a:lnTo>
                  <a:pt x="1738" y="767"/>
                </a:lnTo>
                <a:lnTo>
                  <a:pt x="1739" y="768"/>
                </a:lnTo>
                <a:lnTo>
                  <a:pt x="1736" y="770"/>
                </a:lnTo>
                <a:lnTo>
                  <a:pt x="1735" y="771"/>
                </a:lnTo>
                <a:lnTo>
                  <a:pt x="1734" y="772"/>
                </a:lnTo>
                <a:lnTo>
                  <a:pt x="1735" y="771"/>
                </a:lnTo>
                <a:lnTo>
                  <a:pt x="1734" y="774"/>
                </a:lnTo>
                <a:lnTo>
                  <a:pt x="1734" y="773"/>
                </a:lnTo>
                <a:lnTo>
                  <a:pt x="1731" y="780"/>
                </a:lnTo>
                <a:lnTo>
                  <a:pt x="1738" y="776"/>
                </a:lnTo>
                <a:lnTo>
                  <a:pt x="1738" y="776"/>
                </a:lnTo>
                <a:lnTo>
                  <a:pt x="1743" y="771"/>
                </a:lnTo>
                <a:lnTo>
                  <a:pt x="1743" y="774"/>
                </a:lnTo>
                <a:lnTo>
                  <a:pt x="1741" y="776"/>
                </a:lnTo>
                <a:lnTo>
                  <a:pt x="1750" y="776"/>
                </a:lnTo>
                <a:lnTo>
                  <a:pt x="1741" y="783"/>
                </a:lnTo>
                <a:lnTo>
                  <a:pt x="1753" y="774"/>
                </a:lnTo>
                <a:lnTo>
                  <a:pt x="1750" y="779"/>
                </a:lnTo>
                <a:lnTo>
                  <a:pt x="1754" y="776"/>
                </a:lnTo>
                <a:lnTo>
                  <a:pt x="1755" y="776"/>
                </a:lnTo>
                <a:lnTo>
                  <a:pt x="1755" y="777"/>
                </a:lnTo>
                <a:lnTo>
                  <a:pt x="1757" y="779"/>
                </a:lnTo>
                <a:lnTo>
                  <a:pt x="1754" y="780"/>
                </a:lnTo>
                <a:lnTo>
                  <a:pt x="1756" y="782"/>
                </a:lnTo>
                <a:lnTo>
                  <a:pt x="1767" y="782"/>
                </a:lnTo>
                <a:lnTo>
                  <a:pt x="1765" y="782"/>
                </a:lnTo>
                <a:lnTo>
                  <a:pt x="1767" y="780"/>
                </a:lnTo>
                <a:lnTo>
                  <a:pt x="1767" y="784"/>
                </a:lnTo>
                <a:lnTo>
                  <a:pt x="1769" y="784"/>
                </a:lnTo>
                <a:lnTo>
                  <a:pt x="1772" y="783"/>
                </a:lnTo>
                <a:lnTo>
                  <a:pt x="1780" y="788"/>
                </a:lnTo>
                <a:lnTo>
                  <a:pt x="1779" y="792"/>
                </a:lnTo>
                <a:lnTo>
                  <a:pt x="1775" y="792"/>
                </a:lnTo>
                <a:lnTo>
                  <a:pt x="1779" y="792"/>
                </a:lnTo>
                <a:lnTo>
                  <a:pt x="1774" y="792"/>
                </a:lnTo>
                <a:lnTo>
                  <a:pt x="1768" y="792"/>
                </a:lnTo>
                <a:lnTo>
                  <a:pt x="1767" y="794"/>
                </a:lnTo>
                <a:lnTo>
                  <a:pt x="1764" y="795"/>
                </a:lnTo>
                <a:lnTo>
                  <a:pt x="1761" y="800"/>
                </a:lnTo>
                <a:lnTo>
                  <a:pt x="1762" y="799"/>
                </a:lnTo>
                <a:lnTo>
                  <a:pt x="1763" y="799"/>
                </a:lnTo>
                <a:lnTo>
                  <a:pt x="1763" y="796"/>
                </a:lnTo>
                <a:lnTo>
                  <a:pt x="1779" y="796"/>
                </a:lnTo>
                <a:lnTo>
                  <a:pt x="1783" y="802"/>
                </a:lnTo>
                <a:lnTo>
                  <a:pt x="1776" y="805"/>
                </a:lnTo>
                <a:lnTo>
                  <a:pt x="1779" y="808"/>
                </a:lnTo>
                <a:lnTo>
                  <a:pt x="1779" y="809"/>
                </a:lnTo>
                <a:lnTo>
                  <a:pt x="1784" y="804"/>
                </a:lnTo>
                <a:lnTo>
                  <a:pt x="1791" y="802"/>
                </a:lnTo>
                <a:lnTo>
                  <a:pt x="1791" y="808"/>
                </a:lnTo>
                <a:lnTo>
                  <a:pt x="1790" y="808"/>
                </a:lnTo>
                <a:lnTo>
                  <a:pt x="1799" y="812"/>
                </a:lnTo>
                <a:lnTo>
                  <a:pt x="1799" y="812"/>
                </a:lnTo>
                <a:lnTo>
                  <a:pt x="1799" y="816"/>
                </a:lnTo>
                <a:lnTo>
                  <a:pt x="1800" y="820"/>
                </a:lnTo>
                <a:lnTo>
                  <a:pt x="1797" y="820"/>
                </a:lnTo>
                <a:lnTo>
                  <a:pt x="1800" y="823"/>
                </a:lnTo>
                <a:lnTo>
                  <a:pt x="1802" y="823"/>
                </a:lnTo>
                <a:lnTo>
                  <a:pt x="1798" y="826"/>
                </a:lnTo>
                <a:lnTo>
                  <a:pt x="1802" y="828"/>
                </a:lnTo>
                <a:lnTo>
                  <a:pt x="1799" y="828"/>
                </a:lnTo>
                <a:lnTo>
                  <a:pt x="1797" y="828"/>
                </a:lnTo>
                <a:lnTo>
                  <a:pt x="1791" y="828"/>
                </a:lnTo>
                <a:lnTo>
                  <a:pt x="1803" y="831"/>
                </a:lnTo>
                <a:lnTo>
                  <a:pt x="1803" y="832"/>
                </a:lnTo>
                <a:lnTo>
                  <a:pt x="1802" y="832"/>
                </a:lnTo>
                <a:lnTo>
                  <a:pt x="1796" y="831"/>
                </a:lnTo>
                <a:lnTo>
                  <a:pt x="1803" y="834"/>
                </a:lnTo>
                <a:lnTo>
                  <a:pt x="1803" y="837"/>
                </a:lnTo>
                <a:lnTo>
                  <a:pt x="1785" y="853"/>
                </a:lnTo>
                <a:lnTo>
                  <a:pt x="1781" y="853"/>
                </a:lnTo>
                <a:lnTo>
                  <a:pt x="1774" y="853"/>
                </a:lnTo>
                <a:lnTo>
                  <a:pt x="1770" y="854"/>
                </a:lnTo>
                <a:lnTo>
                  <a:pt x="1759" y="855"/>
                </a:lnTo>
                <a:lnTo>
                  <a:pt x="1759" y="856"/>
                </a:lnTo>
                <a:lnTo>
                  <a:pt x="1755" y="860"/>
                </a:lnTo>
                <a:lnTo>
                  <a:pt x="1755" y="862"/>
                </a:lnTo>
                <a:lnTo>
                  <a:pt x="1751" y="863"/>
                </a:lnTo>
                <a:lnTo>
                  <a:pt x="1751" y="862"/>
                </a:lnTo>
                <a:lnTo>
                  <a:pt x="1745" y="869"/>
                </a:lnTo>
                <a:lnTo>
                  <a:pt x="1743" y="871"/>
                </a:lnTo>
                <a:lnTo>
                  <a:pt x="1743" y="872"/>
                </a:lnTo>
                <a:lnTo>
                  <a:pt x="1741" y="874"/>
                </a:lnTo>
                <a:lnTo>
                  <a:pt x="1723" y="875"/>
                </a:lnTo>
                <a:lnTo>
                  <a:pt x="1716" y="879"/>
                </a:lnTo>
                <a:lnTo>
                  <a:pt x="1719" y="877"/>
                </a:lnTo>
                <a:lnTo>
                  <a:pt x="1716" y="877"/>
                </a:lnTo>
                <a:lnTo>
                  <a:pt x="1715" y="875"/>
                </a:lnTo>
                <a:lnTo>
                  <a:pt x="1707" y="872"/>
                </a:lnTo>
                <a:lnTo>
                  <a:pt x="1694" y="874"/>
                </a:lnTo>
                <a:lnTo>
                  <a:pt x="1686" y="873"/>
                </a:lnTo>
                <a:lnTo>
                  <a:pt x="1665" y="873"/>
                </a:lnTo>
                <a:lnTo>
                  <a:pt x="1653" y="873"/>
                </a:lnTo>
                <a:lnTo>
                  <a:pt x="1652" y="875"/>
                </a:lnTo>
                <a:lnTo>
                  <a:pt x="1647" y="874"/>
                </a:lnTo>
                <a:lnTo>
                  <a:pt x="1638" y="882"/>
                </a:lnTo>
                <a:lnTo>
                  <a:pt x="1637" y="889"/>
                </a:lnTo>
                <a:lnTo>
                  <a:pt x="1633" y="892"/>
                </a:lnTo>
                <a:lnTo>
                  <a:pt x="1623" y="894"/>
                </a:lnTo>
                <a:lnTo>
                  <a:pt x="1621" y="895"/>
                </a:lnTo>
                <a:lnTo>
                  <a:pt x="1615" y="897"/>
                </a:lnTo>
                <a:lnTo>
                  <a:pt x="1608" y="901"/>
                </a:lnTo>
                <a:lnTo>
                  <a:pt x="1607" y="904"/>
                </a:lnTo>
                <a:lnTo>
                  <a:pt x="1600" y="915"/>
                </a:lnTo>
                <a:lnTo>
                  <a:pt x="1599" y="915"/>
                </a:lnTo>
                <a:lnTo>
                  <a:pt x="1595" y="921"/>
                </a:lnTo>
                <a:lnTo>
                  <a:pt x="1593" y="926"/>
                </a:lnTo>
                <a:lnTo>
                  <a:pt x="1588" y="928"/>
                </a:lnTo>
                <a:lnTo>
                  <a:pt x="1585" y="935"/>
                </a:lnTo>
                <a:lnTo>
                  <a:pt x="1578" y="941"/>
                </a:lnTo>
                <a:lnTo>
                  <a:pt x="1588" y="936"/>
                </a:lnTo>
                <a:lnTo>
                  <a:pt x="1604" y="917"/>
                </a:lnTo>
                <a:lnTo>
                  <a:pt x="1621" y="906"/>
                </a:lnTo>
                <a:lnTo>
                  <a:pt x="1651" y="897"/>
                </a:lnTo>
                <a:lnTo>
                  <a:pt x="1661" y="897"/>
                </a:lnTo>
                <a:lnTo>
                  <a:pt x="1672" y="896"/>
                </a:lnTo>
                <a:lnTo>
                  <a:pt x="1680" y="901"/>
                </a:lnTo>
                <a:lnTo>
                  <a:pt x="1681" y="904"/>
                </a:lnTo>
                <a:lnTo>
                  <a:pt x="1675" y="901"/>
                </a:lnTo>
                <a:lnTo>
                  <a:pt x="1681" y="905"/>
                </a:lnTo>
                <a:lnTo>
                  <a:pt x="1679" y="905"/>
                </a:lnTo>
                <a:lnTo>
                  <a:pt x="1679" y="908"/>
                </a:lnTo>
                <a:lnTo>
                  <a:pt x="1664" y="917"/>
                </a:lnTo>
                <a:lnTo>
                  <a:pt x="1655" y="913"/>
                </a:lnTo>
                <a:lnTo>
                  <a:pt x="1641" y="917"/>
                </a:lnTo>
                <a:lnTo>
                  <a:pt x="1648" y="917"/>
                </a:lnTo>
                <a:lnTo>
                  <a:pt x="1657" y="920"/>
                </a:lnTo>
                <a:lnTo>
                  <a:pt x="1659" y="924"/>
                </a:lnTo>
                <a:lnTo>
                  <a:pt x="1665" y="920"/>
                </a:lnTo>
                <a:lnTo>
                  <a:pt x="1672" y="920"/>
                </a:lnTo>
                <a:lnTo>
                  <a:pt x="1674" y="923"/>
                </a:lnTo>
                <a:lnTo>
                  <a:pt x="1671" y="924"/>
                </a:lnTo>
                <a:lnTo>
                  <a:pt x="1671" y="929"/>
                </a:lnTo>
                <a:lnTo>
                  <a:pt x="1664" y="937"/>
                </a:lnTo>
                <a:lnTo>
                  <a:pt x="1672" y="937"/>
                </a:lnTo>
                <a:lnTo>
                  <a:pt x="1671" y="941"/>
                </a:lnTo>
                <a:lnTo>
                  <a:pt x="1674" y="943"/>
                </a:lnTo>
                <a:lnTo>
                  <a:pt x="1676" y="951"/>
                </a:lnTo>
                <a:lnTo>
                  <a:pt x="1686" y="953"/>
                </a:lnTo>
                <a:lnTo>
                  <a:pt x="1681" y="955"/>
                </a:lnTo>
                <a:lnTo>
                  <a:pt x="1687" y="961"/>
                </a:lnTo>
                <a:lnTo>
                  <a:pt x="1689" y="961"/>
                </a:lnTo>
                <a:lnTo>
                  <a:pt x="1694" y="961"/>
                </a:lnTo>
                <a:lnTo>
                  <a:pt x="1701" y="961"/>
                </a:lnTo>
                <a:lnTo>
                  <a:pt x="1704" y="963"/>
                </a:lnTo>
                <a:lnTo>
                  <a:pt x="1711" y="958"/>
                </a:lnTo>
                <a:lnTo>
                  <a:pt x="1711" y="960"/>
                </a:lnTo>
                <a:lnTo>
                  <a:pt x="1717" y="961"/>
                </a:lnTo>
                <a:lnTo>
                  <a:pt x="1719" y="960"/>
                </a:lnTo>
                <a:lnTo>
                  <a:pt x="1719" y="954"/>
                </a:lnTo>
                <a:lnTo>
                  <a:pt x="1719" y="952"/>
                </a:lnTo>
                <a:lnTo>
                  <a:pt x="1723" y="952"/>
                </a:lnTo>
                <a:lnTo>
                  <a:pt x="1731" y="938"/>
                </a:lnTo>
                <a:lnTo>
                  <a:pt x="1736" y="940"/>
                </a:lnTo>
                <a:lnTo>
                  <a:pt x="1732" y="951"/>
                </a:lnTo>
                <a:lnTo>
                  <a:pt x="1735" y="949"/>
                </a:lnTo>
                <a:lnTo>
                  <a:pt x="1732" y="952"/>
                </a:lnTo>
                <a:lnTo>
                  <a:pt x="1724" y="955"/>
                </a:lnTo>
                <a:lnTo>
                  <a:pt x="1731" y="954"/>
                </a:lnTo>
                <a:lnTo>
                  <a:pt x="1731" y="954"/>
                </a:lnTo>
                <a:lnTo>
                  <a:pt x="1733" y="953"/>
                </a:lnTo>
                <a:lnTo>
                  <a:pt x="1737" y="949"/>
                </a:lnTo>
                <a:lnTo>
                  <a:pt x="1743" y="951"/>
                </a:lnTo>
                <a:lnTo>
                  <a:pt x="1743" y="952"/>
                </a:lnTo>
                <a:lnTo>
                  <a:pt x="1743" y="955"/>
                </a:lnTo>
                <a:lnTo>
                  <a:pt x="1738" y="958"/>
                </a:lnTo>
                <a:lnTo>
                  <a:pt x="1738" y="962"/>
                </a:lnTo>
                <a:lnTo>
                  <a:pt x="1734" y="965"/>
                </a:lnTo>
                <a:lnTo>
                  <a:pt x="1727" y="965"/>
                </a:lnTo>
                <a:lnTo>
                  <a:pt x="1724" y="965"/>
                </a:lnTo>
                <a:lnTo>
                  <a:pt x="1721" y="965"/>
                </a:lnTo>
                <a:lnTo>
                  <a:pt x="1723" y="967"/>
                </a:lnTo>
                <a:lnTo>
                  <a:pt x="1720" y="969"/>
                </a:lnTo>
                <a:lnTo>
                  <a:pt x="1727" y="969"/>
                </a:lnTo>
                <a:lnTo>
                  <a:pt x="1726" y="973"/>
                </a:lnTo>
                <a:lnTo>
                  <a:pt x="1723" y="973"/>
                </a:lnTo>
                <a:lnTo>
                  <a:pt x="1720" y="972"/>
                </a:lnTo>
                <a:lnTo>
                  <a:pt x="1705" y="975"/>
                </a:lnTo>
                <a:lnTo>
                  <a:pt x="1699" y="978"/>
                </a:lnTo>
                <a:lnTo>
                  <a:pt x="1695" y="977"/>
                </a:lnTo>
                <a:lnTo>
                  <a:pt x="1695" y="978"/>
                </a:lnTo>
                <a:lnTo>
                  <a:pt x="1694" y="977"/>
                </a:lnTo>
                <a:lnTo>
                  <a:pt x="1691" y="980"/>
                </a:lnTo>
                <a:lnTo>
                  <a:pt x="1687" y="978"/>
                </a:lnTo>
                <a:lnTo>
                  <a:pt x="1690" y="981"/>
                </a:lnTo>
                <a:lnTo>
                  <a:pt x="1688" y="983"/>
                </a:lnTo>
                <a:lnTo>
                  <a:pt x="1683" y="981"/>
                </a:lnTo>
                <a:lnTo>
                  <a:pt x="1683" y="978"/>
                </a:lnTo>
                <a:lnTo>
                  <a:pt x="1679" y="980"/>
                </a:lnTo>
                <a:lnTo>
                  <a:pt x="1679" y="981"/>
                </a:lnTo>
                <a:lnTo>
                  <a:pt x="1679" y="982"/>
                </a:lnTo>
                <a:lnTo>
                  <a:pt x="1679" y="983"/>
                </a:lnTo>
                <a:lnTo>
                  <a:pt x="1680" y="986"/>
                </a:lnTo>
                <a:lnTo>
                  <a:pt x="1675" y="989"/>
                </a:lnTo>
                <a:lnTo>
                  <a:pt x="1674" y="993"/>
                </a:lnTo>
                <a:lnTo>
                  <a:pt x="1672" y="993"/>
                </a:lnTo>
                <a:lnTo>
                  <a:pt x="1668" y="997"/>
                </a:lnTo>
                <a:lnTo>
                  <a:pt x="1664" y="997"/>
                </a:lnTo>
                <a:lnTo>
                  <a:pt x="1661" y="1002"/>
                </a:lnTo>
                <a:lnTo>
                  <a:pt x="1660" y="1001"/>
                </a:lnTo>
                <a:lnTo>
                  <a:pt x="1657" y="1001"/>
                </a:lnTo>
                <a:lnTo>
                  <a:pt x="1655" y="995"/>
                </a:lnTo>
                <a:lnTo>
                  <a:pt x="1652" y="996"/>
                </a:lnTo>
                <a:lnTo>
                  <a:pt x="1650" y="993"/>
                </a:lnTo>
                <a:lnTo>
                  <a:pt x="1650" y="989"/>
                </a:lnTo>
                <a:lnTo>
                  <a:pt x="1651" y="985"/>
                </a:lnTo>
                <a:lnTo>
                  <a:pt x="1655" y="981"/>
                </a:lnTo>
                <a:lnTo>
                  <a:pt x="1658" y="981"/>
                </a:lnTo>
                <a:lnTo>
                  <a:pt x="1658" y="977"/>
                </a:lnTo>
                <a:lnTo>
                  <a:pt x="1675" y="966"/>
                </a:lnTo>
                <a:lnTo>
                  <a:pt x="1675" y="973"/>
                </a:lnTo>
                <a:lnTo>
                  <a:pt x="1680" y="973"/>
                </a:lnTo>
                <a:lnTo>
                  <a:pt x="1679" y="973"/>
                </a:lnTo>
                <a:lnTo>
                  <a:pt x="1679" y="969"/>
                </a:lnTo>
                <a:lnTo>
                  <a:pt x="1692" y="966"/>
                </a:lnTo>
                <a:lnTo>
                  <a:pt x="1675" y="965"/>
                </a:lnTo>
                <a:lnTo>
                  <a:pt x="1671" y="966"/>
                </a:lnTo>
                <a:lnTo>
                  <a:pt x="1671" y="965"/>
                </a:lnTo>
                <a:lnTo>
                  <a:pt x="1671" y="965"/>
                </a:lnTo>
                <a:lnTo>
                  <a:pt x="1655" y="971"/>
                </a:lnTo>
                <a:lnTo>
                  <a:pt x="1652" y="966"/>
                </a:lnTo>
                <a:lnTo>
                  <a:pt x="1653" y="963"/>
                </a:lnTo>
                <a:lnTo>
                  <a:pt x="1651" y="966"/>
                </a:lnTo>
                <a:lnTo>
                  <a:pt x="1652" y="969"/>
                </a:lnTo>
                <a:lnTo>
                  <a:pt x="1647" y="972"/>
                </a:lnTo>
                <a:lnTo>
                  <a:pt x="1645" y="971"/>
                </a:lnTo>
                <a:lnTo>
                  <a:pt x="1641" y="973"/>
                </a:lnTo>
                <a:lnTo>
                  <a:pt x="1640" y="973"/>
                </a:lnTo>
                <a:lnTo>
                  <a:pt x="1639" y="973"/>
                </a:lnTo>
                <a:lnTo>
                  <a:pt x="1643" y="976"/>
                </a:lnTo>
                <a:lnTo>
                  <a:pt x="1639" y="977"/>
                </a:lnTo>
                <a:lnTo>
                  <a:pt x="1641" y="977"/>
                </a:lnTo>
                <a:lnTo>
                  <a:pt x="1641" y="979"/>
                </a:lnTo>
                <a:lnTo>
                  <a:pt x="1639" y="981"/>
                </a:lnTo>
                <a:lnTo>
                  <a:pt x="1630" y="981"/>
                </a:lnTo>
                <a:lnTo>
                  <a:pt x="1630" y="985"/>
                </a:lnTo>
                <a:lnTo>
                  <a:pt x="1631" y="985"/>
                </a:lnTo>
                <a:lnTo>
                  <a:pt x="1622" y="985"/>
                </a:lnTo>
                <a:lnTo>
                  <a:pt x="1623" y="989"/>
                </a:lnTo>
                <a:lnTo>
                  <a:pt x="1618" y="989"/>
                </a:lnTo>
                <a:lnTo>
                  <a:pt x="1618" y="989"/>
                </a:lnTo>
                <a:lnTo>
                  <a:pt x="1617" y="989"/>
                </a:lnTo>
                <a:lnTo>
                  <a:pt x="1614" y="988"/>
                </a:lnTo>
                <a:lnTo>
                  <a:pt x="1617" y="982"/>
                </a:lnTo>
                <a:lnTo>
                  <a:pt x="1613" y="983"/>
                </a:lnTo>
                <a:lnTo>
                  <a:pt x="1611" y="989"/>
                </a:lnTo>
                <a:lnTo>
                  <a:pt x="1607" y="992"/>
                </a:lnTo>
                <a:lnTo>
                  <a:pt x="1605" y="989"/>
                </a:lnTo>
                <a:lnTo>
                  <a:pt x="1602" y="993"/>
                </a:lnTo>
                <a:lnTo>
                  <a:pt x="1602" y="989"/>
                </a:lnTo>
                <a:lnTo>
                  <a:pt x="1598" y="992"/>
                </a:lnTo>
                <a:lnTo>
                  <a:pt x="1598" y="997"/>
                </a:lnTo>
                <a:lnTo>
                  <a:pt x="1598" y="993"/>
                </a:lnTo>
                <a:lnTo>
                  <a:pt x="1596" y="995"/>
                </a:lnTo>
                <a:lnTo>
                  <a:pt x="1595" y="998"/>
                </a:lnTo>
                <a:lnTo>
                  <a:pt x="1596" y="999"/>
                </a:lnTo>
                <a:lnTo>
                  <a:pt x="1591" y="1003"/>
                </a:lnTo>
                <a:lnTo>
                  <a:pt x="1589" y="1008"/>
                </a:lnTo>
                <a:lnTo>
                  <a:pt x="1587" y="1007"/>
                </a:lnTo>
                <a:lnTo>
                  <a:pt x="1585" y="1015"/>
                </a:lnTo>
                <a:lnTo>
                  <a:pt x="1589" y="1016"/>
                </a:lnTo>
                <a:lnTo>
                  <a:pt x="1585" y="1018"/>
                </a:lnTo>
                <a:lnTo>
                  <a:pt x="1583" y="1020"/>
                </a:lnTo>
                <a:lnTo>
                  <a:pt x="1586" y="1022"/>
                </a:lnTo>
                <a:lnTo>
                  <a:pt x="1586" y="1027"/>
                </a:lnTo>
                <a:lnTo>
                  <a:pt x="1590" y="1030"/>
                </a:lnTo>
                <a:lnTo>
                  <a:pt x="1590" y="1031"/>
                </a:lnTo>
                <a:lnTo>
                  <a:pt x="1594" y="1033"/>
                </a:lnTo>
                <a:lnTo>
                  <a:pt x="1598" y="1031"/>
                </a:lnTo>
                <a:lnTo>
                  <a:pt x="1598" y="1033"/>
                </a:lnTo>
                <a:lnTo>
                  <a:pt x="1590" y="1035"/>
                </a:lnTo>
                <a:lnTo>
                  <a:pt x="1586" y="1036"/>
                </a:lnTo>
                <a:lnTo>
                  <a:pt x="1586" y="1034"/>
                </a:lnTo>
                <a:lnTo>
                  <a:pt x="1578" y="1038"/>
                </a:lnTo>
                <a:lnTo>
                  <a:pt x="1578" y="1037"/>
                </a:lnTo>
                <a:lnTo>
                  <a:pt x="1578" y="1035"/>
                </a:lnTo>
                <a:lnTo>
                  <a:pt x="1579" y="1034"/>
                </a:lnTo>
                <a:lnTo>
                  <a:pt x="1578" y="1031"/>
                </a:lnTo>
                <a:lnTo>
                  <a:pt x="1577" y="1038"/>
                </a:lnTo>
                <a:lnTo>
                  <a:pt x="1556" y="1041"/>
                </a:lnTo>
                <a:lnTo>
                  <a:pt x="1546" y="1046"/>
                </a:lnTo>
                <a:lnTo>
                  <a:pt x="1542" y="1048"/>
                </a:lnTo>
                <a:lnTo>
                  <a:pt x="1546" y="1047"/>
                </a:lnTo>
                <a:lnTo>
                  <a:pt x="1561" y="1046"/>
                </a:lnTo>
                <a:lnTo>
                  <a:pt x="1565" y="1042"/>
                </a:lnTo>
                <a:lnTo>
                  <a:pt x="1561" y="1047"/>
                </a:lnTo>
                <a:lnTo>
                  <a:pt x="1572" y="1044"/>
                </a:lnTo>
                <a:lnTo>
                  <a:pt x="1558" y="1049"/>
                </a:lnTo>
                <a:lnTo>
                  <a:pt x="1545" y="1053"/>
                </a:lnTo>
                <a:lnTo>
                  <a:pt x="1544" y="1053"/>
                </a:lnTo>
                <a:lnTo>
                  <a:pt x="1541" y="1053"/>
                </a:lnTo>
                <a:lnTo>
                  <a:pt x="1540" y="1053"/>
                </a:lnTo>
                <a:lnTo>
                  <a:pt x="1540" y="1050"/>
                </a:lnTo>
                <a:lnTo>
                  <a:pt x="1539" y="1050"/>
                </a:lnTo>
                <a:lnTo>
                  <a:pt x="1542" y="1044"/>
                </a:lnTo>
                <a:lnTo>
                  <a:pt x="1538" y="1038"/>
                </a:lnTo>
                <a:lnTo>
                  <a:pt x="1538" y="1046"/>
                </a:lnTo>
                <a:lnTo>
                  <a:pt x="1537" y="1054"/>
                </a:lnTo>
                <a:lnTo>
                  <a:pt x="1537" y="1054"/>
                </a:lnTo>
                <a:lnTo>
                  <a:pt x="1537" y="1054"/>
                </a:lnTo>
                <a:lnTo>
                  <a:pt x="1537" y="1057"/>
                </a:lnTo>
                <a:lnTo>
                  <a:pt x="1540" y="1057"/>
                </a:lnTo>
                <a:lnTo>
                  <a:pt x="1540" y="1059"/>
                </a:lnTo>
                <a:lnTo>
                  <a:pt x="1538" y="1068"/>
                </a:lnTo>
                <a:lnTo>
                  <a:pt x="1538" y="1062"/>
                </a:lnTo>
                <a:lnTo>
                  <a:pt x="1538" y="1069"/>
                </a:lnTo>
                <a:lnTo>
                  <a:pt x="1535" y="1072"/>
                </a:lnTo>
                <a:lnTo>
                  <a:pt x="1534" y="1073"/>
                </a:lnTo>
                <a:lnTo>
                  <a:pt x="1533" y="1073"/>
                </a:lnTo>
                <a:lnTo>
                  <a:pt x="1534" y="1073"/>
                </a:lnTo>
                <a:lnTo>
                  <a:pt x="1533" y="1074"/>
                </a:lnTo>
                <a:lnTo>
                  <a:pt x="1530" y="1077"/>
                </a:lnTo>
                <a:lnTo>
                  <a:pt x="1532" y="1077"/>
                </a:lnTo>
                <a:lnTo>
                  <a:pt x="1530" y="1080"/>
                </a:lnTo>
                <a:lnTo>
                  <a:pt x="1526" y="1081"/>
                </a:lnTo>
                <a:lnTo>
                  <a:pt x="1526" y="1077"/>
                </a:lnTo>
                <a:lnTo>
                  <a:pt x="1518" y="1074"/>
                </a:lnTo>
                <a:lnTo>
                  <a:pt x="1517" y="1070"/>
                </a:lnTo>
                <a:lnTo>
                  <a:pt x="1524" y="1062"/>
                </a:lnTo>
                <a:lnTo>
                  <a:pt x="1514" y="1069"/>
                </a:lnTo>
                <a:lnTo>
                  <a:pt x="1514" y="1070"/>
                </a:lnTo>
                <a:lnTo>
                  <a:pt x="1514" y="1072"/>
                </a:lnTo>
                <a:lnTo>
                  <a:pt x="1522" y="1085"/>
                </a:lnTo>
                <a:lnTo>
                  <a:pt x="1520" y="1087"/>
                </a:lnTo>
                <a:lnTo>
                  <a:pt x="1522" y="1088"/>
                </a:lnTo>
                <a:lnTo>
                  <a:pt x="1522" y="1092"/>
                </a:lnTo>
                <a:lnTo>
                  <a:pt x="1519" y="1098"/>
                </a:lnTo>
                <a:lnTo>
                  <a:pt x="1518" y="1105"/>
                </a:lnTo>
                <a:lnTo>
                  <a:pt x="1516" y="1108"/>
                </a:lnTo>
                <a:lnTo>
                  <a:pt x="1510" y="1115"/>
                </a:lnTo>
                <a:lnTo>
                  <a:pt x="1510" y="1111"/>
                </a:lnTo>
                <a:lnTo>
                  <a:pt x="1511" y="1105"/>
                </a:lnTo>
                <a:lnTo>
                  <a:pt x="1513" y="1102"/>
                </a:lnTo>
                <a:lnTo>
                  <a:pt x="1514" y="1093"/>
                </a:lnTo>
                <a:lnTo>
                  <a:pt x="1511" y="1094"/>
                </a:lnTo>
                <a:lnTo>
                  <a:pt x="1507" y="1093"/>
                </a:lnTo>
                <a:lnTo>
                  <a:pt x="1506" y="1092"/>
                </a:lnTo>
                <a:lnTo>
                  <a:pt x="1510" y="1089"/>
                </a:lnTo>
                <a:lnTo>
                  <a:pt x="1510" y="1089"/>
                </a:lnTo>
                <a:lnTo>
                  <a:pt x="1508" y="1089"/>
                </a:lnTo>
                <a:lnTo>
                  <a:pt x="1507" y="1089"/>
                </a:lnTo>
                <a:lnTo>
                  <a:pt x="1506" y="1089"/>
                </a:lnTo>
                <a:lnTo>
                  <a:pt x="1507" y="1085"/>
                </a:lnTo>
                <a:lnTo>
                  <a:pt x="1510" y="1085"/>
                </a:lnTo>
                <a:lnTo>
                  <a:pt x="1507" y="1082"/>
                </a:lnTo>
                <a:lnTo>
                  <a:pt x="1507" y="1081"/>
                </a:lnTo>
                <a:lnTo>
                  <a:pt x="1507" y="1081"/>
                </a:lnTo>
                <a:lnTo>
                  <a:pt x="1506" y="1081"/>
                </a:lnTo>
                <a:lnTo>
                  <a:pt x="1506" y="1081"/>
                </a:lnTo>
                <a:lnTo>
                  <a:pt x="1506" y="1081"/>
                </a:lnTo>
                <a:lnTo>
                  <a:pt x="1506" y="1081"/>
                </a:lnTo>
                <a:lnTo>
                  <a:pt x="1506" y="1080"/>
                </a:lnTo>
                <a:lnTo>
                  <a:pt x="1506" y="1077"/>
                </a:lnTo>
                <a:lnTo>
                  <a:pt x="1510" y="1076"/>
                </a:lnTo>
                <a:lnTo>
                  <a:pt x="1511" y="1075"/>
                </a:lnTo>
                <a:lnTo>
                  <a:pt x="1514" y="1073"/>
                </a:lnTo>
                <a:lnTo>
                  <a:pt x="1510" y="1073"/>
                </a:lnTo>
                <a:lnTo>
                  <a:pt x="1511" y="1073"/>
                </a:lnTo>
                <a:lnTo>
                  <a:pt x="1506" y="1074"/>
                </a:lnTo>
                <a:lnTo>
                  <a:pt x="1506" y="1072"/>
                </a:lnTo>
                <a:lnTo>
                  <a:pt x="1504" y="1074"/>
                </a:lnTo>
                <a:lnTo>
                  <a:pt x="1502" y="1076"/>
                </a:lnTo>
                <a:lnTo>
                  <a:pt x="1502" y="1077"/>
                </a:lnTo>
                <a:lnTo>
                  <a:pt x="1500" y="1076"/>
                </a:lnTo>
                <a:lnTo>
                  <a:pt x="1506" y="1080"/>
                </a:lnTo>
                <a:lnTo>
                  <a:pt x="1503" y="1085"/>
                </a:lnTo>
                <a:lnTo>
                  <a:pt x="1506" y="1093"/>
                </a:lnTo>
                <a:lnTo>
                  <a:pt x="1501" y="1092"/>
                </a:lnTo>
                <a:lnTo>
                  <a:pt x="1506" y="1094"/>
                </a:lnTo>
                <a:lnTo>
                  <a:pt x="1506" y="1098"/>
                </a:lnTo>
                <a:lnTo>
                  <a:pt x="1503" y="1094"/>
                </a:lnTo>
                <a:lnTo>
                  <a:pt x="1499" y="1094"/>
                </a:lnTo>
                <a:lnTo>
                  <a:pt x="1497" y="1094"/>
                </a:lnTo>
                <a:lnTo>
                  <a:pt x="1495" y="1094"/>
                </a:lnTo>
                <a:lnTo>
                  <a:pt x="1499" y="1098"/>
                </a:lnTo>
                <a:lnTo>
                  <a:pt x="1503" y="1098"/>
                </a:lnTo>
                <a:lnTo>
                  <a:pt x="1507" y="1102"/>
                </a:lnTo>
                <a:lnTo>
                  <a:pt x="1506" y="1105"/>
                </a:lnTo>
                <a:lnTo>
                  <a:pt x="1500" y="1100"/>
                </a:lnTo>
                <a:lnTo>
                  <a:pt x="1503" y="1106"/>
                </a:lnTo>
                <a:lnTo>
                  <a:pt x="1506" y="1106"/>
                </a:lnTo>
                <a:lnTo>
                  <a:pt x="1507" y="1110"/>
                </a:lnTo>
                <a:lnTo>
                  <a:pt x="1506" y="1110"/>
                </a:lnTo>
                <a:lnTo>
                  <a:pt x="1506" y="1111"/>
                </a:lnTo>
                <a:lnTo>
                  <a:pt x="1501" y="1109"/>
                </a:lnTo>
                <a:lnTo>
                  <a:pt x="1507" y="1115"/>
                </a:lnTo>
                <a:lnTo>
                  <a:pt x="1506" y="1117"/>
                </a:lnTo>
                <a:lnTo>
                  <a:pt x="1502" y="1112"/>
                </a:lnTo>
                <a:lnTo>
                  <a:pt x="1494" y="1111"/>
                </a:lnTo>
                <a:lnTo>
                  <a:pt x="1502" y="1115"/>
                </a:lnTo>
                <a:lnTo>
                  <a:pt x="1505" y="1117"/>
                </a:lnTo>
                <a:lnTo>
                  <a:pt x="1506" y="1119"/>
                </a:lnTo>
                <a:lnTo>
                  <a:pt x="1506" y="1118"/>
                </a:lnTo>
                <a:lnTo>
                  <a:pt x="1511" y="1118"/>
                </a:lnTo>
                <a:lnTo>
                  <a:pt x="1513" y="1121"/>
                </a:lnTo>
                <a:lnTo>
                  <a:pt x="1511" y="1123"/>
                </a:lnTo>
                <a:lnTo>
                  <a:pt x="1514" y="1132"/>
                </a:lnTo>
                <a:lnTo>
                  <a:pt x="1511" y="1127"/>
                </a:lnTo>
                <a:lnTo>
                  <a:pt x="1513" y="1131"/>
                </a:lnTo>
                <a:lnTo>
                  <a:pt x="1507" y="1127"/>
                </a:lnTo>
                <a:lnTo>
                  <a:pt x="1511" y="1131"/>
                </a:lnTo>
                <a:lnTo>
                  <a:pt x="1507" y="1132"/>
                </a:lnTo>
                <a:lnTo>
                  <a:pt x="1506" y="1131"/>
                </a:lnTo>
                <a:lnTo>
                  <a:pt x="1504" y="1134"/>
                </a:lnTo>
                <a:lnTo>
                  <a:pt x="1499" y="1132"/>
                </a:lnTo>
                <a:lnTo>
                  <a:pt x="1500" y="1134"/>
                </a:lnTo>
                <a:lnTo>
                  <a:pt x="1506" y="1134"/>
                </a:lnTo>
                <a:lnTo>
                  <a:pt x="1507" y="1134"/>
                </a:lnTo>
                <a:lnTo>
                  <a:pt x="1510" y="1134"/>
                </a:lnTo>
                <a:lnTo>
                  <a:pt x="1510" y="1135"/>
                </a:lnTo>
                <a:lnTo>
                  <a:pt x="1513" y="1134"/>
                </a:lnTo>
                <a:lnTo>
                  <a:pt x="1517" y="1138"/>
                </a:lnTo>
                <a:lnTo>
                  <a:pt x="1514" y="1140"/>
                </a:lnTo>
                <a:lnTo>
                  <a:pt x="1511" y="1144"/>
                </a:lnTo>
                <a:lnTo>
                  <a:pt x="1510" y="1146"/>
                </a:lnTo>
                <a:lnTo>
                  <a:pt x="1506" y="1146"/>
                </a:lnTo>
                <a:lnTo>
                  <a:pt x="1505" y="1145"/>
                </a:lnTo>
                <a:lnTo>
                  <a:pt x="1502" y="1147"/>
                </a:lnTo>
                <a:lnTo>
                  <a:pt x="1503" y="1149"/>
                </a:lnTo>
                <a:lnTo>
                  <a:pt x="1502" y="1149"/>
                </a:lnTo>
                <a:lnTo>
                  <a:pt x="1502" y="1151"/>
                </a:lnTo>
                <a:lnTo>
                  <a:pt x="1506" y="1150"/>
                </a:lnTo>
                <a:lnTo>
                  <a:pt x="1507" y="1150"/>
                </a:lnTo>
                <a:lnTo>
                  <a:pt x="1506" y="1153"/>
                </a:lnTo>
                <a:lnTo>
                  <a:pt x="1503" y="1158"/>
                </a:lnTo>
                <a:lnTo>
                  <a:pt x="1498" y="1158"/>
                </a:lnTo>
                <a:lnTo>
                  <a:pt x="1498" y="1154"/>
                </a:lnTo>
                <a:lnTo>
                  <a:pt x="1493" y="1155"/>
                </a:lnTo>
                <a:lnTo>
                  <a:pt x="1492" y="1157"/>
                </a:lnTo>
                <a:lnTo>
                  <a:pt x="1491" y="1155"/>
                </a:lnTo>
                <a:lnTo>
                  <a:pt x="1492" y="1158"/>
                </a:lnTo>
                <a:lnTo>
                  <a:pt x="1487" y="1161"/>
                </a:lnTo>
                <a:lnTo>
                  <a:pt x="1484" y="1169"/>
                </a:lnTo>
                <a:lnTo>
                  <a:pt x="1482" y="1165"/>
                </a:lnTo>
                <a:lnTo>
                  <a:pt x="1482" y="1170"/>
                </a:lnTo>
                <a:lnTo>
                  <a:pt x="1474" y="1170"/>
                </a:lnTo>
                <a:lnTo>
                  <a:pt x="1469" y="1172"/>
                </a:lnTo>
                <a:lnTo>
                  <a:pt x="1466" y="1181"/>
                </a:lnTo>
                <a:lnTo>
                  <a:pt x="1463" y="1178"/>
                </a:lnTo>
                <a:lnTo>
                  <a:pt x="1466" y="1183"/>
                </a:lnTo>
                <a:lnTo>
                  <a:pt x="1462" y="1186"/>
                </a:lnTo>
                <a:lnTo>
                  <a:pt x="1461" y="1186"/>
                </a:lnTo>
                <a:lnTo>
                  <a:pt x="1455" y="1189"/>
                </a:lnTo>
                <a:lnTo>
                  <a:pt x="1455" y="1189"/>
                </a:lnTo>
                <a:lnTo>
                  <a:pt x="1449" y="1193"/>
                </a:lnTo>
                <a:lnTo>
                  <a:pt x="1444" y="1192"/>
                </a:lnTo>
                <a:lnTo>
                  <a:pt x="1446" y="1193"/>
                </a:lnTo>
                <a:lnTo>
                  <a:pt x="1446" y="1195"/>
                </a:lnTo>
                <a:lnTo>
                  <a:pt x="1443" y="1196"/>
                </a:lnTo>
                <a:lnTo>
                  <a:pt x="1443" y="1196"/>
                </a:lnTo>
                <a:lnTo>
                  <a:pt x="1438" y="1197"/>
                </a:lnTo>
                <a:lnTo>
                  <a:pt x="1438" y="1199"/>
                </a:lnTo>
                <a:lnTo>
                  <a:pt x="1438" y="1200"/>
                </a:lnTo>
                <a:lnTo>
                  <a:pt x="1438" y="1205"/>
                </a:lnTo>
                <a:lnTo>
                  <a:pt x="1436" y="1210"/>
                </a:lnTo>
                <a:lnTo>
                  <a:pt x="1436" y="1210"/>
                </a:lnTo>
                <a:lnTo>
                  <a:pt x="1435" y="1212"/>
                </a:lnTo>
                <a:lnTo>
                  <a:pt x="1432" y="1215"/>
                </a:lnTo>
                <a:lnTo>
                  <a:pt x="1433" y="1216"/>
                </a:lnTo>
                <a:lnTo>
                  <a:pt x="1432" y="1219"/>
                </a:lnTo>
                <a:lnTo>
                  <a:pt x="1433" y="1218"/>
                </a:lnTo>
                <a:lnTo>
                  <a:pt x="1433" y="1218"/>
                </a:lnTo>
                <a:lnTo>
                  <a:pt x="1434" y="1218"/>
                </a:lnTo>
                <a:lnTo>
                  <a:pt x="1434" y="1220"/>
                </a:lnTo>
                <a:lnTo>
                  <a:pt x="1434" y="1220"/>
                </a:lnTo>
                <a:lnTo>
                  <a:pt x="1436" y="1237"/>
                </a:lnTo>
                <a:lnTo>
                  <a:pt x="1440" y="1247"/>
                </a:lnTo>
                <a:lnTo>
                  <a:pt x="1447" y="1257"/>
                </a:lnTo>
                <a:lnTo>
                  <a:pt x="1445" y="1262"/>
                </a:lnTo>
                <a:lnTo>
                  <a:pt x="1444" y="1261"/>
                </a:lnTo>
                <a:lnTo>
                  <a:pt x="1452" y="1284"/>
                </a:lnTo>
                <a:lnTo>
                  <a:pt x="1450" y="1299"/>
                </a:lnTo>
                <a:lnTo>
                  <a:pt x="1449" y="1304"/>
                </a:lnTo>
                <a:lnTo>
                  <a:pt x="1448" y="1309"/>
                </a:lnTo>
                <a:lnTo>
                  <a:pt x="1449" y="1307"/>
                </a:lnTo>
                <a:lnTo>
                  <a:pt x="1447" y="1311"/>
                </a:lnTo>
                <a:lnTo>
                  <a:pt x="1447" y="1311"/>
                </a:lnTo>
                <a:lnTo>
                  <a:pt x="1448" y="1309"/>
                </a:lnTo>
                <a:lnTo>
                  <a:pt x="1447" y="1310"/>
                </a:lnTo>
                <a:lnTo>
                  <a:pt x="1447" y="1310"/>
                </a:lnTo>
                <a:lnTo>
                  <a:pt x="1446" y="1310"/>
                </a:lnTo>
                <a:lnTo>
                  <a:pt x="1439" y="1310"/>
                </a:lnTo>
                <a:lnTo>
                  <a:pt x="1439" y="1310"/>
                </a:lnTo>
                <a:lnTo>
                  <a:pt x="1440" y="1310"/>
                </a:lnTo>
                <a:lnTo>
                  <a:pt x="1440" y="1310"/>
                </a:lnTo>
                <a:lnTo>
                  <a:pt x="1439" y="1310"/>
                </a:lnTo>
                <a:lnTo>
                  <a:pt x="1438" y="1310"/>
                </a:lnTo>
                <a:lnTo>
                  <a:pt x="1438" y="1310"/>
                </a:lnTo>
                <a:lnTo>
                  <a:pt x="1435" y="1307"/>
                </a:lnTo>
                <a:lnTo>
                  <a:pt x="1435" y="1300"/>
                </a:lnTo>
                <a:lnTo>
                  <a:pt x="1428" y="1299"/>
                </a:lnTo>
                <a:lnTo>
                  <a:pt x="1428" y="1290"/>
                </a:lnTo>
                <a:lnTo>
                  <a:pt x="1426" y="1290"/>
                </a:lnTo>
                <a:lnTo>
                  <a:pt x="1422" y="1290"/>
                </a:lnTo>
                <a:lnTo>
                  <a:pt x="1422" y="1286"/>
                </a:lnTo>
                <a:lnTo>
                  <a:pt x="1421" y="1286"/>
                </a:lnTo>
                <a:lnTo>
                  <a:pt x="1416" y="1276"/>
                </a:lnTo>
                <a:lnTo>
                  <a:pt x="1418" y="1269"/>
                </a:lnTo>
                <a:lnTo>
                  <a:pt x="1418" y="1266"/>
                </a:lnTo>
                <a:lnTo>
                  <a:pt x="1414" y="1265"/>
                </a:lnTo>
                <a:lnTo>
                  <a:pt x="1414" y="1265"/>
                </a:lnTo>
                <a:lnTo>
                  <a:pt x="1413" y="1265"/>
                </a:lnTo>
                <a:lnTo>
                  <a:pt x="1414" y="1258"/>
                </a:lnTo>
                <a:lnTo>
                  <a:pt x="1414" y="1253"/>
                </a:lnTo>
                <a:lnTo>
                  <a:pt x="1411" y="1247"/>
                </a:lnTo>
                <a:lnTo>
                  <a:pt x="1408" y="1245"/>
                </a:lnTo>
                <a:lnTo>
                  <a:pt x="1401" y="1241"/>
                </a:lnTo>
                <a:lnTo>
                  <a:pt x="1401" y="1238"/>
                </a:lnTo>
                <a:lnTo>
                  <a:pt x="1397" y="1235"/>
                </a:lnTo>
                <a:lnTo>
                  <a:pt x="1394" y="1234"/>
                </a:lnTo>
                <a:lnTo>
                  <a:pt x="1391" y="1234"/>
                </a:lnTo>
                <a:lnTo>
                  <a:pt x="1387" y="1235"/>
                </a:lnTo>
                <a:lnTo>
                  <a:pt x="1381" y="1237"/>
                </a:lnTo>
                <a:lnTo>
                  <a:pt x="1373" y="1238"/>
                </a:lnTo>
                <a:lnTo>
                  <a:pt x="1373" y="1235"/>
                </a:lnTo>
                <a:lnTo>
                  <a:pt x="1371" y="1234"/>
                </a:lnTo>
                <a:lnTo>
                  <a:pt x="1375" y="1234"/>
                </a:lnTo>
                <a:lnTo>
                  <a:pt x="1371" y="1233"/>
                </a:lnTo>
                <a:lnTo>
                  <a:pt x="1361" y="1230"/>
                </a:lnTo>
                <a:lnTo>
                  <a:pt x="1364" y="1230"/>
                </a:lnTo>
                <a:lnTo>
                  <a:pt x="1362" y="1228"/>
                </a:lnTo>
                <a:lnTo>
                  <a:pt x="1348" y="1227"/>
                </a:lnTo>
                <a:lnTo>
                  <a:pt x="1353" y="1226"/>
                </a:lnTo>
                <a:lnTo>
                  <a:pt x="1349" y="1223"/>
                </a:lnTo>
                <a:lnTo>
                  <a:pt x="1347" y="1227"/>
                </a:lnTo>
                <a:lnTo>
                  <a:pt x="1344" y="1228"/>
                </a:lnTo>
                <a:lnTo>
                  <a:pt x="1343" y="1230"/>
                </a:lnTo>
                <a:lnTo>
                  <a:pt x="1340" y="1230"/>
                </a:lnTo>
                <a:lnTo>
                  <a:pt x="1337" y="1226"/>
                </a:lnTo>
                <a:lnTo>
                  <a:pt x="1335" y="1230"/>
                </a:lnTo>
                <a:lnTo>
                  <a:pt x="1332" y="1230"/>
                </a:lnTo>
                <a:lnTo>
                  <a:pt x="1330" y="1230"/>
                </a:lnTo>
                <a:lnTo>
                  <a:pt x="1323" y="1228"/>
                </a:lnTo>
                <a:lnTo>
                  <a:pt x="1315" y="1231"/>
                </a:lnTo>
                <a:lnTo>
                  <a:pt x="1304" y="1227"/>
                </a:lnTo>
                <a:lnTo>
                  <a:pt x="1301" y="1231"/>
                </a:lnTo>
                <a:lnTo>
                  <a:pt x="1301" y="1234"/>
                </a:lnTo>
                <a:lnTo>
                  <a:pt x="1305" y="1234"/>
                </a:lnTo>
                <a:lnTo>
                  <a:pt x="1310" y="1233"/>
                </a:lnTo>
                <a:lnTo>
                  <a:pt x="1313" y="1235"/>
                </a:lnTo>
                <a:lnTo>
                  <a:pt x="1315" y="1232"/>
                </a:lnTo>
                <a:lnTo>
                  <a:pt x="1316" y="1235"/>
                </a:lnTo>
                <a:lnTo>
                  <a:pt x="1313" y="1237"/>
                </a:lnTo>
                <a:lnTo>
                  <a:pt x="1313" y="1235"/>
                </a:lnTo>
                <a:lnTo>
                  <a:pt x="1310" y="1239"/>
                </a:lnTo>
                <a:lnTo>
                  <a:pt x="1323" y="1247"/>
                </a:lnTo>
                <a:lnTo>
                  <a:pt x="1321" y="1250"/>
                </a:lnTo>
                <a:lnTo>
                  <a:pt x="1320" y="1250"/>
                </a:lnTo>
                <a:lnTo>
                  <a:pt x="1315" y="1250"/>
                </a:lnTo>
                <a:lnTo>
                  <a:pt x="1316" y="1247"/>
                </a:lnTo>
                <a:lnTo>
                  <a:pt x="1313" y="1249"/>
                </a:lnTo>
                <a:lnTo>
                  <a:pt x="1313" y="1245"/>
                </a:lnTo>
                <a:lnTo>
                  <a:pt x="1309" y="1243"/>
                </a:lnTo>
                <a:lnTo>
                  <a:pt x="1309" y="1242"/>
                </a:lnTo>
                <a:lnTo>
                  <a:pt x="1301" y="1241"/>
                </a:lnTo>
                <a:lnTo>
                  <a:pt x="1301" y="1244"/>
                </a:lnTo>
                <a:lnTo>
                  <a:pt x="1297" y="1247"/>
                </a:lnTo>
                <a:lnTo>
                  <a:pt x="1289" y="1245"/>
                </a:lnTo>
                <a:lnTo>
                  <a:pt x="1293" y="1243"/>
                </a:lnTo>
                <a:lnTo>
                  <a:pt x="1287" y="1241"/>
                </a:lnTo>
                <a:lnTo>
                  <a:pt x="1284" y="1237"/>
                </a:lnTo>
                <a:lnTo>
                  <a:pt x="1282" y="1235"/>
                </a:lnTo>
                <a:lnTo>
                  <a:pt x="1276" y="1237"/>
                </a:lnTo>
                <a:lnTo>
                  <a:pt x="1278" y="1238"/>
                </a:lnTo>
                <a:lnTo>
                  <a:pt x="1275" y="1241"/>
                </a:lnTo>
                <a:lnTo>
                  <a:pt x="1261" y="1238"/>
                </a:lnTo>
                <a:lnTo>
                  <a:pt x="1252" y="1238"/>
                </a:lnTo>
                <a:lnTo>
                  <a:pt x="1251" y="1236"/>
                </a:lnTo>
                <a:lnTo>
                  <a:pt x="1250" y="1237"/>
                </a:lnTo>
                <a:lnTo>
                  <a:pt x="1252" y="1242"/>
                </a:lnTo>
                <a:lnTo>
                  <a:pt x="1249" y="1242"/>
                </a:lnTo>
                <a:lnTo>
                  <a:pt x="1243" y="1242"/>
                </a:lnTo>
                <a:lnTo>
                  <a:pt x="1238" y="1244"/>
                </a:lnTo>
                <a:lnTo>
                  <a:pt x="1242" y="1242"/>
                </a:lnTo>
                <a:lnTo>
                  <a:pt x="1238" y="1242"/>
                </a:lnTo>
                <a:lnTo>
                  <a:pt x="1239" y="1238"/>
                </a:lnTo>
                <a:lnTo>
                  <a:pt x="1235" y="1238"/>
                </a:lnTo>
                <a:lnTo>
                  <a:pt x="1237" y="1243"/>
                </a:lnTo>
                <a:lnTo>
                  <a:pt x="1237" y="1243"/>
                </a:lnTo>
                <a:lnTo>
                  <a:pt x="1237" y="1245"/>
                </a:lnTo>
                <a:lnTo>
                  <a:pt x="1235" y="1246"/>
                </a:lnTo>
                <a:lnTo>
                  <a:pt x="1234" y="1249"/>
                </a:lnTo>
                <a:lnTo>
                  <a:pt x="1217" y="1258"/>
                </a:lnTo>
                <a:lnTo>
                  <a:pt x="1221" y="1255"/>
                </a:lnTo>
                <a:lnTo>
                  <a:pt x="1217" y="1257"/>
                </a:lnTo>
                <a:lnTo>
                  <a:pt x="1219" y="1255"/>
                </a:lnTo>
                <a:lnTo>
                  <a:pt x="1215" y="1255"/>
                </a:lnTo>
                <a:lnTo>
                  <a:pt x="1216" y="1258"/>
                </a:lnTo>
                <a:lnTo>
                  <a:pt x="1215" y="1258"/>
                </a:lnTo>
                <a:lnTo>
                  <a:pt x="1216" y="1258"/>
                </a:lnTo>
                <a:lnTo>
                  <a:pt x="1211" y="1260"/>
                </a:lnTo>
                <a:lnTo>
                  <a:pt x="1209" y="1258"/>
                </a:lnTo>
                <a:lnTo>
                  <a:pt x="1209" y="1261"/>
                </a:lnTo>
                <a:lnTo>
                  <a:pt x="1209" y="1266"/>
                </a:lnTo>
                <a:lnTo>
                  <a:pt x="1206" y="1266"/>
                </a:lnTo>
                <a:lnTo>
                  <a:pt x="1205" y="1270"/>
                </a:lnTo>
                <a:lnTo>
                  <a:pt x="1206" y="1269"/>
                </a:lnTo>
                <a:lnTo>
                  <a:pt x="1203" y="1273"/>
                </a:lnTo>
                <a:lnTo>
                  <a:pt x="1201" y="1277"/>
                </a:lnTo>
                <a:lnTo>
                  <a:pt x="1201" y="1274"/>
                </a:lnTo>
                <a:lnTo>
                  <a:pt x="1200" y="1278"/>
                </a:lnTo>
                <a:lnTo>
                  <a:pt x="1199" y="1278"/>
                </a:lnTo>
                <a:lnTo>
                  <a:pt x="1198" y="1284"/>
                </a:lnTo>
                <a:lnTo>
                  <a:pt x="1202" y="1296"/>
                </a:lnTo>
                <a:lnTo>
                  <a:pt x="1201" y="1295"/>
                </a:lnTo>
                <a:lnTo>
                  <a:pt x="1201" y="1298"/>
                </a:lnTo>
                <a:lnTo>
                  <a:pt x="1202" y="1298"/>
                </a:lnTo>
                <a:lnTo>
                  <a:pt x="1196" y="1319"/>
                </a:lnTo>
                <a:lnTo>
                  <a:pt x="1194" y="1345"/>
                </a:lnTo>
                <a:lnTo>
                  <a:pt x="1193" y="1351"/>
                </a:lnTo>
                <a:lnTo>
                  <a:pt x="1196" y="1359"/>
                </a:lnTo>
                <a:lnTo>
                  <a:pt x="1201" y="1367"/>
                </a:lnTo>
                <a:lnTo>
                  <a:pt x="1194" y="1358"/>
                </a:lnTo>
                <a:lnTo>
                  <a:pt x="1196" y="1365"/>
                </a:lnTo>
                <a:lnTo>
                  <a:pt x="1204" y="1380"/>
                </a:lnTo>
                <a:lnTo>
                  <a:pt x="1214" y="1393"/>
                </a:lnTo>
                <a:lnTo>
                  <a:pt x="1217" y="1400"/>
                </a:lnTo>
                <a:lnTo>
                  <a:pt x="1221" y="1405"/>
                </a:lnTo>
                <a:lnTo>
                  <a:pt x="1221" y="1407"/>
                </a:lnTo>
                <a:lnTo>
                  <a:pt x="1223" y="1409"/>
                </a:lnTo>
                <a:lnTo>
                  <a:pt x="1233" y="1412"/>
                </a:lnTo>
                <a:lnTo>
                  <a:pt x="1234" y="1415"/>
                </a:lnTo>
                <a:lnTo>
                  <a:pt x="1238" y="1415"/>
                </a:lnTo>
                <a:lnTo>
                  <a:pt x="1243" y="1420"/>
                </a:lnTo>
                <a:lnTo>
                  <a:pt x="1252" y="1417"/>
                </a:lnTo>
                <a:lnTo>
                  <a:pt x="1256" y="1415"/>
                </a:lnTo>
                <a:lnTo>
                  <a:pt x="1261" y="1415"/>
                </a:lnTo>
                <a:lnTo>
                  <a:pt x="1261" y="1415"/>
                </a:lnTo>
                <a:lnTo>
                  <a:pt x="1270" y="1411"/>
                </a:lnTo>
                <a:lnTo>
                  <a:pt x="1279" y="1409"/>
                </a:lnTo>
                <a:lnTo>
                  <a:pt x="1282" y="1412"/>
                </a:lnTo>
                <a:lnTo>
                  <a:pt x="1278" y="1415"/>
                </a:lnTo>
                <a:lnTo>
                  <a:pt x="1281" y="1415"/>
                </a:lnTo>
                <a:lnTo>
                  <a:pt x="1281" y="1415"/>
                </a:lnTo>
                <a:lnTo>
                  <a:pt x="1283" y="1415"/>
                </a:lnTo>
                <a:lnTo>
                  <a:pt x="1286" y="1415"/>
                </a:lnTo>
                <a:lnTo>
                  <a:pt x="1287" y="1412"/>
                </a:lnTo>
                <a:lnTo>
                  <a:pt x="1290" y="1411"/>
                </a:lnTo>
                <a:lnTo>
                  <a:pt x="1287" y="1408"/>
                </a:lnTo>
                <a:lnTo>
                  <a:pt x="1289" y="1407"/>
                </a:lnTo>
                <a:lnTo>
                  <a:pt x="1287" y="1407"/>
                </a:lnTo>
                <a:lnTo>
                  <a:pt x="1297" y="1400"/>
                </a:lnTo>
                <a:lnTo>
                  <a:pt x="1298" y="1394"/>
                </a:lnTo>
                <a:lnTo>
                  <a:pt x="1302" y="1392"/>
                </a:lnTo>
                <a:lnTo>
                  <a:pt x="1301" y="1381"/>
                </a:lnTo>
                <a:lnTo>
                  <a:pt x="1304" y="1374"/>
                </a:lnTo>
                <a:lnTo>
                  <a:pt x="1309" y="1370"/>
                </a:lnTo>
                <a:lnTo>
                  <a:pt x="1325" y="1369"/>
                </a:lnTo>
                <a:lnTo>
                  <a:pt x="1331" y="1367"/>
                </a:lnTo>
                <a:lnTo>
                  <a:pt x="1338" y="1365"/>
                </a:lnTo>
                <a:lnTo>
                  <a:pt x="1348" y="1369"/>
                </a:lnTo>
                <a:lnTo>
                  <a:pt x="1350" y="1367"/>
                </a:lnTo>
                <a:lnTo>
                  <a:pt x="1345" y="1367"/>
                </a:lnTo>
                <a:lnTo>
                  <a:pt x="1351" y="1365"/>
                </a:lnTo>
                <a:lnTo>
                  <a:pt x="1353" y="1369"/>
                </a:lnTo>
                <a:lnTo>
                  <a:pt x="1353" y="1371"/>
                </a:lnTo>
                <a:lnTo>
                  <a:pt x="1352" y="1377"/>
                </a:lnTo>
                <a:lnTo>
                  <a:pt x="1345" y="1386"/>
                </a:lnTo>
                <a:lnTo>
                  <a:pt x="1345" y="1392"/>
                </a:lnTo>
                <a:lnTo>
                  <a:pt x="1343" y="1393"/>
                </a:lnTo>
                <a:lnTo>
                  <a:pt x="1340" y="1394"/>
                </a:lnTo>
                <a:lnTo>
                  <a:pt x="1341" y="1397"/>
                </a:lnTo>
                <a:lnTo>
                  <a:pt x="1345" y="1395"/>
                </a:lnTo>
                <a:lnTo>
                  <a:pt x="1345" y="1399"/>
                </a:lnTo>
                <a:lnTo>
                  <a:pt x="1341" y="1400"/>
                </a:lnTo>
                <a:lnTo>
                  <a:pt x="1341" y="1403"/>
                </a:lnTo>
                <a:lnTo>
                  <a:pt x="1344" y="1400"/>
                </a:lnTo>
                <a:lnTo>
                  <a:pt x="1337" y="1416"/>
                </a:lnTo>
                <a:lnTo>
                  <a:pt x="1337" y="1413"/>
                </a:lnTo>
                <a:lnTo>
                  <a:pt x="1334" y="1412"/>
                </a:lnTo>
                <a:lnTo>
                  <a:pt x="1332" y="1415"/>
                </a:lnTo>
                <a:lnTo>
                  <a:pt x="1331" y="1415"/>
                </a:lnTo>
                <a:lnTo>
                  <a:pt x="1329" y="1419"/>
                </a:lnTo>
                <a:lnTo>
                  <a:pt x="1331" y="1419"/>
                </a:lnTo>
                <a:lnTo>
                  <a:pt x="1333" y="1419"/>
                </a:lnTo>
                <a:lnTo>
                  <a:pt x="1329" y="1429"/>
                </a:lnTo>
                <a:lnTo>
                  <a:pt x="1329" y="1435"/>
                </a:lnTo>
                <a:lnTo>
                  <a:pt x="1331" y="1439"/>
                </a:lnTo>
                <a:lnTo>
                  <a:pt x="1329" y="1445"/>
                </a:lnTo>
                <a:lnTo>
                  <a:pt x="1329" y="1443"/>
                </a:lnTo>
                <a:lnTo>
                  <a:pt x="1325" y="1448"/>
                </a:lnTo>
                <a:lnTo>
                  <a:pt x="1322" y="1450"/>
                </a:lnTo>
                <a:lnTo>
                  <a:pt x="1317" y="1452"/>
                </a:lnTo>
                <a:lnTo>
                  <a:pt x="1317" y="1455"/>
                </a:lnTo>
                <a:lnTo>
                  <a:pt x="1317" y="1455"/>
                </a:lnTo>
                <a:lnTo>
                  <a:pt x="1317" y="1459"/>
                </a:lnTo>
                <a:lnTo>
                  <a:pt x="1321" y="1459"/>
                </a:lnTo>
                <a:lnTo>
                  <a:pt x="1325" y="1462"/>
                </a:lnTo>
                <a:lnTo>
                  <a:pt x="1328" y="1456"/>
                </a:lnTo>
                <a:lnTo>
                  <a:pt x="1327" y="1455"/>
                </a:lnTo>
                <a:lnTo>
                  <a:pt x="1329" y="1457"/>
                </a:lnTo>
                <a:lnTo>
                  <a:pt x="1329" y="1457"/>
                </a:lnTo>
                <a:lnTo>
                  <a:pt x="1330" y="1459"/>
                </a:lnTo>
                <a:lnTo>
                  <a:pt x="1332" y="1459"/>
                </a:lnTo>
                <a:lnTo>
                  <a:pt x="1333" y="1459"/>
                </a:lnTo>
                <a:lnTo>
                  <a:pt x="1340" y="1454"/>
                </a:lnTo>
                <a:lnTo>
                  <a:pt x="1344" y="1454"/>
                </a:lnTo>
                <a:lnTo>
                  <a:pt x="1344" y="1453"/>
                </a:lnTo>
                <a:lnTo>
                  <a:pt x="1359" y="1454"/>
                </a:lnTo>
                <a:lnTo>
                  <a:pt x="1365" y="1453"/>
                </a:lnTo>
                <a:lnTo>
                  <a:pt x="1365" y="1451"/>
                </a:lnTo>
                <a:lnTo>
                  <a:pt x="1364" y="1451"/>
                </a:lnTo>
                <a:lnTo>
                  <a:pt x="1365" y="1451"/>
                </a:lnTo>
                <a:lnTo>
                  <a:pt x="1371" y="1453"/>
                </a:lnTo>
                <a:lnTo>
                  <a:pt x="1378" y="1450"/>
                </a:lnTo>
                <a:lnTo>
                  <a:pt x="1382" y="1453"/>
                </a:lnTo>
                <a:lnTo>
                  <a:pt x="1384" y="1455"/>
                </a:lnTo>
                <a:lnTo>
                  <a:pt x="1385" y="1455"/>
                </a:lnTo>
                <a:lnTo>
                  <a:pt x="1385" y="1453"/>
                </a:lnTo>
                <a:lnTo>
                  <a:pt x="1388" y="1454"/>
                </a:lnTo>
                <a:lnTo>
                  <a:pt x="1395" y="1460"/>
                </a:lnTo>
                <a:lnTo>
                  <a:pt x="1388" y="1458"/>
                </a:lnTo>
                <a:lnTo>
                  <a:pt x="1392" y="1462"/>
                </a:lnTo>
                <a:lnTo>
                  <a:pt x="1393" y="1461"/>
                </a:lnTo>
                <a:lnTo>
                  <a:pt x="1396" y="1463"/>
                </a:lnTo>
                <a:lnTo>
                  <a:pt x="1397" y="1463"/>
                </a:lnTo>
                <a:lnTo>
                  <a:pt x="1397" y="1465"/>
                </a:lnTo>
                <a:lnTo>
                  <a:pt x="1399" y="1462"/>
                </a:lnTo>
                <a:lnTo>
                  <a:pt x="1399" y="1462"/>
                </a:lnTo>
                <a:lnTo>
                  <a:pt x="1402" y="1463"/>
                </a:lnTo>
                <a:lnTo>
                  <a:pt x="1402" y="1467"/>
                </a:lnTo>
                <a:lnTo>
                  <a:pt x="1404" y="1467"/>
                </a:lnTo>
                <a:lnTo>
                  <a:pt x="1402" y="1470"/>
                </a:lnTo>
                <a:lnTo>
                  <a:pt x="1403" y="1472"/>
                </a:lnTo>
                <a:lnTo>
                  <a:pt x="1404" y="1477"/>
                </a:lnTo>
                <a:lnTo>
                  <a:pt x="1402" y="1483"/>
                </a:lnTo>
                <a:lnTo>
                  <a:pt x="1399" y="1492"/>
                </a:lnTo>
                <a:lnTo>
                  <a:pt x="1399" y="1500"/>
                </a:lnTo>
                <a:lnTo>
                  <a:pt x="1400" y="1501"/>
                </a:lnTo>
                <a:lnTo>
                  <a:pt x="1399" y="1503"/>
                </a:lnTo>
                <a:lnTo>
                  <a:pt x="1399" y="1503"/>
                </a:lnTo>
                <a:lnTo>
                  <a:pt x="1399" y="1503"/>
                </a:lnTo>
                <a:lnTo>
                  <a:pt x="1399" y="1501"/>
                </a:lnTo>
                <a:lnTo>
                  <a:pt x="1398" y="1500"/>
                </a:lnTo>
                <a:lnTo>
                  <a:pt x="1397" y="1499"/>
                </a:lnTo>
                <a:lnTo>
                  <a:pt x="1397" y="1503"/>
                </a:lnTo>
                <a:lnTo>
                  <a:pt x="1393" y="1507"/>
                </a:lnTo>
                <a:lnTo>
                  <a:pt x="1393" y="1513"/>
                </a:lnTo>
                <a:lnTo>
                  <a:pt x="1393" y="1514"/>
                </a:lnTo>
                <a:lnTo>
                  <a:pt x="1393" y="1516"/>
                </a:lnTo>
                <a:lnTo>
                  <a:pt x="1394" y="1514"/>
                </a:lnTo>
                <a:lnTo>
                  <a:pt x="1398" y="1519"/>
                </a:lnTo>
                <a:lnTo>
                  <a:pt x="1393" y="1523"/>
                </a:lnTo>
                <a:lnTo>
                  <a:pt x="1393" y="1527"/>
                </a:lnTo>
                <a:lnTo>
                  <a:pt x="1398" y="1530"/>
                </a:lnTo>
                <a:lnTo>
                  <a:pt x="1396" y="1531"/>
                </a:lnTo>
                <a:lnTo>
                  <a:pt x="1392" y="1533"/>
                </a:lnTo>
                <a:lnTo>
                  <a:pt x="1382" y="1528"/>
                </a:lnTo>
                <a:lnTo>
                  <a:pt x="1379" y="1530"/>
                </a:lnTo>
                <a:lnTo>
                  <a:pt x="1368" y="1524"/>
                </a:lnTo>
                <a:lnTo>
                  <a:pt x="1367" y="1528"/>
                </a:lnTo>
                <a:close/>
                <a:moveTo>
                  <a:pt x="1334" y="1411"/>
                </a:moveTo>
                <a:lnTo>
                  <a:pt x="1337" y="1411"/>
                </a:lnTo>
                <a:lnTo>
                  <a:pt x="1337" y="1407"/>
                </a:lnTo>
                <a:lnTo>
                  <a:pt x="1334" y="1411"/>
                </a:lnTo>
                <a:close/>
                <a:moveTo>
                  <a:pt x="1443" y="1258"/>
                </a:moveTo>
                <a:lnTo>
                  <a:pt x="1443" y="1259"/>
                </a:lnTo>
                <a:lnTo>
                  <a:pt x="1443" y="1260"/>
                </a:lnTo>
                <a:lnTo>
                  <a:pt x="1445" y="1258"/>
                </a:lnTo>
                <a:lnTo>
                  <a:pt x="1443" y="1258"/>
                </a:lnTo>
                <a:close/>
                <a:moveTo>
                  <a:pt x="1441" y="1254"/>
                </a:moveTo>
                <a:lnTo>
                  <a:pt x="1442" y="1257"/>
                </a:lnTo>
                <a:lnTo>
                  <a:pt x="1442" y="1254"/>
                </a:lnTo>
                <a:lnTo>
                  <a:pt x="1441" y="1254"/>
                </a:lnTo>
                <a:close/>
                <a:moveTo>
                  <a:pt x="1502" y="1143"/>
                </a:moveTo>
                <a:lnTo>
                  <a:pt x="1505" y="1145"/>
                </a:lnTo>
                <a:lnTo>
                  <a:pt x="1503" y="1141"/>
                </a:lnTo>
                <a:lnTo>
                  <a:pt x="1502" y="1143"/>
                </a:lnTo>
                <a:close/>
                <a:moveTo>
                  <a:pt x="1495" y="1147"/>
                </a:moveTo>
                <a:lnTo>
                  <a:pt x="1496" y="1150"/>
                </a:lnTo>
                <a:lnTo>
                  <a:pt x="1498" y="1151"/>
                </a:lnTo>
                <a:lnTo>
                  <a:pt x="1501" y="1149"/>
                </a:lnTo>
                <a:lnTo>
                  <a:pt x="1500" y="1150"/>
                </a:lnTo>
                <a:lnTo>
                  <a:pt x="1495" y="1147"/>
                </a:lnTo>
                <a:close/>
                <a:moveTo>
                  <a:pt x="1724" y="961"/>
                </a:moveTo>
                <a:lnTo>
                  <a:pt x="1729" y="961"/>
                </a:lnTo>
                <a:lnTo>
                  <a:pt x="1734" y="955"/>
                </a:lnTo>
                <a:lnTo>
                  <a:pt x="1731" y="958"/>
                </a:lnTo>
                <a:lnTo>
                  <a:pt x="1729" y="955"/>
                </a:lnTo>
                <a:lnTo>
                  <a:pt x="1729" y="955"/>
                </a:lnTo>
                <a:lnTo>
                  <a:pt x="1726" y="958"/>
                </a:lnTo>
                <a:lnTo>
                  <a:pt x="1724" y="961"/>
                </a:lnTo>
                <a:close/>
                <a:moveTo>
                  <a:pt x="1724" y="963"/>
                </a:moveTo>
                <a:lnTo>
                  <a:pt x="1726" y="963"/>
                </a:lnTo>
                <a:lnTo>
                  <a:pt x="1727" y="961"/>
                </a:lnTo>
                <a:lnTo>
                  <a:pt x="1724" y="963"/>
                </a:lnTo>
                <a:close/>
                <a:moveTo>
                  <a:pt x="1672" y="953"/>
                </a:moveTo>
                <a:lnTo>
                  <a:pt x="1675" y="959"/>
                </a:lnTo>
                <a:lnTo>
                  <a:pt x="1673" y="963"/>
                </a:lnTo>
                <a:lnTo>
                  <a:pt x="1680" y="959"/>
                </a:lnTo>
                <a:lnTo>
                  <a:pt x="1679" y="958"/>
                </a:lnTo>
                <a:lnTo>
                  <a:pt x="1676" y="959"/>
                </a:lnTo>
                <a:lnTo>
                  <a:pt x="1672" y="953"/>
                </a:lnTo>
                <a:close/>
                <a:moveTo>
                  <a:pt x="1617" y="988"/>
                </a:moveTo>
                <a:lnTo>
                  <a:pt x="1618" y="988"/>
                </a:lnTo>
                <a:lnTo>
                  <a:pt x="1618" y="986"/>
                </a:lnTo>
                <a:lnTo>
                  <a:pt x="1617" y="988"/>
                </a:lnTo>
                <a:close/>
                <a:moveTo>
                  <a:pt x="1734" y="811"/>
                </a:moveTo>
                <a:lnTo>
                  <a:pt x="1738" y="813"/>
                </a:lnTo>
                <a:lnTo>
                  <a:pt x="1745" y="809"/>
                </a:lnTo>
                <a:lnTo>
                  <a:pt x="1742" y="808"/>
                </a:lnTo>
                <a:lnTo>
                  <a:pt x="1751" y="804"/>
                </a:lnTo>
                <a:lnTo>
                  <a:pt x="1751" y="802"/>
                </a:lnTo>
                <a:lnTo>
                  <a:pt x="1760" y="800"/>
                </a:lnTo>
                <a:lnTo>
                  <a:pt x="1757" y="800"/>
                </a:lnTo>
                <a:lnTo>
                  <a:pt x="1747" y="803"/>
                </a:lnTo>
                <a:lnTo>
                  <a:pt x="1739" y="802"/>
                </a:lnTo>
                <a:lnTo>
                  <a:pt x="1739" y="808"/>
                </a:lnTo>
                <a:lnTo>
                  <a:pt x="1734" y="811"/>
                </a:lnTo>
                <a:close/>
                <a:moveTo>
                  <a:pt x="1735" y="770"/>
                </a:moveTo>
                <a:lnTo>
                  <a:pt x="1735" y="770"/>
                </a:lnTo>
                <a:lnTo>
                  <a:pt x="1735" y="770"/>
                </a:lnTo>
                <a:lnTo>
                  <a:pt x="1735" y="770"/>
                </a:lnTo>
                <a:close/>
                <a:moveTo>
                  <a:pt x="1693" y="716"/>
                </a:moveTo>
                <a:lnTo>
                  <a:pt x="1696" y="716"/>
                </a:lnTo>
                <a:lnTo>
                  <a:pt x="1698" y="713"/>
                </a:lnTo>
                <a:lnTo>
                  <a:pt x="1693" y="716"/>
                </a:lnTo>
                <a:close/>
                <a:moveTo>
                  <a:pt x="1682" y="688"/>
                </a:moveTo>
                <a:lnTo>
                  <a:pt x="1683" y="688"/>
                </a:lnTo>
                <a:lnTo>
                  <a:pt x="1683" y="688"/>
                </a:lnTo>
                <a:lnTo>
                  <a:pt x="1682" y="688"/>
                </a:lnTo>
                <a:close/>
                <a:moveTo>
                  <a:pt x="1602" y="692"/>
                </a:moveTo>
                <a:lnTo>
                  <a:pt x="1604" y="695"/>
                </a:lnTo>
                <a:lnTo>
                  <a:pt x="1603" y="697"/>
                </a:lnTo>
                <a:lnTo>
                  <a:pt x="1605" y="696"/>
                </a:lnTo>
                <a:lnTo>
                  <a:pt x="1604" y="692"/>
                </a:lnTo>
                <a:lnTo>
                  <a:pt x="1602" y="692"/>
                </a:lnTo>
                <a:close/>
                <a:moveTo>
                  <a:pt x="1488" y="640"/>
                </a:moveTo>
                <a:lnTo>
                  <a:pt x="1486" y="638"/>
                </a:lnTo>
                <a:lnTo>
                  <a:pt x="1486" y="640"/>
                </a:lnTo>
                <a:lnTo>
                  <a:pt x="1488" y="640"/>
                </a:lnTo>
                <a:close/>
                <a:moveTo>
                  <a:pt x="1494" y="1088"/>
                </a:moveTo>
                <a:lnTo>
                  <a:pt x="1497" y="1085"/>
                </a:lnTo>
                <a:lnTo>
                  <a:pt x="1494" y="1088"/>
                </a:lnTo>
                <a:lnTo>
                  <a:pt x="1494" y="1088"/>
                </a:lnTo>
                <a:close/>
                <a:moveTo>
                  <a:pt x="1492" y="1094"/>
                </a:moveTo>
                <a:lnTo>
                  <a:pt x="1494" y="1094"/>
                </a:lnTo>
                <a:lnTo>
                  <a:pt x="1494" y="1088"/>
                </a:lnTo>
                <a:lnTo>
                  <a:pt x="1492" y="1094"/>
                </a:lnTo>
                <a:close/>
                <a:moveTo>
                  <a:pt x="1441" y="1194"/>
                </a:moveTo>
                <a:lnTo>
                  <a:pt x="1442" y="1195"/>
                </a:lnTo>
                <a:lnTo>
                  <a:pt x="1442" y="1193"/>
                </a:lnTo>
                <a:lnTo>
                  <a:pt x="1441" y="1194"/>
                </a:lnTo>
                <a:close/>
                <a:moveTo>
                  <a:pt x="1345" y="1228"/>
                </a:moveTo>
                <a:lnTo>
                  <a:pt x="1347" y="1226"/>
                </a:lnTo>
                <a:lnTo>
                  <a:pt x="1346" y="1226"/>
                </a:lnTo>
                <a:lnTo>
                  <a:pt x="1345" y="1228"/>
                </a:lnTo>
                <a:close/>
                <a:moveTo>
                  <a:pt x="1337" y="1226"/>
                </a:moveTo>
                <a:lnTo>
                  <a:pt x="1337" y="1226"/>
                </a:lnTo>
                <a:lnTo>
                  <a:pt x="1337" y="1226"/>
                </a:lnTo>
                <a:lnTo>
                  <a:pt x="1337" y="1226"/>
                </a:lnTo>
                <a:close/>
                <a:moveTo>
                  <a:pt x="1252" y="1235"/>
                </a:moveTo>
                <a:lnTo>
                  <a:pt x="1254" y="1234"/>
                </a:lnTo>
                <a:lnTo>
                  <a:pt x="1252" y="1234"/>
                </a:lnTo>
                <a:lnTo>
                  <a:pt x="1252" y="1235"/>
                </a:lnTo>
                <a:close/>
                <a:moveTo>
                  <a:pt x="1308" y="576"/>
                </a:moveTo>
                <a:lnTo>
                  <a:pt x="1309" y="576"/>
                </a:lnTo>
                <a:lnTo>
                  <a:pt x="1309" y="573"/>
                </a:lnTo>
                <a:lnTo>
                  <a:pt x="1308" y="576"/>
                </a:lnTo>
                <a:close/>
                <a:moveTo>
                  <a:pt x="1385" y="511"/>
                </a:moveTo>
                <a:lnTo>
                  <a:pt x="1385" y="511"/>
                </a:lnTo>
                <a:lnTo>
                  <a:pt x="1382" y="511"/>
                </a:lnTo>
                <a:lnTo>
                  <a:pt x="1385" y="511"/>
                </a:lnTo>
                <a:lnTo>
                  <a:pt x="1385" y="511"/>
                </a:lnTo>
                <a:close/>
                <a:moveTo>
                  <a:pt x="1385" y="512"/>
                </a:moveTo>
                <a:lnTo>
                  <a:pt x="1385" y="515"/>
                </a:lnTo>
                <a:lnTo>
                  <a:pt x="1388" y="515"/>
                </a:lnTo>
                <a:lnTo>
                  <a:pt x="1385" y="512"/>
                </a:lnTo>
                <a:close/>
                <a:moveTo>
                  <a:pt x="1377" y="510"/>
                </a:moveTo>
                <a:lnTo>
                  <a:pt x="1384" y="508"/>
                </a:lnTo>
                <a:lnTo>
                  <a:pt x="1382" y="509"/>
                </a:lnTo>
                <a:lnTo>
                  <a:pt x="1385" y="511"/>
                </a:lnTo>
                <a:lnTo>
                  <a:pt x="1386" y="507"/>
                </a:lnTo>
                <a:lnTo>
                  <a:pt x="1377" y="504"/>
                </a:lnTo>
                <a:lnTo>
                  <a:pt x="1377" y="510"/>
                </a:lnTo>
                <a:close/>
                <a:moveTo>
                  <a:pt x="1300" y="535"/>
                </a:moveTo>
                <a:lnTo>
                  <a:pt x="1303" y="535"/>
                </a:lnTo>
                <a:lnTo>
                  <a:pt x="1301" y="535"/>
                </a:lnTo>
                <a:lnTo>
                  <a:pt x="1300" y="535"/>
                </a:lnTo>
                <a:close/>
                <a:moveTo>
                  <a:pt x="1284" y="532"/>
                </a:moveTo>
                <a:lnTo>
                  <a:pt x="1292" y="534"/>
                </a:lnTo>
                <a:lnTo>
                  <a:pt x="1290" y="533"/>
                </a:lnTo>
                <a:lnTo>
                  <a:pt x="1297" y="534"/>
                </a:lnTo>
                <a:lnTo>
                  <a:pt x="1284" y="532"/>
                </a:lnTo>
                <a:close/>
                <a:moveTo>
                  <a:pt x="1250" y="459"/>
                </a:moveTo>
                <a:lnTo>
                  <a:pt x="1248" y="459"/>
                </a:lnTo>
                <a:lnTo>
                  <a:pt x="1247" y="461"/>
                </a:lnTo>
                <a:lnTo>
                  <a:pt x="1250" y="459"/>
                </a:lnTo>
                <a:close/>
                <a:moveTo>
                  <a:pt x="1269" y="591"/>
                </a:moveTo>
                <a:lnTo>
                  <a:pt x="1277" y="587"/>
                </a:lnTo>
                <a:lnTo>
                  <a:pt x="1276" y="587"/>
                </a:lnTo>
                <a:lnTo>
                  <a:pt x="1269" y="591"/>
                </a:lnTo>
                <a:close/>
                <a:moveTo>
                  <a:pt x="1250" y="573"/>
                </a:moveTo>
                <a:lnTo>
                  <a:pt x="1254" y="577"/>
                </a:lnTo>
                <a:lnTo>
                  <a:pt x="1251" y="580"/>
                </a:lnTo>
                <a:lnTo>
                  <a:pt x="1255" y="583"/>
                </a:lnTo>
                <a:lnTo>
                  <a:pt x="1257" y="583"/>
                </a:lnTo>
                <a:lnTo>
                  <a:pt x="1268" y="584"/>
                </a:lnTo>
                <a:lnTo>
                  <a:pt x="1257" y="579"/>
                </a:lnTo>
                <a:lnTo>
                  <a:pt x="1250" y="573"/>
                </a:lnTo>
                <a:close/>
                <a:moveTo>
                  <a:pt x="1222" y="515"/>
                </a:moveTo>
                <a:lnTo>
                  <a:pt x="1224" y="515"/>
                </a:lnTo>
                <a:lnTo>
                  <a:pt x="1222" y="513"/>
                </a:lnTo>
                <a:lnTo>
                  <a:pt x="1222" y="515"/>
                </a:lnTo>
                <a:close/>
                <a:moveTo>
                  <a:pt x="1217" y="508"/>
                </a:moveTo>
                <a:lnTo>
                  <a:pt x="1218" y="509"/>
                </a:lnTo>
                <a:lnTo>
                  <a:pt x="1218" y="511"/>
                </a:lnTo>
                <a:lnTo>
                  <a:pt x="1221" y="511"/>
                </a:lnTo>
                <a:lnTo>
                  <a:pt x="1219" y="508"/>
                </a:lnTo>
                <a:lnTo>
                  <a:pt x="1217" y="508"/>
                </a:lnTo>
                <a:close/>
                <a:moveTo>
                  <a:pt x="1213" y="504"/>
                </a:moveTo>
                <a:lnTo>
                  <a:pt x="1217" y="507"/>
                </a:lnTo>
                <a:lnTo>
                  <a:pt x="1215" y="504"/>
                </a:lnTo>
                <a:lnTo>
                  <a:pt x="1213" y="504"/>
                </a:lnTo>
                <a:close/>
                <a:moveTo>
                  <a:pt x="1211" y="1255"/>
                </a:moveTo>
                <a:lnTo>
                  <a:pt x="1212" y="1256"/>
                </a:lnTo>
                <a:lnTo>
                  <a:pt x="1215" y="1258"/>
                </a:lnTo>
                <a:lnTo>
                  <a:pt x="1211" y="1255"/>
                </a:lnTo>
                <a:close/>
                <a:moveTo>
                  <a:pt x="1198" y="1270"/>
                </a:moveTo>
                <a:lnTo>
                  <a:pt x="1203" y="1272"/>
                </a:lnTo>
                <a:lnTo>
                  <a:pt x="1205" y="1270"/>
                </a:lnTo>
                <a:lnTo>
                  <a:pt x="1198" y="1270"/>
                </a:lnTo>
                <a:close/>
                <a:moveTo>
                  <a:pt x="277" y="555"/>
                </a:moveTo>
                <a:lnTo>
                  <a:pt x="275" y="555"/>
                </a:lnTo>
                <a:lnTo>
                  <a:pt x="275" y="555"/>
                </a:lnTo>
                <a:lnTo>
                  <a:pt x="277" y="555"/>
                </a:lnTo>
                <a:close/>
                <a:moveTo>
                  <a:pt x="225" y="632"/>
                </a:moveTo>
                <a:lnTo>
                  <a:pt x="219" y="637"/>
                </a:lnTo>
                <a:lnTo>
                  <a:pt x="222" y="636"/>
                </a:lnTo>
                <a:lnTo>
                  <a:pt x="225" y="632"/>
                </a:lnTo>
                <a:close/>
                <a:moveTo>
                  <a:pt x="242" y="652"/>
                </a:moveTo>
                <a:lnTo>
                  <a:pt x="236" y="651"/>
                </a:lnTo>
                <a:lnTo>
                  <a:pt x="239" y="648"/>
                </a:lnTo>
                <a:lnTo>
                  <a:pt x="236" y="647"/>
                </a:lnTo>
                <a:lnTo>
                  <a:pt x="232" y="651"/>
                </a:lnTo>
                <a:lnTo>
                  <a:pt x="223" y="650"/>
                </a:lnTo>
                <a:lnTo>
                  <a:pt x="223" y="649"/>
                </a:lnTo>
                <a:lnTo>
                  <a:pt x="222" y="649"/>
                </a:lnTo>
                <a:lnTo>
                  <a:pt x="219" y="649"/>
                </a:lnTo>
                <a:lnTo>
                  <a:pt x="220" y="650"/>
                </a:lnTo>
                <a:lnTo>
                  <a:pt x="221" y="651"/>
                </a:lnTo>
                <a:lnTo>
                  <a:pt x="221" y="651"/>
                </a:lnTo>
                <a:lnTo>
                  <a:pt x="229" y="652"/>
                </a:lnTo>
                <a:lnTo>
                  <a:pt x="229" y="654"/>
                </a:lnTo>
                <a:lnTo>
                  <a:pt x="226" y="660"/>
                </a:lnTo>
                <a:lnTo>
                  <a:pt x="234" y="656"/>
                </a:lnTo>
                <a:lnTo>
                  <a:pt x="235" y="656"/>
                </a:lnTo>
                <a:lnTo>
                  <a:pt x="238" y="656"/>
                </a:lnTo>
                <a:lnTo>
                  <a:pt x="242" y="652"/>
                </a:lnTo>
                <a:close/>
                <a:moveTo>
                  <a:pt x="285" y="512"/>
                </a:moveTo>
                <a:lnTo>
                  <a:pt x="281" y="514"/>
                </a:lnTo>
                <a:lnTo>
                  <a:pt x="275" y="513"/>
                </a:lnTo>
                <a:lnTo>
                  <a:pt x="275" y="513"/>
                </a:lnTo>
                <a:lnTo>
                  <a:pt x="275" y="513"/>
                </a:lnTo>
                <a:lnTo>
                  <a:pt x="281" y="519"/>
                </a:lnTo>
                <a:lnTo>
                  <a:pt x="285" y="519"/>
                </a:lnTo>
                <a:lnTo>
                  <a:pt x="285" y="512"/>
                </a:lnTo>
                <a:close/>
                <a:moveTo>
                  <a:pt x="448" y="636"/>
                </a:moveTo>
                <a:lnTo>
                  <a:pt x="446" y="636"/>
                </a:lnTo>
                <a:lnTo>
                  <a:pt x="443" y="637"/>
                </a:lnTo>
                <a:lnTo>
                  <a:pt x="448" y="636"/>
                </a:lnTo>
                <a:close/>
                <a:moveTo>
                  <a:pt x="460" y="666"/>
                </a:moveTo>
                <a:lnTo>
                  <a:pt x="464" y="664"/>
                </a:lnTo>
                <a:lnTo>
                  <a:pt x="463" y="664"/>
                </a:lnTo>
                <a:lnTo>
                  <a:pt x="460" y="666"/>
                </a:lnTo>
                <a:close/>
                <a:moveTo>
                  <a:pt x="632" y="683"/>
                </a:moveTo>
                <a:lnTo>
                  <a:pt x="630" y="683"/>
                </a:lnTo>
                <a:lnTo>
                  <a:pt x="630" y="686"/>
                </a:lnTo>
                <a:lnTo>
                  <a:pt x="631" y="686"/>
                </a:lnTo>
                <a:lnTo>
                  <a:pt x="632" y="685"/>
                </a:lnTo>
                <a:lnTo>
                  <a:pt x="632" y="683"/>
                </a:lnTo>
                <a:close/>
                <a:moveTo>
                  <a:pt x="659" y="459"/>
                </a:moveTo>
                <a:lnTo>
                  <a:pt x="655" y="454"/>
                </a:lnTo>
                <a:lnTo>
                  <a:pt x="654" y="456"/>
                </a:lnTo>
                <a:lnTo>
                  <a:pt x="655" y="456"/>
                </a:lnTo>
                <a:lnTo>
                  <a:pt x="659" y="459"/>
                </a:lnTo>
                <a:close/>
                <a:moveTo>
                  <a:pt x="711" y="449"/>
                </a:moveTo>
                <a:lnTo>
                  <a:pt x="711" y="450"/>
                </a:lnTo>
                <a:lnTo>
                  <a:pt x="711" y="451"/>
                </a:lnTo>
                <a:lnTo>
                  <a:pt x="711" y="449"/>
                </a:lnTo>
                <a:close/>
                <a:moveTo>
                  <a:pt x="730" y="768"/>
                </a:moveTo>
                <a:lnTo>
                  <a:pt x="730" y="767"/>
                </a:lnTo>
                <a:lnTo>
                  <a:pt x="730" y="770"/>
                </a:lnTo>
                <a:lnTo>
                  <a:pt x="730" y="768"/>
                </a:lnTo>
                <a:close/>
                <a:moveTo>
                  <a:pt x="770" y="832"/>
                </a:moveTo>
                <a:lnTo>
                  <a:pt x="773" y="832"/>
                </a:lnTo>
                <a:lnTo>
                  <a:pt x="768" y="832"/>
                </a:lnTo>
                <a:lnTo>
                  <a:pt x="773" y="839"/>
                </a:lnTo>
                <a:lnTo>
                  <a:pt x="770" y="832"/>
                </a:lnTo>
                <a:close/>
                <a:moveTo>
                  <a:pt x="764" y="867"/>
                </a:moveTo>
                <a:lnTo>
                  <a:pt x="756" y="866"/>
                </a:lnTo>
                <a:lnTo>
                  <a:pt x="760" y="867"/>
                </a:lnTo>
                <a:lnTo>
                  <a:pt x="757" y="869"/>
                </a:lnTo>
                <a:lnTo>
                  <a:pt x="760" y="869"/>
                </a:lnTo>
                <a:lnTo>
                  <a:pt x="764" y="867"/>
                </a:lnTo>
                <a:close/>
                <a:moveTo>
                  <a:pt x="773" y="881"/>
                </a:moveTo>
                <a:lnTo>
                  <a:pt x="771" y="881"/>
                </a:lnTo>
                <a:lnTo>
                  <a:pt x="768" y="882"/>
                </a:lnTo>
                <a:lnTo>
                  <a:pt x="773" y="881"/>
                </a:lnTo>
                <a:close/>
                <a:moveTo>
                  <a:pt x="790" y="861"/>
                </a:moveTo>
                <a:lnTo>
                  <a:pt x="789" y="858"/>
                </a:lnTo>
                <a:lnTo>
                  <a:pt x="789" y="860"/>
                </a:lnTo>
                <a:lnTo>
                  <a:pt x="787" y="863"/>
                </a:lnTo>
                <a:lnTo>
                  <a:pt x="783" y="865"/>
                </a:lnTo>
                <a:lnTo>
                  <a:pt x="789" y="863"/>
                </a:lnTo>
                <a:lnTo>
                  <a:pt x="790" y="861"/>
                </a:lnTo>
                <a:close/>
                <a:moveTo>
                  <a:pt x="800" y="861"/>
                </a:moveTo>
                <a:lnTo>
                  <a:pt x="798" y="863"/>
                </a:lnTo>
                <a:lnTo>
                  <a:pt x="800" y="866"/>
                </a:lnTo>
                <a:lnTo>
                  <a:pt x="799" y="868"/>
                </a:lnTo>
                <a:lnTo>
                  <a:pt x="800" y="867"/>
                </a:lnTo>
                <a:lnTo>
                  <a:pt x="800" y="866"/>
                </a:lnTo>
                <a:lnTo>
                  <a:pt x="800" y="861"/>
                </a:lnTo>
                <a:close/>
                <a:moveTo>
                  <a:pt x="800" y="437"/>
                </a:moveTo>
                <a:lnTo>
                  <a:pt x="797" y="436"/>
                </a:lnTo>
                <a:lnTo>
                  <a:pt x="798" y="439"/>
                </a:lnTo>
                <a:lnTo>
                  <a:pt x="800" y="437"/>
                </a:lnTo>
                <a:close/>
                <a:moveTo>
                  <a:pt x="801" y="873"/>
                </a:moveTo>
                <a:lnTo>
                  <a:pt x="800" y="873"/>
                </a:lnTo>
                <a:lnTo>
                  <a:pt x="800" y="873"/>
                </a:lnTo>
                <a:lnTo>
                  <a:pt x="801" y="873"/>
                </a:lnTo>
                <a:close/>
                <a:moveTo>
                  <a:pt x="989" y="1284"/>
                </a:moveTo>
                <a:lnTo>
                  <a:pt x="989" y="1285"/>
                </a:lnTo>
                <a:lnTo>
                  <a:pt x="990" y="1288"/>
                </a:lnTo>
                <a:lnTo>
                  <a:pt x="991" y="1287"/>
                </a:lnTo>
                <a:lnTo>
                  <a:pt x="989" y="1284"/>
                </a:lnTo>
                <a:close/>
                <a:moveTo>
                  <a:pt x="1078" y="465"/>
                </a:moveTo>
                <a:lnTo>
                  <a:pt x="1064" y="468"/>
                </a:lnTo>
                <a:lnTo>
                  <a:pt x="1064" y="469"/>
                </a:lnTo>
                <a:lnTo>
                  <a:pt x="1067" y="470"/>
                </a:lnTo>
                <a:lnTo>
                  <a:pt x="1065" y="473"/>
                </a:lnTo>
                <a:lnTo>
                  <a:pt x="1076" y="469"/>
                </a:lnTo>
                <a:lnTo>
                  <a:pt x="1076" y="466"/>
                </a:lnTo>
                <a:lnTo>
                  <a:pt x="1078" y="465"/>
                </a:lnTo>
                <a:close/>
                <a:moveTo>
                  <a:pt x="998" y="1299"/>
                </a:moveTo>
                <a:lnTo>
                  <a:pt x="1001" y="1294"/>
                </a:lnTo>
                <a:lnTo>
                  <a:pt x="998" y="1296"/>
                </a:lnTo>
                <a:lnTo>
                  <a:pt x="998" y="1299"/>
                </a:lnTo>
                <a:close/>
                <a:moveTo>
                  <a:pt x="1006" y="1313"/>
                </a:moveTo>
                <a:lnTo>
                  <a:pt x="1008" y="1313"/>
                </a:lnTo>
                <a:lnTo>
                  <a:pt x="1008" y="1310"/>
                </a:lnTo>
                <a:lnTo>
                  <a:pt x="1006" y="1310"/>
                </a:lnTo>
                <a:lnTo>
                  <a:pt x="1006" y="1313"/>
                </a:lnTo>
                <a:close/>
                <a:moveTo>
                  <a:pt x="964" y="1240"/>
                </a:moveTo>
                <a:lnTo>
                  <a:pt x="964" y="1241"/>
                </a:lnTo>
                <a:lnTo>
                  <a:pt x="969" y="1248"/>
                </a:lnTo>
                <a:lnTo>
                  <a:pt x="969" y="1245"/>
                </a:lnTo>
                <a:lnTo>
                  <a:pt x="966" y="1242"/>
                </a:lnTo>
                <a:lnTo>
                  <a:pt x="966" y="1241"/>
                </a:lnTo>
                <a:lnTo>
                  <a:pt x="964" y="1240"/>
                </a:lnTo>
                <a:close/>
                <a:moveTo>
                  <a:pt x="826" y="904"/>
                </a:moveTo>
                <a:lnTo>
                  <a:pt x="826" y="908"/>
                </a:lnTo>
                <a:lnTo>
                  <a:pt x="829" y="908"/>
                </a:lnTo>
                <a:lnTo>
                  <a:pt x="828" y="904"/>
                </a:lnTo>
                <a:lnTo>
                  <a:pt x="826" y="904"/>
                </a:lnTo>
                <a:close/>
                <a:moveTo>
                  <a:pt x="409" y="658"/>
                </a:moveTo>
                <a:lnTo>
                  <a:pt x="408" y="660"/>
                </a:lnTo>
                <a:lnTo>
                  <a:pt x="409" y="659"/>
                </a:lnTo>
                <a:lnTo>
                  <a:pt x="409" y="658"/>
                </a:lnTo>
                <a:close/>
                <a:moveTo>
                  <a:pt x="698" y="751"/>
                </a:moveTo>
                <a:lnTo>
                  <a:pt x="698" y="751"/>
                </a:lnTo>
                <a:lnTo>
                  <a:pt x="698" y="751"/>
                </a:lnTo>
                <a:lnTo>
                  <a:pt x="695" y="747"/>
                </a:lnTo>
                <a:lnTo>
                  <a:pt x="695" y="749"/>
                </a:lnTo>
                <a:lnTo>
                  <a:pt x="697" y="752"/>
                </a:lnTo>
                <a:lnTo>
                  <a:pt x="698" y="751"/>
                </a:lnTo>
                <a:close/>
                <a:moveTo>
                  <a:pt x="386" y="684"/>
                </a:moveTo>
                <a:lnTo>
                  <a:pt x="389" y="684"/>
                </a:lnTo>
                <a:lnTo>
                  <a:pt x="387" y="682"/>
                </a:lnTo>
                <a:lnTo>
                  <a:pt x="386" y="684"/>
                </a:lnTo>
                <a:close/>
                <a:moveTo>
                  <a:pt x="463" y="652"/>
                </a:moveTo>
                <a:lnTo>
                  <a:pt x="462" y="652"/>
                </a:lnTo>
                <a:lnTo>
                  <a:pt x="463" y="654"/>
                </a:lnTo>
                <a:lnTo>
                  <a:pt x="463" y="652"/>
                </a:lnTo>
                <a:close/>
                <a:moveTo>
                  <a:pt x="1039" y="492"/>
                </a:moveTo>
                <a:lnTo>
                  <a:pt x="1038" y="492"/>
                </a:lnTo>
                <a:lnTo>
                  <a:pt x="1039" y="493"/>
                </a:lnTo>
                <a:lnTo>
                  <a:pt x="1039" y="492"/>
                </a:lnTo>
                <a:close/>
                <a:moveTo>
                  <a:pt x="255" y="585"/>
                </a:moveTo>
                <a:lnTo>
                  <a:pt x="252" y="585"/>
                </a:lnTo>
                <a:lnTo>
                  <a:pt x="258" y="585"/>
                </a:lnTo>
                <a:lnTo>
                  <a:pt x="255" y="585"/>
                </a:lnTo>
                <a:close/>
                <a:moveTo>
                  <a:pt x="759" y="861"/>
                </a:moveTo>
                <a:lnTo>
                  <a:pt x="757" y="861"/>
                </a:lnTo>
                <a:lnTo>
                  <a:pt x="759" y="862"/>
                </a:lnTo>
                <a:lnTo>
                  <a:pt x="759" y="861"/>
                </a:lnTo>
                <a:lnTo>
                  <a:pt x="761" y="861"/>
                </a:lnTo>
                <a:lnTo>
                  <a:pt x="759" y="860"/>
                </a:lnTo>
                <a:lnTo>
                  <a:pt x="759" y="861"/>
                </a:lnTo>
                <a:close/>
                <a:moveTo>
                  <a:pt x="836" y="929"/>
                </a:moveTo>
                <a:lnTo>
                  <a:pt x="836" y="927"/>
                </a:lnTo>
                <a:lnTo>
                  <a:pt x="836" y="926"/>
                </a:lnTo>
                <a:lnTo>
                  <a:pt x="836" y="929"/>
                </a:lnTo>
                <a:close/>
                <a:moveTo>
                  <a:pt x="1042" y="493"/>
                </a:moveTo>
                <a:lnTo>
                  <a:pt x="1043" y="493"/>
                </a:lnTo>
                <a:lnTo>
                  <a:pt x="1042" y="492"/>
                </a:lnTo>
                <a:lnTo>
                  <a:pt x="1042" y="493"/>
                </a:lnTo>
                <a:close/>
                <a:moveTo>
                  <a:pt x="831" y="903"/>
                </a:moveTo>
                <a:lnTo>
                  <a:pt x="829" y="904"/>
                </a:lnTo>
                <a:lnTo>
                  <a:pt x="833" y="904"/>
                </a:lnTo>
                <a:lnTo>
                  <a:pt x="831" y="903"/>
                </a:lnTo>
                <a:close/>
                <a:moveTo>
                  <a:pt x="770" y="867"/>
                </a:moveTo>
                <a:lnTo>
                  <a:pt x="771" y="866"/>
                </a:lnTo>
                <a:lnTo>
                  <a:pt x="767" y="866"/>
                </a:lnTo>
                <a:lnTo>
                  <a:pt x="770" y="867"/>
                </a:lnTo>
                <a:close/>
                <a:moveTo>
                  <a:pt x="761" y="861"/>
                </a:moveTo>
                <a:lnTo>
                  <a:pt x="768" y="865"/>
                </a:lnTo>
                <a:lnTo>
                  <a:pt x="770" y="865"/>
                </a:lnTo>
                <a:lnTo>
                  <a:pt x="767" y="862"/>
                </a:lnTo>
                <a:lnTo>
                  <a:pt x="771" y="862"/>
                </a:lnTo>
                <a:lnTo>
                  <a:pt x="770" y="861"/>
                </a:lnTo>
                <a:lnTo>
                  <a:pt x="767" y="861"/>
                </a:lnTo>
                <a:lnTo>
                  <a:pt x="761" y="861"/>
                </a:lnTo>
                <a:close/>
                <a:moveTo>
                  <a:pt x="773" y="863"/>
                </a:moveTo>
                <a:lnTo>
                  <a:pt x="771" y="863"/>
                </a:lnTo>
                <a:lnTo>
                  <a:pt x="771" y="863"/>
                </a:lnTo>
                <a:lnTo>
                  <a:pt x="773" y="863"/>
                </a:lnTo>
                <a:close/>
                <a:moveTo>
                  <a:pt x="1903" y="1720"/>
                </a:moveTo>
                <a:lnTo>
                  <a:pt x="1903" y="1718"/>
                </a:lnTo>
                <a:lnTo>
                  <a:pt x="1901" y="1719"/>
                </a:lnTo>
                <a:lnTo>
                  <a:pt x="1900" y="1719"/>
                </a:lnTo>
                <a:lnTo>
                  <a:pt x="1903" y="1720"/>
                </a:lnTo>
                <a:close/>
                <a:moveTo>
                  <a:pt x="1538" y="2421"/>
                </a:moveTo>
                <a:lnTo>
                  <a:pt x="1541" y="2423"/>
                </a:lnTo>
                <a:lnTo>
                  <a:pt x="1541" y="2421"/>
                </a:lnTo>
                <a:lnTo>
                  <a:pt x="1540" y="2420"/>
                </a:lnTo>
                <a:lnTo>
                  <a:pt x="1541" y="2420"/>
                </a:lnTo>
                <a:lnTo>
                  <a:pt x="1538" y="2420"/>
                </a:lnTo>
                <a:lnTo>
                  <a:pt x="1537" y="2423"/>
                </a:lnTo>
                <a:lnTo>
                  <a:pt x="1538" y="2421"/>
                </a:lnTo>
                <a:close/>
                <a:moveTo>
                  <a:pt x="1542" y="2418"/>
                </a:moveTo>
                <a:lnTo>
                  <a:pt x="1542" y="2418"/>
                </a:lnTo>
                <a:lnTo>
                  <a:pt x="1542" y="2418"/>
                </a:lnTo>
                <a:lnTo>
                  <a:pt x="1542" y="2418"/>
                </a:lnTo>
                <a:close/>
                <a:moveTo>
                  <a:pt x="1543" y="2417"/>
                </a:moveTo>
                <a:lnTo>
                  <a:pt x="1542" y="2418"/>
                </a:lnTo>
                <a:lnTo>
                  <a:pt x="1543" y="2418"/>
                </a:lnTo>
                <a:lnTo>
                  <a:pt x="1543" y="2417"/>
                </a:lnTo>
                <a:close/>
                <a:moveTo>
                  <a:pt x="1541" y="2431"/>
                </a:moveTo>
                <a:lnTo>
                  <a:pt x="1542" y="2431"/>
                </a:lnTo>
                <a:lnTo>
                  <a:pt x="1542" y="2431"/>
                </a:lnTo>
                <a:lnTo>
                  <a:pt x="1541" y="2430"/>
                </a:lnTo>
                <a:lnTo>
                  <a:pt x="1543" y="2429"/>
                </a:lnTo>
                <a:lnTo>
                  <a:pt x="1543" y="2428"/>
                </a:lnTo>
                <a:lnTo>
                  <a:pt x="1539" y="2429"/>
                </a:lnTo>
                <a:lnTo>
                  <a:pt x="1539" y="2431"/>
                </a:lnTo>
                <a:lnTo>
                  <a:pt x="1541" y="2430"/>
                </a:lnTo>
                <a:lnTo>
                  <a:pt x="1541" y="2431"/>
                </a:lnTo>
                <a:close/>
                <a:moveTo>
                  <a:pt x="1533" y="2420"/>
                </a:moveTo>
                <a:lnTo>
                  <a:pt x="1533" y="2418"/>
                </a:lnTo>
                <a:lnTo>
                  <a:pt x="1530" y="2418"/>
                </a:lnTo>
                <a:lnTo>
                  <a:pt x="1533" y="2420"/>
                </a:lnTo>
                <a:close/>
                <a:moveTo>
                  <a:pt x="1538" y="2429"/>
                </a:moveTo>
                <a:lnTo>
                  <a:pt x="1539" y="2428"/>
                </a:lnTo>
                <a:lnTo>
                  <a:pt x="1538" y="2425"/>
                </a:lnTo>
                <a:lnTo>
                  <a:pt x="1537" y="2428"/>
                </a:lnTo>
                <a:lnTo>
                  <a:pt x="1538" y="2429"/>
                </a:lnTo>
                <a:close/>
                <a:moveTo>
                  <a:pt x="1539" y="2424"/>
                </a:moveTo>
                <a:lnTo>
                  <a:pt x="1538" y="2423"/>
                </a:lnTo>
                <a:lnTo>
                  <a:pt x="1537" y="2423"/>
                </a:lnTo>
                <a:lnTo>
                  <a:pt x="1538" y="2425"/>
                </a:lnTo>
                <a:lnTo>
                  <a:pt x="1539" y="2424"/>
                </a:lnTo>
                <a:close/>
                <a:moveTo>
                  <a:pt x="1519" y="2485"/>
                </a:moveTo>
                <a:lnTo>
                  <a:pt x="1514" y="2485"/>
                </a:lnTo>
                <a:lnTo>
                  <a:pt x="1517" y="2488"/>
                </a:lnTo>
                <a:lnTo>
                  <a:pt x="1519" y="2486"/>
                </a:lnTo>
                <a:lnTo>
                  <a:pt x="1514" y="2492"/>
                </a:lnTo>
                <a:lnTo>
                  <a:pt x="1516" y="2493"/>
                </a:lnTo>
                <a:lnTo>
                  <a:pt x="1520" y="2489"/>
                </a:lnTo>
                <a:lnTo>
                  <a:pt x="1520" y="2489"/>
                </a:lnTo>
                <a:lnTo>
                  <a:pt x="1520" y="2488"/>
                </a:lnTo>
                <a:lnTo>
                  <a:pt x="1519" y="2485"/>
                </a:lnTo>
                <a:close/>
                <a:moveTo>
                  <a:pt x="1539" y="2517"/>
                </a:moveTo>
                <a:lnTo>
                  <a:pt x="1538" y="2516"/>
                </a:lnTo>
                <a:lnTo>
                  <a:pt x="1538" y="2517"/>
                </a:lnTo>
                <a:lnTo>
                  <a:pt x="1539" y="2517"/>
                </a:lnTo>
                <a:close/>
                <a:moveTo>
                  <a:pt x="1538" y="2523"/>
                </a:moveTo>
                <a:lnTo>
                  <a:pt x="1538" y="2523"/>
                </a:lnTo>
                <a:lnTo>
                  <a:pt x="1538" y="2517"/>
                </a:lnTo>
                <a:lnTo>
                  <a:pt x="1538" y="2517"/>
                </a:lnTo>
                <a:lnTo>
                  <a:pt x="1535" y="2516"/>
                </a:lnTo>
                <a:lnTo>
                  <a:pt x="1538" y="2523"/>
                </a:lnTo>
                <a:close/>
                <a:moveTo>
                  <a:pt x="1911" y="1708"/>
                </a:moveTo>
                <a:lnTo>
                  <a:pt x="1910" y="1711"/>
                </a:lnTo>
                <a:lnTo>
                  <a:pt x="1911" y="1712"/>
                </a:lnTo>
                <a:lnTo>
                  <a:pt x="1911" y="1712"/>
                </a:lnTo>
                <a:lnTo>
                  <a:pt x="1911" y="1708"/>
                </a:lnTo>
                <a:lnTo>
                  <a:pt x="1911" y="1708"/>
                </a:lnTo>
                <a:close/>
                <a:moveTo>
                  <a:pt x="1531" y="2475"/>
                </a:moveTo>
                <a:lnTo>
                  <a:pt x="1535" y="2477"/>
                </a:lnTo>
                <a:lnTo>
                  <a:pt x="1533" y="2474"/>
                </a:lnTo>
                <a:lnTo>
                  <a:pt x="1531" y="2475"/>
                </a:lnTo>
                <a:close/>
                <a:moveTo>
                  <a:pt x="1531" y="2416"/>
                </a:moveTo>
                <a:lnTo>
                  <a:pt x="1533" y="2418"/>
                </a:lnTo>
                <a:lnTo>
                  <a:pt x="1535" y="2416"/>
                </a:lnTo>
                <a:lnTo>
                  <a:pt x="1533" y="2414"/>
                </a:lnTo>
                <a:lnTo>
                  <a:pt x="1531" y="2416"/>
                </a:lnTo>
                <a:close/>
                <a:moveTo>
                  <a:pt x="1531" y="2466"/>
                </a:moveTo>
                <a:lnTo>
                  <a:pt x="1533" y="2470"/>
                </a:lnTo>
                <a:lnTo>
                  <a:pt x="1539" y="2467"/>
                </a:lnTo>
                <a:lnTo>
                  <a:pt x="1541" y="2467"/>
                </a:lnTo>
                <a:lnTo>
                  <a:pt x="1536" y="2466"/>
                </a:lnTo>
                <a:lnTo>
                  <a:pt x="1535" y="2466"/>
                </a:lnTo>
                <a:lnTo>
                  <a:pt x="1531" y="2466"/>
                </a:lnTo>
                <a:close/>
                <a:moveTo>
                  <a:pt x="1520" y="2486"/>
                </a:moveTo>
                <a:lnTo>
                  <a:pt x="1524" y="2486"/>
                </a:lnTo>
                <a:lnTo>
                  <a:pt x="1523" y="2485"/>
                </a:lnTo>
                <a:lnTo>
                  <a:pt x="1519" y="2482"/>
                </a:lnTo>
                <a:lnTo>
                  <a:pt x="1520" y="2486"/>
                </a:lnTo>
                <a:close/>
                <a:moveTo>
                  <a:pt x="1527" y="2520"/>
                </a:moveTo>
                <a:lnTo>
                  <a:pt x="1530" y="2524"/>
                </a:lnTo>
                <a:lnTo>
                  <a:pt x="1527" y="2524"/>
                </a:lnTo>
                <a:lnTo>
                  <a:pt x="1526" y="2520"/>
                </a:lnTo>
                <a:lnTo>
                  <a:pt x="1526" y="2520"/>
                </a:lnTo>
                <a:lnTo>
                  <a:pt x="1526" y="2524"/>
                </a:lnTo>
                <a:lnTo>
                  <a:pt x="1526" y="2527"/>
                </a:lnTo>
                <a:lnTo>
                  <a:pt x="1527" y="2528"/>
                </a:lnTo>
                <a:lnTo>
                  <a:pt x="1531" y="2526"/>
                </a:lnTo>
                <a:lnTo>
                  <a:pt x="1533" y="2527"/>
                </a:lnTo>
                <a:lnTo>
                  <a:pt x="1533" y="2524"/>
                </a:lnTo>
                <a:lnTo>
                  <a:pt x="1533" y="2522"/>
                </a:lnTo>
                <a:lnTo>
                  <a:pt x="1527" y="2520"/>
                </a:lnTo>
                <a:close/>
                <a:moveTo>
                  <a:pt x="1878" y="1695"/>
                </a:moveTo>
                <a:lnTo>
                  <a:pt x="1878" y="1695"/>
                </a:lnTo>
                <a:lnTo>
                  <a:pt x="1874" y="1695"/>
                </a:lnTo>
                <a:lnTo>
                  <a:pt x="1873" y="1697"/>
                </a:lnTo>
                <a:lnTo>
                  <a:pt x="1875" y="1697"/>
                </a:lnTo>
                <a:lnTo>
                  <a:pt x="1877" y="1697"/>
                </a:lnTo>
                <a:lnTo>
                  <a:pt x="1878" y="1695"/>
                </a:lnTo>
                <a:close/>
                <a:moveTo>
                  <a:pt x="3853" y="292"/>
                </a:moveTo>
                <a:lnTo>
                  <a:pt x="3849" y="292"/>
                </a:lnTo>
                <a:lnTo>
                  <a:pt x="3856" y="292"/>
                </a:lnTo>
                <a:lnTo>
                  <a:pt x="3853" y="292"/>
                </a:lnTo>
                <a:close/>
                <a:moveTo>
                  <a:pt x="1812" y="1608"/>
                </a:moveTo>
                <a:lnTo>
                  <a:pt x="1813" y="1608"/>
                </a:lnTo>
                <a:lnTo>
                  <a:pt x="1813" y="1608"/>
                </a:lnTo>
                <a:lnTo>
                  <a:pt x="1814" y="1607"/>
                </a:lnTo>
                <a:lnTo>
                  <a:pt x="1812" y="1608"/>
                </a:lnTo>
                <a:close/>
                <a:moveTo>
                  <a:pt x="1570" y="2596"/>
                </a:moveTo>
                <a:lnTo>
                  <a:pt x="1572" y="2600"/>
                </a:lnTo>
                <a:lnTo>
                  <a:pt x="1571" y="2596"/>
                </a:lnTo>
                <a:lnTo>
                  <a:pt x="1570" y="2596"/>
                </a:lnTo>
                <a:close/>
                <a:moveTo>
                  <a:pt x="1875" y="1697"/>
                </a:moveTo>
                <a:lnTo>
                  <a:pt x="1875" y="1699"/>
                </a:lnTo>
                <a:lnTo>
                  <a:pt x="1876" y="1698"/>
                </a:lnTo>
                <a:lnTo>
                  <a:pt x="1875" y="1697"/>
                </a:lnTo>
                <a:close/>
                <a:moveTo>
                  <a:pt x="755" y="833"/>
                </a:moveTo>
                <a:lnTo>
                  <a:pt x="752" y="834"/>
                </a:lnTo>
                <a:lnTo>
                  <a:pt x="756" y="836"/>
                </a:lnTo>
                <a:lnTo>
                  <a:pt x="756" y="834"/>
                </a:lnTo>
                <a:lnTo>
                  <a:pt x="756" y="834"/>
                </a:lnTo>
                <a:lnTo>
                  <a:pt x="755" y="833"/>
                </a:lnTo>
                <a:close/>
                <a:moveTo>
                  <a:pt x="1878" y="1697"/>
                </a:moveTo>
                <a:lnTo>
                  <a:pt x="1876" y="1698"/>
                </a:lnTo>
                <a:lnTo>
                  <a:pt x="1877" y="1698"/>
                </a:lnTo>
                <a:lnTo>
                  <a:pt x="1878" y="1697"/>
                </a:lnTo>
                <a:close/>
                <a:moveTo>
                  <a:pt x="1725" y="1563"/>
                </a:moveTo>
                <a:lnTo>
                  <a:pt x="1725" y="1565"/>
                </a:lnTo>
                <a:lnTo>
                  <a:pt x="1728" y="1564"/>
                </a:lnTo>
                <a:lnTo>
                  <a:pt x="1726" y="1565"/>
                </a:lnTo>
                <a:lnTo>
                  <a:pt x="1727" y="1564"/>
                </a:lnTo>
                <a:lnTo>
                  <a:pt x="1728" y="1563"/>
                </a:lnTo>
                <a:lnTo>
                  <a:pt x="1726" y="1563"/>
                </a:lnTo>
                <a:lnTo>
                  <a:pt x="1725" y="1563"/>
                </a:lnTo>
                <a:close/>
                <a:moveTo>
                  <a:pt x="1488" y="1629"/>
                </a:moveTo>
                <a:lnTo>
                  <a:pt x="1491" y="1629"/>
                </a:lnTo>
                <a:lnTo>
                  <a:pt x="1490" y="1627"/>
                </a:lnTo>
                <a:lnTo>
                  <a:pt x="1490" y="1626"/>
                </a:lnTo>
                <a:lnTo>
                  <a:pt x="1488" y="1629"/>
                </a:lnTo>
                <a:close/>
                <a:moveTo>
                  <a:pt x="1414" y="1550"/>
                </a:moveTo>
                <a:lnTo>
                  <a:pt x="1414" y="1550"/>
                </a:lnTo>
                <a:lnTo>
                  <a:pt x="1414" y="1551"/>
                </a:lnTo>
                <a:lnTo>
                  <a:pt x="1414" y="1550"/>
                </a:lnTo>
                <a:close/>
                <a:moveTo>
                  <a:pt x="1448" y="1736"/>
                </a:moveTo>
                <a:lnTo>
                  <a:pt x="1450" y="1736"/>
                </a:lnTo>
                <a:lnTo>
                  <a:pt x="1454" y="1732"/>
                </a:lnTo>
                <a:lnTo>
                  <a:pt x="1453" y="1732"/>
                </a:lnTo>
                <a:lnTo>
                  <a:pt x="1451" y="1732"/>
                </a:lnTo>
                <a:lnTo>
                  <a:pt x="1453" y="1728"/>
                </a:lnTo>
                <a:lnTo>
                  <a:pt x="1450" y="1730"/>
                </a:lnTo>
                <a:lnTo>
                  <a:pt x="1450" y="1732"/>
                </a:lnTo>
                <a:lnTo>
                  <a:pt x="1448" y="1736"/>
                </a:lnTo>
                <a:close/>
                <a:moveTo>
                  <a:pt x="1546" y="2394"/>
                </a:moveTo>
                <a:lnTo>
                  <a:pt x="1546" y="2395"/>
                </a:lnTo>
                <a:lnTo>
                  <a:pt x="1549" y="2395"/>
                </a:lnTo>
                <a:lnTo>
                  <a:pt x="1549" y="2395"/>
                </a:lnTo>
                <a:lnTo>
                  <a:pt x="1546" y="2394"/>
                </a:lnTo>
                <a:close/>
                <a:moveTo>
                  <a:pt x="1578" y="1515"/>
                </a:moveTo>
                <a:lnTo>
                  <a:pt x="1569" y="1519"/>
                </a:lnTo>
                <a:lnTo>
                  <a:pt x="1568" y="1520"/>
                </a:lnTo>
                <a:lnTo>
                  <a:pt x="1576" y="1517"/>
                </a:lnTo>
                <a:lnTo>
                  <a:pt x="1578" y="1515"/>
                </a:lnTo>
                <a:close/>
                <a:moveTo>
                  <a:pt x="1414" y="1551"/>
                </a:moveTo>
                <a:lnTo>
                  <a:pt x="1414" y="1551"/>
                </a:lnTo>
                <a:lnTo>
                  <a:pt x="1414" y="1551"/>
                </a:lnTo>
                <a:lnTo>
                  <a:pt x="1414" y="1551"/>
                </a:lnTo>
                <a:close/>
                <a:moveTo>
                  <a:pt x="1568" y="1520"/>
                </a:moveTo>
                <a:lnTo>
                  <a:pt x="1568" y="1521"/>
                </a:lnTo>
                <a:lnTo>
                  <a:pt x="1568" y="1520"/>
                </a:lnTo>
                <a:lnTo>
                  <a:pt x="1568" y="1520"/>
                </a:lnTo>
                <a:close/>
                <a:moveTo>
                  <a:pt x="1526" y="2528"/>
                </a:moveTo>
                <a:lnTo>
                  <a:pt x="1526" y="2527"/>
                </a:lnTo>
                <a:lnTo>
                  <a:pt x="1524" y="2528"/>
                </a:lnTo>
                <a:lnTo>
                  <a:pt x="1526" y="2528"/>
                </a:lnTo>
                <a:close/>
                <a:moveTo>
                  <a:pt x="1751" y="2536"/>
                </a:moveTo>
                <a:lnTo>
                  <a:pt x="1752" y="2535"/>
                </a:lnTo>
                <a:lnTo>
                  <a:pt x="1747" y="2533"/>
                </a:lnTo>
                <a:lnTo>
                  <a:pt x="1747" y="2535"/>
                </a:lnTo>
                <a:lnTo>
                  <a:pt x="1747" y="2536"/>
                </a:lnTo>
                <a:lnTo>
                  <a:pt x="1739" y="2535"/>
                </a:lnTo>
                <a:lnTo>
                  <a:pt x="1739" y="2539"/>
                </a:lnTo>
                <a:lnTo>
                  <a:pt x="1738" y="2539"/>
                </a:lnTo>
                <a:lnTo>
                  <a:pt x="1731" y="2536"/>
                </a:lnTo>
                <a:lnTo>
                  <a:pt x="1737" y="2540"/>
                </a:lnTo>
                <a:lnTo>
                  <a:pt x="1727" y="2540"/>
                </a:lnTo>
                <a:lnTo>
                  <a:pt x="1727" y="2542"/>
                </a:lnTo>
                <a:lnTo>
                  <a:pt x="1737" y="2543"/>
                </a:lnTo>
                <a:lnTo>
                  <a:pt x="1738" y="2543"/>
                </a:lnTo>
                <a:lnTo>
                  <a:pt x="1731" y="2544"/>
                </a:lnTo>
                <a:lnTo>
                  <a:pt x="1731" y="2547"/>
                </a:lnTo>
                <a:lnTo>
                  <a:pt x="1730" y="2547"/>
                </a:lnTo>
                <a:lnTo>
                  <a:pt x="1726" y="2548"/>
                </a:lnTo>
                <a:lnTo>
                  <a:pt x="1731" y="2550"/>
                </a:lnTo>
                <a:lnTo>
                  <a:pt x="1737" y="2549"/>
                </a:lnTo>
                <a:lnTo>
                  <a:pt x="1738" y="2547"/>
                </a:lnTo>
                <a:lnTo>
                  <a:pt x="1741" y="2547"/>
                </a:lnTo>
                <a:lnTo>
                  <a:pt x="1751" y="2537"/>
                </a:lnTo>
                <a:lnTo>
                  <a:pt x="1751" y="2536"/>
                </a:lnTo>
                <a:lnTo>
                  <a:pt x="1751" y="2536"/>
                </a:lnTo>
                <a:close/>
                <a:moveTo>
                  <a:pt x="1671" y="2608"/>
                </a:moveTo>
                <a:lnTo>
                  <a:pt x="1674" y="2609"/>
                </a:lnTo>
                <a:lnTo>
                  <a:pt x="1677" y="2608"/>
                </a:lnTo>
                <a:lnTo>
                  <a:pt x="1685" y="2608"/>
                </a:lnTo>
                <a:lnTo>
                  <a:pt x="1686" y="2606"/>
                </a:lnTo>
                <a:lnTo>
                  <a:pt x="1674" y="2608"/>
                </a:lnTo>
                <a:lnTo>
                  <a:pt x="1671" y="2608"/>
                </a:lnTo>
                <a:close/>
                <a:moveTo>
                  <a:pt x="1593" y="2592"/>
                </a:moveTo>
                <a:lnTo>
                  <a:pt x="1594" y="2592"/>
                </a:lnTo>
                <a:lnTo>
                  <a:pt x="1589" y="2590"/>
                </a:lnTo>
                <a:lnTo>
                  <a:pt x="1593" y="2592"/>
                </a:lnTo>
                <a:close/>
                <a:moveTo>
                  <a:pt x="1648" y="2600"/>
                </a:moveTo>
                <a:lnTo>
                  <a:pt x="1626" y="2587"/>
                </a:lnTo>
                <a:lnTo>
                  <a:pt x="1626" y="2586"/>
                </a:lnTo>
                <a:lnTo>
                  <a:pt x="1622" y="2580"/>
                </a:lnTo>
                <a:lnTo>
                  <a:pt x="1619" y="2575"/>
                </a:lnTo>
                <a:lnTo>
                  <a:pt x="1614" y="2572"/>
                </a:lnTo>
                <a:lnTo>
                  <a:pt x="1614" y="2570"/>
                </a:lnTo>
                <a:lnTo>
                  <a:pt x="1616" y="2569"/>
                </a:lnTo>
                <a:lnTo>
                  <a:pt x="1621" y="2571"/>
                </a:lnTo>
                <a:lnTo>
                  <a:pt x="1617" y="2567"/>
                </a:lnTo>
                <a:lnTo>
                  <a:pt x="1614" y="2563"/>
                </a:lnTo>
                <a:lnTo>
                  <a:pt x="1614" y="2560"/>
                </a:lnTo>
                <a:lnTo>
                  <a:pt x="1612" y="2557"/>
                </a:lnTo>
                <a:lnTo>
                  <a:pt x="1608" y="2561"/>
                </a:lnTo>
                <a:lnTo>
                  <a:pt x="1605" y="2555"/>
                </a:lnTo>
                <a:lnTo>
                  <a:pt x="1602" y="2557"/>
                </a:lnTo>
                <a:lnTo>
                  <a:pt x="1601" y="2564"/>
                </a:lnTo>
                <a:lnTo>
                  <a:pt x="1597" y="2564"/>
                </a:lnTo>
                <a:lnTo>
                  <a:pt x="1594" y="2562"/>
                </a:lnTo>
                <a:lnTo>
                  <a:pt x="1590" y="2563"/>
                </a:lnTo>
                <a:lnTo>
                  <a:pt x="1595" y="2564"/>
                </a:lnTo>
                <a:lnTo>
                  <a:pt x="1594" y="2568"/>
                </a:lnTo>
                <a:lnTo>
                  <a:pt x="1593" y="2568"/>
                </a:lnTo>
                <a:lnTo>
                  <a:pt x="1590" y="2566"/>
                </a:lnTo>
                <a:lnTo>
                  <a:pt x="1590" y="2567"/>
                </a:lnTo>
                <a:lnTo>
                  <a:pt x="1590" y="2574"/>
                </a:lnTo>
                <a:lnTo>
                  <a:pt x="1594" y="2576"/>
                </a:lnTo>
                <a:lnTo>
                  <a:pt x="1598" y="2576"/>
                </a:lnTo>
                <a:lnTo>
                  <a:pt x="1605" y="2576"/>
                </a:lnTo>
                <a:lnTo>
                  <a:pt x="1606" y="2579"/>
                </a:lnTo>
                <a:lnTo>
                  <a:pt x="1597" y="2581"/>
                </a:lnTo>
                <a:lnTo>
                  <a:pt x="1594" y="2585"/>
                </a:lnTo>
                <a:lnTo>
                  <a:pt x="1595" y="2589"/>
                </a:lnTo>
                <a:lnTo>
                  <a:pt x="1611" y="2596"/>
                </a:lnTo>
                <a:lnTo>
                  <a:pt x="1606" y="2597"/>
                </a:lnTo>
                <a:lnTo>
                  <a:pt x="1606" y="2597"/>
                </a:lnTo>
                <a:lnTo>
                  <a:pt x="1598" y="2594"/>
                </a:lnTo>
                <a:lnTo>
                  <a:pt x="1601" y="2598"/>
                </a:lnTo>
                <a:lnTo>
                  <a:pt x="1595" y="2592"/>
                </a:lnTo>
                <a:lnTo>
                  <a:pt x="1594" y="2594"/>
                </a:lnTo>
                <a:lnTo>
                  <a:pt x="1595" y="2596"/>
                </a:lnTo>
                <a:lnTo>
                  <a:pt x="1594" y="2596"/>
                </a:lnTo>
                <a:lnTo>
                  <a:pt x="1584" y="2591"/>
                </a:lnTo>
                <a:lnTo>
                  <a:pt x="1584" y="2591"/>
                </a:lnTo>
                <a:lnTo>
                  <a:pt x="1584" y="2591"/>
                </a:lnTo>
                <a:lnTo>
                  <a:pt x="1582" y="2590"/>
                </a:lnTo>
                <a:lnTo>
                  <a:pt x="1583" y="2592"/>
                </a:lnTo>
                <a:lnTo>
                  <a:pt x="1582" y="2592"/>
                </a:lnTo>
                <a:lnTo>
                  <a:pt x="1587" y="2594"/>
                </a:lnTo>
                <a:lnTo>
                  <a:pt x="1590" y="2597"/>
                </a:lnTo>
                <a:lnTo>
                  <a:pt x="1594" y="2600"/>
                </a:lnTo>
                <a:lnTo>
                  <a:pt x="1593" y="2600"/>
                </a:lnTo>
                <a:lnTo>
                  <a:pt x="1587" y="2597"/>
                </a:lnTo>
                <a:lnTo>
                  <a:pt x="1586" y="2599"/>
                </a:lnTo>
                <a:lnTo>
                  <a:pt x="1587" y="2596"/>
                </a:lnTo>
                <a:lnTo>
                  <a:pt x="1584" y="2596"/>
                </a:lnTo>
                <a:lnTo>
                  <a:pt x="1582" y="2596"/>
                </a:lnTo>
                <a:lnTo>
                  <a:pt x="1582" y="2597"/>
                </a:lnTo>
                <a:lnTo>
                  <a:pt x="1576" y="2596"/>
                </a:lnTo>
                <a:lnTo>
                  <a:pt x="1572" y="2596"/>
                </a:lnTo>
                <a:lnTo>
                  <a:pt x="1575" y="2600"/>
                </a:lnTo>
                <a:lnTo>
                  <a:pt x="1572" y="2600"/>
                </a:lnTo>
                <a:lnTo>
                  <a:pt x="1571" y="2600"/>
                </a:lnTo>
                <a:lnTo>
                  <a:pt x="1568" y="2600"/>
                </a:lnTo>
                <a:lnTo>
                  <a:pt x="1567" y="2600"/>
                </a:lnTo>
                <a:lnTo>
                  <a:pt x="1568" y="2601"/>
                </a:lnTo>
                <a:lnTo>
                  <a:pt x="1570" y="2601"/>
                </a:lnTo>
                <a:lnTo>
                  <a:pt x="1570" y="2603"/>
                </a:lnTo>
                <a:lnTo>
                  <a:pt x="1569" y="2602"/>
                </a:lnTo>
                <a:lnTo>
                  <a:pt x="1568" y="2604"/>
                </a:lnTo>
                <a:lnTo>
                  <a:pt x="1571" y="2604"/>
                </a:lnTo>
                <a:lnTo>
                  <a:pt x="1575" y="2603"/>
                </a:lnTo>
                <a:lnTo>
                  <a:pt x="1576" y="2598"/>
                </a:lnTo>
                <a:lnTo>
                  <a:pt x="1578" y="2602"/>
                </a:lnTo>
                <a:lnTo>
                  <a:pt x="1583" y="2601"/>
                </a:lnTo>
                <a:lnTo>
                  <a:pt x="1582" y="2603"/>
                </a:lnTo>
                <a:lnTo>
                  <a:pt x="1589" y="2601"/>
                </a:lnTo>
                <a:lnTo>
                  <a:pt x="1584" y="2603"/>
                </a:lnTo>
                <a:lnTo>
                  <a:pt x="1586" y="2605"/>
                </a:lnTo>
                <a:lnTo>
                  <a:pt x="1589" y="2603"/>
                </a:lnTo>
                <a:lnTo>
                  <a:pt x="1590" y="2601"/>
                </a:lnTo>
                <a:lnTo>
                  <a:pt x="1590" y="2603"/>
                </a:lnTo>
                <a:lnTo>
                  <a:pt x="1590" y="2605"/>
                </a:lnTo>
                <a:lnTo>
                  <a:pt x="1597" y="2603"/>
                </a:lnTo>
                <a:lnTo>
                  <a:pt x="1598" y="2601"/>
                </a:lnTo>
                <a:lnTo>
                  <a:pt x="1598" y="2603"/>
                </a:lnTo>
                <a:lnTo>
                  <a:pt x="1607" y="2607"/>
                </a:lnTo>
                <a:lnTo>
                  <a:pt x="1614" y="2605"/>
                </a:lnTo>
                <a:lnTo>
                  <a:pt x="1614" y="2607"/>
                </a:lnTo>
                <a:lnTo>
                  <a:pt x="1617" y="2607"/>
                </a:lnTo>
                <a:lnTo>
                  <a:pt x="1620" y="2608"/>
                </a:lnTo>
                <a:lnTo>
                  <a:pt x="1622" y="2608"/>
                </a:lnTo>
                <a:lnTo>
                  <a:pt x="1623" y="2608"/>
                </a:lnTo>
                <a:lnTo>
                  <a:pt x="1624" y="2613"/>
                </a:lnTo>
                <a:lnTo>
                  <a:pt x="1626" y="2612"/>
                </a:lnTo>
                <a:lnTo>
                  <a:pt x="1626" y="2616"/>
                </a:lnTo>
                <a:lnTo>
                  <a:pt x="1630" y="2616"/>
                </a:lnTo>
                <a:lnTo>
                  <a:pt x="1632" y="2612"/>
                </a:lnTo>
                <a:lnTo>
                  <a:pt x="1634" y="2612"/>
                </a:lnTo>
                <a:lnTo>
                  <a:pt x="1634" y="2616"/>
                </a:lnTo>
                <a:lnTo>
                  <a:pt x="1638" y="2616"/>
                </a:lnTo>
                <a:lnTo>
                  <a:pt x="1639" y="2611"/>
                </a:lnTo>
                <a:lnTo>
                  <a:pt x="1635" y="2609"/>
                </a:lnTo>
                <a:lnTo>
                  <a:pt x="1629" y="2608"/>
                </a:lnTo>
                <a:lnTo>
                  <a:pt x="1639" y="2608"/>
                </a:lnTo>
                <a:lnTo>
                  <a:pt x="1640" y="2608"/>
                </a:lnTo>
                <a:lnTo>
                  <a:pt x="1641" y="2608"/>
                </a:lnTo>
                <a:lnTo>
                  <a:pt x="1643" y="2609"/>
                </a:lnTo>
                <a:lnTo>
                  <a:pt x="1641" y="2609"/>
                </a:lnTo>
                <a:lnTo>
                  <a:pt x="1647" y="2611"/>
                </a:lnTo>
                <a:lnTo>
                  <a:pt x="1655" y="2607"/>
                </a:lnTo>
                <a:lnTo>
                  <a:pt x="1663" y="2610"/>
                </a:lnTo>
                <a:lnTo>
                  <a:pt x="1667" y="2604"/>
                </a:lnTo>
                <a:lnTo>
                  <a:pt x="1658" y="2604"/>
                </a:lnTo>
                <a:lnTo>
                  <a:pt x="1648" y="2600"/>
                </a:lnTo>
                <a:close/>
                <a:moveTo>
                  <a:pt x="1755" y="2542"/>
                </a:moveTo>
                <a:lnTo>
                  <a:pt x="1755" y="2543"/>
                </a:lnTo>
                <a:lnTo>
                  <a:pt x="1754" y="2543"/>
                </a:lnTo>
                <a:lnTo>
                  <a:pt x="1749" y="2546"/>
                </a:lnTo>
                <a:lnTo>
                  <a:pt x="1744" y="2550"/>
                </a:lnTo>
                <a:lnTo>
                  <a:pt x="1747" y="2554"/>
                </a:lnTo>
                <a:lnTo>
                  <a:pt x="1747" y="2549"/>
                </a:lnTo>
                <a:lnTo>
                  <a:pt x="1751" y="2550"/>
                </a:lnTo>
                <a:lnTo>
                  <a:pt x="1751" y="2549"/>
                </a:lnTo>
                <a:lnTo>
                  <a:pt x="1753" y="2547"/>
                </a:lnTo>
                <a:lnTo>
                  <a:pt x="1754" y="2547"/>
                </a:lnTo>
                <a:lnTo>
                  <a:pt x="1756" y="2549"/>
                </a:lnTo>
                <a:lnTo>
                  <a:pt x="1759" y="2547"/>
                </a:lnTo>
                <a:lnTo>
                  <a:pt x="1759" y="2546"/>
                </a:lnTo>
                <a:lnTo>
                  <a:pt x="1755" y="2544"/>
                </a:lnTo>
                <a:lnTo>
                  <a:pt x="1755" y="2542"/>
                </a:lnTo>
                <a:close/>
                <a:moveTo>
                  <a:pt x="1728" y="2546"/>
                </a:moveTo>
                <a:lnTo>
                  <a:pt x="1726" y="2542"/>
                </a:lnTo>
                <a:lnTo>
                  <a:pt x="1725" y="2542"/>
                </a:lnTo>
                <a:lnTo>
                  <a:pt x="1722" y="2542"/>
                </a:lnTo>
                <a:lnTo>
                  <a:pt x="1726" y="2546"/>
                </a:lnTo>
                <a:lnTo>
                  <a:pt x="1728" y="2546"/>
                </a:lnTo>
                <a:close/>
                <a:moveTo>
                  <a:pt x="1721" y="2544"/>
                </a:moveTo>
                <a:lnTo>
                  <a:pt x="1722" y="2542"/>
                </a:lnTo>
                <a:lnTo>
                  <a:pt x="1721" y="2542"/>
                </a:lnTo>
                <a:lnTo>
                  <a:pt x="1721" y="2544"/>
                </a:lnTo>
                <a:close/>
                <a:moveTo>
                  <a:pt x="1713" y="2309"/>
                </a:moveTo>
                <a:lnTo>
                  <a:pt x="1713" y="2307"/>
                </a:lnTo>
                <a:lnTo>
                  <a:pt x="1709" y="2305"/>
                </a:lnTo>
                <a:lnTo>
                  <a:pt x="1713" y="2309"/>
                </a:lnTo>
                <a:close/>
                <a:moveTo>
                  <a:pt x="3837" y="313"/>
                </a:moveTo>
                <a:lnTo>
                  <a:pt x="3830" y="314"/>
                </a:lnTo>
                <a:lnTo>
                  <a:pt x="3837" y="315"/>
                </a:lnTo>
                <a:lnTo>
                  <a:pt x="3837" y="313"/>
                </a:lnTo>
                <a:close/>
                <a:moveTo>
                  <a:pt x="1582" y="2590"/>
                </a:moveTo>
                <a:lnTo>
                  <a:pt x="1582" y="2590"/>
                </a:lnTo>
                <a:lnTo>
                  <a:pt x="1582" y="2589"/>
                </a:lnTo>
                <a:lnTo>
                  <a:pt x="1578" y="2586"/>
                </a:lnTo>
                <a:lnTo>
                  <a:pt x="1572" y="2585"/>
                </a:lnTo>
                <a:lnTo>
                  <a:pt x="1572" y="2587"/>
                </a:lnTo>
                <a:lnTo>
                  <a:pt x="1571" y="2585"/>
                </a:lnTo>
                <a:lnTo>
                  <a:pt x="1568" y="2584"/>
                </a:lnTo>
                <a:lnTo>
                  <a:pt x="1567" y="2586"/>
                </a:lnTo>
                <a:lnTo>
                  <a:pt x="1564" y="2585"/>
                </a:lnTo>
                <a:lnTo>
                  <a:pt x="1565" y="2589"/>
                </a:lnTo>
                <a:lnTo>
                  <a:pt x="1570" y="2594"/>
                </a:lnTo>
                <a:lnTo>
                  <a:pt x="1571" y="2592"/>
                </a:lnTo>
                <a:lnTo>
                  <a:pt x="1568" y="2586"/>
                </a:lnTo>
                <a:lnTo>
                  <a:pt x="1571" y="2590"/>
                </a:lnTo>
                <a:lnTo>
                  <a:pt x="1575" y="2592"/>
                </a:lnTo>
                <a:lnTo>
                  <a:pt x="1575" y="2591"/>
                </a:lnTo>
                <a:lnTo>
                  <a:pt x="1576" y="2594"/>
                </a:lnTo>
                <a:lnTo>
                  <a:pt x="1579" y="2596"/>
                </a:lnTo>
                <a:lnTo>
                  <a:pt x="1582" y="2592"/>
                </a:lnTo>
                <a:lnTo>
                  <a:pt x="1582" y="2592"/>
                </a:lnTo>
                <a:lnTo>
                  <a:pt x="1582" y="2590"/>
                </a:lnTo>
                <a:close/>
                <a:moveTo>
                  <a:pt x="1589" y="2593"/>
                </a:moveTo>
                <a:lnTo>
                  <a:pt x="1587" y="2587"/>
                </a:lnTo>
                <a:lnTo>
                  <a:pt x="1589" y="2588"/>
                </a:lnTo>
                <a:lnTo>
                  <a:pt x="1590" y="2588"/>
                </a:lnTo>
                <a:lnTo>
                  <a:pt x="1589" y="2579"/>
                </a:lnTo>
                <a:lnTo>
                  <a:pt x="1586" y="2583"/>
                </a:lnTo>
                <a:lnTo>
                  <a:pt x="1587" y="2588"/>
                </a:lnTo>
                <a:lnTo>
                  <a:pt x="1583" y="2588"/>
                </a:lnTo>
                <a:lnTo>
                  <a:pt x="1584" y="2591"/>
                </a:lnTo>
                <a:lnTo>
                  <a:pt x="1584" y="2591"/>
                </a:lnTo>
                <a:lnTo>
                  <a:pt x="1589" y="2593"/>
                </a:lnTo>
                <a:close/>
                <a:moveTo>
                  <a:pt x="3808" y="258"/>
                </a:moveTo>
                <a:lnTo>
                  <a:pt x="3802" y="258"/>
                </a:lnTo>
                <a:lnTo>
                  <a:pt x="3797" y="258"/>
                </a:lnTo>
                <a:lnTo>
                  <a:pt x="3796" y="258"/>
                </a:lnTo>
                <a:lnTo>
                  <a:pt x="3802" y="258"/>
                </a:lnTo>
                <a:lnTo>
                  <a:pt x="3808" y="258"/>
                </a:lnTo>
                <a:close/>
                <a:moveTo>
                  <a:pt x="3813" y="312"/>
                </a:moveTo>
                <a:lnTo>
                  <a:pt x="3813" y="310"/>
                </a:lnTo>
                <a:lnTo>
                  <a:pt x="3808" y="312"/>
                </a:lnTo>
                <a:lnTo>
                  <a:pt x="3813" y="312"/>
                </a:lnTo>
                <a:close/>
                <a:moveTo>
                  <a:pt x="3820" y="311"/>
                </a:moveTo>
                <a:lnTo>
                  <a:pt x="3815" y="314"/>
                </a:lnTo>
                <a:lnTo>
                  <a:pt x="3826" y="314"/>
                </a:lnTo>
                <a:lnTo>
                  <a:pt x="3820" y="311"/>
                </a:lnTo>
                <a:close/>
                <a:moveTo>
                  <a:pt x="1616" y="2608"/>
                </a:moveTo>
                <a:lnTo>
                  <a:pt x="1614" y="2608"/>
                </a:lnTo>
                <a:lnTo>
                  <a:pt x="1614" y="2607"/>
                </a:lnTo>
                <a:lnTo>
                  <a:pt x="1598" y="2608"/>
                </a:lnTo>
                <a:lnTo>
                  <a:pt x="1595" y="2609"/>
                </a:lnTo>
                <a:lnTo>
                  <a:pt x="1598" y="2613"/>
                </a:lnTo>
                <a:lnTo>
                  <a:pt x="1604" y="2612"/>
                </a:lnTo>
                <a:lnTo>
                  <a:pt x="1601" y="2613"/>
                </a:lnTo>
                <a:lnTo>
                  <a:pt x="1604" y="2616"/>
                </a:lnTo>
                <a:lnTo>
                  <a:pt x="1605" y="2616"/>
                </a:lnTo>
                <a:lnTo>
                  <a:pt x="1604" y="2618"/>
                </a:lnTo>
                <a:lnTo>
                  <a:pt x="1605" y="2620"/>
                </a:lnTo>
                <a:lnTo>
                  <a:pt x="1606" y="2620"/>
                </a:lnTo>
                <a:lnTo>
                  <a:pt x="1605" y="2615"/>
                </a:lnTo>
                <a:lnTo>
                  <a:pt x="1606" y="2612"/>
                </a:lnTo>
                <a:lnTo>
                  <a:pt x="1605" y="2612"/>
                </a:lnTo>
                <a:lnTo>
                  <a:pt x="1608" y="2609"/>
                </a:lnTo>
                <a:lnTo>
                  <a:pt x="1608" y="2613"/>
                </a:lnTo>
                <a:lnTo>
                  <a:pt x="1610" y="2612"/>
                </a:lnTo>
                <a:lnTo>
                  <a:pt x="1610" y="2616"/>
                </a:lnTo>
                <a:lnTo>
                  <a:pt x="1615" y="2616"/>
                </a:lnTo>
                <a:lnTo>
                  <a:pt x="1623" y="2616"/>
                </a:lnTo>
                <a:lnTo>
                  <a:pt x="1621" y="2612"/>
                </a:lnTo>
                <a:lnTo>
                  <a:pt x="1616" y="2612"/>
                </a:lnTo>
                <a:lnTo>
                  <a:pt x="1615" y="2612"/>
                </a:lnTo>
                <a:lnTo>
                  <a:pt x="1609" y="2608"/>
                </a:lnTo>
                <a:lnTo>
                  <a:pt x="1616" y="2612"/>
                </a:lnTo>
                <a:lnTo>
                  <a:pt x="1621" y="2608"/>
                </a:lnTo>
                <a:lnTo>
                  <a:pt x="1620" y="2608"/>
                </a:lnTo>
                <a:lnTo>
                  <a:pt x="1620" y="2608"/>
                </a:lnTo>
                <a:lnTo>
                  <a:pt x="1616" y="2608"/>
                </a:lnTo>
                <a:close/>
                <a:moveTo>
                  <a:pt x="2048" y="1903"/>
                </a:moveTo>
                <a:lnTo>
                  <a:pt x="2048" y="1904"/>
                </a:lnTo>
                <a:lnTo>
                  <a:pt x="2048" y="1904"/>
                </a:lnTo>
                <a:lnTo>
                  <a:pt x="2048" y="1904"/>
                </a:lnTo>
                <a:lnTo>
                  <a:pt x="2048" y="1904"/>
                </a:lnTo>
                <a:lnTo>
                  <a:pt x="2048" y="1903"/>
                </a:lnTo>
                <a:close/>
                <a:moveTo>
                  <a:pt x="2072" y="1865"/>
                </a:moveTo>
                <a:lnTo>
                  <a:pt x="2071" y="1866"/>
                </a:lnTo>
                <a:lnTo>
                  <a:pt x="2073" y="1865"/>
                </a:lnTo>
                <a:lnTo>
                  <a:pt x="2072" y="1865"/>
                </a:lnTo>
                <a:close/>
                <a:moveTo>
                  <a:pt x="3856" y="298"/>
                </a:moveTo>
                <a:lnTo>
                  <a:pt x="3849" y="300"/>
                </a:lnTo>
                <a:lnTo>
                  <a:pt x="3852" y="301"/>
                </a:lnTo>
                <a:lnTo>
                  <a:pt x="3856" y="298"/>
                </a:lnTo>
                <a:close/>
                <a:moveTo>
                  <a:pt x="2085" y="2596"/>
                </a:moveTo>
                <a:lnTo>
                  <a:pt x="2084" y="2596"/>
                </a:lnTo>
                <a:lnTo>
                  <a:pt x="2085" y="2599"/>
                </a:lnTo>
                <a:lnTo>
                  <a:pt x="2082" y="2596"/>
                </a:lnTo>
                <a:lnTo>
                  <a:pt x="2080" y="2596"/>
                </a:lnTo>
                <a:lnTo>
                  <a:pt x="2080" y="2590"/>
                </a:lnTo>
                <a:lnTo>
                  <a:pt x="2059" y="2589"/>
                </a:lnTo>
                <a:lnTo>
                  <a:pt x="2066" y="2592"/>
                </a:lnTo>
                <a:lnTo>
                  <a:pt x="2068" y="2592"/>
                </a:lnTo>
                <a:lnTo>
                  <a:pt x="2068" y="2596"/>
                </a:lnTo>
                <a:lnTo>
                  <a:pt x="2074" y="2596"/>
                </a:lnTo>
                <a:lnTo>
                  <a:pt x="2076" y="2596"/>
                </a:lnTo>
                <a:lnTo>
                  <a:pt x="2082" y="2601"/>
                </a:lnTo>
                <a:lnTo>
                  <a:pt x="2089" y="2608"/>
                </a:lnTo>
                <a:lnTo>
                  <a:pt x="2090" y="2608"/>
                </a:lnTo>
                <a:lnTo>
                  <a:pt x="2094" y="2608"/>
                </a:lnTo>
                <a:lnTo>
                  <a:pt x="2089" y="2602"/>
                </a:lnTo>
                <a:lnTo>
                  <a:pt x="2085" y="2596"/>
                </a:lnTo>
                <a:close/>
                <a:moveTo>
                  <a:pt x="1971" y="2044"/>
                </a:moveTo>
                <a:lnTo>
                  <a:pt x="1971" y="2046"/>
                </a:lnTo>
                <a:lnTo>
                  <a:pt x="1975" y="2044"/>
                </a:lnTo>
                <a:lnTo>
                  <a:pt x="1972" y="2042"/>
                </a:lnTo>
                <a:lnTo>
                  <a:pt x="1971" y="2044"/>
                </a:lnTo>
                <a:close/>
                <a:moveTo>
                  <a:pt x="1538" y="2539"/>
                </a:moveTo>
                <a:lnTo>
                  <a:pt x="1537" y="2538"/>
                </a:lnTo>
                <a:lnTo>
                  <a:pt x="1535" y="2539"/>
                </a:lnTo>
                <a:lnTo>
                  <a:pt x="1538" y="2542"/>
                </a:lnTo>
                <a:lnTo>
                  <a:pt x="1539" y="2539"/>
                </a:lnTo>
                <a:lnTo>
                  <a:pt x="1538" y="2539"/>
                </a:lnTo>
                <a:lnTo>
                  <a:pt x="1538" y="2539"/>
                </a:lnTo>
                <a:lnTo>
                  <a:pt x="1538" y="2539"/>
                </a:lnTo>
                <a:close/>
                <a:moveTo>
                  <a:pt x="1541" y="2542"/>
                </a:moveTo>
                <a:lnTo>
                  <a:pt x="1541" y="2539"/>
                </a:lnTo>
                <a:lnTo>
                  <a:pt x="1540" y="2539"/>
                </a:lnTo>
                <a:lnTo>
                  <a:pt x="1539" y="2539"/>
                </a:lnTo>
                <a:lnTo>
                  <a:pt x="1541" y="2542"/>
                </a:lnTo>
                <a:close/>
                <a:moveTo>
                  <a:pt x="3841" y="302"/>
                </a:moveTo>
                <a:lnTo>
                  <a:pt x="3846" y="302"/>
                </a:lnTo>
                <a:lnTo>
                  <a:pt x="3842" y="301"/>
                </a:lnTo>
                <a:lnTo>
                  <a:pt x="3837" y="302"/>
                </a:lnTo>
                <a:lnTo>
                  <a:pt x="3842" y="303"/>
                </a:lnTo>
                <a:lnTo>
                  <a:pt x="3841" y="302"/>
                </a:lnTo>
                <a:close/>
                <a:moveTo>
                  <a:pt x="1550" y="2576"/>
                </a:moveTo>
                <a:lnTo>
                  <a:pt x="1550" y="2578"/>
                </a:lnTo>
                <a:lnTo>
                  <a:pt x="1548" y="2576"/>
                </a:lnTo>
                <a:lnTo>
                  <a:pt x="1548" y="2576"/>
                </a:lnTo>
                <a:lnTo>
                  <a:pt x="1549" y="2576"/>
                </a:lnTo>
                <a:lnTo>
                  <a:pt x="1542" y="2569"/>
                </a:lnTo>
                <a:lnTo>
                  <a:pt x="1543" y="2567"/>
                </a:lnTo>
                <a:lnTo>
                  <a:pt x="1532" y="2566"/>
                </a:lnTo>
                <a:lnTo>
                  <a:pt x="1526" y="2561"/>
                </a:lnTo>
                <a:lnTo>
                  <a:pt x="1526" y="2562"/>
                </a:lnTo>
                <a:lnTo>
                  <a:pt x="1532" y="2569"/>
                </a:lnTo>
                <a:lnTo>
                  <a:pt x="1538" y="2568"/>
                </a:lnTo>
                <a:lnTo>
                  <a:pt x="1542" y="2572"/>
                </a:lnTo>
                <a:lnTo>
                  <a:pt x="1542" y="2573"/>
                </a:lnTo>
                <a:lnTo>
                  <a:pt x="1542" y="2573"/>
                </a:lnTo>
                <a:lnTo>
                  <a:pt x="1544" y="2576"/>
                </a:lnTo>
                <a:lnTo>
                  <a:pt x="1542" y="2576"/>
                </a:lnTo>
                <a:lnTo>
                  <a:pt x="1542" y="2575"/>
                </a:lnTo>
                <a:lnTo>
                  <a:pt x="1542" y="2579"/>
                </a:lnTo>
                <a:lnTo>
                  <a:pt x="1543" y="2578"/>
                </a:lnTo>
                <a:lnTo>
                  <a:pt x="1543" y="2578"/>
                </a:lnTo>
                <a:lnTo>
                  <a:pt x="1545" y="2580"/>
                </a:lnTo>
                <a:lnTo>
                  <a:pt x="1545" y="2580"/>
                </a:lnTo>
                <a:lnTo>
                  <a:pt x="1546" y="2581"/>
                </a:lnTo>
                <a:lnTo>
                  <a:pt x="1545" y="2583"/>
                </a:lnTo>
                <a:lnTo>
                  <a:pt x="1549" y="2581"/>
                </a:lnTo>
                <a:lnTo>
                  <a:pt x="1546" y="2579"/>
                </a:lnTo>
                <a:lnTo>
                  <a:pt x="1548" y="2578"/>
                </a:lnTo>
                <a:lnTo>
                  <a:pt x="1546" y="2576"/>
                </a:lnTo>
                <a:lnTo>
                  <a:pt x="1546" y="2576"/>
                </a:lnTo>
                <a:lnTo>
                  <a:pt x="1549" y="2579"/>
                </a:lnTo>
                <a:lnTo>
                  <a:pt x="1554" y="2580"/>
                </a:lnTo>
                <a:lnTo>
                  <a:pt x="1554" y="2576"/>
                </a:lnTo>
                <a:lnTo>
                  <a:pt x="1553" y="2576"/>
                </a:lnTo>
                <a:lnTo>
                  <a:pt x="1552" y="2576"/>
                </a:lnTo>
                <a:lnTo>
                  <a:pt x="1550" y="2576"/>
                </a:lnTo>
                <a:close/>
                <a:moveTo>
                  <a:pt x="3856" y="310"/>
                </a:moveTo>
                <a:lnTo>
                  <a:pt x="3854" y="310"/>
                </a:lnTo>
                <a:lnTo>
                  <a:pt x="3853" y="312"/>
                </a:lnTo>
                <a:lnTo>
                  <a:pt x="3856" y="310"/>
                </a:lnTo>
                <a:close/>
                <a:moveTo>
                  <a:pt x="1777" y="2539"/>
                </a:moveTo>
                <a:lnTo>
                  <a:pt x="1770" y="2539"/>
                </a:lnTo>
                <a:lnTo>
                  <a:pt x="1775" y="2540"/>
                </a:lnTo>
                <a:lnTo>
                  <a:pt x="1775" y="2543"/>
                </a:lnTo>
                <a:lnTo>
                  <a:pt x="1767" y="2543"/>
                </a:lnTo>
                <a:lnTo>
                  <a:pt x="1769" y="2545"/>
                </a:lnTo>
                <a:lnTo>
                  <a:pt x="1767" y="2547"/>
                </a:lnTo>
                <a:lnTo>
                  <a:pt x="1764" y="2547"/>
                </a:lnTo>
                <a:lnTo>
                  <a:pt x="1764" y="2547"/>
                </a:lnTo>
                <a:lnTo>
                  <a:pt x="1761" y="2547"/>
                </a:lnTo>
                <a:lnTo>
                  <a:pt x="1757" y="2544"/>
                </a:lnTo>
                <a:lnTo>
                  <a:pt x="1754" y="2540"/>
                </a:lnTo>
                <a:lnTo>
                  <a:pt x="1752" y="2539"/>
                </a:lnTo>
                <a:lnTo>
                  <a:pt x="1752" y="2538"/>
                </a:lnTo>
                <a:lnTo>
                  <a:pt x="1756" y="2536"/>
                </a:lnTo>
                <a:lnTo>
                  <a:pt x="1755" y="2535"/>
                </a:lnTo>
                <a:lnTo>
                  <a:pt x="1757" y="2535"/>
                </a:lnTo>
                <a:lnTo>
                  <a:pt x="1766" y="2535"/>
                </a:lnTo>
                <a:lnTo>
                  <a:pt x="1766" y="2536"/>
                </a:lnTo>
                <a:lnTo>
                  <a:pt x="1767" y="2535"/>
                </a:lnTo>
                <a:lnTo>
                  <a:pt x="1775" y="2535"/>
                </a:lnTo>
                <a:lnTo>
                  <a:pt x="1777" y="2539"/>
                </a:lnTo>
                <a:close/>
                <a:moveTo>
                  <a:pt x="1769" y="2539"/>
                </a:moveTo>
                <a:lnTo>
                  <a:pt x="1766" y="2536"/>
                </a:lnTo>
                <a:lnTo>
                  <a:pt x="1766" y="2536"/>
                </a:lnTo>
                <a:lnTo>
                  <a:pt x="1763" y="2536"/>
                </a:lnTo>
                <a:lnTo>
                  <a:pt x="1767" y="2540"/>
                </a:lnTo>
                <a:lnTo>
                  <a:pt x="1767" y="2539"/>
                </a:lnTo>
                <a:lnTo>
                  <a:pt x="1769" y="2539"/>
                </a:lnTo>
                <a:close/>
                <a:moveTo>
                  <a:pt x="1751" y="2537"/>
                </a:moveTo>
                <a:lnTo>
                  <a:pt x="1751" y="2539"/>
                </a:lnTo>
                <a:lnTo>
                  <a:pt x="1752" y="2538"/>
                </a:lnTo>
                <a:lnTo>
                  <a:pt x="1751" y="2536"/>
                </a:lnTo>
                <a:lnTo>
                  <a:pt x="1751" y="2537"/>
                </a:lnTo>
                <a:close/>
                <a:moveTo>
                  <a:pt x="1910" y="2120"/>
                </a:moveTo>
                <a:lnTo>
                  <a:pt x="1911" y="2116"/>
                </a:lnTo>
                <a:lnTo>
                  <a:pt x="1911" y="2113"/>
                </a:lnTo>
                <a:lnTo>
                  <a:pt x="1910" y="2113"/>
                </a:lnTo>
                <a:lnTo>
                  <a:pt x="1910" y="2120"/>
                </a:lnTo>
                <a:close/>
                <a:moveTo>
                  <a:pt x="1956" y="2056"/>
                </a:moveTo>
                <a:lnTo>
                  <a:pt x="1957" y="2058"/>
                </a:lnTo>
                <a:lnTo>
                  <a:pt x="1957" y="2055"/>
                </a:lnTo>
                <a:lnTo>
                  <a:pt x="1957" y="2053"/>
                </a:lnTo>
                <a:lnTo>
                  <a:pt x="1956" y="2056"/>
                </a:lnTo>
                <a:close/>
                <a:moveTo>
                  <a:pt x="1740" y="2533"/>
                </a:moveTo>
                <a:lnTo>
                  <a:pt x="1737" y="2532"/>
                </a:lnTo>
                <a:lnTo>
                  <a:pt x="1737" y="2535"/>
                </a:lnTo>
                <a:lnTo>
                  <a:pt x="1738" y="2535"/>
                </a:lnTo>
                <a:lnTo>
                  <a:pt x="1740" y="2533"/>
                </a:lnTo>
                <a:close/>
                <a:moveTo>
                  <a:pt x="1877" y="1692"/>
                </a:moveTo>
                <a:lnTo>
                  <a:pt x="1874" y="1695"/>
                </a:lnTo>
                <a:lnTo>
                  <a:pt x="1878" y="1692"/>
                </a:lnTo>
                <a:lnTo>
                  <a:pt x="1877" y="1692"/>
                </a:lnTo>
                <a:close/>
                <a:moveTo>
                  <a:pt x="4296" y="303"/>
                </a:moveTo>
                <a:lnTo>
                  <a:pt x="4296" y="303"/>
                </a:lnTo>
                <a:lnTo>
                  <a:pt x="4296" y="307"/>
                </a:lnTo>
                <a:lnTo>
                  <a:pt x="4300" y="307"/>
                </a:lnTo>
                <a:lnTo>
                  <a:pt x="4296" y="303"/>
                </a:lnTo>
                <a:close/>
                <a:moveTo>
                  <a:pt x="4247" y="241"/>
                </a:moveTo>
                <a:lnTo>
                  <a:pt x="4249" y="241"/>
                </a:lnTo>
                <a:lnTo>
                  <a:pt x="4247" y="238"/>
                </a:lnTo>
                <a:lnTo>
                  <a:pt x="4238" y="238"/>
                </a:lnTo>
                <a:lnTo>
                  <a:pt x="4243" y="240"/>
                </a:lnTo>
                <a:lnTo>
                  <a:pt x="4247" y="241"/>
                </a:lnTo>
                <a:close/>
                <a:moveTo>
                  <a:pt x="4258" y="242"/>
                </a:moveTo>
                <a:lnTo>
                  <a:pt x="4255" y="243"/>
                </a:lnTo>
                <a:lnTo>
                  <a:pt x="4259" y="243"/>
                </a:lnTo>
                <a:lnTo>
                  <a:pt x="4258" y="242"/>
                </a:lnTo>
                <a:close/>
                <a:moveTo>
                  <a:pt x="4357" y="341"/>
                </a:moveTo>
                <a:lnTo>
                  <a:pt x="4359" y="341"/>
                </a:lnTo>
                <a:lnTo>
                  <a:pt x="4356" y="340"/>
                </a:lnTo>
                <a:lnTo>
                  <a:pt x="4353" y="339"/>
                </a:lnTo>
                <a:lnTo>
                  <a:pt x="4349" y="341"/>
                </a:lnTo>
                <a:lnTo>
                  <a:pt x="4355" y="342"/>
                </a:lnTo>
                <a:lnTo>
                  <a:pt x="4357" y="341"/>
                </a:lnTo>
                <a:close/>
                <a:moveTo>
                  <a:pt x="4586" y="274"/>
                </a:moveTo>
                <a:lnTo>
                  <a:pt x="4587" y="273"/>
                </a:lnTo>
                <a:lnTo>
                  <a:pt x="4586" y="270"/>
                </a:lnTo>
                <a:lnTo>
                  <a:pt x="4590" y="267"/>
                </a:lnTo>
                <a:lnTo>
                  <a:pt x="4587" y="266"/>
                </a:lnTo>
                <a:lnTo>
                  <a:pt x="4583" y="265"/>
                </a:lnTo>
                <a:lnTo>
                  <a:pt x="4582" y="260"/>
                </a:lnTo>
                <a:lnTo>
                  <a:pt x="4582" y="260"/>
                </a:lnTo>
                <a:lnTo>
                  <a:pt x="4582" y="260"/>
                </a:lnTo>
                <a:lnTo>
                  <a:pt x="4579" y="265"/>
                </a:lnTo>
                <a:lnTo>
                  <a:pt x="4582" y="269"/>
                </a:lnTo>
                <a:lnTo>
                  <a:pt x="4578" y="274"/>
                </a:lnTo>
                <a:lnTo>
                  <a:pt x="4586" y="274"/>
                </a:lnTo>
                <a:close/>
                <a:moveTo>
                  <a:pt x="4587" y="318"/>
                </a:moveTo>
                <a:lnTo>
                  <a:pt x="4591" y="315"/>
                </a:lnTo>
                <a:lnTo>
                  <a:pt x="4587" y="312"/>
                </a:lnTo>
                <a:lnTo>
                  <a:pt x="4583" y="309"/>
                </a:lnTo>
                <a:lnTo>
                  <a:pt x="4578" y="306"/>
                </a:lnTo>
                <a:lnTo>
                  <a:pt x="4578" y="306"/>
                </a:lnTo>
                <a:lnTo>
                  <a:pt x="4578" y="310"/>
                </a:lnTo>
                <a:lnTo>
                  <a:pt x="4582" y="314"/>
                </a:lnTo>
                <a:lnTo>
                  <a:pt x="4587" y="318"/>
                </a:lnTo>
                <a:close/>
                <a:moveTo>
                  <a:pt x="1535" y="2528"/>
                </a:moveTo>
                <a:lnTo>
                  <a:pt x="1533" y="2524"/>
                </a:lnTo>
                <a:lnTo>
                  <a:pt x="1535" y="2531"/>
                </a:lnTo>
                <a:lnTo>
                  <a:pt x="1537" y="2531"/>
                </a:lnTo>
                <a:lnTo>
                  <a:pt x="1535" y="2528"/>
                </a:lnTo>
                <a:lnTo>
                  <a:pt x="1535" y="2528"/>
                </a:lnTo>
                <a:lnTo>
                  <a:pt x="1535" y="2528"/>
                </a:lnTo>
                <a:close/>
                <a:moveTo>
                  <a:pt x="4421" y="318"/>
                </a:moveTo>
                <a:lnTo>
                  <a:pt x="4415" y="318"/>
                </a:lnTo>
                <a:lnTo>
                  <a:pt x="4419" y="319"/>
                </a:lnTo>
                <a:lnTo>
                  <a:pt x="4421" y="318"/>
                </a:lnTo>
                <a:close/>
                <a:moveTo>
                  <a:pt x="4036" y="124"/>
                </a:moveTo>
                <a:lnTo>
                  <a:pt x="4028" y="120"/>
                </a:lnTo>
                <a:lnTo>
                  <a:pt x="4000" y="123"/>
                </a:lnTo>
                <a:lnTo>
                  <a:pt x="3998" y="125"/>
                </a:lnTo>
                <a:lnTo>
                  <a:pt x="3995" y="127"/>
                </a:lnTo>
                <a:lnTo>
                  <a:pt x="3993" y="125"/>
                </a:lnTo>
                <a:lnTo>
                  <a:pt x="3991" y="123"/>
                </a:lnTo>
                <a:lnTo>
                  <a:pt x="3981" y="129"/>
                </a:lnTo>
                <a:lnTo>
                  <a:pt x="3984" y="130"/>
                </a:lnTo>
                <a:lnTo>
                  <a:pt x="3987" y="132"/>
                </a:lnTo>
                <a:lnTo>
                  <a:pt x="3978" y="134"/>
                </a:lnTo>
                <a:lnTo>
                  <a:pt x="3966" y="142"/>
                </a:lnTo>
                <a:lnTo>
                  <a:pt x="3963" y="143"/>
                </a:lnTo>
                <a:lnTo>
                  <a:pt x="3963" y="146"/>
                </a:lnTo>
                <a:lnTo>
                  <a:pt x="3974" y="139"/>
                </a:lnTo>
                <a:lnTo>
                  <a:pt x="3973" y="142"/>
                </a:lnTo>
                <a:lnTo>
                  <a:pt x="3975" y="144"/>
                </a:lnTo>
                <a:lnTo>
                  <a:pt x="3977" y="146"/>
                </a:lnTo>
                <a:lnTo>
                  <a:pt x="3980" y="146"/>
                </a:lnTo>
                <a:lnTo>
                  <a:pt x="3980" y="152"/>
                </a:lnTo>
                <a:lnTo>
                  <a:pt x="3990" y="158"/>
                </a:lnTo>
                <a:lnTo>
                  <a:pt x="3999" y="156"/>
                </a:lnTo>
                <a:lnTo>
                  <a:pt x="4002" y="162"/>
                </a:lnTo>
                <a:lnTo>
                  <a:pt x="4017" y="162"/>
                </a:lnTo>
                <a:lnTo>
                  <a:pt x="4025" y="165"/>
                </a:lnTo>
                <a:lnTo>
                  <a:pt x="4040" y="167"/>
                </a:lnTo>
                <a:lnTo>
                  <a:pt x="4056" y="165"/>
                </a:lnTo>
                <a:lnTo>
                  <a:pt x="4065" y="162"/>
                </a:lnTo>
                <a:lnTo>
                  <a:pt x="4063" y="159"/>
                </a:lnTo>
                <a:lnTo>
                  <a:pt x="4050" y="154"/>
                </a:lnTo>
                <a:lnTo>
                  <a:pt x="4058" y="154"/>
                </a:lnTo>
                <a:lnTo>
                  <a:pt x="4061" y="148"/>
                </a:lnTo>
                <a:lnTo>
                  <a:pt x="4059" y="144"/>
                </a:lnTo>
                <a:lnTo>
                  <a:pt x="4061" y="140"/>
                </a:lnTo>
                <a:lnTo>
                  <a:pt x="4063" y="137"/>
                </a:lnTo>
                <a:lnTo>
                  <a:pt x="4066" y="136"/>
                </a:lnTo>
                <a:lnTo>
                  <a:pt x="4053" y="126"/>
                </a:lnTo>
                <a:lnTo>
                  <a:pt x="4044" y="126"/>
                </a:lnTo>
                <a:lnTo>
                  <a:pt x="4042" y="128"/>
                </a:lnTo>
                <a:lnTo>
                  <a:pt x="4044" y="128"/>
                </a:lnTo>
                <a:lnTo>
                  <a:pt x="4040" y="131"/>
                </a:lnTo>
                <a:lnTo>
                  <a:pt x="4033" y="129"/>
                </a:lnTo>
                <a:lnTo>
                  <a:pt x="4031" y="134"/>
                </a:lnTo>
                <a:lnTo>
                  <a:pt x="4025" y="135"/>
                </a:lnTo>
                <a:lnTo>
                  <a:pt x="4028" y="134"/>
                </a:lnTo>
                <a:lnTo>
                  <a:pt x="4036" y="124"/>
                </a:lnTo>
                <a:close/>
                <a:moveTo>
                  <a:pt x="4158" y="186"/>
                </a:moveTo>
                <a:lnTo>
                  <a:pt x="4165" y="189"/>
                </a:lnTo>
                <a:lnTo>
                  <a:pt x="4172" y="192"/>
                </a:lnTo>
                <a:lnTo>
                  <a:pt x="4174" y="190"/>
                </a:lnTo>
                <a:lnTo>
                  <a:pt x="4176" y="189"/>
                </a:lnTo>
                <a:lnTo>
                  <a:pt x="4158" y="186"/>
                </a:lnTo>
                <a:close/>
                <a:moveTo>
                  <a:pt x="4065" y="146"/>
                </a:moveTo>
                <a:lnTo>
                  <a:pt x="4065" y="143"/>
                </a:lnTo>
                <a:lnTo>
                  <a:pt x="4065" y="143"/>
                </a:lnTo>
                <a:lnTo>
                  <a:pt x="4063" y="146"/>
                </a:lnTo>
                <a:lnTo>
                  <a:pt x="4065" y="146"/>
                </a:lnTo>
                <a:close/>
                <a:moveTo>
                  <a:pt x="4065" y="140"/>
                </a:moveTo>
                <a:lnTo>
                  <a:pt x="4069" y="137"/>
                </a:lnTo>
                <a:lnTo>
                  <a:pt x="4065" y="137"/>
                </a:lnTo>
                <a:lnTo>
                  <a:pt x="4065" y="140"/>
                </a:lnTo>
                <a:close/>
                <a:moveTo>
                  <a:pt x="4172" y="212"/>
                </a:moveTo>
                <a:lnTo>
                  <a:pt x="4169" y="216"/>
                </a:lnTo>
                <a:lnTo>
                  <a:pt x="4170" y="218"/>
                </a:lnTo>
                <a:lnTo>
                  <a:pt x="4173" y="217"/>
                </a:lnTo>
                <a:lnTo>
                  <a:pt x="4176" y="216"/>
                </a:lnTo>
                <a:lnTo>
                  <a:pt x="4176" y="214"/>
                </a:lnTo>
                <a:lnTo>
                  <a:pt x="4174" y="213"/>
                </a:lnTo>
                <a:lnTo>
                  <a:pt x="4172" y="212"/>
                </a:lnTo>
                <a:close/>
                <a:moveTo>
                  <a:pt x="4065" y="177"/>
                </a:moveTo>
                <a:lnTo>
                  <a:pt x="4054" y="192"/>
                </a:lnTo>
                <a:lnTo>
                  <a:pt x="4056" y="196"/>
                </a:lnTo>
                <a:lnTo>
                  <a:pt x="4064" y="193"/>
                </a:lnTo>
                <a:lnTo>
                  <a:pt x="4083" y="186"/>
                </a:lnTo>
                <a:lnTo>
                  <a:pt x="4100" y="185"/>
                </a:lnTo>
                <a:lnTo>
                  <a:pt x="4103" y="186"/>
                </a:lnTo>
                <a:lnTo>
                  <a:pt x="4106" y="185"/>
                </a:lnTo>
                <a:lnTo>
                  <a:pt x="4132" y="181"/>
                </a:lnTo>
                <a:lnTo>
                  <a:pt x="4142" y="174"/>
                </a:lnTo>
                <a:lnTo>
                  <a:pt x="4139" y="166"/>
                </a:lnTo>
                <a:lnTo>
                  <a:pt x="4132" y="166"/>
                </a:lnTo>
                <a:lnTo>
                  <a:pt x="4130" y="166"/>
                </a:lnTo>
                <a:lnTo>
                  <a:pt x="4128" y="167"/>
                </a:lnTo>
                <a:lnTo>
                  <a:pt x="4128" y="165"/>
                </a:lnTo>
                <a:lnTo>
                  <a:pt x="4128" y="164"/>
                </a:lnTo>
                <a:lnTo>
                  <a:pt x="4128" y="162"/>
                </a:lnTo>
                <a:lnTo>
                  <a:pt x="4122" y="162"/>
                </a:lnTo>
                <a:lnTo>
                  <a:pt x="4122" y="159"/>
                </a:lnTo>
                <a:lnTo>
                  <a:pt x="4121" y="156"/>
                </a:lnTo>
                <a:lnTo>
                  <a:pt x="4114" y="157"/>
                </a:lnTo>
                <a:lnTo>
                  <a:pt x="4106" y="158"/>
                </a:lnTo>
                <a:lnTo>
                  <a:pt x="4099" y="165"/>
                </a:lnTo>
                <a:lnTo>
                  <a:pt x="4105" y="152"/>
                </a:lnTo>
                <a:lnTo>
                  <a:pt x="4108" y="151"/>
                </a:lnTo>
                <a:lnTo>
                  <a:pt x="4110" y="150"/>
                </a:lnTo>
                <a:lnTo>
                  <a:pt x="4097" y="146"/>
                </a:lnTo>
                <a:lnTo>
                  <a:pt x="4092" y="147"/>
                </a:lnTo>
                <a:lnTo>
                  <a:pt x="4092" y="152"/>
                </a:lnTo>
                <a:lnTo>
                  <a:pt x="4090" y="151"/>
                </a:lnTo>
                <a:lnTo>
                  <a:pt x="4088" y="147"/>
                </a:lnTo>
                <a:lnTo>
                  <a:pt x="4080" y="152"/>
                </a:lnTo>
                <a:lnTo>
                  <a:pt x="4079" y="155"/>
                </a:lnTo>
                <a:lnTo>
                  <a:pt x="4078" y="157"/>
                </a:lnTo>
                <a:lnTo>
                  <a:pt x="4088" y="161"/>
                </a:lnTo>
                <a:lnTo>
                  <a:pt x="4078" y="158"/>
                </a:lnTo>
                <a:lnTo>
                  <a:pt x="4076" y="163"/>
                </a:lnTo>
                <a:lnTo>
                  <a:pt x="4078" y="166"/>
                </a:lnTo>
                <a:lnTo>
                  <a:pt x="4081" y="169"/>
                </a:lnTo>
                <a:lnTo>
                  <a:pt x="4070" y="167"/>
                </a:lnTo>
                <a:lnTo>
                  <a:pt x="4065" y="177"/>
                </a:lnTo>
                <a:close/>
                <a:moveTo>
                  <a:pt x="4158" y="185"/>
                </a:moveTo>
                <a:lnTo>
                  <a:pt x="4162" y="184"/>
                </a:lnTo>
                <a:lnTo>
                  <a:pt x="4158" y="181"/>
                </a:lnTo>
                <a:lnTo>
                  <a:pt x="4154" y="183"/>
                </a:lnTo>
                <a:lnTo>
                  <a:pt x="4151" y="185"/>
                </a:lnTo>
                <a:lnTo>
                  <a:pt x="4153" y="186"/>
                </a:lnTo>
                <a:lnTo>
                  <a:pt x="4158" y="185"/>
                </a:lnTo>
                <a:close/>
                <a:moveTo>
                  <a:pt x="4942" y="404"/>
                </a:moveTo>
                <a:lnTo>
                  <a:pt x="4940" y="403"/>
                </a:lnTo>
                <a:lnTo>
                  <a:pt x="4945" y="406"/>
                </a:lnTo>
                <a:lnTo>
                  <a:pt x="4942" y="404"/>
                </a:lnTo>
                <a:close/>
                <a:moveTo>
                  <a:pt x="5064" y="439"/>
                </a:moveTo>
                <a:lnTo>
                  <a:pt x="5068" y="439"/>
                </a:lnTo>
                <a:lnTo>
                  <a:pt x="5068" y="439"/>
                </a:lnTo>
                <a:lnTo>
                  <a:pt x="5068" y="433"/>
                </a:lnTo>
                <a:lnTo>
                  <a:pt x="5068" y="430"/>
                </a:lnTo>
                <a:lnTo>
                  <a:pt x="5055" y="426"/>
                </a:lnTo>
                <a:lnTo>
                  <a:pt x="5051" y="429"/>
                </a:lnTo>
                <a:lnTo>
                  <a:pt x="5047" y="432"/>
                </a:lnTo>
                <a:lnTo>
                  <a:pt x="5056" y="435"/>
                </a:lnTo>
                <a:lnTo>
                  <a:pt x="5064" y="439"/>
                </a:lnTo>
                <a:close/>
                <a:moveTo>
                  <a:pt x="4958" y="442"/>
                </a:moveTo>
                <a:lnTo>
                  <a:pt x="4958" y="442"/>
                </a:lnTo>
                <a:lnTo>
                  <a:pt x="4958" y="438"/>
                </a:lnTo>
                <a:lnTo>
                  <a:pt x="4955" y="438"/>
                </a:lnTo>
                <a:lnTo>
                  <a:pt x="4955" y="443"/>
                </a:lnTo>
                <a:lnTo>
                  <a:pt x="4956" y="442"/>
                </a:lnTo>
                <a:lnTo>
                  <a:pt x="4958" y="442"/>
                </a:lnTo>
                <a:close/>
                <a:moveTo>
                  <a:pt x="4953" y="440"/>
                </a:moveTo>
                <a:lnTo>
                  <a:pt x="4954" y="439"/>
                </a:lnTo>
                <a:lnTo>
                  <a:pt x="4954" y="439"/>
                </a:lnTo>
                <a:lnTo>
                  <a:pt x="4954" y="439"/>
                </a:lnTo>
                <a:lnTo>
                  <a:pt x="4952" y="441"/>
                </a:lnTo>
                <a:lnTo>
                  <a:pt x="4952" y="441"/>
                </a:lnTo>
                <a:lnTo>
                  <a:pt x="4952" y="441"/>
                </a:lnTo>
                <a:lnTo>
                  <a:pt x="4953" y="440"/>
                </a:lnTo>
                <a:close/>
                <a:moveTo>
                  <a:pt x="5224" y="400"/>
                </a:moveTo>
                <a:lnTo>
                  <a:pt x="5234" y="403"/>
                </a:lnTo>
                <a:lnTo>
                  <a:pt x="5254" y="399"/>
                </a:lnTo>
                <a:lnTo>
                  <a:pt x="5262" y="394"/>
                </a:lnTo>
                <a:lnTo>
                  <a:pt x="5254" y="391"/>
                </a:lnTo>
                <a:lnTo>
                  <a:pt x="5247" y="387"/>
                </a:lnTo>
                <a:lnTo>
                  <a:pt x="5225" y="387"/>
                </a:lnTo>
                <a:lnTo>
                  <a:pt x="5224" y="387"/>
                </a:lnTo>
                <a:lnTo>
                  <a:pt x="5209" y="395"/>
                </a:lnTo>
                <a:lnTo>
                  <a:pt x="5205" y="399"/>
                </a:lnTo>
                <a:lnTo>
                  <a:pt x="5208" y="406"/>
                </a:lnTo>
                <a:lnTo>
                  <a:pt x="5224" y="400"/>
                </a:lnTo>
                <a:close/>
                <a:moveTo>
                  <a:pt x="1857" y="2186"/>
                </a:moveTo>
                <a:lnTo>
                  <a:pt x="1861" y="2186"/>
                </a:lnTo>
                <a:lnTo>
                  <a:pt x="1865" y="2183"/>
                </a:lnTo>
                <a:lnTo>
                  <a:pt x="1858" y="2185"/>
                </a:lnTo>
                <a:lnTo>
                  <a:pt x="1857" y="2186"/>
                </a:lnTo>
                <a:close/>
                <a:moveTo>
                  <a:pt x="4951" y="443"/>
                </a:moveTo>
                <a:lnTo>
                  <a:pt x="4952" y="441"/>
                </a:lnTo>
                <a:lnTo>
                  <a:pt x="4950" y="443"/>
                </a:lnTo>
                <a:lnTo>
                  <a:pt x="4951" y="445"/>
                </a:lnTo>
                <a:lnTo>
                  <a:pt x="4951" y="443"/>
                </a:lnTo>
                <a:close/>
                <a:moveTo>
                  <a:pt x="5083" y="435"/>
                </a:moveTo>
                <a:lnTo>
                  <a:pt x="5083" y="431"/>
                </a:lnTo>
                <a:lnTo>
                  <a:pt x="5079" y="433"/>
                </a:lnTo>
                <a:lnTo>
                  <a:pt x="5083" y="435"/>
                </a:lnTo>
                <a:lnTo>
                  <a:pt x="5083" y="435"/>
                </a:lnTo>
                <a:close/>
                <a:moveTo>
                  <a:pt x="4775" y="292"/>
                </a:moveTo>
                <a:lnTo>
                  <a:pt x="4786" y="292"/>
                </a:lnTo>
                <a:lnTo>
                  <a:pt x="4799" y="288"/>
                </a:lnTo>
                <a:lnTo>
                  <a:pt x="4800" y="286"/>
                </a:lnTo>
                <a:lnTo>
                  <a:pt x="4800" y="285"/>
                </a:lnTo>
                <a:lnTo>
                  <a:pt x="4803" y="281"/>
                </a:lnTo>
                <a:lnTo>
                  <a:pt x="4796" y="284"/>
                </a:lnTo>
                <a:lnTo>
                  <a:pt x="4792" y="278"/>
                </a:lnTo>
                <a:lnTo>
                  <a:pt x="4786" y="277"/>
                </a:lnTo>
                <a:lnTo>
                  <a:pt x="4781" y="276"/>
                </a:lnTo>
                <a:lnTo>
                  <a:pt x="4775" y="277"/>
                </a:lnTo>
                <a:lnTo>
                  <a:pt x="4770" y="278"/>
                </a:lnTo>
                <a:lnTo>
                  <a:pt x="4769" y="277"/>
                </a:lnTo>
                <a:lnTo>
                  <a:pt x="4770" y="274"/>
                </a:lnTo>
                <a:lnTo>
                  <a:pt x="4767" y="274"/>
                </a:lnTo>
                <a:lnTo>
                  <a:pt x="4752" y="274"/>
                </a:lnTo>
                <a:lnTo>
                  <a:pt x="4750" y="278"/>
                </a:lnTo>
                <a:lnTo>
                  <a:pt x="4747" y="278"/>
                </a:lnTo>
                <a:lnTo>
                  <a:pt x="4744" y="275"/>
                </a:lnTo>
                <a:lnTo>
                  <a:pt x="4741" y="273"/>
                </a:lnTo>
                <a:lnTo>
                  <a:pt x="4743" y="270"/>
                </a:lnTo>
                <a:lnTo>
                  <a:pt x="4741" y="268"/>
                </a:lnTo>
                <a:lnTo>
                  <a:pt x="4739" y="267"/>
                </a:lnTo>
                <a:lnTo>
                  <a:pt x="4739" y="267"/>
                </a:lnTo>
                <a:lnTo>
                  <a:pt x="4739" y="267"/>
                </a:lnTo>
                <a:lnTo>
                  <a:pt x="4738" y="268"/>
                </a:lnTo>
                <a:lnTo>
                  <a:pt x="4733" y="278"/>
                </a:lnTo>
                <a:lnTo>
                  <a:pt x="4765" y="292"/>
                </a:lnTo>
                <a:lnTo>
                  <a:pt x="4775" y="292"/>
                </a:lnTo>
                <a:close/>
                <a:moveTo>
                  <a:pt x="4694" y="329"/>
                </a:moveTo>
                <a:lnTo>
                  <a:pt x="4682" y="319"/>
                </a:lnTo>
                <a:lnTo>
                  <a:pt x="4678" y="318"/>
                </a:lnTo>
                <a:lnTo>
                  <a:pt x="4673" y="318"/>
                </a:lnTo>
                <a:lnTo>
                  <a:pt x="4661" y="318"/>
                </a:lnTo>
                <a:lnTo>
                  <a:pt x="4651" y="329"/>
                </a:lnTo>
                <a:lnTo>
                  <a:pt x="4645" y="331"/>
                </a:lnTo>
                <a:lnTo>
                  <a:pt x="4639" y="333"/>
                </a:lnTo>
                <a:lnTo>
                  <a:pt x="4643" y="334"/>
                </a:lnTo>
                <a:lnTo>
                  <a:pt x="4656" y="330"/>
                </a:lnTo>
                <a:lnTo>
                  <a:pt x="4678" y="335"/>
                </a:lnTo>
                <a:lnTo>
                  <a:pt x="4695" y="337"/>
                </a:lnTo>
                <a:lnTo>
                  <a:pt x="4694" y="333"/>
                </a:lnTo>
                <a:lnTo>
                  <a:pt x="4695" y="330"/>
                </a:lnTo>
                <a:lnTo>
                  <a:pt x="4694" y="329"/>
                </a:lnTo>
                <a:close/>
                <a:moveTo>
                  <a:pt x="4660" y="314"/>
                </a:moveTo>
                <a:lnTo>
                  <a:pt x="4661" y="310"/>
                </a:lnTo>
                <a:lnTo>
                  <a:pt x="4655" y="307"/>
                </a:lnTo>
                <a:lnTo>
                  <a:pt x="4650" y="308"/>
                </a:lnTo>
                <a:lnTo>
                  <a:pt x="4646" y="310"/>
                </a:lnTo>
                <a:lnTo>
                  <a:pt x="4646" y="314"/>
                </a:lnTo>
                <a:lnTo>
                  <a:pt x="4650" y="318"/>
                </a:lnTo>
                <a:lnTo>
                  <a:pt x="4655" y="316"/>
                </a:lnTo>
                <a:lnTo>
                  <a:pt x="4660" y="314"/>
                </a:lnTo>
                <a:close/>
                <a:moveTo>
                  <a:pt x="4598" y="278"/>
                </a:moveTo>
                <a:lnTo>
                  <a:pt x="4604" y="282"/>
                </a:lnTo>
                <a:lnTo>
                  <a:pt x="4613" y="287"/>
                </a:lnTo>
                <a:lnTo>
                  <a:pt x="4614" y="288"/>
                </a:lnTo>
                <a:lnTo>
                  <a:pt x="4616" y="290"/>
                </a:lnTo>
                <a:lnTo>
                  <a:pt x="4623" y="293"/>
                </a:lnTo>
                <a:lnTo>
                  <a:pt x="4631" y="295"/>
                </a:lnTo>
                <a:lnTo>
                  <a:pt x="4637" y="293"/>
                </a:lnTo>
                <a:lnTo>
                  <a:pt x="4638" y="291"/>
                </a:lnTo>
                <a:lnTo>
                  <a:pt x="4638" y="290"/>
                </a:lnTo>
                <a:lnTo>
                  <a:pt x="4639" y="290"/>
                </a:lnTo>
                <a:lnTo>
                  <a:pt x="4642" y="290"/>
                </a:lnTo>
                <a:lnTo>
                  <a:pt x="4645" y="290"/>
                </a:lnTo>
                <a:lnTo>
                  <a:pt x="4661" y="288"/>
                </a:lnTo>
                <a:lnTo>
                  <a:pt x="4677" y="287"/>
                </a:lnTo>
                <a:lnTo>
                  <a:pt x="4678" y="290"/>
                </a:lnTo>
                <a:lnTo>
                  <a:pt x="4674" y="290"/>
                </a:lnTo>
                <a:lnTo>
                  <a:pt x="4677" y="291"/>
                </a:lnTo>
                <a:lnTo>
                  <a:pt x="4680" y="292"/>
                </a:lnTo>
                <a:lnTo>
                  <a:pt x="4682" y="290"/>
                </a:lnTo>
                <a:lnTo>
                  <a:pt x="4683" y="288"/>
                </a:lnTo>
                <a:lnTo>
                  <a:pt x="4697" y="287"/>
                </a:lnTo>
                <a:lnTo>
                  <a:pt x="4690" y="284"/>
                </a:lnTo>
                <a:lnTo>
                  <a:pt x="4682" y="281"/>
                </a:lnTo>
                <a:lnTo>
                  <a:pt x="4678" y="277"/>
                </a:lnTo>
                <a:lnTo>
                  <a:pt x="4674" y="274"/>
                </a:lnTo>
                <a:lnTo>
                  <a:pt x="4674" y="267"/>
                </a:lnTo>
                <a:lnTo>
                  <a:pt x="4677" y="265"/>
                </a:lnTo>
                <a:lnTo>
                  <a:pt x="4680" y="264"/>
                </a:lnTo>
                <a:lnTo>
                  <a:pt x="4683" y="264"/>
                </a:lnTo>
                <a:lnTo>
                  <a:pt x="4686" y="265"/>
                </a:lnTo>
                <a:lnTo>
                  <a:pt x="4686" y="267"/>
                </a:lnTo>
                <a:lnTo>
                  <a:pt x="4684" y="270"/>
                </a:lnTo>
                <a:lnTo>
                  <a:pt x="4682" y="273"/>
                </a:lnTo>
                <a:lnTo>
                  <a:pt x="4680" y="275"/>
                </a:lnTo>
                <a:lnTo>
                  <a:pt x="4687" y="281"/>
                </a:lnTo>
                <a:lnTo>
                  <a:pt x="4695" y="283"/>
                </a:lnTo>
                <a:lnTo>
                  <a:pt x="4702" y="285"/>
                </a:lnTo>
                <a:lnTo>
                  <a:pt x="4706" y="284"/>
                </a:lnTo>
                <a:lnTo>
                  <a:pt x="4709" y="284"/>
                </a:lnTo>
                <a:lnTo>
                  <a:pt x="4713" y="280"/>
                </a:lnTo>
                <a:lnTo>
                  <a:pt x="4717" y="276"/>
                </a:lnTo>
                <a:lnTo>
                  <a:pt x="4714" y="276"/>
                </a:lnTo>
                <a:lnTo>
                  <a:pt x="4712" y="275"/>
                </a:lnTo>
                <a:lnTo>
                  <a:pt x="4714" y="273"/>
                </a:lnTo>
                <a:lnTo>
                  <a:pt x="4723" y="270"/>
                </a:lnTo>
                <a:lnTo>
                  <a:pt x="4701" y="260"/>
                </a:lnTo>
                <a:lnTo>
                  <a:pt x="4682" y="258"/>
                </a:lnTo>
                <a:lnTo>
                  <a:pt x="4664" y="249"/>
                </a:lnTo>
                <a:lnTo>
                  <a:pt x="4668" y="255"/>
                </a:lnTo>
                <a:lnTo>
                  <a:pt x="4660" y="254"/>
                </a:lnTo>
                <a:lnTo>
                  <a:pt x="4657" y="265"/>
                </a:lnTo>
                <a:lnTo>
                  <a:pt x="4660" y="266"/>
                </a:lnTo>
                <a:lnTo>
                  <a:pt x="4650" y="266"/>
                </a:lnTo>
                <a:lnTo>
                  <a:pt x="4650" y="262"/>
                </a:lnTo>
                <a:lnTo>
                  <a:pt x="4647" y="261"/>
                </a:lnTo>
                <a:lnTo>
                  <a:pt x="4643" y="260"/>
                </a:lnTo>
                <a:lnTo>
                  <a:pt x="4643" y="259"/>
                </a:lnTo>
                <a:lnTo>
                  <a:pt x="4642" y="258"/>
                </a:lnTo>
                <a:lnTo>
                  <a:pt x="4643" y="258"/>
                </a:lnTo>
                <a:lnTo>
                  <a:pt x="4643" y="257"/>
                </a:lnTo>
                <a:lnTo>
                  <a:pt x="4643" y="256"/>
                </a:lnTo>
                <a:lnTo>
                  <a:pt x="4642" y="255"/>
                </a:lnTo>
                <a:lnTo>
                  <a:pt x="4637" y="254"/>
                </a:lnTo>
                <a:lnTo>
                  <a:pt x="4632" y="253"/>
                </a:lnTo>
                <a:lnTo>
                  <a:pt x="4630" y="251"/>
                </a:lnTo>
                <a:lnTo>
                  <a:pt x="4628" y="250"/>
                </a:lnTo>
                <a:lnTo>
                  <a:pt x="4622" y="250"/>
                </a:lnTo>
                <a:lnTo>
                  <a:pt x="4622" y="254"/>
                </a:lnTo>
                <a:lnTo>
                  <a:pt x="4621" y="251"/>
                </a:lnTo>
                <a:lnTo>
                  <a:pt x="4613" y="254"/>
                </a:lnTo>
                <a:lnTo>
                  <a:pt x="4606" y="259"/>
                </a:lnTo>
                <a:lnTo>
                  <a:pt x="4612" y="266"/>
                </a:lnTo>
                <a:lnTo>
                  <a:pt x="4604" y="266"/>
                </a:lnTo>
                <a:lnTo>
                  <a:pt x="4602" y="266"/>
                </a:lnTo>
                <a:lnTo>
                  <a:pt x="4604" y="268"/>
                </a:lnTo>
                <a:lnTo>
                  <a:pt x="4600" y="270"/>
                </a:lnTo>
                <a:lnTo>
                  <a:pt x="4605" y="270"/>
                </a:lnTo>
                <a:lnTo>
                  <a:pt x="4604" y="274"/>
                </a:lnTo>
                <a:lnTo>
                  <a:pt x="4606" y="274"/>
                </a:lnTo>
                <a:lnTo>
                  <a:pt x="4606" y="278"/>
                </a:lnTo>
                <a:lnTo>
                  <a:pt x="4598" y="278"/>
                </a:lnTo>
                <a:close/>
                <a:moveTo>
                  <a:pt x="1945" y="35"/>
                </a:moveTo>
                <a:lnTo>
                  <a:pt x="1922" y="36"/>
                </a:lnTo>
                <a:lnTo>
                  <a:pt x="1934" y="46"/>
                </a:lnTo>
                <a:lnTo>
                  <a:pt x="1955" y="52"/>
                </a:lnTo>
                <a:lnTo>
                  <a:pt x="1961" y="57"/>
                </a:lnTo>
                <a:lnTo>
                  <a:pt x="1965" y="55"/>
                </a:lnTo>
                <a:lnTo>
                  <a:pt x="1960" y="52"/>
                </a:lnTo>
                <a:lnTo>
                  <a:pt x="1969" y="46"/>
                </a:lnTo>
                <a:lnTo>
                  <a:pt x="1945" y="35"/>
                </a:lnTo>
                <a:close/>
                <a:moveTo>
                  <a:pt x="4780" y="234"/>
                </a:moveTo>
                <a:lnTo>
                  <a:pt x="4773" y="234"/>
                </a:lnTo>
                <a:lnTo>
                  <a:pt x="4767" y="238"/>
                </a:lnTo>
                <a:lnTo>
                  <a:pt x="4777" y="238"/>
                </a:lnTo>
                <a:lnTo>
                  <a:pt x="4780" y="234"/>
                </a:lnTo>
                <a:close/>
                <a:moveTo>
                  <a:pt x="4606" y="385"/>
                </a:moveTo>
                <a:lnTo>
                  <a:pt x="4600" y="386"/>
                </a:lnTo>
                <a:lnTo>
                  <a:pt x="4606" y="387"/>
                </a:lnTo>
                <a:lnTo>
                  <a:pt x="4612" y="389"/>
                </a:lnTo>
                <a:lnTo>
                  <a:pt x="4616" y="386"/>
                </a:lnTo>
                <a:lnTo>
                  <a:pt x="4612" y="385"/>
                </a:lnTo>
                <a:lnTo>
                  <a:pt x="4606" y="385"/>
                </a:lnTo>
                <a:close/>
                <a:moveTo>
                  <a:pt x="4661" y="253"/>
                </a:moveTo>
                <a:lnTo>
                  <a:pt x="4657" y="251"/>
                </a:lnTo>
                <a:lnTo>
                  <a:pt x="4656" y="253"/>
                </a:lnTo>
                <a:lnTo>
                  <a:pt x="4657" y="254"/>
                </a:lnTo>
                <a:lnTo>
                  <a:pt x="4661" y="253"/>
                </a:lnTo>
                <a:close/>
                <a:moveTo>
                  <a:pt x="1534" y="2473"/>
                </a:moveTo>
                <a:lnTo>
                  <a:pt x="1534" y="2472"/>
                </a:lnTo>
                <a:lnTo>
                  <a:pt x="1531" y="2469"/>
                </a:lnTo>
                <a:lnTo>
                  <a:pt x="1527" y="2469"/>
                </a:lnTo>
                <a:lnTo>
                  <a:pt x="1530" y="2471"/>
                </a:lnTo>
                <a:lnTo>
                  <a:pt x="1530" y="2474"/>
                </a:lnTo>
                <a:lnTo>
                  <a:pt x="1530" y="2475"/>
                </a:lnTo>
                <a:lnTo>
                  <a:pt x="1533" y="2474"/>
                </a:lnTo>
                <a:lnTo>
                  <a:pt x="1531" y="2471"/>
                </a:lnTo>
                <a:lnTo>
                  <a:pt x="1534" y="2473"/>
                </a:lnTo>
                <a:close/>
                <a:moveTo>
                  <a:pt x="1542" y="2432"/>
                </a:moveTo>
                <a:lnTo>
                  <a:pt x="1539" y="2431"/>
                </a:lnTo>
                <a:lnTo>
                  <a:pt x="1541" y="2435"/>
                </a:lnTo>
                <a:lnTo>
                  <a:pt x="1542" y="2433"/>
                </a:lnTo>
                <a:lnTo>
                  <a:pt x="1542" y="2432"/>
                </a:lnTo>
                <a:lnTo>
                  <a:pt x="1542" y="2432"/>
                </a:lnTo>
                <a:close/>
                <a:moveTo>
                  <a:pt x="3964" y="136"/>
                </a:moveTo>
                <a:lnTo>
                  <a:pt x="3970" y="132"/>
                </a:lnTo>
                <a:lnTo>
                  <a:pt x="3975" y="129"/>
                </a:lnTo>
                <a:lnTo>
                  <a:pt x="3969" y="128"/>
                </a:lnTo>
                <a:lnTo>
                  <a:pt x="3961" y="127"/>
                </a:lnTo>
                <a:lnTo>
                  <a:pt x="3955" y="126"/>
                </a:lnTo>
                <a:lnTo>
                  <a:pt x="3934" y="125"/>
                </a:lnTo>
                <a:lnTo>
                  <a:pt x="3935" y="129"/>
                </a:lnTo>
                <a:lnTo>
                  <a:pt x="3934" y="131"/>
                </a:lnTo>
                <a:lnTo>
                  <a:pt x="3948" y="132"/>
                </a:lnTo>
                <a:lnTo>
                  <a:pt x="3953" y="136"/>
                </a:lnTo>
                <a:lnTo>
                  <a:pt x="3946" y="137"/>
                </a:lnTo>
                <a:lnTo>
                  <a:pt x="3955" y="136"/>
                </a:lnTo>
                <a:lnTo>
                  <a:pt x="3964" y="136"/>
                </a:lnTo>
                <a:close/>
                <a:moveTo>
                  <a:pt x="3932" y="142"/>
                </a:moveTo>
                <a:lnTo>
                  <a:pt x="3936" y="143"/>
                </a:lnTo>
                <a:lnTo>
                  <a:pt x="3941" y="143"/>
                </a:lnTo>
                <a:lnTo>
                  <a:pt x="3935" y="142"/>
                </a:lnTo>
                <a:lnTo>
                  <a:pt x="3929" y="140"/>
                </a:lnTo>
                <a:lnTo>
                  <a:pt x="3932" y="142"/>
                </a:lnTo>
                <a:close/>
                <a:moveTo>
                  <a:pt x="3977" y="127"/>
                </a:moveTo>
                <a:lnTo>
                  <a:pt x="3977" y="128"/>
                </a:lnTo>
                <a:lnTo>
                  <a:pt x="3983" y="127"/>
                </a:lnTo>
                <a:lnTo>
                  <a:pt x="3977" y="127"/>
                </a:lnTo>
                <a:close/>
                <a:moveTo>
                  <a:pt x="3934" y="126"/>
                </a:moveTo>
                <a:lnTo>
                  <a:pt x="3934" y="125"/>
                </a:lnTo>
                <a:lnTo>
                  <a:pt x="3931" y="126"/>
                </a:lnTo>
                <a:lnTo>
                  <a:pt x="3934" y="126"/>
                </a:lnTo>
                <a:close/>
                <a:moveTo>
                  <a:pt x="3948" y="204"/>
                </a:moveTo>
                <a:lnTo>
                  <a:pt x="3944" y="203"/>
                </a:lnTo>
                <a:lnTo>
                  <a:pt x="3946" y="204"/>
                </a:lnTo>
                <a:lnTo>
                  <a:pt x="3948" y="204"/>
                </a:lnTo>
                <a:close/>
                <a:moveTo>
                  <a:pt x="1538" y="2451"/>
                </a:moveTo>
                <a:lnTo>
                  <a:pt x="1537" y="2451"/>
                </a:lnTo>
                <a:lnTo>
                  <a:pt x="1537" y="2452"/>
                </a:lnTo>
                <a:lnTo>
                  <a:pt x="1538" y="2451"/>
                </a:lnTo>
                <a:lnTo>
                  <a:pt x="1538" y="2451"/>
                </a:lnTo>
                <a:lnTo>
                  <a:pt x="1538" y="2451"/>
                </a:lnTo>
                <a:lnTo>
                  <a:pt x="1538" y="2451"/>
                </a:lnTo>
                <a:close/>
                <a:moveTo>
                  <a:pt x="3941" y="115"/>
                </a:moveTo>
                <a:lnTo>
                  <a:pt x="3939" y="116"/>
                </a:lnTo>
                <a:lnTo>
                  <a:pt x="3951" y="117"/>
                </a:lnTo>
                <a:lnTo>
                  <a:pt x="3951" y="117"/>
                </a:lnTo>
                <a:lnTo>
                  <a:pt x="3960" y="122"/>
                </a:lnTo>
                <a:lnTo>
                  <a:pt x="3948" y="122"/>
                </a:lnTo>
                <a:lnTo>
                  <a:pt x="3973" y="128"/>
                </a:lnTo>
                <a:lnTo>
                  <a:pt x="3988" y="121"/>
                </a:lnTo>
                <a:lnTo>
                  <a:pt x="4022" y="118"/>
                </a:lnTo>
                <a:lnTo>
                  <a:pt x="4027" y="117"/>
                </a:lnTo>
                <a:lnTo>
                  <a:pt x="4024" y="115"/>
                </a:lnTo>
                <a:lnTo>
                  <a:pt x="4022" y="108"/>
                </a:lnTo>
                <a:lnTo>
                  <a:pt x="4021" y="107"/>
                </a:lnTo>
                <a:lnTo>
                  <a:pt x="4022" y="102"/>
                </a:lnTo>
                <a:lnTo>
                  <a:pt x="4036" y="100"/>
                </a:lnTo>
                <a:lnTo>
                  <a:pt x="4017" y="93"/>
                </a:lnTo>
                <a:lnTo>
                  <a:pt x="4003" y="81"/>
                </a:lnTo>
                <a:lnTo>
                  <a:pt x="3994" y="81"/>
                </a:lnTo>
                <a:lnTo>
                  <a:pt x="3993" y="83"/>
                </a:lnTo>
                <a:lnTo>
                  <a:pt x="3992" y="85"/>
                </a:lnTo>
                <a:lnTo>
                  <a:pt x="4000" y="85"/>
                </a:lnTo>
                <a:lnTo>
                  <a:pt x="3963" y="92"/>
                </a:lnTo>
                <a:lnTo>
                  <a:pt x="3964" y="94"/>
                </a:lnTo>
                <a:lnTo>
                  <a:pt x="3958" y="96"/>
                </a:lnTo>
                <a:lnTo>
                  <a:pt x="3954" y="99"/>
                </a:lnTo>
                <a:lnTo>
                  <a:pt x="3960" y="98"/>
                </a:lnTo>
                <a:lnTo>
                  <a:pt x="3966" y="96"/>
                </a:lnTo>
                <a:lnTo>
                  <a:pt x="3960" y="104"/>
                </a:lnTo>
                <a:lnTo>
                  <a:pt x="3958" y="107"/>
                </a:lnTo>
                <a:lnTo>
                  <a:pt x="3945" y="112"/>
                </a:lnTo>
                <a:lnTo>
                  <a:pt x="3957" y="114"/>
                </a:lnTo>
                <a:lnTo>
                  <a:pt x="3944" y="114"/>
                </a:lnTo>
                <a:lnTo>
                  <a:pt x="3941" y="115"/>
                </a:lnTo>
                <a:close/>
                <a:moveTo>
                  <a:pt x="3902" y="220"/>
                </a:moveTo>
                <a:lnTo>
                  <a:pt x="3899" y="220"/>
                </a:lnTo>
                <a:lnTo>
                  <a:pt x="3901" y="224"/>
                </a:lnTo>
                <a:lnTo>
                  <a:pt x="3902" y="220"/>
                </a:lnTo>
                <a:close/>
                <a:moveTo>
                  <a:pt x="1900" y="1721"/>
                </a:moveTo>
                <a:lnTo>
                  <a:pt x="1900" y="1721"/>
                </a:lnTo>
                <a:lnTo>
                  <a:pt x="1900" y="1720"/>
                </a:lnTo>
                <a:lnTo>
                  <a:pt x="1900" y="1719"/>
                </a:lnTo>
                <a:lnTo>
                  <a:pt x="1900" y="1719"/>
                </a:lnTo>
                <a:lnTo>
                  <a:pt x="1900" y="1721"/>
                </a:lnTo>
                <a:close/>
                <a:moveTo>
                  <a:pt x="3876" y="287"/>
                </a:moveTo>
                <a:lnTo>
                  <a:pt x="3875" y="285"/>
                </a:lnTo>
                <a:lnTo>
                  <a:pt x="3865" y="288"/>
                </a:lnTo>
                <a:lnTo>
                  <a:pt x="3872" y="290"/>
                </a:lnTo>
                <a:lnTo>
                  <a:pt x="3871" y="288"/>
                </a:lnTo>
                <a:lnTo>
                  <a:pt x="3874" y="287"/>
                </a:lnTo>
                <a:lnTo>
                  <a:pt x="3876" y="287"/>
                </a:lnTo>
                <a:close/>
                <a:moveTo>
                  <a:pt x="3919" y="88"/>
                </a:moveTo>
                <a:lnTo>
                  <a:pt x="3927" y="88"/>
                </a:lnTo>
                <a:lnTo>
                  <a:pt x="3934" y="89"/>
                </a:lnTo>
                <a:lnTo>
                  <a:pt x="3938" y="87"/>
                </a:lnTo>
                <a:lnTo>
                  <a:pt x="3942" y="85"/>
                </a:lnTo>
                <a:lnTo>
                  <a:pt x="3938" y="84"/>
                </a:lnTo>
                <a:lnTo>
                  <a:pt x="3934" y="82"/>
                </a:lnTo>
                <a:lnTo>
                  <a:pt x="3916" y="84"/>
                </a:lnTo>
                <a:lnTo>
                  <a:pt x="3918" y="86"/>
                </a:lnTo>
                <a:lnTo>
                  <a:pt x="3919" y="88"/>
                </a:lnTo>
                <a:close/>
                <a:moveTo>
                  <a:pt x="3913" y="216"/>
                </a:moveTo>
                <a:lnTo>
                  <a:pt x="3908" y="214"/>
                </a:lnTo>
                <a:lnTo>
                  <a:pt x="3906" y="216"/>
                </a:lnTo>
                <a:lnTo>
                  <a:pt x="3908" y="219"/>
                </a:lnTo>
                <a:lnTo>
                  <a:pt x="3913" y="216"/>
                </a:lnTo>
                <a:close/>
                <a:moveTo>
                  <a:pt x="1900" y="1719"/>
                </a:moveTo>
                <a:lnTo>
                  <a:pt x="1900" y="1719"/>
                </a:lnTo>
                <a:lnTo>
                  <a:pt x="1900" y="1719"/>
                </a:lnTo>
                <a:lnTo>
                  <a:pt x="1900" y="1719"/>
                </a:lnTo>
                <a:close/>
                <a:moveTo>
                  <a:pt x="4029" y="237"/>
                </a:moveTo>
                <a:lnTo>
                  <a:pt x="4029" y="237"/>
                </a:lnTo>
                <a:lnTo>
                  <a:pt x="4029" y="235"/>
                </a:lnTo>
                <a:lnTo>
                  <a:pt x="4028" y="232"/>
                </a:lnTo>
                <a:lnTo>
                  <a:pt x="4026" y="235"/>
                </a:lnTo>
                <a:lnTo>
                  <a:pt x="4029" y="237"/>
                </a:lnTo>
                <a:close/>
                <a:moveTo>
                  <a:pt x="1870" y="1698"/>
                </a:moveTo>
                <a:lnTo>
                  <a:pt x="1871" y="1697"/>
                </a:lnTo>
                <a:lnTo>
                  <a:pt x="1871" y="1696"/>
                </a:lnTo>
                <a:lnTo>
                  <a:pt x="1870" y="1696"/>
                </a:lnTo>
                <a:lnTo>
                  <a:pt x="1869" y="1698"/>
                </a:lnTo>
                <a:lnTo>
                  <a:pt x="1870" y="1697"/>
                </a:lnTo>
                <a:lnTo>
                  <a:pt x="1870" y="1698"/>
                </a:lnTo>
                <a:close/>
                <a:moveTo>
                  <a:pt x="3988" y="249"/>
                </a:moveTo>
                <a:lnTo>
                  <a:pt x="3992" y="247"/>
                </a:lnTo>
                <a:lnTo>
                  <a:pt x="3987" y="247"/>
                </a:lnTo>
                <a:lnTo>
                  <a:pt x="3988" y="249"/>
                </a:lnTo>
                <a:close/>
                <a:moveTo>
                  <a:pt x="1533" y="2501"/>
                </a:moveTo>
                <a:lnTo>
                  <a:pt x="1531" y="2500"/>
                </a:lnTo>
                <a:lnTo>
                  <a:pt x="1530" y="2501"/>
                </a:lnTo>
                <a:lnTo>
                  <a:pt x="1530" y="2493"/>
                </a:lnTo>
                <a:lnTo>
                  <a:pt x="1530" y="2484"/>
                </a:lnTo>
                <a:lnTo>
                  <a:pt x="1530" y="2483"/>
                </a:lnTo>
                <a:lnTo>
                  <a:pt x="1526" y="2483"/>
                </a:lnTo>
                <a:lnTo>
                  <a:pt x="1524" y="2486"/>
                </a:lnTo>
                <a:lnTo>
                  <a:pt x="1527" y="2489"/>
                </a:lnTo>
                <a:lnTo>
                  <a:pt x="1526" y="2492"/>
                </a:lnTo>
                <a:lnTo>
                  <a:pt x="1526" y="2489"/>
                </a:lnTo>
                <a:lnTo>
                  <a:pt x="1524" y="2487"/>
                </a:lnTo>
                <a:lnTo>
                  <a:pt x="1523" y="2487"/>
                </a:lnTo>
                <a:lnTo>
                  <a:pt x="1520" y="2489"/>
                </a:lnTo>
                <a:lnTo>
                  <a:pt x="1525" y="2492"/>
                </a:lnTo>
                <a:lnTo>
                  <a:pt x="1525" y="2493"/>
                </a:lnTo>
                <a:lnTo>
                  <a:pt x="1522" y="2492"/>
                </a:lnTo>
                <a:lnTo>
                  <a:pt x="1522" y="2494"/>
                </a:lnTo>
                <a:lnTo>
                  <a:pt x="1519" y="2495"/>
                </a:lnTo>
                <a:lnTo>
                  <a:pt x="1514" y="2495"/>
                </a:lnTo>
                <a:lnTo>
                  <a:pt x="1514" y="2499"/>
                </a:lnTo>
                <a:lnTo>
                  <a:pt x="1520" y="2499"/>
                </a:lnTo>
                <a:lnTo>
                  <a:pt x="1519" y="2503"/>
                </a:lnTo>
                <a:lnTo>
                  <a:pt x="1514" y="2503"/>
                </a:lnTo>
                <a:lnTo>
                  <a:pt x="1514" y="2507"/>
                </a:lnTo>
                <a:lnTo>
                  <a:pt x="1517" y="2507"/>
                </a:lnTo>
                <a:lnTo>
                  <a:pt x="1522" y="2507"/>
                </a:lnTo>
                <a:lnTo>
                  <a:pt x="1522" y="2505"/>
                </a:lnTo>
                <a:lnTo>
                  <a:pt x="1526" y="2504"/>
                </a:lnTo>
                <a:lnTo>
                  <a:pt x="1526" y="2507"/>
                </a:lnTo>
                <a:lnTo>
                  <a:pt x="1526" y="2507"/>
                </a:lnTo>
                <a:lnTo>
                  <a:pt x="1526" y="2509"/>
                </a:lnTo>
                <a:lnTo>
                  <a:pt x="1531" y="2506"/>
                </a:lnTo>
                <a:lnTo>
                  <a:pt x="1533" y="2501"/>
                </a:lnTo>
                <a:lnTo>
                  <a:pt x="1533" y="2501"/>
                </a:lnTo>
                <a:lnTo>
                  <a:pt x="1533" y="2501"/>
                </a:lnTo>
                <a:close/>
                <a:moveTo>
                  <a:pt x="1531" y="2500"/>
                </a:moveTo>
                <a:lnTo>
                  <a:pt x="1534" y="2498"/>
                </a:lnTo>
                <a:lnTo>
                  <a:pt x="1533" y="2497"/>
                </a:lnTo>
                <a:lnTo>
                  <a:pt x="1531" y="2497"/>
                </a:lnTo>
                <a:lnTo>
                  <a:pt x="1531" y="2500"/>
                </a:lnTo>
                <a:close/>
                <a:moveTo>
                  <a:pt x="3992" y="249"/>
                </a:moveTo>
                <a:lnTo>
                  <a:pt x="3992" y="251"/>
                </a:lnTo>
                <a:lnTo>
                  <a:pt x="3994" y="251"/>
                </a:lnTo>
                <a:lnTo>
                  <a:pt x="3992" y="249"/>
                </a:lnTo>
                <a:close/>
                <a:moveTo>
                  <a:pt x="4013" y="219"/>
                </a:moveTo>
                <a:lnTo>
                  <a:pt x="3995" y="226"/>
                </a:lnTo>
                <a:lnTo>
                  <a:pt x="4008" y="226"/>
                </a:lnTo>
                <a:lnTo>
                  <a:pt x="4014" y="221"/>
                </a:lnTo>
                <a:lnTo>
                  <a:pt x="4013" y="219"/>
                </a:lnTo>
                <a:close/>
                <a:moveTo>
                  <a:pt x="4010" y="235"/>
                </a:moveTo>
                <a:lnTo>
                  <a:pt x="4013" y="234"/>
                </a:lnTo>
                <a:lnTo>
                  <a:pt x="4006" y="235"/>
                </a:lnTo>
                <a:lnTo>
                  <a:pt x="4010" y="235"/>
                </a:lnTo>
                <a:close/>
                <a:moveTo>
                  <a:pt x="3988" y="235"/>
                </a:moveTo>
                <a:lnTo>
                  <a:pt x="3993" y="235"/>
                </a:lnTo>
                <a:lnTo>
                  <a:pt x="3998" y="234"/>
                </a:lnTo>
                <a:lnTo>
                  <a:pt x="3994" y="232"/>
                </a:lnTo>
                <a:lnTo>
                  <a:pt x="3988" y="235"/>
                </a:lnTo>
                <a:close/>
                <a:moveTo>
                  <a:pt x="1968" y="1736"/>
                </a:moveTo>
                <a:lnTo>
                  <a:pt x="1969" y="1733"/>
                </a:lnTo>
                <a:lnTo>
                  <a:pt x="1968" y="1735"/>
                </a:lnTo>
                <a:lnTo>
                  <a:pt x="1968" y="1737"/>
                </a:lnTo>
                <a:lnTo>
                  <a:pt x="1968" y="1737"/>
                </a:lnTo>
                <a:lnTo>
                  <a:pt x="1968" y="1737"/>
                </a:lnTo>
                <a:lnTo>
                  <a:pt x="1969" y="1736"/>
                </a:lnTo>
                <a:lnTo>
                  <a:pt x="1969" y="1736"/>
                </a:lnTo>
                <a:lnTo>
                  <a:pt x="1968" y="1736"/>
                </a:lnTo>
                <a:close/>
                <a:moveTo>
                  <a:pt x="3945" y="138"/>
                </a:moveTo>
                <a:lnTo>
                  <a:pt x="3934" y="136"/>
                </a:lnTo>
                <a:lnTo>
                  <a:pt x="3942" y="138"/>
                </a:lnTo>
                <a:lnTo>
                  <a:pt x="3945" y="138"/>
                </a:lnTo>
                <a:close/>
                <a:moveTo>
                  <a:pt x="4008" y="251"/>
                </a:moveTo>
                <a:lnTo>
                  <a:pt x="4008" y="250"/>
                </a:lnTo>
                <a:lnTo>
                  <a:pt x="4012" y="250"/>
                </a:lnTo>
                <a:lnTo>
                  <a:pt x="4014" y="250"/>
                </a:lnTo>
                <a:lnTo>
                  <a:pt x="4014" y="250"/>
                </a:lnTo>
                <a:lnTo>
                  <a:pt x="4017" y="247"/>
                </a:lnTo>
                <a:lnTo>
                  <a:pt x="3998" y="246"/>
                </a:lnTo>
                <a:lnTo>
                  <a:pt x="3993" y="249"/>
                </a:lnTo>
                <a:lnTo>
                  <a:pt x="4008" y="253"/>
                </a:lnTo>
                <a:lnTo>
                  <a:pt x="4008" y="251"/>
                </a:lnTo>
                <a:close/>
                <a:moveTo>
                  <a:pt x="3966" y="254"/>
                </a:moveTo>
                <a:lnTo>
                  <a:pt x="3968" y="253"/>
                </a:lnTo>
                <a:lnTo>
                  <a:pt x="3966" y="253"/>
                </a:lnTo>
                <a:lnTo>
                  <a:pt x="3966" y="253"/>
                </a:lnTo>
                <a:lnTo>
                  <a:pt x="3966" y="254"/>
                </a:lnTo>
                <a:close/>
                <a:moveTo>
                  <a:pt x="3975" y="238"/>
                </a:moveTo>
                <a:lnTo>
                  <a:pt x="3983" y="238"/>
                </a:lnTo>
                <a:lnTo>
                  <a:pt x="3977" y="236"/>
                </a:lnTo>
                <a:lnTo>
                  <a:pt x="3975" y="238"/>
                </a:lnTo>
                <a:close/>
                <a:moveTo>
                  <a:pt x="1534" y="2477"/>
                </a:moveTo>
                <a:lnTo>
                  <a:pt x="1535" y="2477"/>
                </a:lnTo>
                <a:lnTo>
                  <a:pt x="1531" y="2477"/>
                </a:lnTo>
                <a:lnTo>
                  <a:pt x="1531" y="2478"/>
                </a:lnTo>
                <a:lnTo>
                  <a:pt x="1533" y="2477"/>
                </a:lnTo>
                <a:lnTo>
                  <a:pt x="1533" y="2477"/>
                </a:lnTo>
                <a:lnTo>
                  <a:pt x="1534" y="2477"/>
                </a:lnTo>
                <a:close/>
                <a:moveTo>
                  <a:pt x="4021" y="246"/>
                </a:moveTo>
                <a:lnTo>
                  <a:pt x="4018" y="243"/>
                </a:lnTo>
                <a:lnTo>
                  <a:pt x="4017" y="249"/>
                </a:lnTo>
                <a:lnTo>
                  <a:pt x="4018" y="251"/>
                </a:lnTo>
                <a:lnTo>
                  <a:pt x="4021" y="246"/>
                </a:lnTo>
                <a:close/>
                <a:moveTo>
                  <a:pt x="1552" y="1367"/>
                </a:moveTo>
                <a:lnTo>
                  <a:pt x="1551" y="1367"/>
                </a:lnTo>
                <a:lnTo>
                  <a:pt x="1551" y="1370"/>
                </a:lnTo>
                <a:lnTo>
                  <a:pt x="1552" y="1367"/>
                </a:lnTo>
                <a:close/>
                <a:moveTo>
                  <a:pt x="3402" y="80"/>
                </a:moveTo>
                <a:lnTo>
                  <a:pt x="3398" y="79"/>
                </a:lnTo>
                <a:lnTo>
                  <a:pt x="3399" y="80"/>
                </a:lnTo>
                <a:lnTo>
                  <a:pt x="3402" y="80"/>
                </a:lnTo>
                <a:close/>
                <a:moveTo>
                  <a:pt x="1543" y="1412"/>
                </a:moveTo>
                <a:lnTo>
                  <a:pt x="1542" y="1412"/>
                </a:lnTo>
                <a:lnTo>
                  <a:pt x="1543" y="1414"/>
                </a:lnTo>
                <a:lnTo>
                  <a:pt x="1543" y="1412"/>
                </a:lnTo>
                <a:close/>
                <a:moveTo>
                  <a:pt x="3434" y="96"/>
                </a:moveTo>
                <a:lnTo>
                  <a:pt x="3439" y="102"/>
                </a:lnTo>
                <a:lnTo>
                  <a:pt x="3451" y="99"/>
                </a:lnTo>
                <a:lnTo>
                  <a:pt x="3426" y="89"/>
                </a:lnTo>
                <a:lnTo>
                  <a:pt x="3418" y="91"/>
                </a:lnTo>
                <a:lnTo>
                  <a:pt x="3406" y="88"/>
                </a:lnTo>
                <a:lnTo>
                  <a:pt x="3402" y="91"/>
                </a:lnTo>
                <a:lnTo>
                  <a:pt x="3434" y="96"/>
                </a:lnTo>
                <a:close/>
                <a:moveTo>
                  <a:pt x="1597" y="1038"/>
                </a:moveTo>
                <a:lnTo>
                  <a:pt x="1596" y="1041"/>
                </a:lnTo>
                <a:lnTo>
                  <a:pt x="1599" y="1041"/>
                </a:lnTo>
                <a:lnTo>
                  <a:pt x="1597" y="1038"/>
                </a:lnTo>
                <a:close/>
                <a:moveTo>
                  <a:pt x="3420" y="81"/>
                </a:moveTo>
                <a:lnTo>
                  <a:pt x="3418" y="82"/>
                </a:lnTo>
                <a:lnTo>
                  <a:pt x="3432" y="85"/>
                </a:lnTo>
                <a:lnTo>
                  <a:pt x="3451" y="80"/>
                </a:lnTo>
                <a:lnTo>
                  <a:pt x="3429" y="77"/>
                </a:lnTo>
                <a:lnTo>
                  <a:pt x="3434" y="82"/>
                </a:lnTo>
                <a:lnTo>
                  <a:pt x="3420" y="81"/>
                </a:lnTo>
                <a:lnTo>
                  <a:pt x="3420" y="81"/>
                </a:lnTo>
                <a:lnTo>
                  <a:pt x="3420" y="81"/>
                </a:lnTo>
                <a:close/>
                <a:moveTo>
                  <a:pt x="3420" y="81"/>
                </a:moveTo>
                <a:lnTo>
                  <a:pt x="3417" y="81"/>
                </a:lnTo>
                <a:lnTo>
                  <a:pt x="3420" y="81"/>
                </a:lnTo>
                <a:lnTo>
                  <a:pt x="3420" y="81"/>
                </a:lnTo>
                <a:close/>
                <a:moveTo>
                  <a:pt x="1595" y="1026"/>
                </a:moveTo>
                <a:lnTo>
                  <a:pt x="1599" y="1030"/>
                </a:lnTo>
                <a:lnTo>
                  <a:pt x="1597" y="1026"/>
                </a:lnTo>
                <a:lnTo>
                  <a:pt x="1595" y="1026"/>
                </a:lnTo>
                <a:close/>
                <a:moveTo>
                  <a:pt x="1565" y="1361"/>
                </a:moveTo>
                <a:lnTo>
                  <a:pt x="1569" y="1365"/>
                </a:lnTo>
                <a:lnTo>
                  <a:pt x="1566" y="1361"/>
                </a:lnTo>
                <a:lnTo>
                  <a:pt x="1565" y="1361"/>
                </a:lnTo>
                <a:close/>
                <a:moveTo>
                  <a:pt x="1571" y="1366"/>
                </a:moveTo>
                <a:lnTo>
                  <a:pt x="1570" y="1365"/>
                </a:lnTo>
                <a:lnTo>
                  <a:pt x="1569" y="1365"/>
                </a:lnTo>
                <a:lnTo>
                  <a:pt x="1569" y="1366"/>
                </a:lnTo>
                <a:lnTo>
                  <a:pt x="1571" y="1366"/>
                </a:lnTo>
                <a:close/>
                <a:moveTo>
                  <a:pt x="3462" y="76"/>
                </a:moveTo>
                <a:lnTo>
                  <a:pt x="3451" y="71"/>
                </a:lnTo>
                <a:lnTo>
                  <a:pt x="3437" y="74"/>
                </a:lnTo>
                <a:lnTo>
                  <a:pt x="3455" y="77"/>
                </a:lnTo>
                <a:lnTo>
                  <a:pt x="3462" y="76"/>
                </a:lnTo>
                <a:close/>
                <a:moveTo>
                  <a:pt x="1550" y="1406"/>
                </a:moveTo>
                <a:lnTo>
                  <a:pt x="1549" y="1408"/>
                </a:lnTo>
                <a:lnTo>
                  <a:pt x="1555" y="1412"/>
                </a:lnTo>
                <a:lnTo>
                  <a:pt x="1555" y="1408"/>
                </a:lnTo>
                <a:lnTo>
                  <a:pt x="1550" y="1406"/>
                </a:lnTo>
                <a:close/>
                <a:moveTo>
                  <a:pt x="3385" y="107"/>
                </a:moveTo>
                <a:lnTo>
                  <a:pt x="3390" y="107"/>
                </a:lnTo>
                <a:lnTo>
                  <a:pt x="3387" y="104"/>
                </a:lnTo>
                <a:lnTo>
                  <a:pt x="3383" y="104"/>
                </a:lnTo>
                <a:lnTo>
                  <a:pt x="3387" y="105"/>
                </a:lnTo>
                <a:lnTo>
                  <a:pt x="3385" y="107"/>
                </a:lnTo>
                <a:close/>
                <a:moveTo>
                  <a:pt x="3399" y="112"/>
                </a:moveTo>
                <a:lnTo>
                  <a:pt x="3402" y="108"/>
                </a:lnTo>
                <a:lnTo>
                  <a:pt x="3398" y="107"/>
                </a:lnTo>
                <a:lnTo>
                  <a:pt x="3401" y="105"/>
                </a:lnTo>
                <a:lnTo>
                  <a:pt x="3395" y="104"/>
                </a:lnTo>
                <a:lnTo>
                  <a:pt x="3394" y="105"/>
                </a:lnTo>
                <a:lnTo>
                  <a:pt x="3395" y="107"/>
                </a:lnTo>
                <a:lnTo>
                  <a:pt x="3392" y="108"/>
                </a:lnTo>
                <a:lnTo>
                  <a:pt x="3399" y="112"/>
                </a:lnTo>
                <a:close/>
                <a:moveTo>
                  <a:pt x="3409" y="100"/>
                </a:moveTo>
                <a:lnTo>
                  <a:pt x="3425" y="96"/>
                </a:lnTo>
                <a:lnTo>
                  <a:pt x="3413" y="94"/>
                </a:lnTo>
                <a:lnTo>
                  <a:pt x="3395" y="96"/>
                </a:lnTo>
                <a:lnTo>
                  <a:pt x="3402" y="98"/>
                </a:lnTo>
                <a:lnTo>
                  <a:pt x="3409" y="100"/>
                </a:lnTo>
                <a:close/>
                <a:moveTo>
                  <a:pt x="3380" y="120"/>
                </a:moveTo>
                <a:lnTo>
                  <a:pt x="3388" y="120"/>
                </a:lnTo>
                <a:lnTo>
                  <a:pt x="3394" y="118"/>
                </a:lnTo>
                <a:lnTo>
                  <a:pt x="3387" y="114"/>
                </a:lnTo>
                <a:lnTo>
                  <a:pt x="3380" y="114"/>
                </a:lnTo>
                <a:lnTo>
                  <a:pt x="3369" y="118"/>
                </a:lnTo>
                <a:lnTo>
                  <a:pt x="3373" y="120"/>
                </a:lnTo>
                <a:lnTo>
                  <a:pt x="3380" y="120"/>
                </a:lnTo>
                <a:close/>
                <a:moveTo>
                  <a:pt x="1591" y="1038"/>
                </a:moveTo>
                <a:lnTo>
                  <a:pt x="1585" y="1038"/>
                </a:lnTo>
                <a:lnTo>
                  <a:pt x="1591" y="1038"/>
                </a:lnTo>
                <a:lnTo>
                  <a:pt x="1591" y="1038"/>
                </a:lnTo>
                <a:close/>
                <a:moveTo>
                  <a:pt x="3439" y="86"/>
                </a:moveTo>
                <a:lnTo>
                  <a:pt x="3447" y="88"/>
                </a:lnTo>
                <a:lnTo>
                  <a:pt x="3451" y="87"/>
                </a:lnTo>
                <a:lnTo>
                  <a:pt x="3455" y="85"/>
                </a:lnTo>
                <a:lnTo>
                  <a:pt x="3440" y="85"/>
                </a:lnTo>
                <a:lnTo>
                  <a:pt x="3439" y="86"/>
                </a:lnTo>
                <a:close/>
                <a:moveTo>
                  <a:pt x="3448" y="96"/>
                </a:moveTo>
                <a:lnTo>
                  <a:pt x="3459" y="94"/>
                </a:lnTo>
                <a:lnTo>
                  <a:pt x="3447" y="89"/>
                </a:lnTo>
                <a:lnTo>
                  <a:pt x="3426" y="88"/>
                </a:lnTo>
                <a:lnTo>
                  <a:pt x="3448" y="96"/>
                </a:lnTo>
                <a:close/>
                <a:moveTo>
                  <a:pt x="1327" y="1234"/>
                </a:moveTo>
                <a:lnTo>
                  <a:pt x="1324" y="1232"/>
                </a:lnTo>
                <a:lnTo>
                  <a:pt x="1324" y="1237"/>
                </a:lnTo>
                <a:lnTo>
                  <a:pt x="1327" y="1234"/>
                </a:lnTo>
                <a:close/>
                <a:moveTo>
                  <a:pt x="1278" y="1241"/>
                </a:moveTo>
                <a:lnTo>
                  <a:pt x="1282" y="1242"/>
                </a:lnTo>
                <a:lnTo>
                  <a:pt x="1283" y="1241"/>
                </a:lnTo>
                <a:lnTo>
                  <a:pt x="1280" y="1238"/>
                </a:lnTo>
                <a:lnTo>
                  <a:pt x="1278" y="1241"/>
                </a:lnTo>
                <a:close/>
                <a:moveTo>
                  <a:pt x="3451" y="89"/>
                </a:moveTo>
                <a:lnTo>
                  <a:pt x="3460" y="93"/>
                </a:lnTo>
                <a:lnTo>
                  <a:pt x="3466" y="91"/>
                </a:lnTo>
                <a:lnTo>
                  <a:pt x="3455" y="88"/>
                </a:lnTo>
                <a:lnTo>
                  <a:pt x="3451" y="89"/>
                </a:lnTo>
                <a:close/>
                <a:moveTo>
                  <a:pt x="3469" y="78"/>
                </a:moveTo>
                <a:lnTo>
                  <a:pt x="3460" y="81"/>
                </a:lnTo>
                <a:lnTo>
                  <a:pt x="3475" y="81"/>
                </a:lnTo>
                <a:lnTo>
                  <a:pt x="3469" y="78"/>
                </a:lnTo>
                <a:close/>
                <a:moveTo>
                  <a:pt x="3471" y="96"/>
                </a:moveTo>
                <a:lnTo>
                  <a:pt x="3466" y="94"/>
                </a:lnTo>
                <a:lnTo>
                  <a:pt x="3454" y="97"/>
                </a:lnTo>
                <a:lnTo>
                  <a:pt x="3451" y="97"/>
                </a:lnTo>
                <a:lnTo>
                  <a:pt x="3462" y="100"/>
                </a:lnTo>
                <a:lnTo>
                  <a:pt x="3471" y="96"/>
                </a:lnTo>
                <a:close/>
                <a:moveTo>
                  <a:pt x="3418" y="116"/>
                </a:moveTo>
                <a:lnTo>
                  <a:pt x="3415" y="114"/>
                </a:lnTo>
                <a:lnTo>
                  <a:pt x="3409" y="117"/>
                </a:lnTo>
                <a:lnTo>
                  <a:pt x="3413" y="119"/>
                </a:lnTo>
                <a:lnTo>
                  <a:pt x="3418" y="116"/>
                </a:lnTo>
                <a:close/>
                <a:moveTo>
                  <a:pt x="1354" y="1381"/>
                </a:moveTo>
                <a:lnTo>
                  <a:pt x="1353" y="1381"/>
                </a:lnTo>
                <a:lnTo>
                  <a:pt x="1351" y="1386"/>
                </a:lnTo>
                <a:lnTo>
                  <a:pt x="1354" y="1381"/>
                </a:lnTo>
                <a:close/>
                <a:moveTo>
                  <a:pt x="3478" y="126"/>
                </a:moveTo>
                <a:lnTo>
                  <a:pt x="3475" y="126"/>
                </a:lnTo>
                <a:lnTo>
                  <a:pt x="3466" y="128"/>
                </a:lnTo>
                <a:lnTo>
                  <a:pt x="3473" y="129"/>
                </a:lnTo>
                <a:lnTo>
                  <a:pt x="3478" y="127"/>
                </a:lnTo>
                <a:lnTo>
                  <a:pt x="3478" y="126"/>
                </a:lnTo>
                <a:close/>
                <a:moveTo>
                  <a:pt x="3472" y="66"/>
                </a:moveTo>
                <a:lnTo>
                  <a:pt x="3475" y="62"/>
                </a:lnTo>
                <a:lnTo>
                  <a:pt x="3455" y="64"/>
                </a:lnTo>
                <a:lnTo>
                  <a:pt x="3451" y="69"/>
                </a:lnTo>
                <a:lnTo>
                  <a:pt x="3455" y="69"/>
                </a:lnTo>
                <a:lnTo>
                  <a:pt x="3472" y="66"/>
                </a:lnTo>
                <a:close/>
                <a:moveTo>
                  <a:pt x="3467" y="257"/>
                </a:moveTo>
                <a:lnTo>
                  <a:pt x="3466" y="258"/>
                </a:lnTo>
                <a:lnTo>
                  <a:pt x="3474" y="255"/>
                </a:lnTo>
                <a:lnTo>
                  <a:pt x="3474" y="255"/>
                </a:lnTo>
                <a:lnTo>
                  <a:pt x="3467" y="257"/>
                </a:lnTo>
                <a:close/>
                <a:moveTo>
                  <a:pt x="1360" y="1444"/>
                </a:moveTo>
                <a:lnTo>
                  <a:pt x="1358" y="1444"/>
                </a:lnTo>
                <a:lnTo>
                  <a:pt x="1354" y="1445"/>
                </a:lnTo>
                <a:lnTo>
                  <a:pt x="1360" y="1444"/>
                </a:lnTo>
                <a:close/>
                <a:moveTo>
                  <a:pt x="3466" y="69"/>
                </a:moveTo>
                <a:lnTo>
                  <a:pt x="3459" y="69"/>
                </a:lnTo>
                <a:lnTo>
                  <a:pt x="3458" y="71"/>
                </a:lnTo>
                <a:lnTo>
                  <a:pt x="3466" y="69"/>
                </a:lnTo>
                <a:close/>
                <a:moveTo>
                  <a:pt x="3474" y="257"/>
                </a:moveTo>
                <a:lnTo>
                  <a:pt x="3469" y="258"/>
                </a:lnTo>
                <a:lnTo>
                  <a:pt x="3471" y="258"/>
                </a:lnTo>
                <a:lnTo>
                  <a:pt x="3474" y="257"/>
                </a:lnTo>
                <a:close/>
                <a:moveTo>
                  <a:pt x="3442" y="105"/>
                </a:moveTo>
                <a:lnTo>
                  <a:pt x="3451" y="108"/>
                </a:lnTo>
                <a:lnTo>
                  <a:pt x="3455" y="105"/>
                </a:lnTo>
                <a:lnTo>
                  <a:pt x="3444" y="105"/>
                </a:lnTo>
                <a:lnTo>
                  <a:pt x="3442" y="105"/>
                </a:lnTo>
                <a:close/>
                <a:moveTo>
                  <a:pt x="1484" y="1355"/>
                </a:moveTo>
                <a:lnTo>
                  <a:pt x="1483" y="1355"/>
                </a:lnTo>
                <a:lnTo>
                  <a:pt x="1481" y="1357"/>
                </a:lnTo>
                <a:lnTo>
                  <a:pt x="1483" y="1357"/>
                </a:lnTo>
                <a:lnTo>
                  <a:pt x="1484" y="1357"/>
                </a:lnTo>
                <a:lnTo>
                  <a:pt x="1484" y="1355"/>
                </a:lnTo>
                <a:close/>
                <a:moveTo>
                  <a:pt x="1503" y="1315"/>
                </a:moveTo>
                <a:lnTo>
                  <a:pt x="1507" y="1318"/>
                </a:lnTo>
                <a:lnTo>
                  <a:pt x="1507" y="1310"/>
                </a:lnTo>
                <a:lnTo>
                  <a:pt x="1504" y="1315"/>
                </a:lnTo>
                <a:lnTo>
                  <a:pt x="1503" y="1315"/>
                </a:lnTo>
                <a:close/>
                <a:moveTo>
                  <a:pt x="1477" y="1351"/>
                </a:moveTo>
                <a:lnTo>
                  <a:pt x="1483" y="1355"/>
                </a:lnTo>
                <a:lnTo>
                  <a:pt x="1481" y="1351"/>
                </a:lnTo>
                <a:lnTo>
                  <a:pt x="1477" y="1351"/>
                </a:lnTo>
                <a:close/>
                <a:moveTo>
                  <a:pt x="1469" y="1289"/>
                </a:moveTo>
                <a:lnTo>
                  <a:pt x="1466" y="1287"/>
                </a:lnTo>
                <a:lnTo>
                  <a:pt x="1470" y="1289"/>
                </a:lnTo>
                <a:lnTo>
                  <a:pt x="1471" y="1290"/>
                </a:lnTo>
                <a:lnTo>
                  <a:pt x="1482" y="1290"/>
                </a:lnTo>
                <a:lnTo>
                  <a:pt x="1481" y="1289"/>
                </a:lnTo>
                <a:lnTo>
                  <a:pt x="1469" y="1289"/>
                </a:lnTo>
                <a:close/>
                <a:moveTo>
                  <a:pt x="1543" y="1372"/>
                </a:moveTo>
                <a:lnTo>
                  <a:pt x="1538" y="1376"/>
                </a:lnTo>
                <a:lnTo>
                  <a:pt x="1538" y="1377"/>
                </a:lnTo>
                <a:lnTo>
                  <a:pt x="1547" y="1376"/>
                </a:lnTo>
                <a:lnTo>
                  <a:pt x="1550" y="1371"/>
                </a:lnTo>
                <a:lnTo>
                  <a:pt x="1547" y="1374"/>
                </a:lnTo>
                <a:lnTo>
                  <a:pt x="1543" y="1372"/>
                </a:lnTo>
                <a:close/>
                <a:moveTo>
                  <a:pt x="1499" y="1305"/>
                </a:moveTo>
                <a:lnTo>
                  <a:pt x="1500" y="1306"/>
                </a:lnTo>
                <a:lnTo>
                  <a:pt x="1497" y="1303"/>
                </a:lnTo>
                <a:lnTo>
                  <a:pt x="1499" y="1305"/>
                </a:lnTo>
                <a:close/>
                <a:moveTo>
                  <a:pt x="1472" y="1350"/>
                </a:moveTo>
                <a:lnTo>
                  <a:pt x="1476" y="1351"/>
                </a:lnTo>
                <a:lnTo>
                  <a:pt x="1477" y="1351"/>
                </a:lnTo>
                <a:lnTo>
                  <a:pt x="1476" y="1350"/>
                </a:lnTo>
                <a:lnTo>
                  <a:pt x="1472" y="1350"/>
                </a:lnTo>
                <a:close/>
                <a:moveTo>
                  <a:pt x="1474" y="1310"/>
                </a:moveTo>
                <a:lnTo>
                  <a:pt x="1474" y="1313"/>
                </a:lnTo>
                <a:lnTo>
                  <a:pt x="1474" y="1317"/>
                </a:lnTo>
                <a:lnTo>
                  <a:pt x="1474" y="1317"/>
                </a:lnTo>
                <a:lnTo>
                  <a:pt x="1473" y="1318"/>
                </a:lnTo>
                <a:lnTo>
                  <a:pt x="1474" y="1319"/>
                </a:lnTo>
                <a:lnTo>
                  <a:pt x="1474" y="1317"/>
                </a:lnTo>
                <a:lnTo>
                  <a:pt x="1476" y="1318"/>
                </a:lnTo>
                <a:lnTo>
                  <a:pt x="1475" y="1319"/>
                </a:lnTo>
                <a:lnTo>
                  <a:pt x="1474" y="1319"/>
                </a:lnTo>
                <a:lnTo>
                  <a:pt x="1474" y="1320"/>
                </a:lnTo>
                <a:lnTo>
                  <a:pt x="1475" y="1319"/>
                </a:lnTo>
                <a:lnTo>
                  <a:pt x="1480" y="1324"/>
                </a:lnTo>
                <a:lnTo>
                  <a:pt x="1482" y="1320"/>
                </a:lnTo>
                <a:lnTo>
                  <a:pt x="1481" y="1310"/>
                </a:lnTo>
                <a:lnTo>
                  <a:pt x="1474" y="1310"/>
                </a:lnTo>
                <a:close/>
                <a:moveTo>
                  <a:pt x="1484" y="1324"/>
                </a:moveTo>
                <a:lnTo>
                  <a:pt x="1482" y="1328"/>
                </a:lnTo>
                <a:lnTo>
                  <a:pt x="1482" y="1326"/>
                </a:lnTo>
                <a:lnTo>
                  <a:pt x="1482" y="1324"/>
                </a:lnTo>
                <a:lnTo>
                  <a:pt x="1482" y="1322"/>
                </a:lnTo>
                <a:lnTo>
                  <a:pt x="1480" y="1330"/>
                </a:lnTo>
                <a:lnTo>
                  <a:pt x="1483" y="1334"/>
                </a:lnTo>
                <a:lnTo>
                  <a:pt x="1486" y="1334"/>
                </a:lnTo>
                <a:lnTo>
                  <a:pt x="1486" y="1331"/>
                </a:lnTo>
                <a:lnTo>
                  <a:pt x="1486" y="1331"/>
                </a:lnTo>
                <a:lnTo>
                  <a:pt x="1486" y="1331"/>
                </a:lnTo>
                <a:lnTo>
                  <a:pt x="1486" y="1326"/>
                </a:lnTo>
                <a:lnTo>
                  <a:pt x="1484" y="1324"/>
                </a:lnTo>
                <a:close/>
                <a:moveTo>
                  <a:pt x="1489" y="1287"/>
                </a:moveTo>
                <a:lnTo>
                  <a:pt x="1492" y="1288"/>
                </a:lnTo>
                <a:lnTo>
                  <a:pt x="1492" y="1287"/>
                </a:lnTo>
                <a:lnTo>
                  <a:pt x="1489" y="1287"/>
                </a:lnTo>
                <a:close/>
                <a:moveTo>
                  <a:pt x="1407" y="1366"/>
                </a:moveTo>
                <a:lnTo>
                  <a:pt x="1409" y="1371"/>
                </a:lnTo>
                <a:lnTo>
                  <a:pt x="1410" y="1371"/>
                </a:lnTo>
                <a:lnTo>
                  <a:pt x="1417" y="1368"/>
                </a:lnTo>
                <a:lnTo>
                  <a:pt x="1414" y="1363"/>
                </a:lnTo>
                <a:lnTo>
                  <a:pt x="1410" y="1363"/>
                </a:lnTo>
                <a:lnTo>
                  <a:pt x="1409" y="1363"/>
                </a:lnTo>
                <a:lnTo>
                  <a:pt x="1410" y="1366"/>
                </a:lnTo>
                <a:lnTo>
                  <a:pt x="1409" y="1367"/>
                </a:lnTo>
                <a:lnTo>
                  <a:pt x="1407" y="1366"/>
                </a:lnTo>
                <a:close/>
                <a:moveTo>
                  <a:pt x="1488" y="1313"/>
                </a:moveTo>
                <a:lnTo>
                  <a:pt x="1491" y="1311"/>
                </a:lnTo>
                <a:lnTo>
                  <a:pt x="1486" y="1311"/>
                </a:lnTo>
                <a:lnTo>
                  <a:pt x="1488" y="1313"/>
                </a:lnTo>
                <a:close/>
                <a:moveTo>
                  <a:pt x="1491" y="1299"/>
                </a:moveTo>
                <a:lnTo>
                  <a:pt x="1491" y="1294"/>
                </a:lnTo>
                <a:lnTo>
                  <a:pt x="1488" y="1298"/>
                </a:lnTo>
                <a:lnTo>
                  <a:pt x="1491" y="1299"/>
                </a:lnTo>
                <a:close/>
                <a:moveTo>
                  <a:pt x="1487" y="1360"/>
                </a:moveTo>
                <a:lnTo>
                  <a:pt x="1487" y="1359"/>
                </a:lnTo>
                <a:lnTo>
                  <a:pt x="1483" y="1357"/>
                </a:lnTo>
                <a:lnTo>
                  <a:pt x="1487" y="1360"/>
                </a:lnTo>
                <a:close/>
                <a:moveTo>
                  <a:pt x="1491" y="1294"/>
                </a:moveTo>
                <a:lnTo>
                  <a:pt x="1494" y="1291"/>
                </a:lnTo>
                <a:lnTo>
                  <a:pt x="1494" y="1288"/>
                </a:lnTo>
                <a:lnTo>
                  <a:pt x="1492" y="1288"/>
                </a:lnTo>
                <a:lnTo>
                  <a:pt x="1491" y="1291"/>
                </a:lnTo>
                <a:lnTo>
                  <a:pt x="1491" y="1294"/>
                </a:lnTo>
                <a:close/>
                <a:moveTo>
                  <a:pt x="1500" y="1306"/>
                </a:moveTo>
                <a:lnTo>
                  <a:pt x="1507" y="1310"/>
                </a:lnTo>
                <a:lnTo>
                  <a:pt x="1503" y="1306"/>
                </a:lnTo>
                <a:lnTo>
                  <a:pt x="1500" y="1306"/>
                </a:lnTo>
                <a:close/>
                <a:moveTo>
                  <a:pt x="1533" y="1349"/>
                </a:moveTo>
                <a:lnTo>
                  <a:pt x="1536" y="1349"/>
                </a:lnTo>
                <a:lnTo>
                  <a:pt x="1537" y="1349"/>
                </a:lnTo>
                <a:lnTo>
                  <a:pt x="1532" y="1346"/>
                </a:lnTo>
                <a:lnTo>
                  <a:pt x="1533" y="1349"/>
                </a:lnTo>
                <a:close/>
                <a:moveTo>
                  <a:pt x="1540" y="1348"/>
                </a:moveTo>
                <a:lnTo>
                  <a:pt x="1537" y="1349"/>
                </a:lnTo>
                <a:lnTo>
                  <a:pt x="1538" y="1353"/>
                </a:lnTo>
                <a:lnTo>
                  <a:pt x="1540" y="1348"/>
                </a:lnTo>
                <a:close/>
                <a:moveTo>
                  <a:pt x="1534" y="1073"/>
                </a:moveTo>
                <a:lnTo>
                  <a:pt x="1534" y="1074"/>
                </a:lnTo>
                <a:lnTo>
                  <a:pt x="1535" y="1074"/>
                </a:lnTo>
                <a:lnTo>
                  <a:pt x="1537" y="1072"/>
                </a:lnTo>
                <a:lnTo>
                  <a:pt x="1534" y="1073"/>
                </a:lnTo>
                <a:close/>
                <a:moveTo>
                  <a:pt x="1529" y="1326"/>
                </a:moveTo>
                <a:lnTo>
                  <a:pt x="1530" y="1329"/>
                </a:lnTo>
                <a:lnTo>
                  <a:pt x="1530" y="1326"/>
                </a:lnTo>
                <a:lnTo>
                  <a:pt x="1529" y="1326"/>
                </a:lnTo>
                <a:close/>
                <a:moveTo>
                  <a:pt x="1484" y="1411"/>
                </a:moveTo>
                <a:lnTo>
                  <a:pt x="1479" y="1415"/>
                </a:lnTo>
                <a:lnTo>
                  <a:pt x="1477" y="1419"/>
                </a:lnTo>
                <a:lnTo>
                  <a:pt x="1480" y="1419"/>
                </a:lnTo>
                <a:lnTo>
                  <a:pt x="1485" y="1427"/>
                </a:lnTo>
                <a:lnTo>
                  <a:pt x="1489" y="1427"/>
                </a:lnTo>
                <a:lnTo>
                  <a:pt x="1492" y="1428"/>
                </a:lnTo>
                <a:lnTo>
                  <a:pt x="1493" y="1424"/>
                </a:lnTo>
                <a:lnTo>
                  <a:pt x="1494" y="1424"/>
                </a:lnTo>
                <a:lnTo>
                  <a:pt x="1497" y="1420"/>
                </a:lnTo>
                <a:lnTo>
                  <a:pt x="1500" y="1423"/>
                </a:lnTo>
                <a:lnTo>
                  <a:pt x="1501" y="1424"/>
                </a:lnTo>
                <a:lnTo>
                  <a:pt x="1504" y="1423"/>
                </a:lnTo>
                <a:lnTo>
                  <a:pt x="1503" y="1419"/>
                </a:lnTo>
                <a:lnTo>
                  <a:pt x="1492" y="1413"/>
                </a:lnTo>
                <a:lnTo>
                  <a:pt x="1484" y="1411"/>
                </a:lnTo>
                <a:close/>
                <a:moveTo>
                  <a:pt x="1559" y="1391"/>
                </a:moveTo>
                <a:lnTo>
                  <a:pt x="1555" y="1389"/>
                </a:lnTo>
                <a:lnTo>
                  <a:pt x="1553" y="1389"/>
                </a:lnTo>
                <a:lnTo>
                  <a:pt x="1559" y="1391"/>
                </a:lnTo>
                <a:close/>
                <a:moveTo>
                  <a:pt x="1549" y="1355"/>
                </a:moveTo>
                <a:lnTo>
                  <a:pt x="1554" y="1356"/>
                </a:lnTo>
                <a:lnTo>
                  <a:pt x="1554" y="1355"/>
                </a:lnTo>
                <a:lnTo>
                  <a:pt x="1551" y="1353"/>
                </a:lnTo>
                <a:lnTo>
                  <a:pt x="1549" y="1355"/>
                </a:lnTo>
                <a:close/>
                <a:moveTo>
                  <a:pt x="1511" y="1317"/>
                </a:moveTo>
                <a:lnTo>
                  <a:pt x="1516" y="1322"/>
                </a:lnTo>
                <a:lnTo>
                  <a:pt x="1516" y="1322"/>
                </a:lnTo>
                <a:lnTo>
                  <a:pt x="1511" y="1317"/>
                </a:lnTo>
                <a:close/>
                <a:moveTo>
                  <a:pt x="1521" y="1100"/>
                </a:moveTo>
                <a:lnTo>
                  <a:pt x="1525" y="1094"/>
                </a:lnTo>
                <a:lnTo>
                  <a:pt x="1522" y="1098"/>
                </a:lnTo>
                <a:lnTo>
                  <a:pt x="1521" y="1100"/>
                </a:lnTo>
                <a:close/>
                <a:moveTo>
                  <a:pt x="1525" y="1333"/>
                </a:moveTo>
                <a:lnTo>
                  <a:pt x="1524" y="1333"/>
                </a:lnTo>
                <a:lnTo>
                  <a:pt x="1525" y="1334"/>
                </a:lnTo>
                <a:lnTo>
                  <a:pt x="1525" y="1333"/>
                </a:lnTo>
                <a:close/>
                <a:moveTo>
                  <a:pt x="1613" y="2620"/>
                </a:moveTo>
                <a:lnTo>
                  <a:pt x="1620" y="2620"/>
                </a:lnTo>
                <a:lnTo>
                  <a:pt x="1625" y="2624"/>
                </a:lnTo>
                <a:lnTo>
                  <a:pt x="1626" y="2620"/>
                </a:lnTo>
                <a:lnTo>
                  <a:pt x="1623" y="2618"/>
                </a:lnTo>
                <a:lnTo>
                  <a:pt x="1615" y="2616"/>
                </a:lnTo>
                <a:lnTo>
                  <a:pt x="1612" y="2618"/>
                </a:lnTo>
                <a:lnTo>
                  <a:pt x="1613" y="2620"/>
                </a:lnTo>
                <a:close/>
                <a:moveTo>
                  <a:pt x="1521" y="1343"/>
                </a:moveTo>
                <a:lnTo>
                  <a:pt x="1522" y="1346"/>
                </a:lnTo>
                <a:lnTo>
                  <a:pt x="1522" y="1345"/>
                </a:lnTo>
                <a:lnTo>
                  <a:pt x="1521" y="1341"/>
                </a:lnTo>
                <a:lnTo>
                  <a:pt x="1516" y="1333"/>
                </a:lnTo>
                <a:lnTo>
                  <a:pt x="1521" y="1343"/>
                </a:lnTo>
                <a:close/>
                <a:moveTo>
                  <a:pt x="1518" y="1147"/>
                </a:moveTo>
                <a:lnTo>
                  <a:pt x="1518" y="1146"/>
                </a:lnTo>
                <a:lnTo>
                  <a:pt x="1517" y="1147"/>
                </a:lnTo>
                <a:lnTo>
                  <a:pt x="1518" y="1147"/>
                </a:lnTo>
                <a:close/>
                <a:moveTo>
                  <a:pt x="1519" y="1145"/>
                </a:moveTo>
                <a:lnTo>
                  <a:pt x="1519" y="1139"/>
                </a:lnTo>
                <a:lnTo>
                  <a:pt x="1518" y="1146"/>
                </a:lnTo>
                <a:lnTo>
                  <a:pt x="1519" y="1145"/>
                </a:lnTo>
                <a:close/>
                <a:moveTo>
                  <a:pt x="1516" y="1326"/>
                </a:moveTo>
                <a:lnTo>
                  <a:pt x="1519" y="1326"/>
                </a:lnTo>
                <a:lnTo>
                  <a:pt x="1516" y="1322"/>
                </a:lnTo>
                <a:lnTo>
                  <a:pt x="1515" y="1326"/>
                </a:lnTo>
                <a:lnTo>
                  <a:pt x="1516" y="1326"/>
                </a:lnTo>
                <a:close/>
                <a:moveTo>
                  <a:pt x="1530" y="2550"/>
                </a:moveTo>
                <a:lnTo>
                  <a:pt x="1526" y="2550"/>
                </a:lnTo>
                <a:lnTo>
                  <a:pt x="1526" y="2551"/>
                </a:lnTo>
                <a:lnTo>
                  <a:pt x="1530" y="2550"/>
                </a:lnTo>
                <a:close/>
                <a:moveTo>
                  <a:pt x="1526" y="2539"/>
                </a:moveTo>
                <a:lnTo>
                  <a:pt x="1526" y="2542"/>
                </a:lnTo>
                <a:lnTo>
                  <a:pt x="1526" y="2539"/>
                </a:lnTo>
                <a:lnTo>
                  <a:pt x="1526" y="2539"/>
                </a:lnTo>
                <a:close/>
                <a:moveTo>
                  <a:pt x="1530" y="2542"/>
                </a:moveTo>
                <a:lnTo>
                  <a:pt x="1526" y="2542"/>
                </a:lnTo>
                <a:lnTo>
                  <a:pt x="1526" y="2549"/>
                </a:lnTo>
                <a:lnTo>
                  <a:pt x="1530" y="2542"/>
                </a:lnTo>
                <a:close/>
                <a:moveTo>
                  <a:pt x="1526" y="2549"/>
                </a:moveTo>
                <a:lnTo>
                  <a:pt x="1526" y="2550"/>
                </a:lnTo>
                <a:lnTo>
                  <a:pt x="1530" y="2546"/>
                </a:lnTo>
                <a:lnTo>
                  <a:pt x="1526" y="2549"/>
                </a:lnTo>
                <a:close/>
                <a:moveTo>
                  <a:pt x="1560" y="2580"/>
                </a:moveTo>
                <a:lnTo>
                  <a:pt x="1558" y="2582"/>
                </a:lnTo>
                <a:lnTo>
                  <a:pt x="1558" y="2580"/>
                </a:lnTo>
                <a:lnTo>
                  <a:pt x="1557" y="2580"/>
                </a:lnTo>
                <a:lnTo>
                  <a:pt x="1556" y="2577"/>
                </a:lnTo>
                <a:lnTo>
                  <a:pt x="1553" y="2584"/>
                </a:lnTo>
                <a:lnTo>
                  <a:pt x="1546" y="2584"/>
                </a:lnTo>
                <a:lnTo>
                  <a:pt x="1546" y="2584"/>
                </a:lnTo>
                <a:lnTo>
                  <a:pt x="1549" y="2588"/>
                </a:lnTo>
                <a:lnTo>
                  <a:pt x="1552" y="2588"/>
                </a:lnTo>
                <a:lnTo>
                  <a:pt x="1557" y="2588"/>
                </a:lnTo>
                <a:lnTo>
                  <a:pt x="1556" y="2588"/>
                </a:lnTo>
                <a:lnTo>
                  <a:pt x="1552" y="2590"/>
                </a:lnTo>
                <a:lnTo>
                  <a:pt x="1554" y="2590"/>
                </a:lnTo>
                <a:lnTo>
                  <a:pt x="1558" y="2589"/>
                </a:lnTo>
                <a:lnTo>
                  <a:pt x="1558" y="2585"/>
                </a:lnTo>
                <a:lnTo>
                  <a:pt x="1563" y="2584"/>
                </a:lnTo>
                <a:lnTo>
                  <a:pt x="1560" y="2580"/>
                </a:lnTo>
                <a:close/>
                <a:moveTo>
                  <a:pt x="3799" y="278"/>
                </a:moveTo>
                <a:lnTo>
                  <a:pt x="3799" y="278"/>
                </a:lnTo>
                <a:lnTo>
                  <a:pt x="3803" y="280"/>
                </a:lnTo>
                <a:lnTo>
                  <a:pt x="3803" y="278"/>
                </a:lnTo>
                <a:lnTo>
                  <a:pt x="3808" y="278"/>
                </a:lnTo>
                <a:lnTo>
                  <a:pt x="3804" y="274"/>
                </a:lnTo>
                <a:lnTo>
                  <a:pt x="3805" y="270"/>
                </a:lnTo>
                <a:lnTo>
                  <a:pt x="3796" y="276"/>
                </a:lnTo>
                <a:lnTo>
                  <a:pt x="3799" y="278"/>
                </a:lnTo>
                <a:lnTo>
                  <a:pt x="3799" y="278"/>
                </a:lnTo>
                <a:close/>
                <a:moveTo>
                  <a:pt x="1549" y="2590"/>
                </a:moveTo>
                <a:lnTo>
                  <a:pt x="1550" y="2589"/>
                </a:lnTo>
                <a:lnTo>
                  <a:pt x="1546" y="2589"/>
                </a:lnTo>
                <a:lnTo>
                  <a:pt x="1549" y="2590"/>
                </a:lnTo>
                <a:close/>
                <a:moveTo>
                  <a:pt x="1526" y="2516"/>
                </a:moveTo>
                <a:lnTo>
                  <a:pt x="1526" y="2515"/>
                </a:lnTo>
                <a:lnTo>
                  <a:pt x="1526" y="2515"/>
                </a:lnTo>
                <a:lnTo>
                  <a:pt x="1526" y="2516"/>
                </a:lnTo>
                <a:lnTo>
                  <a:pt x="1527" y="2516"/>
                </a:lnTo>
                <a:lnTo>
                  <a:pt x="1530" y="2515"/>
                </a:lnTo>
                <a:lnTo>
                  <a:pt x="1529" y="2515"/>
                </a:lnTo>
                <a:lnTo>
                  <a:pt x="1526" y="2516"/>
                </a:lnTo>
                <a:close/>
                <a:moveTo>
                  <a:pt x="3768" y="296"/>
                </a:moveTo>
                <a:lnTo>
                  <a:pt x="3763" y="296"/>
                </a:lnTo>
                <a:lnTo>
                  <a:pt x="3767" y="300"/>
                </a:lnTo>
                <a:lnTo>
                  <a:pt x="3768" y="296"/>
                </a:lnTo>
                <a:close/>
                <a:moveTo>
                  <a:pt x="1524" y="2522"/>
                </a:moveTo>
                <a:lnTo>
                  <a:pt x="1524" y="2520"/>
                </a:lnTo>
                <a:lnTo>
                  <a:pt x="1523" y="2520"/>
                </a:lnTo>
                <a:lnTo>
                  <a:pt x="1524" y="2522"/>
                </a:lnTo>
                <a:close/>
                <a:moveTo>
                  <a:pt x="1560" y="2596"/>
                </a:moveTo>
                <a:lnTo>
                  <a:pt x="1564" y="2594"/>
                </a:lnTo>
                <a:lnTo>
                  <a:pt x="1560" y="2594"/>
                </a:lnTo>
                <a:lnTo>
                  <a:pt x="1560" y="2596"/>
                </a:lnTo>
                <a:close/>
                <a:moveTo>
                  <a:pt x="3780" y="94"/>
                </a:moveTo>
                <a:lnTo>
                  <a:pt x="3763" y="93"/>
                </a:lnTo>
                <a:lnTo>
                  <a:pt x="3760" y="97"/>
                </a:lnTo>
                <a:lnTo>
                  <a:pt x="3771" y="97"/>
                </a:lnTo>
                <a:lnTo>
                  <a:pt x="3780" y="94"/>
                </a:lnTo>
                <a:close/>
                <a:moveTo>
                  <a:pt x="1524" y="2545"/>
                </a:moveTo>
                <a:lnTo>
                  <a:pt x="1524" y="2549"/>
                </a:lnTo>
                <a:lnTo>
                  <a:pt x="1526" y="2542"/>
                </a:lnTo>
                <a:lnTo>
                  <a:pt x="1526" y="2542"/>
                </a:lnTo>
                <a:lnTo>
                  <a:pt x="1524" y="2545"/>
                </a:lnTo>
                <a:close/>
                <a:moveTo>
                  <a:pt x="1520" y="2532"/>
                </a:moveTo>
                <a:lnTo>
                  <a:pt x="1519" y="2539"/>
                </a:lnTo>
                <a:lnTo>
                  <a:pt x="1523" y="2538"/>
                </a:lnTo>
                <a:lnTo>
                  <a:pt x="1524" y="2532"/>
                </a:lnTo>
                <a:lnTo>
                  <a:pt x="1520" y="2532"/>
                </a:lnTo>
                <a:close/>
                <a:moveTo>
                  <a:pt x="1527" y="2532"/>
                </a:moveTo>
                <a:lnTo>
                  <a:pt x="1530" y="2534"/>
                </a:lnTo>
                <a:lnTo>
                  <a:pt x="1530" y="2532"/>
                </a:lnTo>
                <a:lnTo>
                  <a:pt x="1530" y="2531"/>
                </a:lnTo>
                <a:lnTo>
                  <a:pt x="1526" y="2531"/>
                </a:lnTo>
                <a:lnTo>
                  <a:pt x="1526" y="2532"/>
                </a:lnTo>
                <a:lnTo>
                  <a:pt x="1526" y="2532"/>
                </a:lnTo>
                <a:lnTo>
                  <a:pt x="1524" y="2536"/>
                </a:lnTo>
                <a:lnTo>
                  <a:pt x="1527" y="2532"/>
                </a:lnTo>
                <a:close/>
                <a:moveTo>
                  <a:pt x="1597" y="2616"/>
                </a:moveTo>
                <a:lnTo>
                  <a:pt x="1597" y="2613"/>
                </a:lnTo>
                <a:lnTo>
                  <a:pt x="1595" y="2613"/>
                </a:lnTo>
                <a:lnTo>
                  <a:pt x="1597" y="2616"/>
                </a:lnTo>
                <a:close/>
                <a:moveTo>
                  <a:pt x="1635" y="2619"/>
                </a:moveTo>
                <a:lnTo>
                  <a:pt x="1632" y="2621"/>
                </a:lnTo>
                <a:lnTo>
                  <a:pt x="1632" y="2623"/>
                </a:lnTo>
                <a:lnTo>
                  <a:pt x="1635" y="2624"/>
                </a:lnTo>
                <a:lnTo>
                  <a:pt x="1638" y="2623"/>
                </a:lnTo>
                <a:lnTo>
                  <a:pt x="1635" y="2619"/>
                </a:lnTo>
                <a:close/>
                <a:moveTo>
                  <a:pt x="1639" y="2626"/>
                </a:moveTo>
                <a:lnTo>
                  <a:pt x="1639" y="2624"/>
                </a:lnTo>
                <a:lnTo>
                  <a:pt x="1638" y="2626"/>
                </a:lnTo>
                <a:lnTo>
                  <a:pt x="1639" y="2626"/>
                </a:lnTo>
                <a:close/>
                <a:moveTo>
                  <a:pt x="1635" y="2624"/>
                </a:moveTo>
                <a:lnTo>
                  <a:pt x="1634" y="2624"/>
                </a:lnTo>
                <a:lnTo>
                  <a:pt x="1638" y="2626"/>
                </a:lnTo>
                <a:lnTo>
                  <a:pt x="1638" y="2624"/>
                </a:lnTo>
                <a:lnTo>
                  <a:pt x="1635" y="2624"/>
                </a:lnTo>
                <a:close/>
                <a:moveTo>
                  <a:pt x="1639" y="2616"/>
                </a:moveTo>
                <a:lnTo>
                  <a:pt x="1642" y="2616"/>
                </a:lnTo>
                <a:lnTo>
                  <a:pt x="1642" y="2613"/>
                </a:lnTo>
                <a:lnTo>
                  <a:pt x="1641" y="2613"/>
                </a:lnTo>
                <a:lnTo>
                  <a:pt x="1639" y="2616"/>
                </a:lnTo>
                <a:close/>
                <a:moveTo>
                  <a:pt x="1630" y="2619"/>
                </a:moveTo>
                <a:lnTo>
                  <a:pt x="1629" y="2619"/>
                </a:lnTo>
                <a:lnTo>
                  <a:pt x="1632" y="2619"/>
                </a:lnTo>
                <a:lnTo>
                  <a:pt x="1630" y="2619"/>
                </a:lnTo>
                <a:close/>
                <a:moveTo>
                  <a:pt x="1646" y="2613"/>
                </a:moveTo>
                <a:lnTo>
                  <a:pt x="1648" y="2612"/>
                </a:lnTo>
                <a:lnTo>
                  <a:pt x="1645" y="2612"/>
                </a:lnTo>
                <a:lnTo>
                  <a:pt x="1646" y="2613"/>
                </a:lnTo>
                <a:close/>
                <a:moveTo>
                  <a:pt x="1560" y="2592"/>
                </a:moveTo>
                <a:lnTo>
                  <a:pt x="1564" y="2592"/>
                </a:lnTo>
                <a:lnTo>
                  <a:pt x="1565" y="2590"/>
                </a:lnTo>
                <a:lnTo>
                  <a:pt x="1564" y="2589"/>
                </a:lnTo>
                <a:lnTo>
                  <a:pt x="1560" y="2592"/>
                </a:lnTo>
                <a:close/>
                <a:moveTo>
                  <a:pt x="1640" y="2608"/>
                </a:moveTo>
                <a:lnTo>
                  <a:pt x="1639" y="2608"/>
                </a:lnTo>
                <a:lnTo>
                  <a:pt x="1641" y="2609"/>
                </a:lnTo>
                <a:lnTo>
                  <a:pt x="1640" y="2608"/>
                </a:lnTo>
                <a:close/>
                <a:moveTo>
                  <a:pt x="1583" y="2608"/>
                </a:moveTo>
                <a:lnTo>
                  <a:pt x="1582" y="2610"/>
                </a:lnTo>
                <a:lnTo>
                  <a:pt x="1586" y="2612"/>
                </a:lnTo>
                <a:lnTo>
                  <a:pt x="1590" y="2608"/>
                </a:lnTo>
                <a:lnTo>
                  <a:pt x="1587" y="2608"/>
                </a:lnTo>
                <a:lnTo>
                  <a:pt x="1583" y="2608"/>
                </a:lnTo>
                <a:close/>
                <a:moveTo>
                  <a:pt x="1630" y="2626"/>
                </a:moveTo>
                <a:lnTo>
                  <a:pt x="1632" y="2624"/>
                </a:lnTo>
                <a:lnTo>
                  <a:pt x="1627" y="2624"/>
                </a:lnTo>
                <a:lnTo>
                  <a:pt x="1630" y="2626"/>
                </a:lnTo>
                <a:close/>
                <a:moveTo>
                  <a:pt x="1583" y="2607"/>
                </a:moveTo>
                <a:lnTo>
                  <a:pt x="1576" y="2603"/>
                </a:lnTo>
                <a:lnTo>
                  <a:pt x="1575" y="2605"/>
                </a:lnTo>
                <a:lnTo>
                  <a:pt x="1582" y="2607"/>
                </a:lnTo>
                <a:lnTo>
                  <a:pt x="1583" y="2607"/>
                </a:lnTo>
                <a:close/>
                <a:moveTo>
                  <a:pt x="1567" y="2600"/>
                </a:moveTo>
                <a:lnTo>
                  <a:pt x="1568" y="2602"/>
                </a:lnTo>
                <a:lnTo>
                  <a:pt x="1568" y="2601"/>
                </a:lnTo>
                <a:lnTo>
                  <a:pt x="1567" y="2600"/>
                </a:lnTo>
                <a:close/>
                <a:moveTo>
                  <a:pt x="1601" y="2617"/>
                </a:moveTo>
                <a:lnTo>
                  <a:pt x="1602" y="2616"/>
                </a:lnTo>
                <a:lnTo>
                  <a:pt x="1601" y="2616"/>
                </a:lnTo>
                <a:lnTo>
                  <a:pt x="1601" y="2617"/>
                </a:lnTo>
                <a:close/>
                <a:moveTo>
                  <a:pt x="1596" y="2605"/>
                </a:moveTo>
                <a:lnTo>
                  <a:pt x="1594" y="2607"/>
                </a:lnTo>
                <a:lnTo>
                  <a:pt x="1594" y="2608"/>
                </a:lnTo>
                <a:lnTo>
                  <a:pt x="1606" y="2607"/>
                </a:lnTo>
                <a:lnTo>
                  <a:pt x="1596" y="2605"/>
                </a:lnTo>
                <a:close/>
                <a:moveTo>
                  <a:pt x="3767" y="351"/>
                </a:moveTo>
                <a:lnTo>
                  <a:pt x="3767" y="346"/>
                </a:lnTo>
                <a:lnTo>
                  <a:pt x="3761" y="341"/>
                </a:lnTo>
                <a:lnTo>
                  <a:pt x="3751" y="346"/>
                </a:lnTo>
                <a:lnTo>
                  <a:pt x="3751" y="349"/>
                </a:lnTo>
                <a:lnTo>
                  <a:pt x="3763" y="352"/>
                </a:lnTo>
                <a:lnTo>
                  <a:pt x="3767" y="351"/>
                </a:lnTo>
                <a:close/>
                <a:moveTo>
                  <a:pt x="1530" y="2515"/>
                </a:moveTo>
                <a:lnTo>
                  <a:pt x="1526" y="2515"/>
                </a:lnTo>
                <a:lnTo>
                  <a:pt x="1526" y="2515"/>
                </a:lnTo>
                <a:lnTo>
                  <a:pt x="1529" y="2515"/>
                </a:lnTo>
                <a:lnTo>
                  <a:pt x="1530" y="2515"/>
                </a:lnTo>
                <a:close/>
                <a:moveTo>
                  <a:pt x="3474" y="115"/>
                </a:moveTo>
                <a:lnTo>
                  <a:pt x="3460" y="109"/>
                </a:lnTo>
                <a:lnTo>
                  <a:pt x="3439" y="109"/>
                </a:lnTo>
                <a:lnTo>
                  <a:pt x="3441" y="112"/>
                </a:lnTo>
                <a:lnTo>
                  <a:pt x="3441" y="120"/>
                </a:lnTo>
                <a:lnTo>
                  <a:pt x="3448" y="126"/>
                </a:lnTo>
                <a:lnTo>
                  <a:pt x="3454" y="126"/>
                </a:lnTo>
                <a:lnTo>
                  <a:pt x="3451" y="122"/>
                </a:lnTo>
                <a:lnTo>
                  <a:pt x="3454" y="120"/>
                </a:lnTo>
                <a:lnTo>
                  <a:pt x="3460" y="121"/>
                </a:lnTo>
                <a:lnTo>
                  <a:pt x="3462" y="118"/>
                </a:lnTo>
                <a:lnTo>
                  <a:pt x="3455" y="118"/>
                </a:lnTo>
                <a:lnTo>
                  <a:pt x="3460" y="117"/>
                </a:lnTo>
                <a:lnTo>
                  <a:pt x="3474" y="115"/>
                </a:lnTo>
                <a:close/>
                <a:moveTo>
                  <a:pt x="3482" y="251"/>
                </a:moveTo>
                <a:lnTo>
                  <a:pt x="3481" y="253"/>
                </a:lnTo>
                <a:lnTo>
                  <a:pt x="3487" y="251"/>
                </a:lnTo>
                <a:lnTo>
                  <a:pt x="3492" y="249"/>
                </a:lnTo>
                <a:lnTo>
                  <a:pt x="3487" y="250"/>
                </a:lnTo>
                <a:lnTo>
                  <a:pt x="3482" y="251"/>
                </a:lnTo>
                <a:close/>
                <a:moveTo>
                  <a:pt x="3437" y="123"/>
                </a:moveTo>
                <a:lnTo>
                  <a:pt x="3437" y="116"/>
                </a:lnTo>
                <a:lnTo>
                  <a:pt x="3421" y="114"/>
                </a:lnTo>
                <a:lnTo>
                  <a:pt x="3421" y="117"/>
                </a:lnTo>
                <a:lnTo>
                  <a:pt x="3421" y="119"/>
                </a:lnTo>
                <a:lnTo>
                  <a:pt x="3421" y="126"/>
                </a:lnTo>
                <a:lnTo>
                  <a:pt x="3438" y="125"/>
                </a:lnTo>
                <a:lnTo>
                  <a:pt x="3437" y="123"/>
                </a:lnTo>
                <a:close/>
                <a:moveTo>
                  <a:pt x="1424" y="1575"/>
                </a:moveTo>
                <a:lnTo>
                  <a:pt x="1423" y="1577"/>
                </a:lnTo>
                <a:lnTo>
                  <a:pt x="1423" y="1579"/>
                </a:lnTo>
                <a:lnTo>
                  <a:pt x="1426" y="1582"/>
                </a:lnTo>
                <a:lnTo>
                  <a:pt x="1424" y="1579"/>
                </a:lnTo>
                <a:lnTo>
                  <a:pt x="1424" y="1575"/>
                </a:lnTo>
                <a:close/>
                <a:moveTo>
                  <a:pt x="3511" y="69"/>
                </a:moveTo>
                <a:lnTo>
                  <a:pt x="3508" y="69"/>
                </a:lnTo>
                <a:lnTo>
                  <a:pt x="3514" y="71"/>
                </a:lnTo>
                <a:lnTo>
                  <a:pt x="3511" y="69"/>
                </a:lnTo>
                <a:close/>
                <a:moveTo>
                  <a:pt x="3499" y="94"/>
                </a:moveTo>
                <a:lnTo>
                  <a:pt x="3508" y="89"/>
                </a:lnTo>
                <a:lnTo>
                  <a:pt x="3494" y="89"/>
                </a:lnTo>
                <a:lnTo>
                  <a:pt x="3485" y="91"/>
                </a:lnTo>
                <a:lnTo>
                  <a:pt x="3492" y="92"/>
                </a:lnTo>
                <a:lnTo>
                  <a:pt x="3499" y="94"/>
                </a:lnTo>
                <a:close/>
                <a:moveTo>
                  <a:pt x="3472" y="104"/>
                </a:moveTo>
                <a:lnTo>
                  <a:pt x="3475" y="105"/>
                </a:lnTo>
                <a:lnTo>
                  <a:pt x="3474" y="107"/>
                </a:lnTo>
                <a:lnTo>
                  <a:pt x="3478" y="112"/>
                </a:lnTo>
                <a:lnTo>
                  <a:pt x="3483" y="109"/>
                </a:lnTo>
                <a:lnTo>
                  <a:pt x="3488" y="108"/>
                </a:lnTo>
                <a:lnTo>
                  <a:pt x="3499" y="112"/>
                </a:lnTo>
                <a:lnTo>
                  <a:pt x="3508" y="105"/>
                </a:lnTo>
                <a:lnTo>
                  <a:pt x="3511" y="104"/>
                </a:lnTo>
                <a:lnTo>
                  <a:pt x="3514" y="104"/>
                </a:lnTo>
                <a:lnTo>
                  <a:pt x="3514" y="103"/>
                </a:lnTo>
                <a:lnTo>
                  <a:pt x="3513" y="102"/>
                </a:lnTo>
                <a:lnTo>
                  <a:pt x="3515" y="99"/>
                </a:lnTo>
                <a:lnTo>
                  <a:pt x="3511" y="96"/>
                </a:lnTo>
                <a:lnTo>
                  <a:pt x="3480" y="97"/>
                </a:lnTo>
                <a:lnTo>
                  <a:pt x="3474" y="102"/>
                </a:lnTo>
                <a:lnTo>
                  <a:pt x="3472" y="104"/>
                </a:lnTo>
                <a:close/>
                <a:moveTo>
                  <a:pt x="3421" y="126"/>
                </a:moveTo>
                <a:lnTo>
                  <a:pt x="3421" y="126"/>
                </a:lnTo>
                <a:lnTo>
                  <a:pt x="3420" y="126"/>
                </a:lnTo>
                <a:lnTo>
                  <a:pt x="3421" y="126"/>
                </a:lnTo>
                <a:close/>
                <a:moveTo>
                  <a:pt x="3398" y="116"/>
                </a:moveTo>
                <a:lnTo>
                  <a:pt x="3399" y="119"/>
                </a:lnTo>
                <a:lnTo>
                  <a:pt x="3402" y="116"/>
                </a:lnTo>
                <a:lnTo>
                  <a:pt x="3399" y="114"/>
                </a:lnTo>
                <a:lnTo>
                  <a:pt x="3398" y="116"/>
                </a:lnTo>
                <a:close/>
                <a:moveTo>
                  <a:pt x="1204" y="1298"/>
                </a:moveTo>
                <a:lnTo>
                  <a:pt x="1204" y="1298"/>
                </a:lnTo>
                <a:lnTo>
                  <a:pt x="1204" y="1298"/>
                </a:lnTo>
                <a:lnTo>
                  <a:pt x="1204" y="1298"/>
                </a:lnTo>
                <a:close/>
                <a:moveTo>
                  <a:pt x="3411" y="105"/>
                </a:moveTo>
                <a:lnTo>
                  <a:pt x="3406" y="107"/>
                </a:lnTo>
                <a:lnTo>
                  <a:pt x="3413" y="108"/>
                </a:lnTo>
                <a:lnTo>
                  <a:pt x="3411" y="105"/>
                </a:lnTo>
                <a:close/>
                <a:moveTo>
                  <a:pt x="1210" y="1264"/>
                </a:moveTo>
                <a:lnTo>
                  <a:pt x="1216" y="1258"/>
                </a:lnTo>
                <a:lnTo>
                  <a:pt x="1210" y="1261"/>
                </a:lnTo>
                <a:lnTo>
                  <a:pt x="1210" y="1264"/>
                </a:lnTo>
                <a:close/>
                <a:moveTo>
                  <a:pt x="3406" y="108"/>
                </a:moveTo>
                <a:lnTo>
                  <a:pt x="3402" y="112"/>
                </a:lnTo>
                <a:lnTo>
                  <a:pt x="3401" y="112"/>
                </a:lnTo>
                <a:lnTo>
                  <a:pt x="3409" y="112"/>
                </a:lnTo>
                <a:lnTo>
                  <a:pt x="3406" y="108"/>
                </a:lnTo>
                <a:close/>
                <a:moveTo>
                  <a:pt x="1200" y="1370"/>
                </a:moveTo>
                <a:lnTo>
                  <a:pt x="1201" y="1367"/>
                </a:lnTo>
                <a:lnTo>
                  <a:pt x="1200" y="1369"/>
                </a:lnTo>
                <a:lnTo>
                  <a:pt x="1200" y="1370"/>
                </a:lnTo>
                <a:close/>
                <a:moveTo>
                  <a:pt x="3432" y="100"/>
                </a:moveTo>
                <a:lnTo>
                  <a:pt x="3418" y="101"/>
                </a:lnTo>
                <a:lnTo>
                  <a:pt x="3417" y="101"/>
                </a:lnTo>
                <a:lnTo>
                  <a:pt x="3424" y="104"/>
                </a:lnTo>
                <a:lnTo>
                  <a:pt x="3439" y="102"/>
                </a:lnTo>
                <a:lnTo>
                  <a:pt x="3432" y="100"/>
                </a:lnTo>
                <a:close/>
                <a:moveTo>
                  <a:pt x="1338" y="1422"/>
                </a:moveTo>
                <a:lnTo>
                  <a:pt x="1338" y="1420"/>
                </a:lnTo>
                <a:lnTo>
                  <a:pt x="1336" y="1424"/>
                </a:lnTo>
                <a:lnTo>
                  <a:pt x="1338" y="1422"/>
                </a:lnTo>
                <a:close/>
                <a:moveTo>
                  <a:pt x="3719" y="342"/>
                </a:moveTo>
                <a:lnTo>
                  <a:pt x="3728" y="342"/>
                </a:lnTo>
                <a:lnTo>
                  <a:pt x="3718" y="340"/>
                </a:lnTo>
                <a:lnTo>
                  <a:pt x="3719" y="342"/>
                </a:lnTo>
                <a:close/>
                <a:moveTo>
                  <a:pt x="3539" y="69"/>
                </a:moveTo>
                <a:lnTo>
                  <a:pt x="3531" y="69"/>
                </a:lnTo>
                <a:lnTo>
                  <a:pt x="3522" y="69"/>
                </a:lnTo>
                <a:lnTo>
                  <a:pt x="3533" y="71"/>
                </a:lnTo>
                <a:lnTo>
                  <a:pt x="3539" y="69"/>
                </a:lnTo>
                <a:close/>
                <a:moveTo>
                  <a:pt x="3694" y="341"/>
                </a:moveTo>
                <a:lnTo>
                  <a:pt x="3700" y="342"/>
                </a:lnTo>
                <a:lnTo>
                  <a:pt x="3700" y="342"/>
                </a:lnTo>
                <a:lnTo>
                  <a:pt x="3700" y="342"/>
                </a:lnTo>
                <a:lnTo>
                  <a:pt x="3692" y="339"/>
                </a:lnTo>
                <a:lnTo>
                  <a:pt x="3687" y="342"/>
                </a:lnTo>
                <a:lnTo>
                  <a:pt x="3694" y="347"/>
                </a:lnTo>
                <a:lnTo>
                  <a:pt x="3694" y="341"/>
                </a:lnTo>
                <a:close/>
                <a:moveTo>
                  <a:pt x="3708" y="332"/>
                </a:moveTo>
                <a:lnTo>
                  <a:pt x="3708" y="334"/>
                </a:lnTo>
                <a:lnTo>
                  <a:pt x="3715" y="334"/>
                </a:lnTo>
                <a:lnTo>
                  <a:pt x="3718" y="330"/>
                </a:lnTo>
                <a:lnTo>
                  <a:pt x="3710" y="330"/>
                </a:lnTo>
                <a:lnTo>
                  <a:pt x="3707" y="332"/>
                </a:lnTo>
                <a:lnTo>
                  <a:pt x="3710" y="331"/>
                </a:lnTo>
                <a:lnTo>
                  <a:pt x="3708" y="332"/>
                </a:lnTo>
                <a:close/>
                <a:moveTo>
                  <a:pt x="1529" y="2515"/>
                </a:moveTo>
                <a:lnTo>
                  <a:pt x="1531" y="2516"/>
                </a:lnTo>
                <a:lnTo>
                  <a:pt x="1530" y="2520"/>
                </a:lnTo>
                <a:lnTo>
                  <a:pt x="1535" y="2523"/>
                </a:lnTo>
                <a:lnTo>
                  <a:pt x="1537" y="2523"/>
                </a:lnTo>
                <a:lnTo>
                  <a:pt x="1533" y="2516"/>
                </a:lnTo>
                <a:lnTo>
                  <a:pt x="1530" y="2515"/>
                </a:lnTo>
                <a:lnTo>
                  <a:pt x="1530" y="2515"/>
                </a:lnTo>
                <a:lnTo>
                  <a:pt x="1530" y="2515"/>
                </a:lnTo>
                <a:lnTo>
                  <a:pt x="1529" y="2515"/>
                </a:lnTo>
                <a:close/>
                <a:moveTo>
                  <a:pt x="3728" y="143"/>
                </a:moveTo>
                <a:lnTo>
                  <a:pt x="3741" y="142"/>
                </a:lnTo>
                <a:lnTo>
                  <a:pt x="3716" y="139"/>
                </a:lnTo>
                <a:lnTo>
                  <a:pt x="3726" y="142"/>
                </a:lnTo>
                <a:lnTo>
                  <a:pt x="3728" y="143"/>
                </a:lnTo>
                <a:close/>
                <a:moveTo>
                  <a:pt x="1519" y="2519"/>
                </a:moveTo>
                <a:lnTo>
                  <a:pt x="1517" y="2515"/>
                </a:lnTo>
                <a:lnTo>
                  <a:pt x="1517" y="2515"/>
                </a:lnTo>
                <a:lnTo>
                  <a:pt x="1517" y="2515"/>
                </a:lnTo>
                <a:lnTo>
                  <a:pt x="1517" y="2515"/>
                </a:lnTo>
                <a:lnTo>
                  <a:pt x="1517" y="2515"/>
                </a:lnTo>
                <a:lnTo>
                  <a:pt x="1519" y="2510"/>
                </a:lnTo>
                <a:lnTo>
                  <a:pt x="1521" y="2511"/>
                </a:lnTo>
                <a:lnTo>
                  <a:pt x="1523" y="2511"/>
                </a:lnTo>
                <a:lnTo>
                  <a:pt x="1523" y="2511"/>
                </a:lnTo>
                <a:lnTo>
                  <a:pt x="1526" y="2509"/>
                </a:lnTo>
                <a:lnTo>
                  <a:pt x="1526" y="2511"/>
                </a:lnTo>
                <a:lnTo>
                  <a:pt x="1523" y="2512"/>
                </a:lnTo>
                <a:lnTo>
                  <a:pt x="1520" y="2515"/>
                </a:lnTo>
                <a:lnTo>
                  <a:pt x="1523" y="2515"/>
                </a:lnTo>
                <a:lnTo>
                  <a:pt x="1520" y="2516"/>
                </a:lnTo>
                <a:lnTo>
                  <a:pt x="1519" y="2522"/>
                </a:lnTo>
                <a:lnTo>
                  <a:pt x="1516" y="2519"/>
                </a:lnTo>
                <a:lnTo>
                  <a:pt x="1519" y="2519"/>
                </a:lnTo>
                <a:close/>
                <a:moveTo>
                  <a:pt x="1520" y="2515"/>
                </a:moveTo>
                <a:lnTo>
                  <a:pt x="1519" y="2514"/>
                </a:lnTo>
                <a:lnTo>
                  <a:pt x="1520" y="2512"/>
                </a:lnTo>
                <a:lnTo>
                  <a:pt x="1517" y="2515"/>
                </a:lnTo>
                <a:lnTo>
                  <a:pt x="1520" y="2515"/>
                </a:lnTo>
                <a:close/>
                <a:moveTo>
                  <a:pt x="3673" y="352"/>
                </a:moveTo>
                <a:lnTo>
                  <a:pt x="3669" y="352"/>
                </a:lnTo>
                <a:lnTo>
                  <a:pt x="3673" y="353"/>
                </a:lnTo>
                <a:lnTo>
                  <a:pt x="3673" y="352"/>
                </a:lnTo>
                <a:close/>
                <a:moveTo>
                  <a:pt x="3514" y="68"/>
                </a:moveTo>
                <a:lnTo>
                  <a:pt x="3514" y="69"/>
                </a:lnTo>
                <a:lnTo>
                  <a:pt x="3522" y="69"/>
                </a:lnTo>
                <a:lnTo>
                  <a:pt x="3514" y="68"/>
                </a:lnTo>
                <a:close/>
                <a:moveTo>
                  <a:pt x="1522" y="2511"/>
                </a:moveTo>
                <a:lnTo>
                  <a:pt x="1523" y="2511"/>
                </a:lnTo>
                <a:lnTo>
                  <a:pt x="1522" y="2509"/>
                </a:lnTo>
                <a:lnTo>
                  <a:pt x="1522" y="2511"/>
                </a:lnTo>
                <a:close/>
                <a:moveTo>
                  <a:pt x="3650" y="333"/>
                </a:moveTo>
                <a:lnTo>
                  <a:pt x="3650" y="333"/>
                </a:lnTo>
                <a:lnTo>
                  <a:pt x="3650" y="333"/>
                </a:lnTo>
                <a:lnTo>
                  <a:pt x="3650" y="333"/>
                </a:lnTo>
                <a:close/>
                <a:moveTo>
                  <a:pt x="1466" y="2214"/>
                </a:moveTo>
                <a:lnTo>
                  <a:pt x="1469" y="2213"/>
                </a:lnTo>
                <a:lnTo>
                  <a:pt x="1467" y="2213"/>
                </a:lnTo>
                <a:lnTo>
                  <a:pt x="1466" y="2214"/>
                </a:lnTo>
                <a:close/>
                <a:moveTo>
                  <a:pt x="3521" y="95"/>
                </a:moveTo>
                <a:lnTo>
                  <a:pt x="3519" y="96"/>
                </a:lnTo>
                <a:lnTo>
                  <a:pt x="3531" y="102"/>
                </a:lnTo>
                <a:lnTo>
                  <a:pt x="3550" y="99"/>
                </a:lnTo>
                <a:lnTo>
                  <a:pt x="3562" y="93"/>
                </a:lnTo>
                <a:lnTo>
                  <a:pt x="3562" y="91"/>
                </a:lnTo>
                <a:lnTo>
                  <a:pt x="3559" y="85"/>
                </a:lnTo>
                <a:lnTo>
                  <a:pt x="3550" y="84"/>
                </a:lnTo>
                <a:lnTo>
                  <a:pt x="3545" y="85"/>
                </a:lnTo>
                <a:lnTo>
                  <a:pt x="3544" y="91"/>
                </a:lnTo>
                <a:lnTo>
                  <a:pt x="3530" y="93"/>
                </a:lnTo>
                <a:lnTo>
                  <a:pt x="3521" y="95"/>
                </a:lnTo>
                <a:close/>
                <a:moveTo>
                  <a:pt x="3634" y="342"/>
                </a:moveTo>
                <a:lnTo>
                  <a:pt x="3653" y="337"/>
                </a:lnTo>
                <a:lnTo>
                  <a:pt x="3651" y="334"/>
                </a:lnTo>
                <a:lnTo>
                  <a:pt x="3646" y="335"/>
                </a:lnTo>
                <a:lnTo>
                  <a:pt x="3650" y="333"/>
                </a:lnTo>
                <a:lnTo>
                  <a:pt x="3648" y="333"/>
                </a:lnTo>
                <a:lnTo>
                  <a:pt x="3642" y="334"/>
                </a:lnTo>
                <a:lnTo>
                  <a:pt x="3642" y="335"/>
                </a:lnTo>
                <a:lnTo>
                  <a:pt x="3641" y="335"/>
                </a:lnTo>
                <a:lnTo>
                  <a:pt x="3647" y="330"/>
                </a:lnTo>
                <a:lnTo>
                  <a:pt x="3642" y="330"/>
                </a:lnTo>
                <a:lnTo>
                  <a:pt x="3636" y="329"/>
                </a:lnTo>
                <a:lnTo>
                  <a:pt x="3632" y="331"/>
                </a:lnTo>
                <a:lnTo>
                  <a:pt x="3629" y="333"/>
                </a:lnTo>
                <a:lnTo>
                  <a:pt x="3630" y="337"/>
                </a:lnTo>
                <a:lnTo>
                  <a:pt x="3626" y="342"/>
                </a:lnTo>
                <a:lnTo>
                  <a:pt x="3634" y="342"/>
                </a:lnTo>
                <a:close/>
                <a:moveTo>
                  <a:pt x="4033" y="230"/>
                </a:moveTo>
                <a:lnTo>
                  <a:pt x="4031" y="230"/>
                </a:lnTo>
                <a:lnTo>
                  <a:pt x="4033" y="231"/>
                </a:lnTo>
                <a:lnTo>
                  <a:pt x="4033" y="230"/>
                </a:lnTo>
                <a:close/>
                <a:moveTo>
                  <a:pt x="1162" y="454"/>
                </a:moveTo>
                <a:lnTo>
                  <a:pt x="1159" y="451"/>
                </a:lnTo>
                <a:lnTo>
                  <a:pt x="1158" y="454"/>
                </a:lnTo>
                <a:lnTo>
                  <a:pt x="1162" y="456"/>
                </a:lnTo>
                <a:lnTo>
                  <a:pt x="1162" y="454"/>
                </a:lnTo>
                <a:close/>
                <a:moveTo>
                  <a:pt x="1159" y="470"/>
                </a:moveTo>
                <a:lnTo>
                  <a:pt x="1158" y="473"/>
                </a:lnTo>
                <a:lnTo>
                  <a:pt x="1159" y="474"/>
                </a:lnTo>
                <a:lnTo>
                  <a:pt x="1159" y="470"/>
                </a:lnTo>
                <a:close/>
                <a:moveTo>
                  <a:pt x="1149" y="420"/>
                </a:moveTo>
                <a:lnTo>
                  <a:pt x="1147" y="420"/>
                </a:lnTo>
                <a:lnTo>
                  <a:pt x="1149" y="422"/>
                </a:lnTo>
                <a:lnTo>
                  <a:pt x="1149" y="420"/>
                </a:lnTo>
                <a:close/>
                <a:moveTo>
                  <a:pt x="1158" y="413"/>
                </a:moveTo>
                <a:lnTo>
                  <a:pt x="1155" y="410"/>
                </a:lnTo>
                <a:lnTo>
                  <a:pt x="1151" y="410"/>
                </a:lnTo>
                <a:lnTo>
                  <a:pt x="1151" y="413"/>
                </a:lnTo>
                <a:lnTo>
                  <a:pt x="1158" y="417"/>
                </a:lnTo>
                <a:lnTo>
                  <a:pt x="1158" y="413"/>
                </a:lnTo>
                <a:close/>
                <a:moveTo>
                  <a:pt x="1146" y="443"/>
                </a:moveTo>
                <a:lnTo>
                  <a:pt x="1145" y="442"/>
                </a:lnTo>
                <a:lnTo>
                  <a:pt x="1142" y="440"/>
                </a:lnTo>
                <a:lnTo>
                  <a:pt x="1140" y="442"/>
                </a:lnTo>
                <a:lnTo>
                  <a:pt x="1143" y="443"/>
                </a:lnTo>
                <a:lnTo>
                  <a:pt x="1143" y="445"/>
                </a:lnTo>
                <a:lnTo>
                  <a:pt x="1146" y="443"/>
                </a:lnTo>
                <a:close/>
                <a:moveTo>
                  <a:pt x="916" y="443"/>
                </a:moveTo>
                <a:lnTo>
                  <a:pt x="916" y="443"/>
                </a:lnTo>
                <a:lnTo>
                  <a:pt x="916" y="443"/>
                </a:lnTo>
                <a:lnTo>
                  <a:pt x="916" y="443"/>
                </a:lnTo>
                <a:lnTo>
                  <a:pt x="916" y="443"/>
                </a:lnTo>
                <a:close/>
                <a:moveTo>
                  <a:pt x="1453" y="816"/>
                </a:moveTo>
                <a:lnTo>
                  <a:pt x="1452" y="817"/>
                </a:lnTo>
                <a:lnTo>
                  <a:pt x="1455" y="816"/>
                </a:lnTo>
                <a:lnTo>
                  <a:pt x="1453" y="816"/>
                </a:lnTo>
                <a:close/>
                <a:moveTo>
                  <a:pt x="1224" y="447"/>
                </a:moveTo>
                <a:lnTo>
                  <a:pt x="1226" y="447"/>
                </a:lnTo>
                <a:lnTo>
                  <a:pt x="1228" y="442"/>
                </a:lnTo>
                <a:lnTo>
                  <a:pt x="1226" y="440"/>
                </a:lnTo>
                <a:lnTo>
                  <a:pt x="1222" y="440"/>
                </a:lnTo>
                <a:lnTo>
                  <a:pt x="1224" y="442"/>
                </a:lnTo>
                <a:lnTo>
                  <a:pt x="1224" y="445"/>
                </a:lnTo>
                <a:lnTo>
                  <a:pt x="1224" y="447"/>
                </a:lnTo>
                <a:close/>
                <a:moveTo>
                  <a:pt x="1218" y="442"/>
                </a:moveTo>
                <a:lnTo>
                  <a:pt x="1218" y="445"/>
                </a:lnTo>
                <a:lnTo>
                  <a:pt x="1221" y="447"/>
                </a:lnTo>
                <a:lnTo>
                  <a:pt x="1222" y="440"/>
                </a:lnTo>
                <a:lnTo>
                  <a:pt x="1221" y="440"/>
                </a:lnTo>
                <a:lnTo>
                  <a:pt x="1218" y="442"/>
                </a:lnTo>
                <a:close/>
                <a:moveTo>
                  <a:pt x="1157" y="459"/>
                </a:moveTo>
                <a:lnTo>
                  <a:pt x="1159" y="458"/>
                </a:lnTo>
                <a:lnTo>
                  <a:pt x="1157" y="455"/>
                </a:lnTo>
                <a:lnTo>
                  <a:pt x="1148" y="455"/>
                </a:lnTo>
                <a:lnTo>
                  <a:pt x="1148" y="462"/>
                </a:lnTo>
                <a:lnTo>
                  <a:pt x="1156" y="463"/>
                </a:lnTo>
                <a:lnTo>
                  <a:pt x="1157" y="459"/>
                </a:lnTo>
                <a:close/>
                <a:moveTo>
                  <a:pt x="1146" y="424"/>
                </a:moveTo>
                <a:lnTo>
                  <a:pt x="1136" y="425"/>
                </a:lnTo>
                <a:lnTo>
                  <a:pt x="1132" y="424"/>
                </a:lnTo>
                <a:lnTo>
                  <a:pt x="1132" y="423"/>
                </a:lnTo>
                <a:lnTo>
                  <a:pt x="1131" y="423"/>
                </a:lnTo>
                <a:lnTo>
                  <a:pt x="1121" y="417"/>
                </a:lnTo>
                <a:lnTo>
                  <a:pt x="1116" y="411"/>
                </a:lnTo>
                <a:lnTo>
                  <a:pt x="1112" y="411"/>
                </a:lnTo>
                <a:lnTo>
                  <a:pt x="1112" y="413"/>
                </a:lnTo>
                <a:lnTo>
                  <a:pt x="1116" y="416"/>
                </a:lnTo>
                <a:lnTo>
                  <a:pt x="1109" y="412"/>
                </a:lnTo>
                <a:lnTo>
                  <a:pt x="1094" y="399"/>
                </a:lnTo>
                <a:lnTo>
                  <a:pt x="1097" y="396"/>
                </a:lnTo>
                <a:lnTo>
                  <a:pt x="1095" y="393"/>
                </a:lnTo>
                <a:lnTo>
                  <a:pt x="1096" y="390"/>
                </a:lnTo>
                <a:lnTo>
                  <a:pt x="1096" y="388"/>
                </a:lnTo>
                <a:lnTo>
                  <a:pt x="1096" y="386"/>
                </a:lnTo>
                <a:lnTo>
                  <a:pt x="1087" y="373"/>
                </a:lnTo>
                <a:lnTo>
                  <a:pt x="1089" y="371"/>
                </a:lnTo>
                <a:lnTo>
                  <a:pt x="1084" y="363"/>
                </a:lnTo>
                <a:lnTo>
                  <a:pt x="1086" y="363"/>
                </a:lnTo>
                <a:lnTo>
                  <a:pt x="1081" y="354"/>
                </a:lnTo>
                <a:lnTo>
                  <a:pt x="1083" y="354"/>
                </a:lnTo>
                <a:lnTo>
                  <a:pt x="1076" y="345"/>
                </a:lnTo>
                <a:lnTo>
                  <a:pt x="1069" y="343"/>
                </a:lnTo>
                <a:lnTo>
                  <a:pt x="1062" y="336"/>
                </a:lnTo>
                <a:lnTo>
                  <a:pt x="1056" y="337"/>
                </a:lnTo>
                <a:lnTo>
                  <a:pt x="1056" y="339"/>
                </a:lnTo>
                <a:lnTo>
                  <a:pt x="1056" y="341"/>
                </a:lnTo>
                <a:lnTo>
                  <a:pt x="1044" y="336"/>
                </a:lnTo>
                <a:lnTo>
                  <a:pt x="1042" y="337"/>
                </a:lnTo>
                <a:lnTo>
                  <a:pt x="1045" y="339"/>
                </a:lnTo>
                <a:lnTo>
                  <a:pt x="1039" y="341"/>
                </a:lnTo>
                <a:lnTo>
                  <a:pt x="1045" y="355"/>
                </a:lnTo>
                <a:lnTo>
                  <a:pt x="1046" y="359"/>
                </a:lnTo>
                <a:lnTo>
                  <a:pt x="1047" y="370"/>
                </a:lnTo>
                <a:lnTo>
                  <a:pt x="1054" y="378"/>
                </a:lnTo>
                <a:lnTo>
                  <a:pt x="1044" y="383"/>
                </a:lnTo>
                <a:lnTo>
                  <a:pt x="1044" y="385"/>
                </a:lnTo>
                <a:lnTo>
                  <a:pt x="1040" y="383"/>
                </a:lnTo>
                <a:lnTo>
                  <a:pt x="1040" y="378"/>
                </a:lnTo>
                <a:lnTo>
                  <a:pt x="1040" y="376"/>
                </a:lnTo>
                <a:lnTo>
                  <a:pt x="1038" y="373"/>
                </a:lnTo>
                <a:lnTo>
                  <a:pt x="1038" y="370"/>
                </a:lnTo>
                <a:lnTo>
                  <a:pt x="1035" y="367"/>
                </a:lnTo>
                <a:lnTo>
                  <a:pt x="1036" y="363"/>
                </a:lnTo>
                <a:lnTo>
                  <a:pt x="1028" y="363"/>
                </a:lnTo>
                <a:lnTo>
                  <a:pt x="1028" y="354"/>
                </a:lnTo>
                <a:lnTo>
                  <a:pt x="1026" y="352"/>
                </a:lnTo>
                <a:lnTo>
                  <a:pt x="1018" y="349"/>
                </a:lnTo>
                <a:lnTo>
                  <a:pt x="1021" y="348"/>
                </a:lnTo>
                <a:lnTo>
                  <a:pt x="1009" y="344"/>
                </a:lnTo>
                <a:lnTo>
                  <a:pt x="1005" y="347"/>
                </a:lnTo>
                <a:lnTo>
                  <a:pt x="1008" y="349"/>
                </a:lnTo>
                <a:lnTo>
                  <a:pt x="1019" y="352"/>
                </a:lnTo>
                <a:lnTo>
                  <a:pt x="1011" y="354"/>
                </a:lnTo>
                <a:lnTo>
                  <a:pt x="1016" y="355"/>
                </a:lnTo>
                <a:lnTo>
                  <a:pt x="1019" y="360"/>
                </a:lnTo>
                <a:lnTo>
                  <a:pt x="1012" y="359"/>
                </a:lnTo>
                <a:lnTo>
                  <a:pt x="1019" y="361"/>
                </a:lnTo>
                <a:lnTo>
                  <a:pt x="1011" y="359"/>
                </a:lnTo>
                <a:lnTo>
                  <a:pt x="1008" y="360"/>
                </a:lnTo>
                <a:lnTo>
                  <a:pt x="1006" y="359"/>
                </a:lnTo>
                <a:lnTo>
                  <a:pt x="1002" y="362"/>
                </a:lnTo>
                <a:lnTo>
                  <a:pt x="1001" y="367"/>
                </a:lnTo>
                <a:lnTo>
                  <a:pt x="997" y="367"/>
                </a:lnTo>
                <a:lnTo>
                  <a:pt x="998" y="363"/>
                </a:lnTo>
                <a:lnTo>
                  <a:pt x="997" y="363"/>
                </a:lnTo>
                <a:lnTo>
                  <a:pt x="991" y="367"/>
                </a:lnTo>
                <a:lnTo>
                  <a:pt x="995" y="367"/>
                </a:lnTo>
                <a:lnTo>
                  <a:pt x="991" y="368"/>
                </a:lnTo>
                <a:lnTo>
                  <a:pt x="989" y="365"/>
                </a:lnTo>
                <a:lnTo>
                  <a:pt x="997" y="359"/>
                </a:lnTo>
                <a:lnTo>
                  <a:pt x="998" y="354"/>
                </a:lnTo>
                <a:lnTo>
                  <a:pt x="971" y="347"/>
                </a:lnTo>
                <a:lnTo>
                  <a:pt x="964" y="351"/>
                </a:lnTo>
                <a:lnTo>
                  <a:pt x="966" y="352"/>
                </a:lnTo>
                <a:lnTo>
                  <a:pt x="965" y="357"/>
                </a:lnTo>
                <a:lnTo>
                  <a:pt x="950" y="363"/>
                </a:lnTo>
                <a:lnTo>
                  <a:pt x="949" y="363"/>
                </a:lnTo>
                <a:lnTo>
                  <a:pt x="952" y="355"/>
                </a:lnTo>
                <a:lnTo>
                  <a:pt x="952" y="352"/>
                </a:lnTo>
                <a:lnTo>
                  <a:pt x="958" y="351"/>
                </a:lnTo>
                <a:lnTo>
                  <a:pt x="957" y="349"/>
                </a:lnTo>
                <a:lnTo>
                  <a:pt x="958" y="341"/>
                </a:lnTo>
                <a:lnTo>
                  <a:pt x="955" y="336"/>
                </a:lnTo>
                <a:lnTo>
                  <a:pt x="949" y="335"/>
                </a:lnTo>
                <a:lnTo>
                  <a:pt x="908" y="348"/>
                </a:lnTo>
                <a:lnTo>
                  <a:pt x="887" y="360"/>
                </a:lnTo>
                <a:lnTo>
                  <a:pt x="887" y="364"/>
                </a:lnTo>
                <a:lnTo>
                  <a:pt x="896" y="365"/>
                </a:lnTo>
                <a:lnTo>
                  <a:pt x="896" y="368"/>
                </a:lnTo>
                <a:lnTo>
                  <a:pt x="887" y="371"/>
                </a:lnTo>
                <a:lnTo>
                  <a:pt x="879" y="376"/>
                </a:lnTo>
                <a:lnTo>
                  <a:pt x="879" y="382"/>
                </a:lnTo>
                <a:lnTo>
                  <a:pt x="879" y="385"/>
                </a:lnTo>
                <a:lnTo>
                  <a:pt x="884" y="386"/>
                </a:lnTo>
                <a:lnTo>
                  <a:pt x="886" y="383"/>
                </a:lnTo>
                <a:lnTo>
                  <a:pt x="893" y="386"/>
                </a:lnTo>
                <a:lnTo>
                  <a:pt x="904" y="383"/>
                </a:lnTo>
                <a:lnTo>
                  <a:pt x="901" y="385"/>
                </a:lnTo>
                <a:lnTo>
                  <a:pt x="905" y="386"/>
                </a:lnTo>
                <a:lnTo>
                  <a:pt x="893" y="390"/>
                </a:lnTo>
                <a:lnTo>
                  <a:pt x="898" y="391"/>
                </a:lnTo>
                <a:lnTo>
                  <a:pt x="904" y="391"/>
                </a:lnTo>
                <a:lnTo>
                  <a:pt x="904" y="388"/>
                </a:lnTo>
                <a:lnTo>
                  <a:pt x="908" y="389"/>
                </a:lnTo>
                <a:lnTo>
                  <a:pt x="908" y="390"/>
                </a:lnTo>
                <a:lnTo>
                  <a:pt x="932" y="386"/>
                </a:lnTo>
                <a:lnTo>
                  <a:pt x="942" y="388"/>
                </a:lnTo>
                <a:lnTo>
                  <a:pt x="938" y="391"/>
                </a:lnTo>
                <a:lnTo>
                  <a:pt x="931" y="391"/>
                </a:lnTo>
                <a:lnTo>
                  <a:pt x="928" y="391"/>
                </a:lnTo>
                <a:lnTo>
                  <a:pt x="932" y="391"/>
                </a:lnTo>
                <a:lnTo>
                  <a:pt x="903" y="397"/>
                </a:lnTo>
                <a:lnTo>
                  <a:pt x="892" y="403"/>
                </a:lnTo>
                <a:lnTo>
                  <a:pt x="906" y="415"/>
                </a:lnTo>
                <a:lnTo>
                  <a:pt x="942" y="415"/>
                </a:lnTo>
                <a:lnTo>
                  <a:pt x="958" y="410"/>
                </a:lnTo>
                <a:lnTo>
                  <a:pt x="984" y="417"/>
                </a:lnTo>
                <a:lnTo>
                  <a:pt x="987" y="421"/>
                </a:lnTo>
                <a:lnTo>
                  <a:pt x="993" y="423"/>
                </a:lnTo>
                <a:lnTo>
                  <a:pt x="983" y="423"/>
                </a:lnTo>
                <a:lnTo>
                  <a:pt x="986" y="423"/>
                </a:lnTo>
                <a:lnTo>
                  <a:pt x="979" y="425"/>
                </a:lnTo>
                <a:lnTo>
                  <a:pt x="953" y="420"/>
                </a:lnTo>
                <a:lnTo>
                  <a:pt x="942" y="422"/>
                </a:lnTo>
                <a:lnTo>
                  <a:pt x="913" y="425"/>
                </a:lnTo>
                <a:lnTo>
                  <a:pt x="908" y="429"/>
                </a:lnTo>
                <a:lnTo>
                  <a:pt x="910" y="435"/>
                </a:lnTo>
                <a:lnTo>
                  <a:pt x="917" y="441"/>
                </a:lnTo>
                <a:lnTo>
                  <a:pt x="916" y="443"/>
                </a:lnTo>
                <a:lnTo>
                  <a:pt x="920" y="445"/>
                </a:lnTo>
                <a:lnTo>
                  <a:pt x="929" y="447"/>
                </a:lnTo>
                <a:lnTo>
                  <a:pt x="953" y="448"/>
                </a:lnTo>
                <a:lnTo>
                  <a:pt x="965" y="451"/>
                </a:lnTo>
                <a:lnTo>
                  <a:pt x="962" y="451"/>
                </a:lnTo>
                <a:lnTo>
                  <a:pt x="965" y="454"/>
                </a:lnTo>
                <a:lnTo>
                  <a:pt x="964" y="459"/>
                </a:lnTo>
                <a:lnTo>
                  <a:pt x="966" y="466"/>
                </a:lnTo>
                <a:lnTo>
                  <a:pt x="971" y="468"/>
                </a:lnTo>
                <a:lnTo>
                  <a:pt x="968" y="469"/>
                </a:lnTo>
                <a:lnTo>
                  <a:pt x="998" y="468"/>
                </a:lnTo>
                <a:lnTo>
                  <a:pt x="995" y="467"/>
                </a:lnTo>
                <a:lnTo>
                  <a:pt x="1001" y="467"/>
                </a:lnTo>
                <a:lnTo>
                  <a:pt x="1002" y="467"/>
                </a:lnTo>
                <a:lnTo>
                  <a:pt x="1004" y="467"/>
                </a:lnTo>
                <a:lnTo>
                  <a:pt x="1006" y="467"/>
                </a:lnTo>
                <a:lnTo>
                  <a:pt x="1008" y="467"/>
                </a:lnTo>
                <a:lnTo>
                  <a:pt x="1011" y="467"/>
                </a:lnTo>
                <a:lnTo>
                  <a:pt x="1028" y="463"/>
                </a:lnTo>
                <a:lnTo>
                  <a:pt x="1036" y="458"/>
                </a:lnTo>
                <a:lnTo>
                  <a:pt x="1036" y="456"/>
                </a:lnTo>
                <a:lnTo>
                  <a:pt x="1054" y="454"/>
                </a:lnTo>
                <a:lnTo>
                  <a:pt x="1061" y="450"/>
                </a:lnTo>
                <a:lnTo>
                  <a:pt x="1058" y="447"/>
                </a:lnTo>
                <a:lnTo>
                  <a:pt x="1065" y="442"/>
                </a:lnTo>
                <a:lnTo>
                  <a:pt x="1068" y="445"/>
                </a:lnTo>
                <a:lnTo>
                  <a:pt x="1069" y="447"/>
                </a:lnTo>
                <a:lnTo>
                  <a:pt x="1068" y="450"/>
                </a:lnTo>
                <a:lnTo>
                  <a:pt x="1089" y="453"/>
                </a:lnTo>
                <a:lnTo>
                  <a:pt x="1084" y="457"/>
                </a:lnTo>
                <a:lnTo>
                  <a:pt x="1086" y="459"/>
                </a:lnTo>
                <a:lnTo>
                  <a:pt x="1094" y="459"/>
                </a:lnTo>
                <a:lnTo>
                  <a:pt x="1095" y="457"/>
                </a:lnTo>
                <a:lnTo>
                  <a:pt x="1111" y="462"/>
                </a:lnTo>
                <a:lnTo>
                  <a:pt x="1114" y="459"/>
                </a:lnTo>
                <a:lnTo>
                  <a:pt x="1120" y="459"/>
                </a:lnTo>
                <a:lnTo>
                  <a:pt x="1134" y="454"/>
                </a:lnTo>
                <a:lnTo>
                  <a:pt x="1135" y="450"/>
                </a:lnTo>
                <a:lnTo>
                  <a:pt x="1131" y="448"/>
                </a:lnTo>
                <a:lnTo>
                  <a:pt x="1130" y="450"/>
                </a:lnTo>
                <a:lnTo>
                  <a:pt x="1128" y="448"/>
                </a:lnTo>
                <a:lnTo>
                  <a:pt x="1131" y="443"/>
                </a:lnTo>
                <a:lnTo>
                  <a:pt x="1127" y="442"/>
                </a:lnTo>
                <a:lnTo>
                  <a:pt x="1119" y="445"/>
                </a:lnTo>
                <a:lnTo>
                  <a:pt x="1112" y="451"/>
                </a:lnTo>
                <a:lnTo>
                  <a:pt x="1112" y="450"/>
                </a:lnTo>
                <a:lnTo>
                  <a:pt x="1112" y="448"/>
                </a:lnTo>
                <a:lnTo>
                  <a:pt x="1112" y="442"/>
                </a:lnTo>
                <a:lnTo>
                  <a:pt x="1108" y="439"/>
                </a:lnTo>
                <a:lnTo>
                  <a:pt x="1108" y="436"/>
                </a:lnTo>
                <a:lnTo>
                  <a:pt x="1120" y="442"/>
                </a:lnTo>
                <a:lnTo>
                  <a:pt x="1120" y="436"/>
                </a:lnTo>
                <a:lnTo>
                  <a:pt x="1123" y="439"/>
                </a:lnTo>
                <a:lnTo>
                  <a:pt x="1124" y="439"/>
                </a:lnTo>
                <a:lnTo>
                  <a:pt x="1128" y="432"/>
                </a:lnTo>
                <a:lnTo>
                  <a:pt x="1134" y="437"/>
                </a:lnTo>
                <a:lnTo>
                  <a:pt x="1136" y="431"/>
                </a:lnTo>
                <a:lnTo>
                  <a:pt x="1136" y="433"/>
                </a:lnTo>
                <a:lnTo>
                  <a:pt x="1140" y="436"/>
                </a:lnTo>
                <a:lnTo>
                  <a:pt x="1145" y="439"/>
                </a:lnTo>
                <a:lnTo>
                  <a:pt x="1147" y="435"/>
                </a:lnTo>
                <a:lnTo>
                  <a:pt x="1146" y="424"/>
                </a:lnTo>
                <a:close/>
                <a:moveTo>
                  <a:pt x="1217" y="440"/>
                </a:moveTo>
                <a:lnTo>
                  <a:pt x="1209" y="440"/>
                </a:lnTo>
                <a:lnTo>
                  <a:pt x="1217" y="447"/>
                </a:lnTo>
                <a:lnTo>
                  <a:pt x="1217" y="440"/>
                </a:lnTo>
                <a:close/>
                <a:moveTo>
                  <a:pt x="1176" y="479"/>
                </a:moveTo>
                <a:lnTo>
                  <a:pt x="1174" y="479"/>
                </a:lnTo>
                <a:lnTo>
                  <a:pt x="1176" y="481"/>
                </a:lnTo>
                <a:lnTo>
                  <a:pt x="1176" y="479"/>
                </a:lnTo>
                <a:close/>
                <a:moveTo>
                  <a:pt x="1200" y="430"/>
                </a:moveTo>
                <a:lnTo>
                  <a:pt x="1198" y="430"/>
                </a:lnTo>
                <a:lnTo>
                  <a:pt x="1202" y="431"/>
                </a:lnTo>
                <a:lnTo>
                  <a:pt x="1200" y="430"/>
                </a:lnTo>
                <a:close/>
                <a:moveTo>
                  <a:pt x="1176" y="393"/>
                </a:moveTo>
                <a:lnTo>
                  <a:pt x="1177" y="394"/>
                </a:lnTo>
                <a:lnTo>
                  <a:pt x="1177" y="393"/>
                </a:lnTo>
                <a:lnTo>
                  <a:pt x="1176" y="393"/>
                </a:lnTo>
                <a:close/>
                <a:moveTo>
                  <a:pt x="1201" y="436"/>
                </a:moveTo>
                <a:lnTo>
                  <a:pt x="1200" y="441"/>
                </a:lnTo>
                <a:lnTo>
                  <a:pt x="1198" y="439"/>
                </a:lnTo>
                <a:lnTo>
                  <a:pt x="1200" y="439"/>
                </a:lnTo>
                <a:lnTo>
                  <a:pt x="1191" y="433"/>
                </a:lnTo>
                <a:lnTo>
                  <a:pt x="1187" y="434"/>
                </a:lnTo>
                <a:lnTo>
                  <a:pt x="1185" y="439"/>
                </a:lnTo>
                <a:lnTo>
                  <a:pt x="1190" y="443"/>
                </a:lnTo>
                <a:lnTo>
                  <a:pt x="1181" y="440"/>
                </a:lnTo>
                <a:lnTo>
                  <a:pt x="1181" y="442"/>
                </a:lnTo>
                <a:lnTo>
                  <a:pt x="1184" y="443"/>
                </a:lnTo>
                <a:lnTo>
                  <a:pt x="1182" y="443"/>
                </a:lnTo>
                <a:lnTo>
                  <a:pt x="1185" y="449"/>
                </a:lnTo>
                <a:lnTo>
                  <a:pt x="1176" y="455"/>
                </a:lnTo>
                <a:lnTo>
                  <a:pt x="1169" y="455"/>
                </a:lnTo>
                <a:lnTo>
                  <a:pt x="1168" y="456"/>
                </a:lnTo>
                <a:lnTo>
                  <a:pt x="1170" y="460"/>
                </a:lnTo>
                <a:lnTo>
                  <a:pt x="1173" y="456"/>
                </a:lnTo>
                <a:lnTo>
                  <a:pt x="1173" y="459"/>
                </a:lnTo>
                <a:lnTo>
                  <a:pt x="1182" y="463"/>
                </a:lnTo>
                <a:lnTo>
                  <a:pt x="1184" y="463"/>
                </a:lnTo>
                <a:lnTo>
                  <a:pt x="1185" y="459"/>
                </a:lnTo>
                <a:lnTo>
                  <a:pt x="1188" y="463"/>
                </a:lnTo>
                <a:lnTo>
                  <a:pt x="1210" y="470"/>
                </a:lnTo>
                <a:lnTo>
                  <a:pt x="1215" y="468"/>
                </a:lnTo>
                <a:lnTo>
                  <a:pt x="1222" y="462"/>
                </a:lnTo>
                <a:lnTo>
                  <a:pt x="1226" y="463"/>
                </a:lnTo>
                <a:lnTo>
                  <a:pt x="1229" y="459"/>
                </a:lnTo>
                <a:lnTo>
                  <a:pt x="1222" y="458"/>
                </a:lnTo>
                <a:lnTo>
                  <a:pt x="1216" y="448"/>
                </a:lnTo>
                <a:lnTo>
                  <a:pt x="1213" y="450"/>
                </a:lnTo>
                <a:lnTo>
                  <a:pt x="1213" y="447"/>
                </a:lnTo>
                <a:lnTo>
                  <a:pt x="1204" y="442"/>
                </a:lnTo>
                <a:lnTo>
                  <a:pt x="1201" y="436"/>
                </a:lnTo>
                <a:close/>
                <a:moveTo>
                  <a:pt x="1043" y="373"/>
                </a:moveTo>
                <a:lnTo>
                  <a:pt x="1042" y="375"/>
                </a:lnTo>
                <a:lnTo>
                  <a:pt x="1045" y="375"/>
                </a:lnTo>
                <a:lnTo>
                  <a:pt x="1043" y="373"/>
                </a:lnTo>
                <a:close/>
                <a:moveTo>
                  <a:pt x="1097" y="244"/>
                </a:moveTo>
                <a:lnTo>
                  <a:pt x="1098" y="246"/>
                </a:lnTo>
                <a:lnTo>
                  <a:pt x="1097" y="250"/>
                </a:lnTo>
                <a:lnTo>
                  <a:pt x="1109" y="250"/>
                </a:lnTo>
                <a:lnTo>
                  <a:pt x="1117" y="246"/>
                </a:lnTo>
                <a:lnTo>
                  <a:pt x="1105" y="239"/>
                </a:lnTo>
                <a:lnTo>
                  <a:pt x="1102" y="240"/>
                </a:lnTo>
                <a:lnTo>
                  <a:pt x="1103" y="238"/>
                </a:lnTo>
                <a:lnTo>
                  <a:pt x="1101" y="237"/>
                </a:lnTo>
                <a:lnTo>
                  <a:pt x="1091" y="240"/>
                </a:lnTo>
                <a:lnTo>
                  <a:pt x="1097" y="244"/>
                </a:lnTo>
                <a:close/>
                <a:moveTo>
                  <a:pt x="1050" y="328"/>
                </a:moveTo>
                <a:lnTo>
                  <a:pt x="1043" y="328"/>
                </a:lnTo>
                <a:lnTo>
                  <a:pt x="1049" y="330"/>
                </a:lnTo>
                <a:lnTo>
                  <a:pt x="1050" y="328"/>
                </a:lnTo>
                <a:close/>
                <a:moveTo>
                  <a:pt x="1102" y="222"/>
                </a:moveTo>
                <a:lnTo>
                  <a:pt x="1097" y="223"/>
                </a:lnTo>
                <a:lnTo>
                  <a:pt x="1103" y="223"/>
                </a:lnTo>
                <a:lnTo>
                  <a:pt x="1102" y="222"/>
                </a:lnTo>
                <a:close/>
                <a:moveTo>
                  <a:pt x="1151" y="278"/>
                </a:moveTo>
                <a:lnTo>
                  <a:pt x="1153" y="278"/>
                </a:lnTo>
                <a:lnTo>
                  <a:pt x="1155" y="277"/>
                </a:lnTo>
                <a:lnTo>
                  <a:pt x="1151" y="278"/>
                </a:lnTo>
                <a:close/>
                <a:moveTo>
                  <a:pt x="1173" y="242"/>
                </a:moveTo>
                <a:lnTo>
                  <a:pt x="1173" y="242"/>
                </a:lnTo>
                <a:lnTo>
                  <a:pt x="1173" y="241"/>
                </a:lnTo>
                <a:lnTo>
                  <a:pt x="1173" y="242"/>
                </a:lnTo>
                <a:close/>
                <a:moveTo>
                  <a:pt x="1184" y="238"/>
                </a:moveTo>
                <a:lnTo>
                  <a:pt x="1184" y="238"/>
                </a:lnTo>
                <a:lnTo>
                  <a:pt x="1184" y="238"/>
                </a:lnTo>
                <a:lnTo>
                  <a:pt x="1185" y="238"/>
                </a:lnTo>
                <a:lnTo>
                  <a:pt x="1185" y="238"/>
                </a:lnTo>
                <a:lnTo>
                  <a:pt x="1184" y="238"/>
                </a:lnTo>
                <a:close/>
                <a:moveTo>
                  <a:pt x="1025" y="481"/>
                </a:moveTo>
                <a:lnTo>
                  <a:pt x="1024" y="477"/>
                </a:lnTo>
                <a:lnTo>
                  <a:pt x="1023" y="479"/>
                </a:lnTo>
                <a:lnTo>
                  <a:pt x="1025" y="481"/>
                </a:lnTo>
                <a:close/>
                <a:moveTo>
                  <a:pt x="1133" y="466"/>
                </a:moveTo>
                <a:lnTo>
                  <a:pt x="1134" y="463"/>
                </a:lnTo>
                <a:lnTo>
                  <a:pt x="1134" y="462"/>
                </a:lnTo>
                <a:lnTo>
                  <a:pt x="1130" y="459"/>
                </a:lnTo>
                <a:lnTo>
                  <a:pt x="1127" y="463"/>
                </a:lnTo>
                <a:lnTo>
                  <a:pt x="1133" y="466"/>
                </a:lnTo>
                <a:close/>
                <a:moveTo>
                  <a:pt x="1130" y="439"/>
                </a:moveTo>
                <a:lnTo>
                  <a:pt x="1130" y="436"/>
                </a:lnTo>
                <a:lnTo>
                  <a:pt x="1128" y="436"/>
                </a:lnTo>
                <a:lnTo>
                  <a:pt x="1130" y="439"/>
                </a:lnTo>
                <a:close/>
                <a:moveTo>
                  <a:pt x="1087" y="467"/>
                </a:moveTo>
                <a:lnTo>
                  <a:pt x="1091" y="471"/>
                </a:lnTo>
                <a:lnTo>
                  <a:pt x="1097" y="470"/>
                </a:lnTo>
                <a:lnTo>
                  <a:pt x="1091" y="467"/>
                </a:lnTo>
                <a:lnTo>
                  <a:pt x="1087" y="467"/>
                </a:lnTo>
                <a:close/>
                <a:moveTo>
                  <a:pt x="1135" y="453"/>
                </a:moveTo>
                <a:lnTo>
                  <a:pt x="1138" y="453"/>
                </a:lnTo>
                <a:lnTo>
                  <a:pt x="1138" y="450"/>
                </a:lnTo>
                <a:lnTo>
                  <a:pt x="1136" y="450"/>
                </a:lnTo>
                <a:lnTo>
                  <a:pt x="1135" y="453"/>
                </a:lnTo>
                <a:close/>
                <a:moveTo>
                  <a:pt x="1031" y="485"/>
                </a:moveTo>
                <a:lnTo>
                  <a:pt x="1031" y="481"/>
                </a:lnTo>
                <a:lnTo>
                  <a:pt x="1027" y="481"/>
                </a:lnTo>
                <a:lnTo>
                  <a:pt x="1031" y="485"/>
                </a:lnTo>
                <a:close/>
                <a:moveTo>
                  <a:pt x="1084" y="466"/>
                </a:moveTo>
                <a:lnTo>
                  <a:pt x="1087" y="468"/>
                </a:lnTo>
                <a:lnTo>
                  <a:pt x="1086" y="466"/>
                </a:lnTo>
                <a:lnTo>
                  <a:pt x="1084" y="466"/>
                </a:lnTo>
                <a:close/>
                <a:moveTo>
                  <a:pt x="1538" y="474"/>
                </a:moveTo>
                <a:lnTo>
                  <a:pt x="1536" y="476"/>
                </a:lnTo>
                <a:lnTo>
                  <a:pt x="1538" y="477"/>
                </a:lnTo>
                <a:lnTo>
                  <a:pt x="1538" y="474"/>
                </a:lnTo>
                <a:close/>
                <a:moveTo>
                  <a:pt x="1533" y="469"/>
                </a:moveTo>
                <a:lnTo>
                  <a:pt x="1533" y="470"/>
                </a:lnTo>
                <a:lnTo>
                  <a:pt x="1534" y="474"/>
                </a:lnTo>
                <a:lnTo>
                  <a:pt x="1538" y="473"/>
                </a:lnTo>
                <a:lnTo>
                  <a:pt x="1533" y="469"/>
                </a:lnTo>
                <a:close/>
                <a:moveTo>
                  <a:pt x="1481" y="579"/>
                </a:moveTo>
                <a:lnTo>
                  <a:pt x="1483" y="580"/>
                </a:lnTo>
                <a:lnTo>
                  <a:pt x="1485" y="579"/>
                </a:lnTo>
                <a:lnTo>
                  <a:pt x="1481" y="579"/>
                </a:lnTo>
                <a:close/>
                <a:moveTo>
                  <a:pt x="1467" y="465"/>
                </a:moveTo>
                <a:lnTo>
                  <a:pt x="1470" y="466"/>
                </a:lnTo>
                <a:lnTo>
                  <a:pt x="1466" y="468"/>
                </a:lnTo>
                <a:lnTo>
                  <a:pt x="1469" y="469"/>
                </a:lnTo>
                <a:lnTo>
                  <a:pt x="1474" y="465"/>
                </a:lnTo>
                <a:lnTo>
                  <a:pt x="1467" y="465"/>
                </a:lnTo>
                <a:close/>
                <a:moveTo>
                  <a:pt x="1155" y="270"/>
                </a:moveTo>
                <a:lnTo>
                  <a:pt x="1155" y="270"/>
                </a:lnTo>
                <a:lnTo>
                  <a:pt x="1145" y="272"/>
                </a:lnTo>
                <a:lnTo>
                  <a:pt x="1155" y="270"/>
                </a:lnTo>
                <a:close/>
                <a:moveTo>
                  <a:pt x="1525" y="465"/>
                </a:moveTo>
                <a:lnTo>
                  <a:pt x="1531" y="466"/>
                </a:lnTo>
                <a:lnTo>
                  <a:pt x="1526" y="463"/>
                </a:lnTo>
                <a:lnTo>
                  <a:pt x="1525" y="465"/>
                </a:lnTo>
                <a:close/>
                <a:moveTo>
                  <a:pt x="1470" y="747"/>
                </a:moveTo>
                <a:lnTo>
                  <a:pt x="1467" y="748"/>
                </a:lnTo>
                <a:lnTo>
                  <a:pt x="1466" y="754"/>
                </a:lnTo>
                <a:lnTo>
                  <a:pt x="1470" y="754"/>
                </a:lnTo>
                <a:lnTo>
                  <a:pt x="1470" y="747"/>
                </a:lnTo>
                <a:close/>
                <a:moveTo>
                  <a:pt x="1526" y="481"/>
                </a:moveTo>
                <a:lnTo>
                  <a:pt x="1527" y="485"/>
                </a:lnTo>
                <a:lnTo>
                  <a:pt x="1533" y="486"/>
                </a:lnTo>
                <a:lnTo>
                  <a:pt x="1545" y="487"/>
                </a:lnTo>
                <a:lnTo>
                  <a:pt x="1546" y="486"/>
                </a:lnTo>
                <a:lnTo>
                  <a:pt x="1546" y="483"/>
                </a:lnTo>
                <a:lnTo>
                  <a:pt x="1542" y="483"/>
                </a:lnTo>
                <a:lnTo>
                  <a:pt x="1536" y="480"/>
                </a:lnTo>
                <a:lnTo>
                  <a:pt x="1533" y="477"/>
                </a:lnTo>
                <a:lnTo>
                  <a:pt x="1526" y="481"/>
                </a:lnTo>
                <a:close/>
                <a:moveTo>
                  <a:pt x="1463" y="453"/>
                </a:moveTo>
                <a:lnTo>
                  <a:pt x="1460" y="458"/>
                </a:lnTo>
                <a:lnTo>
                  <a:pt x="1463" y="459"/>
                </a:lnTo>
                <a:lnTo>
                  <a:pt x="1467" y="458"/>
                </a:lnTo>
                <a:lnTo>
                  <a:pt x="1477" y="447"/>
                </a:lnTo>
                <a:lnTo>
                  <a:pt x="1474" y="445"/>
                </a:lnTo>
                <a:lnTo>
                  <a:pt x="1469" y="447"/>
                </a:lnTo>
                <a:lnTo>
                  <a:pt x="1467" y="451"/>
                </a:lnTo>
                <a:lnTo>
                  <a:pt x="1463" y="453"/>
                </a:lnTo>
                <a:close/>
                <a:moveTo>
                  <a:pt x="1458" y="747"/>
                </a:moveTo>
                <a:lnTo>
                  <a:pt x="1458" y="745"/>
                </a:lnTo>
                <a:lnTo>
                  <a:pt x="1454" y="752"/>
                </a:lnTo>
                <a:lnTo>
                  <a:pt x="1450" y="757"/>
                </a:lnTo>
                <a:lnTo>
                  <a:pt x="1450" y="759"/>
                </a:lnTo>
                <a:lnTo>
                  <a:pt x="1452" y="760"/>
                </a:lnTo>
                <a:lnTo>
                  <a:pt x="1457" y="754"/>
                </a:lnTo>
                <a:lnTo>
                  <a:pt x="1458" y="747"/>
                </a:lnTo>
                <a:close/>
                <a:moveTo>
                  <a:pt x="1520" y="463"/>
                </a:moveTo>
                <a:lnTo>
                  <a:pt x="1516" y="468"/>
                </a:lnTo>
                <a:lnTo>
                  <a:pt x="1526" y="473"/>
                </a:lnTo>
                <a:lnTo>
                  <a:pt x="1526" y="468"/>
                </a:lnTo>
                <a:lnTo>
                  <a:pt x="1522" y="463"/>
                </a:lnTo>
                <a:lnTo>
                  <a:pt x="1520" y="463"/>
                </a:lnTo>
                <a:close/>
                <a:moveTo>
                  <a:pt x="1449" y="813"/>
                </a:moveTo>
                <a:lnTo>
                  <a:pt x="1452" y="813"/>
                </a:lnTo>
                <a:lnTo>
                  <a:pt x="1452" y="811"/>
                </a:lnTo>
                <a:lnTo>
                  <a:pt x="1449" y="813"/>
                </a:lnTo>
                <a:close/>
                <a:moveTo>
                  <a:pt x="1461" y="744"/>
                </a:moveTo>
                <a:lnTo>
                  <a:pt x="1463" y="744"/>
                </a:lnTo>
                <a:lnTo>
                  <a:pt x="1463" y="743"/>
                </a:lnTo>
                <a:lnTo>
                  <a:pt x="1461" y="744"/>
                </a:lnTo>
                <a:close/>
                <a:moveTo>
                  <a:pt x="1469" y="474"/>
                </a:moveTo>
                <a:lnTo>
                  <a:pt x="1463" y="470"/>
                </a:lnTo>
                <a:lnTo>
                  <a:pt x="1463" y="474"/>
                </a:lnTo>
                <a:lnTo>
                  <a:pt x="1463" y="476"/>
                </a:lnTo>
                <a:lnTo>
                  <a:pt x="1469" y="474"/>
                </a:lnTo>
                <a:close/>
                <a:moveTo>
                  <a:pt x="1479" y="435"/>
                </a:moveTo>
                <a:lnTo>
                  <a:pt x="1467" y="443"/>
                </a:lnTo>
                <a:lnTo>
                  <a:pt x="1481" y="439"/>
                </a:lnTo>
                <a:lnTo>
                  <a:pt x="1479" y="435"/>
                </a:lnTo>
                <a:close/>
                <a:moveTo>
                  <a:pt x="812" y="384"/>
                </a:moveTo>
                <a:lnTo>
                  <a:pt x="823" y="398"/>
                </a:lnTo>
                <a:lnTo>
                  <a:pt x="830" y="399"/>
                </a:lnTo>
                <a:lnTo>
                  <a:pt x="845" y="390"/>
                </a:lnTo>
                <a:lnTo>
                  <a:pt x="849" y="391"/>
                </a:lnTo>
                <a:lnTo>
                  <a:pt x="863" y="388"/>
                </a:lnTo>
                <a:lnTo>
                  <a:pt x="865" y="383"/>
                </a:lnTo>
                <a:lnTo>
                  <a:pt x="864" y="376"/>
                </a:lnTo>
                <a:lnTo>
                  <a:pt x="868" y="370"/>
                </a:lnTo>
                <a:lnTo>
                  <a:pt x="867" y="367"/>
                </a:lnTo>
                <a:lnTo>
                  <a:pt x="873" y="368"/>
                </a:lnTo>
                <a:lnTo>
                  <a:pt x="879" y="365"/>
                </a:lnTo>
                <a:lnTo>
                  <a:pt x="883" y="355"/>
                </a:lnTo>
                <a:lnTo>
                  <a:pt x="939" y="331"/>
                </a:lnTo>
                <a:lnTo>
                  <a:pt x="935" y="326"/>
                </a:lnTo>
                <a:lnTo>
                  <a:pt x="908" y="310"/>
                </a:lnTo>
                <a:lnTo>
                  <a:pt x="889" y="310"/>
                </a:lnTo>
                <a:lnTo>
                  <a:pt x="886" y="313"/>
                </a:lnTo>
                <a:lnTo>
                  <a:pt x="887" y="314"/>
                </a:lnTo>
                <a:lnTo>
                  <a:pt x="885" y="318"/>
                </a:lnTo>
                <a:lnTo>
                  <a:pt x="883" y="318"/>
                </a:lnTo>
                <a:lnTo>
                  <a:pt x="885" y="314"/>
                </a:lnTo>
                <a:lnTo>
                  <a:pt x="883" y="310"/>
                </a:lnTo>
                <a:lnTo>
                  <a:pt x="878" y="310"/>
                </a:lnTo>
                <a:lnTo>
                  <a:pt x="871" y="317"/>
                </a:lnTo>
                <a:lnTo>
                  <a:pt x="871" y="314"/>
                </a:lnTo>
                <a:lnTo>
                  <a:pt x="875" y="310"/>
                </a:lnTo>
                <a:lnTo>
                  <a:pt x="848" y="301"/>
                </a:lnTo>
                <a:lnTo>
                  <a:pt x="801" y="307"/>
                </a:lnTo>
                <a:lnTo>
                  <a:pt x="806" y="313"/>
                </a:lnTo>
                <a:lnTo>
                  <a:pt x="809" y="320"/>
                </a:lnTo>
                <a:lnTo>
                  <a:pt x="814" y="321"/>
                </a:lnTo>
                <a:lnTo>
                  <a:pt x="816" y="324"/>
                </a:lnTo>
                <a:lnTo>
                  <a:pt x="814" y="325"/>
                </a:lnTo>
                <a:lnTo>
                  <a:pt x="811" y="326"/>
                </a:lnTo>
                <a:lnTo>
                  <a:pt x="811" y="329"/>
                </a:lnTo>
                <a:lnTo>
                  <a:pt x="807" y="328"/>
                </a:lnTo>
                <a:lnTo>
                  <a:pt x="807" y="330"/>
                </a:lnTo>
                <a:lnTo>
                  <a:pt x="811" y="330"/>
                </a:lnTo>
                <a:lnTo>
                  <a:pt x="806" y="333"/>
                </a:lnTo>
                <a:lnTo>
                  <a:pt x="800" y="343"/>
                </a:lnTo>
                <a:lnTo>
                  <a:pt x="805" y="348"/>
                </a:lnTo>
                <a:lnTo>
                  <a:pt x="797" y="351"/>
                </a:lnTo>
                <a:lnTo>
                  <a:pt x="798" y="354"/>
                </a:lnTo>
                <a:lnTo>
                  <a:pt x="797" y="359"/>
                </a:lnTo>
                <a:lnTo>
                  <a:pt x="791" y="364"/>
                </a:lnTo>
                <a:lnTo>
                  <a:pt x="783" y="370"/>
                </a:lnTo>
                <a:lnTo>
                  <a:pt x="783" y="379"/>
                </a:lnTo>
                <a:lnTo>
                  <a:pt x="796" y="379"/>
                </a:lnTo>
                <a:lnTo>
                  <a:pt x="812" y="384"/>
                </a:lnTo>
                <a:close/>
                <a:moveTo>
                  <a:pt x="1290" y="298"/>
                </a:moveTo>
                <a:lnTo>
                  <a:pt x="1295" y="291"/>
                </a:lnTo>
                <a:lnTo>
                  <a:pt x="1288" y="297"/>
                </a:lnTo>
                <a:lnTo>
                  <a:pt x="1290" y="302"/>
                </a:lnTo>
                <a:lnTo>
                  <a:pt x="1284" y="302"/>
                </a:lnTo>
                <a:lnTo>
                  <a:pt x="1276" y="296"/>
                </a:lnTo>
                <a:lnTo>
                  <a:pt x="1277" y="291"/>
                </a:lnTo>
                <a:lnTo>
                  <a:pt x="1274" y="286"/>
                </a:lnTo>
                <a:lnTo>
                  <a:pt x="1277" y="284"/>
                </a:lnTo>
                <a:lnTo>
                  <a:pt x="1276" y="283"/>
                </a:lnTo>
                <a:lnTo>
                  <a:pt x="1269" y="280"/>
                </a:lnTo>
                <a:lnTo>
                  <a:pt x="1270" y="274"/>
                </a:lnTo>
                <a:lnTo>
                  <a:pt x="1276" y="269"/>
                </a:lnTo>
                <a:lnTo>
                  <a:pt x="1273" y="267"/>
                </a:lnTo>
                <a:lnTo>
                  <a:pt x="1274" y="261"/>
                </a:lnTo>
                <a:lnTo>
                  <a:pt x="1265" y="257"/>
                </a:lnTo>
                <a:lnTo>
                  <a:pt x="1265" y="255"/>
                </a:lnTo>
                <a:lnTo>
                  <a:pt x="1260" y="246"/>
                </a:lnTo>
                <a:lnTo>
                  <a:pt x="1250" y="250"/>
                </a:lnTo>
                <a:lnTo>
                  <a:pt x="1236" y="250"/>
                </a:lnTo>
                <a:lnTo>
                  <a:pt x="1222" y="246"/>
                </a:lnTo>
                <a:lnTo>
                  <a:pt x="1217" y="241"/>
                </a:lnTo>
                <a:lnTo>
                  <a:pt x="1225" y="238"/>
                </a:lnTo>
                <a:lnTo>
                  <a:pt x="1218" y="240"/>
                </a:lnTo>
                <a:lnTo>
                  <a:pt x="1206" y="234"/>
                </a:lnTo>
                <a:lnTo>
                  <a:pt x="1207" y="233"/>
                </a:lnTo>
                <a:lnTo>
                  <a:pt x="1214" y="235"/>
                </a:lnTo>
                <a:lnTo>
                  <a:pt x="1207" y="230"/>
                </a:lnTo>
                <a:lnTo>
                  <a:pt x="1206" y="230"/>
                </a:lnTo>
                <a:lnTo>
                  <a:pt x="1209" y="230"/>
                </a:lnTo>
                <a:lnTo>
                  <a:pt x="1207" y="227"/>
                </a:lnTo>
                <a:lnTo>
                  <a:pt x="1224" y="226"/>
                </a:lnTo>
                <a:lnTo>
                  <a:pt x="1244" y="230"/>
                </a:lnTo>
                <a:lnTo>
                  <a:pt x="1251" y="229"/>
                </a:lnTo>
                <a:lnTo>
                  <a:pt x="1260" y="235"/>
                </a:lnTo>
                <a:lnTo>
                  <a:pt x="1258" y="242"/>
                </a:lnTo>
                <a:lnTo>
                  <a:pt x="1254" y="245"/>
                </a:lnTo>
                <a:lnTo>
                  <a:pt x="1255" y="248"/>
                </a:lnTo>
                <a:lnTo>
                  <a:pt x="1262" y="242"/>
                </a:lnTo>
                <a:lnTo>
                  <a:pt x="1286" y="242"/>
                </a:lnTo>
                <a:lnTo>
                  <a:pt x="1284" y="241"/>
                </a:lnTo>
                <a:lnTo>
                  <a:pt x="1287" y="242"/>
                </a:lnTo>
                <a:lnTo>
                  <a:pt x="1292" y="242"/>
                </a:lnTo>
                <a:lnTo>
                  <a:pt x="1298" y="245"/>
                </a:lnTo>
                <a:lnTo>
                  <a:pt x="1317" y="250"/>
                </a:lnTo>
                <a:lnTo>
                  <a:pt x="1301" y="253"/>
                </a:lnTo>
                <a:lnTo>
                  <a:pt x="1304" y="254"/>
                </a:lnTo>
                <a:lnTo>
                  <a:pt x="1300" y="254"/>
                </a:lnTo>
                <a:lnTo>
                  <a:pt x="1301" y="253"/>
                </a:lnTo>
                <a:lnTo>
                  <a:pt x="1282" y="250"/>
                </a:lnTo>
                <a:lnTo>
                  <a:pt x="1296" y="256"/>
                </a:lnTo>
                <a:lnTo>
                  <a:pt x="1293" y="258"/>
                </a:lnTo>
                <a:lnTo>
                  <a:pt x="1288" y="258"/>
                </a:lnTo>
                <a:lnTo>
                  <a:pt x="1291" y="261"/>
                </a:lnTo>
                <a:lnTo>
                  <a:pt x="1295" y="258"/>
                </a:lnTo>
                <a:lnTo>
                  <a:pt x="1300" y="258"/>
                </a:lnTo>
                <a:lnTo>
                  <a:pt x="1298" y="261"/>
                </a:lnTo>
                <a:lnTo>
                  <a:pt x="1306" y="257"/>
                </a:lnTo>
                <a:lnTo>
                  <a:pt x="1310" y="261"/>
                </a:lnTo>
                <a:lnTo>
                  <a:pt x="1308" y="264"/>
                </a:lnTo>
                <a:lnTo>
                  <a:pt x="1311" y="261"/>
                </a:lnTo>
                <a:lnTo>
                  <a:pt x="1313" y="264"/>
                </a:lnTo>
                <a:lnTo>
                  <a:pt x="1313" y="269"/>
                </a:lnTo>
                <a:lnTo>
                  <a:pt x="1309" y="274"/>
                </a:lnTo>
                <a:lnTo>
                  <a:pt x="1310" y="274"/>
                </a:lnTo>
                <a:lnTo>
                  <a:pt x="1317" y="272"/>
                </a:lnTo>
                <a:lnTo>
                  <a:pt x="1321" y="278"/>
                </a:lnTo>
                <a:lnTo>
                  <a:pt x="1324" y="278"/>
                </a:lnTo>
                <a:lnTo>
                  <a:pt x="1321" y="270"/>
                </a:lnTo>
                <a:lnTo>
                  <a:pt x="1322" y="268"/>
                </a:lnTo>
                <a:lnTo>
                  <a:pt x="1329" y="271"/>
                </a:lnTo>
                <a:lnTo>
                  <a:pt x="1329" y="272"/>
                </a:lnTo>
                <a:lnTo>
                  <a:pt x="1337" y="271"/>
                </a:lnTo>
                <a:lnTo>
                  <a:pt x="1341" y="272"/>
                </a:lnTo>
                <a:lnTo>
                  <a:pt x="1341" y="271"/>
                </a:lnTo>
                <a:lnTo>
                  <a:pt x="1344" y="270"/>
                </a:lnTo>
                <a:lnTo>
                  <a:pt x="1346" y="270"/>
                </a:lnTo>
                <a:lnTo>
                  <a:pt x="1359" y="275"/>
                </a:lnTo>
                <a:lnTo>
                  <a:pt x="1355" y="278"/>
                </a:lnTo>
                <a:lnTo>
                  <a:pt x="1368" y="275"/>
                </a:lnTo>
                <a:lnTo>
                  <a:pt x="1362" y="272"/>
                </a:lnTo>
                <a:lnTo>
                  <a:pt x="1373" y="272"/>
                </a:lnTo>
                <a:lnTo>
                  <a:pt x="1377" y="268"/>
                </a:lnTo>
                <a:lnTo>
                  <a:pt x="1385" y="269"/>
                </a:lnTo>
                <a:lnTo>
                  <a:pt x="1382" y="268"/>
                </a:lnTo>
                <a:lnTo>
                  <a:pt x="1393" y="264"/>
                </a:lnTo>
                <a:lnTo>
                  <a:pt x="1403" y="268"/>
                </a:lnTo>
                <a:lnTo>
                  <a:pt x="1418" y="266"/>
                </a:lnTo>
                <a:lnTo>
                  <a:pt x="1429" y="266"/>
                </a:lnTo>
                <a:lnTo>
                  <a:pt x="1434" y="267"/>
                </a:lnTo>
                <a:lnTo>
                  <a:pt x="1433" y="270"/>
                </a:lnTo>
                <a:lnTo>
                  <a:pt x="1443" y="270"/>
                </a:lnTo>
                <a:lnTo>
                  <a:pt x="1452" y="274"/>
                </a:lnTo>
                <a:lnTo>
                  <a:pt x="1445" y="278"/>
                </a:lnTo>
                <a:lnTo>
                  <a:pt x="1456" y="278"/>
                </a:lnTo>
                <a:lnTo>
                  <a:pt x="1459" y="281"/>
                </a:lnTo>
                <a:lnTo>
                  <a:pt x="1456" y="282"/>
                </a:lnTo>
                <a:lnTo>
                  <a:pt x="1460" y="282"/>
                </a:lnTo>
                <a:lnTo>
                  <a:pt x="1459" y="284"/>
                </a:lnTo>
                <a:lnTo>
                  <a:pt x="1445" y="286"/>
                </a:lnTo>
                <a:lnTo>
                  <a:pt x="1448" y="287"/>
                </a:lnTo>
                <a:lnTo>
                  <a:pt x="1447" y="290"/>
                </a:lnTo>
                <a:lnTo>
                  <a:pt x="1456" y="287"/>
                </a:lnTo>
                <a:lnTo>
                  <a:pt x="1461" y="291"/>
                </a:lnTo>
                <a:lnTo>
                  <a:pt x="1452" y="294"/>
                </a:lnTo>
                <a:lnTo>
                  <a:pt x="1447" y="290"/>
                </a:lnTo>
                <a:lnTo>
                  <a:pt x="1447" y="290"/>
                </a:lnTo>
                <a:lnTo>
                  <a:pt x="1445" y="291"/>
                </a:lnTo>
                <a:lnTo>
                  <a:pt x="1449" y="292"/>
                </a:lnTo>
                <a:lnTo>
                  <a:pt x="1448" y="302"/>
                </a:lnTo>
                <a:lnTo>
                  <a:pt x="1434" y="302"/>
                </a:lnTo>
                <a:lnTo>
                  <a:pt x="1425" y="303"/>
                </a:lnTo>
                <a:lnTo>
                  <a:pt x="1408" y="301"/>
                </a:lnTo>
                <a:lnTo>
                  <a:pt x="1403" y="297"/>
                </a:lnTo>
                <a:lnTo>
                  <a:pt x="1405" y="294"/>
                </a:lnTo>
                <a:lnTo>
                  <a:pt x="1405" y="291"/>
                </a:lnTo>
                <a:lnTo>
                  <a:pt x="1397" y="291"/>
                </a:lnTo>
                <a:lnTo>
                  <a:pt x="1397" y="291"/>
                </a:lnTo>
                <a:lnTo>
                  <a:pt x="1401" y="294"/>
                </a:lnTo>
                <a:lnTo>
                  <a:pt x="1400" y="301"/>
                </a:lnTo>
                <a:lnTo>
                  <a:pt x="1388" y="302"/>
                </a:lnTo>
                <a:lnTo>
                  <a:pt x="1380" y="302"/>
                </a:lnTo>
                <a:lnTo>
                  <a:pt x="1373" y="297"/>
                </a:lnTo>
                <a:lnTo>
                  <a:pt x="1373" y="298"/>
                </a:lnTo>
                <a:lnTo>
                  <a:pt x="1373" y="302"/>
                </a:lnTo>
                <a:lnTo>
                  <a:pt x="1369" y="297"/>
                </a:lnTo>
                <a:lnTo>
                  <a:pt x="1370" y="301"/>
                </a:lnTo>
                <a:lnTo>
                  <a:pt x="1369" y="302"/>
                </a:lnTo>
                <a:lnTo>
                  <a:pt x="1361" y="303"/>
                </a:lnTo>
                <a:lnTo>
                  <a:pt x="1361" y="301"/>
                </a:lnTo>
                <a:lnTo>
                  <a:pt x="1359" y="298"/>
                </a:lnTo>
                <a:lnTo>
                  <a:pt x="1357" y="303"/>
                </a:lnTo>
                <a:lnTo>
                  <a:pt x="1352" y="298"/>
                </a:lnTo>
                <a:lnTo>
                  <a:pt x="1353" y="303"/>
                </a:lnTo>
                <a:lnTo>
                  <a:pt x="1325" y="302"/>
                </a:lnTo>
                <a:lnTo>
                  <a:pt x="1325" y="298"/>
                </a:lnTo>
                <a:lnTo>
                  <a:pt x="1328" y="294"/>
                </a:lnTo>
                <a:lnTo>
                  <a:pt x="1326" y="291"/>
                </a:lnTo>
                <a:lnTo>
                  <a:pt x="1321" y="297"/>
                </a:lnTo>
                <a:lnTo>
                  <a:pt x="1321" y="294"/>
                </a:lnTo>
                <a:lnTo>
                  <a:pt x="1318" y="292"/>
                </a:lnTo>
                <a:lnTo>
                  <a:pt x="1321" y="296"/>
                </a:lnTo>
                <a:lnTo>
                  <a:pt x="1319" y="298"/>
                </a:lnTo>
                <a:lnTo>
                  <a:pt x="1317" y="298"/>
                </a:lnTo>
                <a:lnTo>
                  <a:pt x="1317" y="298"/>
                </a:lnTo>
                <a:lnTo>
                  <a:pt x="1312" y="301"/>
                </a:lnTo>
                <a:lnTo>
                  <a:pt x="1306" y="302"/>
                </a:lnTo>
                <a:lnTo>
                  <a:pt x="1296" y="298"/>
                </a:lnTo>
                <a:lnTo>
                  <a:pt x="1295" y="295"/>
                </a:lnTo>
                <a:lnTo>
                  <a:pt x="1290" y="298"/>
                </a:lnTo>
                <a:close/>
                <a:moveTo>
                  <a:pt x="1290" y="262"/>
                </a:moveTo>
                <a:lnTo>
                  <a:pt x="1289" y="262"/>
                </a:lnTo>
                <a:lnTo>
                  <a:pt x="1289" y="263"/>
                </a:lnTo>
                <a:lnTo>
                  <a:pt x="1290" y="262"/>
                </a:lnTo>
                <a:close/>
                <a:moveTo>
                  <a:pt x="1373" y="302"/>
                </a:moveTo>
                <a:lnTo>
                  <a:pt x="1373" y="302"/>
                </a:lnTo>
                <a:lnTo>
                  <a:pt x="1373" y="302"/>
                </a:lnTo>
                <a:lnTo>
                  <a:pt x="1373" y="302"/>
                </a:lnTo>
                <a:close/>
                <a:moveTo>
                  <a:pt x="1303" y="447"/>
                </a:moveTo>
                <a:lnTo>
                  <a:pt x="1303" y="443"/>
                </a:lnTo>
                <a:lnTo>
                  <a:pt x="1298" y="446"/>
                </a:lnTo>
                <a:lnTo>
                  <a:pt x="1296" y="445"/>
                </a:lnTo>
                <a:lnTo>
                  <a:pt x="1295" y="447"/>
                </a:lnTo>
                <a:lnTo>
                  <a:pt x="1298" y="450"/>
                </a:lnTo>
                <a:lnTo>
                  <a:pt x="1300" y="448"/>
                </a:lnTo>
                <a:lnTo>
                  <a:pt x="1299" y="447"/>
                </a:lnTo>
                <a:lnTo>
                  <a:pt x="1302" y="448"/>
                </a:lnTo>
                <a:lnTo>
                  <a:pt x="1303" y="447"/>
                </a:lnTo>
                <a:close/>
                <a:moveTo>
                  <a:pt x="1497" y="474"/>
                </a:moveTo>
                <a:lnTo>
                  <a:pt x="1489" y="488"/>
                </a:lnTo>
                <a:lnTo>
                  <a:pt x="1492" y="493"/>
                </a:lnTo>
                <a:lnTo>
                  <a:pt x="1493" y="499"/>
                </a:lnTo>
                <a:lnTo>
                  <a:pt x="1500" y="500"/>
                </a:lnTo>
                <a:lnTo>
                  <a:pt x="1510" y="499"/>
                </a:lnTo>
                <a:lnTo>
                  <a:pt x="1522" y="493"/>
                </a:lnTo>
                <a:lnTo>
                  <a:pt x="1522" y="490"/>
                </a:lnTo>
                <a:lnTo>
                  <a:pt x="1522" y="482"/>
                </a:lnTo>
                <a:lnTo>
                  <a:pt x="1522" y="477"/>
                </a:lnTo>
                <a:lnTo>
                  <a:pt x="1522" y="474"/>
                </a:lnTo>
                <a:lnTo>
                  <a:pt x="1512" y="473"/>
                </a:lnTo>
                <a:lnTo>
                  <a:pt x="1497" y="474"/>
                </a:lnTo>
                <a:close/>
                <a:moveTo>
                  <a:pt x="1215" y="364"/>
                </a:moveTo>
                <a:lnTo>
                  <a:pt x="1206" y="365"/>
                </a:lnTo>
                <a:lnTo>
                  <a:pt x="1210" y="367"/>
                </a:lnTo>
                <a:lnTo>
                  <a:pt x="1213" y="372"/>
                </a:lnTo>
                <a:lnTo>
                  <a:pt x="1206" y="375"/>
                </a:lnTo>
                <a:lnTo>
                  <a:pt x="1213" y="375"/>
                </a:lnTo>
                <a:lnTo>
                  <a:pt x="1213" y="376"/>
                </a:lnTo>
                <a:lnTo>
                  <a:pt x="1210" y="383"/>
                </a:lnTo>
                <a:lnTo>
                  <a:pt x="1207" y="383"/>
                </a:lnTo>
                <a:lnTo>
                  <a:pt x="1198" y="387"/>
                </a:lnTo>
                <a:lnTo>
                  <a:pt x="1189" y="387"/>
                </a:lnTo>
                <a:lnTo>
                  <a:pt x="1190" y="388"/>
                </a:lnTo>
                <a:lnTo>
                  <a:pt x="1181" y="394"/>
                </a:lnTo>
                <a:lnTo>
                  <a:pt x="1176" y="390"/>
                </a:lnTo>
                <a:lnTo>
                  <a:pt x="1172" y="393"/>
                </a:lnTo>
                <a:lnTo>
                  <a:pt x="1166" y="382"/>
                </a:lnTo>
                <a:lnTo>
                  <a:pt x="1159" y="378"/>
                </a:lnTo>
                <a:lnTo>
                  <a:pt x="1151" y="371"/>
                </a:lnTo>
                <a:lnTo>
                  <a:pt x="1146" y="371"/>
                </a:lnTo>
                <a:lnTo>
                  <a:pt x="1143" y="365"/>
                </a:lnTo>
                <a:lnTo>
                  <a:pt x="1135" y="367"/>
                </a:lnTo>
                <a:lnTo>
                  <a:pt x="1131" y="361"/>
                </a:lnTo>
                <a:lnTo>
                  <a:pt x="1123" y="354"/>
                </a:lnTo>
                <a:lnTo>
                  <a:pt x="1121" y="351"/>
                </a:lnTo>
                <a:lnTo>
                  <a:pt x="1124" y="344"/>
                </a:lnTo>
                <a:lnTo>
                  <a:pt x="1128" y="343"/>
                </a:lnTo>
                <a:lnTo>
                  <a:pt x="1138" y="349"/>
                </a:lnTo>
                <a:lnTo>
                  <a:pt x="1142" y="354"/>
                </a:lnTo>
                <a:lnTo>
                  <a:pt x="1155" y="353"/>
                </a:lnTo>
                <a:lnTo>
                  <a:pt x="1157" y="352"/>
                </a:lnTo>
                <a:lnTo>
                  <a:pt x="1154" y="348"/>
                </a:lnTo>
                <a:lnTo>
                  <a:pt x="1155" y="346"/>
                </a:lnTo>
                <a:lnTo>
                  <a:pt x="1157" y="346"/>
                </a:lnTo>
                <a:lnTo>
                  <a:pt x="1155" y="349"/>
                </a:lnTo>
                <a:lnTo>
                  <a:pt x="1157" y="349"/>
                </a:lnTo>
                <a:lnTo>
                  <a:pt x="1162" y="348"/>
                </a:lnTo>
                <a:lnTo>
                  <a:pt x="1158" y="341"/>
                </a:lnTo>
                <a:lnTo>
                  <a:pt x="1155" y="343"/>
                </a:lnTo>
                <a:lnTo>
                  <a:pt x="1154" y="342"/>
                </a:lnTo>
                <a:lnTo>
                  <a:pt x="1155" y="339"/>
                </a:lnTo>
                <a:lnTo>
                  <a:pt x="1162" y="342"/>
                </a:lnTo>
                <a:lnTo>
                  <a:pt x="1165" y="342"/>
                </a:lnTo>
                <a:lnTo>
                  <a:pt x="1155" y="337"/>
                </a:lnTo>
                <a:lnTo>
                  <a:pt x="1154" y="338"/>
                </a:lnTo>
                <a:lnTo>
                  <a:pt x="1147" y="338"/>
                </a:lnTo>
                <a:lnTo>
                  <a:pt x="1136" y="332"/>
                </a:lnTo>
                <a:lnTo>
                  <a:pt x="1147" y="328"/>
                </a:lnTo>
                <a:lnTo>
                  <a:pt x="1152" y="330"/>
                </a:lnTo>
                <a:lnTo>
                  <a:pt x="1154" y="328"/>
                </a:lnTo>
                <a:lnTo>
                  <a:pt x="1145" y="325"/>
                </a:lnTo>
                <a:lnTo>
                  <a:pt x="1146" y="324"/>
                </a:lnTo>
                <a:lnTo>
                  <a:pt x="1154" y="321"/>
                </a:lnTo>
                <a:lnTo>
                  <a:pt x="1159" y="324"/>
                </a:lnTo>
                <a:lnTo>
                  <a:pt x="1163" y="320"/>
                </a:lnTo>
                <a:lnTo>
                  <a:pt x="1157" y="321"/>
                </a:lnTo>
                <a:lnTo>
                  <a:pt x="1162" y="318"/>
                </a:lnTo>
                <a:lnTo>
                  <a:pt x="1172" y="325"/>
                </a:lnTo>
                <a:lnTo>
                  <a:pt x="1187" y="324"/>
                </a:lnTo>
                <a:lnTo>
                  <a:pt x="1192" y="320"/>
                </a:lnTo>
                <a:lnTo>
                  <a:pt x="1202" y="321"/>
                </a:lnTo>
                <a:lnTo>
                  <a:pt x="1206" y="326"/>
                </a:lnTo>
                <a:lnTo>
                  <a:pt x="1202" y="330"/>
                </a:lnTo>
                <a:lnTo>
                  <a:pt x="1193" y="330"/>
                </a:lnTo>
                <a:lnTo>
                  <a:pt x="1193" y="332"/>
                </a:lnTo>
                <a:lnTo>
                  <a:pt x="1200" y="331"/>
                </a:lnTo>
                <a:lnTo>
                  <a:pt x="1202" y="335"/>
                </a:lnTo>
                <a:lnTo>
                  <a:pt x="1191" y="337"/>
                </a:lnTo>
                <a:lnTo>
                  <a:pt x="1181" y="344"/>
                </a:lnTo>
                <a:lnTo>
                  <a:pt x="1181" y="349"/>
                </a:lnTo>
                <a:lnTo>
                  <a:pt x="1189" y="344"/>
                </a:lnTo>
                <a:lnTo>
                  <a:pt x="1199" y="347"/>
                </a:lnTo>
                <a:lnTo>
                  <a:pt x="1201" y="348"/>
                </a:lnTo>
                <a:lnTo>
                  <a:pt x="1201" y="349"/>
                </a:lnTo>
                <a:lnTo>
                  <a:pt x="1203" y="352"/>
                </a:lnTo>
                <a:lnTo>
                  <a:pt x="1202" y="355"/>
                </a:lnTo>
                <a:lnTo>
                  <a:pt x="1210" y="352"/>
                </a:lnTo>
                <a:lnTo>
                  <a:pt x="1215" y="364"/>
                </a:lnTo>
                <a:close/>
                <a:moveTo>
                  <a:pt x="1185" y="385"/>
                </a:moveTo>
                <a:lnTo>
                  <a:pt x="1183" y="383"/>
                </a:lnTo>
                <a:lnTo>
                  <a:pt x="1185" y="378"/>
                </a:lnTo>
                <a:lnTo>
                  <a:pt x="1185" y="376"/>
                </a:lnTo>
                <a:lnTo>
                  <a:pt x="1182" y="383"/>
                </a:lnTo>
                <a:lnTo>
                  <a:pt x="1185" y="385"/>
                </a:lnTo>
                <a:close/>
                <a:moveTo>
                  <a:pt x="1254" y="297"/>
                </a:moveTo>
                <a:lnTo>
                  <a:pt x="1257" y="291"/>
                </a:lnTo>
                <a:lnTo>
                  <a:pt x="1255" y="279"/>
                </a:lnTo>
                <a:lnTo>
                  <a:pt x="1243" y="269"/>
                </a:lnTo>
                <a:lnTo>
                  <a:pt x="1235" y="268"/>
                </a:lnTo>
                <a:lnTo>
                  <a:pt x="1222" y="276"/>
                </a:lnTo>
                <a:lnTo>
                  <a:pt x="1224" y="278"/>
                </a:lnTo>
                <a:lnTo>
                  <a:pt x="1222" y="278"/>
                </a:lnTo>
                <a:lnTo>
                  <a:pt x="1218" y="279"/>
                </a:lnTo>
                <a:lnTo>
                  <a:pt x="1221" y="280"/>
                </a:lnTo>
                <a:lnTo>
                  <a:pt x="1212" y="283"/>
                </a:lnTo>
                <a:lnTo>
                  <a:pt x="1209" y="286"/>
                </a:lnTo>
                <a:lnTo>
                  <a:pt x="1209" y="290"/>
                </a:lnTo>
                <a:lnTo>
                  <a:pt x="1213" y="290"/>
                </a:lnTo>
                <a:lnTo>
                  <a:pt x="1213" y="291"/>
                </a:lnTo>
                <a:lnTo>
                  <a:pt x="1217" y="287"/>
                </a:lnTo>
                <a:lnTo>
                  <a:pt x="1217" y="290"/>
                </a:lnTo>
                <a:lnTo>
                  <a:pt x="1218" y="291"/>
                </a:lnTo>
                <a:lnTo>
                  <a:pt x="1240" y="298"/>
                </a:lnTo>
                <a:lnTo>
                  <a:pt x="1254" y="297"/>
                </a:lnTo>
                <a:close/>
                <a:moveTo>
                  <a:pt x="2510" y="745"/>
                </a:moveTo>
                <a:lnTo>
                  <a:pt x="2514" y="743"/>
                </a:lnTo>
                <a:lnTo>
                  <a:pt x="2508" y="745"/>
                </a:lnTo>
                <a:lnTo>
                  <a:pt x="2510" y="745"/>
                </a:lnTo>
                <a:close/>
                <a:moveTo>
                  <a:pt x="1229" y="302"/>
                </a:moveTo>
                <a:lnTo>
                  <a:pt x="1225" y="298"/>
                </a:lnTo>
                <a:lnTo>
                  <a:pt x="1221" y="301"/>
                </a:lnTo>
                <a:lnTo>
                  <a:pt x="1229" y="302"/>
                </a:lnTo>
                <a:close/>
                <a:moveTo>
                  <a:pt x="1349" y="486"/>
                </a:moveTo>
                <a:lnTo>
                  <a:pt x="1354" y="487"/>
                </a:lnTo>
                <a:lnTo>
                  <a:pt x="1357" y="485"/>
                </a:lnTo>
                <a:lnTo>
                  <a:pt x="1353" y="476"/>
                </a:lnTo>
                <a:lnTo>
                  <a:pt x="1353" y="474"/>
                </a:lnTo>
                <a:lnTo>
                  <a:pt x="1352" y="473"/>
                </a:lnTo>
                <a:lnTo>
                  <a:pt x="1347" y="479"/>
                </a:lnTo>
                <a:lnTo>
                  <a:pt x="1351" y="481"/>
                </a:lnTo>
                <a:lnTo>
                  <a:pt x="1349" y="482"/>
                </a:lnTo>
                <a:lnTo>
                  <a:pt x="1349" y="486"/>
                </a:lnTo>
                <a:close/>
                <a:moveTo>
                  <a:pt x="1498" y="443"/>
                </a:moveTo>
                <a:lnTo>
                  <a:pt x="1493" y="443"/>
                </a:lnTo>
                <a:lnTo>
                  <a:pt x="1489" y="445"/>
                </a:lnTo>
                <a:lnTo>
                  <a:pt x="1488" y="449"/>
                </a:lnTo>
                <a:lnTo>
                  <a:pt x="1489" y="455"/>
                </a:lnTo>
                <a:lnTo>
                  <a:pt x="1494" y="455"/>
                </a:lnTo>
                <a:lnTo>
                  <a:pt x="1498" y="447"/>
                </a:lnTo>
                <a:lnTo>
                  <a:pt x="1498" y="443"/>
                </a:lnTo>
                <a:close/>
                <a:moveTo>
                  <a:pt x="2520" y="701"/>
                </a:moveTo>
                <a:lnTo>
                  <a:pt x="2512" y="706"/>
                </a:lnTo>
                <a:lnTo>
                  <a:pt x="2513" y="707"/>
                </a:lnTo>
                <a:lnTo>
                  <a:pt x="2510" y="709"/>
                </a:lnTo>
                <a:lnTo>
                  <a:pt x="2510" y="708"/>
                </a:lnTo>
                <a:lnTo>
                  <a:pt x="2508" y="708"/>
                </a:lnTo>
                <a:lnTo>
                  <a:pt x="2508" y="712"/>
                </a:lnTo>
                <a:lnTo>
                  <a:pt x="2508" y="716"/>
                </a:lnTo>
                <a:lnTo>
                  <a:pt x="2508" y="716"/>
                </a:lnTo>
                <a:lnTo>
                  <a:pt x="2512" y="717"/>
                </a:lnTo>
                <a:lnTo>
                  <a:pt x="2508" y="717"/>
                </a:lnTo>
                <a:lnTo>
                  <a:pt x="2510" y="719"/>
                </a:lnTo>
                <a:lnTo>
                  <a:pt x="2514" y="716"/>
                </a:lnTo>
                <a:lnTo>
                  <a:pt x="2514" y="716"/>
                </a:lnTo>
                <a:lnTo>
                  <a:pt x="2516" y="716"/>
                </a:lnTo>
                <a:lnTo>
                  <a:pt x="2518" y="712"/>
                </a:lnTo>
                <a:lnTo>
                  <a:pt x="2518" y="712"/>
                </a:lnTo>
                <a:lnTo>
                  <a:pt x="2515" y="712"/>
                </a:lnTo>
                <a:lnTo>
                  <a:pt x="2514" y="712"/>
                </a:lnTo>
                <a:lnTo>
                  <a:pt x="2514" y="712"/>
                </a:lnTo>
                <a:lnTo>
                  <a:pt x="2515" y="712"/>
                </a:lnTo>
                <a:lnTo>
                  <a:pt x="2522" y="708"/>
                </a:lnTo>
                <a:lnTo>
                  <a:pt x="2519" y="708"/>
                </a:lnTo>
                <a:lnTo>
                  <a:pt x="2522" y="703"/>
                </a:lnTo>
                <a:lnTo>
                  <a:pt x="2520" y="701"/>
                </a:lnTo>
                <a:close/>
                <a:moveTo>
                  <a:pt x="2516" y="639"/>
                </a:moveTo>
                <a:lnTo>
                  <a:pt x="2516" y="637"/>
                </a:lnTo>
                <a:lnTo>
                  <a:pt x="2512" y="634"/>
                </a:lnTo>
                <a:lnTo>
                  <a:pt x="2516" y="639"/>
                </a:lnTo>
                <a:close/>
                <a:moveTo>
                  <a:pt x="1410" y="435"/>
                </a:moveTo>
                <a:lnTo>
                  <a:pt x="1415" y="436"/>
                </a:lnTo>
                <a:lnTo>
                  <a:pt x="1410" y="433"/>
                </a:lnTo>
                <a:lnTo>
                  <a:pt x="1410" y="435"/>
                </a:lnTo>
                <a:close/>
                <a:moveTo>
                  <a:pt x="1414" y="432"/>
                </a:moveTo>
                <a:lnTo>
                  <a:pt x="1414" y="431"/>
                </a:lnTo>
                <a:lnTo>
                  <a:pt x="1414" y="431"/>
                </a:lnTo>
                <a:lnTo>
                  <a:pt x="1412" y="431"/>
                </a:lnTo>
                <a:lnTo>
                  <a:pt x="1416" y="433"/>
                </a:lnTo>
                <a:lnTo>
                  <a:pt x="1414" y="432"/>
                </a:lnTo>
                <a:close/>
                <a:moveTo>
                  <a:pt x="1123" y="443"/>
                </a:moveTo>
                <a:lnTo>
                  <a:pt x="1120" y="442"/>
                </a:lnTo>
                <a:lnTo>
                  <a:pt x="1120" y="443"/>
                </a:lnTo>
                <a:lnTo>
                  <a:pt x="1123" y="443"/>
                </a:lnTo>
                <a:close/>
                <a:moveTo>
                  <a:pt x="1357" y="166"/>
                </a:moveTo>
                <a:lnTo>
                  <a:pt x="1376" y="162"/>
                </a:lnTo>
                <a:lnTo>
                  <a:pt x="1365" y="160"/>
                </a:lnTo>
                <a:lnTo>
                  <a:pt x="1357" y="166"/>
                </a:lnTo>
                <a:close/>
                <a:moveTo>
                  <a:pt x="1352" y="146"/>
                </a:moveTo>
                <a:lnTo>
                  <a:pt x="1353" y="146"/>
                </a:lnTo>
                <a:lnTo>
                  <a:pt x="1354" y="145"/>
                </a:lnTo>
                <a:lnTo>
                  <a:pt x="1352" y="146"/>
                </a:lnTo>
                <a:close/>
                <a:moveTo>
                  <a:pt x="1321" y="120"/>
                </a:moveTo>
                <a:lnTo>
                  <a:pt x="1330" y="123"/>
                </a:lnTo>
                <a:lnTo>
                  <a:pt x="1332" y="126"/>
                </a:lnTo>
                <a:lnTo>
                  <a:pt x="1340" y="124"/>
                </a:lnTo>
                <a:lnTo>
                  <a:pt x="1340" y="118"/>
                </a:lnTo>
                <a:lnTo>
                  <a:pt x="1321" y="118"/>
                </a:lnTo>
                <a:lnTo>
                  <a:pt x="1321" y="120"/>
                </a:lnTo>
                <a:close/>
                <a:moveTo>
                  <a:pt x="1207" y="126"/>
                </a:moveTo>
                <a:lnTo>
                  <a:pt x="1214" y="127"/>
                </a:lnTo>
                <a:lnTo>
                  <a:pt x="1209" y="130"/>
                </a:lnTo>
                <a:lnTo>
                  <a:pt x="1217" y="132"/>
                </a:lnTo>
                <a:lnTo>
                  <a:pt x="1210" y="134"/>
                </a:lnTo>
                <a:lnTo>
                  <a:pt x="1222" y="141"/>
                </a:lnTo>
                <a:lnTo>
                  <a:pt x="1244" y="137"/>
                </a:lnTo>
                <a:lnTo>
                  <a:pt x="1237" y="142"/>
                </a:lnTo>
                <a:lnTo>
                  <a:pt x="1224" y="146"/>
                </a:lnTo>
                <a:lnTo>
                  <a:pt x="1222" y="149"/>
                </a:lnTo>
                <a:lnTo>
                  <a:pt x="1229" y="151"/>
                </a:lnTo>
                <a:lnTo>
                  <a:pt x="1232" y="153"/>
                </a:lnTo>
                <a:lnTo>
                  <a:pt x="1241" y="153"/>
                </a:lnTo>
                <a:lnTo>
                  <a:pt x="1243" y="151"/>
                </a:lnTo>
                <a:lnTo>
                  <a:pt x="1241" y="150"/>
                </a:lnTo>
                <a:lnTo>
                  <a:pt x="1243" y="150"/>
                </a:lnTo>
                <a:lnTo>
                  <a:pt x="1247" y="152"/>
                </a:lnTo>
                <a:lnTo>
                  <a:pt x="1245" y="154"/>
                </a:lnTo>
                <a:lnTo>
                  <a:pt x="1250" y="154"/>
                </a:lnTo>
                <a:lnTo>
                  <a:pt x="1257" y="150"/>
                </a:lnTo>
                <a:lnTo>
                  <a:pt x="1257" y="150"/>
                </a:lnTo>
                <a:lnTo>
                  <a:pt x="1257" y="154"/>
                </a:lnTo>
                <a:lnTo>
                  <a:pt x="1262" y="154"/>
                </a:lnTo>
                <a:lnTo>
                  <a:pt x="1260" y="150"/>
                </a:lnTo>
                <a:lnTo>
                  <a:pt x="1262" y="150"/>
                </a:lnTo>
                <a:lnTo>
                  <a:pt x="1265" y="150"/>
                </a:lnTo>
                <a:lnTo>
                  <a:pt x="1273" y="150"/>
                </a:lnTo>
                <a:lnTo>
                  <a:pt x="1268" y="151"/>
                </a:lnTo>
                <a:lnTo>
                  <a:pt x="1274" y="153"/>
                </a:lnTo>
                <a:lnTo>
                  <a:pt x="1290" y="151"/>
                </a:lnTo>
                <a:lnTo>
                  <a:pt x="1266" y="155"/>
                </a:lnTo>
                <a:lnTo>
                  <a:pt x="1273" y="158"/>
                </a:lnTo>
                <a:lnTo>
                  <a:pt x="1300" y="158"/>
                </a:lnTo>
                <a:lnTo>
                  <a:pt x="1258" y="159"/>
                </a:lnTo>
                <a:lnTo>
                  <a:pt x="1244" y="165"/>
                </a:lnTo>
                <a:lnTo>
                  <a:pt x="1250" y="169"/>
                </a:lnTo>
                <a:lnTo>
                  <a:pt x="1262" y="170"/>
                </a:lnTo>
                <a:lnTo>
                  <a:pt x="1250" y="170"/>
                </a:lnTo>
                <a:lnTo>
                  <a:pt x="1258" y="176"/>
                </a:lnTo>
                <a:lnTo>
                  <a:pt x="1265" y="175"/>
                </a:lnTo>
                <a:lnTo>
                  <a:pt x="1282" y="177"/>
                </a:lnTo>
                <a:lnTo>
                  <a:pt x="1263" y="180"/>
                </a:lnTo>
                <a:lnTo>
                  <a:pt x="1269" y="184"/>
                </a:lnTo>
                <a:lnTo>
                  <a:pt x="1276" y="188"/>
                </a:lnTo>
                <a:lnTo>
                  <a:pt x="1300" y="192"/>
                </a:lnTo>
                <a:lnTo>
                  <a:pt x="1302" y="190"/>
                </a:lnTo>
                <a:lnTo>
                  <a:pt x="1295" y="186"/>
                </a:lnTo>
                <a:lnTo>
                  <a:pt x="1303" y="186"/>
                </a:lnTo>
                <a:lnTo>
                  <a:pt x="1314" y="190"/>
                </a:lnTo>
                <a:lnTo>
                  <a:pt x="1309" y="184"/>
                </a:lnTo>
                <a:lnTo>
                  <a:pt x="1306" y="181"/>
                </a:lnTo>
                <a:lnTo>
                  <a:pt x="1304" y="177"/>
                </a:lnTo>
                <a:lnTo>
                  <a:pt x="1306" y="175"/>
                </a:lnTo>
                <a:lnTo>
                  <a:pt x="1317" y="188"/>
                </a:lnTo>
                <a:lnTo>
                  <a:pt x="1322" y="192"/>
                </a:lnTo>
                <a:lnTo>
                  <a:pt x="1326" y="181"/>
                </a:lnTo>
                <a:lnTo>
                  <a:pt x="1324" y="175"/>
                </a:lnTo>
                <a:lnTo>
                  <a:pt x="1326" y="176"/>
                </a:lnTo>
                <a:lnTo>
                  <a:pt x="1332" y="181"/>
                </a:lnTo>
                <a:lnTo>
                  <a:pt x="1328" y="187"/>
                </a:lnTo>
                <a:lnTo>
                  <a:pt x="1332" y="188"/>
                </a:lnTo>
                <a:lnTo>
                  <a:pt x="1335" y="182"/>
                </a:lnTo>
                <a:lnTo>
                  <a:pt x="1332" y="182"/>
                </a:lnTo>
                <a:lnTo>
                  <a:pt x="1336" y="178"/>
                </a:lnTo>
                <a:lnTo>
                  <a:pt x="1332" y="170"/>
                </a:lnTo>
                <a:lnTo>
                  <a:pt x="1333" y="164"/>
                </a:lnTo>
                <a:lnTo>
                  <a:pt x="1333" y="169"/>
                </a:lnTo>
                <a:lnTo>
                  <a:pt x="1338" y="175"/>
                </a:lnTo>
                <a:lnTo>
                  <a:pt x="1345" y="165"/>
                </a:lnTo>
                <a:lnTo>
                  <a:pt x="1345" y="160"/>
                </a:lnTo>
                <a:lnTo>
                  <a:pt x="1352" y="164"/>
                </a:lnTo>
                <a:lnTo>
                  <a:pt x="1356" y="160"/>
                </a:lnTo>
                <a:lnTo>
                  <a:pt x="1379" y="155"/>
                </a:lnTo>
                <a:lnTo>
                  <a:pt x="1368" y="146"/>
                </a:lnTo>
                <a:lnTo>
                  <a:pt x="1366" y="146"/>
                </a:lnTo>
                <a:lnTo>
                  <a:pt x="1363" y="152"/>
                </a:lnTo>
                <a:lnTo>
                  <a:pt x="1362" y="150"/>
                </a:lnTo>
                <a:lnTo>
                  <a:pt x="1361" y="150"/>
                </a:lnTo>
                <a:lnTo>
                  <a:pt x="1361" y="143"/>
                </a:lnTo>
                <a:lnTo>
                  <a:pt x="1359" y="146"/>
                </a:lnTo>
                <a:lnTo>
                  <a:pt x="1353" y="146"/>
                </a:lnTo>
                <a:lnTo>
                  <a:pt x="1352" y="147"/>
                </a:lnTo>
                <a:lnTo>
                  <a:pt x="1348" y="143"/>
                </a:lnTo>
                <a:lnTo>
                  <a:pt x="1343" y="146"/>
                </a:lnTo>
                <a:lnTo>
                  <a:pt x="1347" y="142"/>
                </a:lnTo>
                <a:lnTo>
                  <a:pt x="1348" y="132"/>
                </a:lnTo>
                <a:lnTo>
                  <a:pt x="1343" y="135"/>
                </a:lnTo>
                <a:lnTo>
                  <a:pt x="1348" y="131"/>
                </a:lnTo>
                <a:lnTo>
                  <a:pt x="1346" y="127"/>
                </a:lnTo>
                <a:lnTo>
                  <a:pt x="1333" y="126"/>
                </a:lnTo>
                <a:lnTo>
                  <a:pt x="1324" y="126"/>
                </a:lnTo>
                <a:lnTo>
                  <a:pt x="1317" y="121"/>
                </a:lnTo>
                <a:lnTo>
                  <a:pt x="1319" y="118"/>
                </a:lnTo>
                <a:lnTo>
                  <a:pt x="1317" y="118"/>
                </a:lnTo>
                <a:lnTo>
                  <a:pt x="1319" y="117"/>
                </a:lnTo>
                <a:lnTo>
                  <a:pt x="1317" y="114"/>
                </a:lnTo>
                <a:lnTo>
                  <a:pt x="1309" y="114"/>
                </a:lnTo>
                <a:lnTo>
                  <a:pt x="1309" y="114"/>
                </a:lnTo>
                <a:lnTo>
                  <a:pt x="1295" y="108"/>
                </a:lnTo>
                <a:lnTo>
                  <a:pt x="1296" y="107"/>
                </a:lnTo>
                <a:lnTo>
                  <a:pt x="1290" y="102"/>
                </a:lnTo>
                <a:lnTo>
                  <a:pt x="1284" y="94"/>
                </a:lnTo>
                <a:lnTo>
                  <a:pt x="1277" y="93"/>
                </a:lnTo>
                <a:lnTo>
                  <a:pt x="1281" y="91"/>
                </a:lnTo>
                <a:lnTo>
                  <a:pt x="1279" y="88"/>
                </a:lnTo>
                <a:lnTo>
                  <a:pt x="1253" y="81"/>
                </a:lnTo>
                <a:lnTo>
                  <a:pt x="1253" y="83"/>
                </a:lnTo>
                <a:lnTo>
                  <a:pt x="1244" y="81"/>
                </a:lnTo>
                <a:lnTo>
                  <a:pt x="1242" y="84"/>
                </a:lnTo>
                <a:lnTo>
                  <a:pt x="1261" y="90"/>
                </a:lnTo>
                <a:lnTo>
                  <a:pt x="1258" y="93"/>
                </a:lnTo>
                <a:lnTo>
                  <a:pt x="1244" y="93"/>
                </a:lnTo>
                <a:lnTo>
                  <a:pt x="1248" y="94"/>
                </a:lnTo>
                <a:lnTo>
                  <a:pt x="1243" y="96"/>
                </a:lnTo>
                <a:lnTo>
                  <a:pt x="1237" y="93"/>
                </a:lnTo>
                <a:lnTo>
                  <a:pt x="1231" y="95"/>
                </a:lnTo>
                <a:lnTo>
                  <a:pt x="1226" y="96"/>
                </a:lnTo>
                <a:lnTo>
                  <a:pt x="1231" y="99"/>
                </a:lnTo>
                <a:lnTo>
                  <a:pt x="1225" y="100"/>
                </a:lnTo>
                <a:lnTo>
                  <a:pt x="1245" y="104"/>
                </a:lnTo>
                <a:lnTo>
                  <a:pt x="1237" y="106"/>
                </a:lnTo>
                <a:lnTo>
                  <a:pt x="1250" y="112"/>
                </a:lnTo>
                <a:lnTo>
                  <a:pt x="1232" y="109"/>
                </a:lnTo>
                <a:lnTo>
                  <a:pt x="1232" y="109"/>
                </a:lnTo>
                <a:lnTo>
                  <a:pt x="1232" y="109"/>
                </a:lnTo>
                <a:lnTo>
                  <a:pt x="1218" y="108"/>
                </a:lnTo>
                <a:lnTo>
                  <a:pt x="1218" y="109"/>
                </a:lnTo>
                <a:lnTo>
                  <a:pt x="1217" y="109"/>
                </a:lnTo>
                <a:lnTo>
                  <a:pt x="1219" y="109"/>
                </a:lnTo>
                <a:lnTo>
                  <a:pt x="1222" y="116"/>
                </a:lnTo>
                <a:lnTo>
                  <a:pt x="1226" y="122"/>
                </a:lnTo>
                <a:lnTo>
                  <a:pt x="1209" y="122"/>
                </a:lnTo>
                <a:lnTo>
                  <a:pt x="1221" y="125"/>
                </a:lnTo>
                <a:lnTo>
                  <a:pt x="1229" y="121"/>
                </a:lnTo>
                <a:lnTo>
                  <a:pt x="1224" y="124"/>
                </a:lnTo>
                <a:lnTo>
                  <a:pt x="1228" y="126"/>
                </a:lnTo>
                <a:lnTo>
                  <a:pt x="1247" y="124"/>
                </a:lnTo>
                <a:lnTo>
                  <a:pt x="1237" y="126"/>
                </a:lnTo>
                <a:lnTo>
                  <a:pt x="1243" y="131"/>
                </a:lnTo>
                <a:lnTo>
                  <a:pt x="1214" y="124"/>
                </a:lnTo>
                <a:lnTo>
                  <a:pt x="1207" y="126"/>
                </a:lnTo>
                <a:close/>
                <a:moveTo>
                  <a:pt x="1182" y="180"/>
                </a:moveTo>
                <a:lnTo>
                  <a:pt x="1189" y="183"/>
                </a:lnTo>
                <a:lnTo>
                  <a:pt x="1189" y="187"/>
                </a:lnTo>
                <a:lnTo>
                  <a:pt x="1207" y="192"/>
                </a:lnTo>
                <a:lnTo>
                  <a:pt x="1192" y="194"/>
                </a:lnTo>
                <a:lnTo>
                  <a:pt x="1203" y="198"/>
                </a:lnTo>
                <a:lnTo>
                  <a:pt x="1201" y="199"/>
                </a:lnTo>
                <a:lnTo>
                  <a:pt x="1201" y="200"/>
                </a:lnTo>
                <a:lnTo>
                  <a:pt x="1207" y="203"/>
                </a:lnTo>
                <a:lnTo>
                  <a:pt x="1213" y="202"/>
                </a:lnTo>
                <a:lnTo>
                  <a:pt x="1211" y="202"/>
                </a:lnTo>
                <a:lnTo>
                  <a:pt x="1231" y="197"/>
                </a:lnTo>
                <a:lnTo>
                  <a:pt x="1235" y="192"/>
                </a:lnTo>
                <a:lnTo>
                  <a:pt x="1228" y="188"/>
                </a:lnTo>
                <a:lnTo>
                  <a:pt x="1236" y="184"/>
                </a:lnTo>
                <a:lnTo>
                  <a:pt x="1226" y="178"/>
                </a:lnTo>
                <a:lnTo>
                  <a:pt x="1213" y="178"/>
                </a:lnTo>
                <a:lnTo>
                  <a:pt x="1213" y="175"/>
                </a:lnTo>
                <a:lnTo>
                  <a:pt x="1201" y="172"/>
                </a:lnTo>
                <a:lnTo>
                  <a:pt x="1189" y="169"/>
                </a:lnTo>
                <a:lnTo>
                  <a:pt x="1181" y="170"/>
                </a:lnTo>
                <a:lnTo>
                  <a:pt x="1181" y="175"/>
                </a:lnTo>
                <a:lnTo>
                  <a:pt x="1188" y="177"/>
                </a:lnTo>
                <a:lnTo>
                  <a:pt x="1182" y="180"/>
                </a:lnTo>
                <a:close/>
                <a:moveTo>
                  <a:pt x="1169" y="138"/>
                </a:moveTo>
                <a:lnTo>
                  <a:pt x="1169" y="137"/>
                </a:lnTo>
                <a:lnTo>
                  <a:pt x="1176" y="141"/>
                </a:lnTo>
                <a:lnTo>
                  <a:pt x="1177" y="135"/>
                </a:lnTo>
                <a:lnTo>
                  <a:pt x="1177" y="131"/>
                </a:lnTo>
                <a:lnTo>
                  <a:pt x="1175" y="127"/>
                </a:lnTo>
                <a:lnTo>
                  <a:pt x="1164" y="124"/>
                </a:lnTo>
                <a:lnTo>
                  <a:pt x="1157" y="129"/>
                </a:lnTo>
                <a:lnTo>
                  <a:pt x="1159" y="138"/>
                </a:lnTo>
                <a:lnTo>
                  <a:pt x="1169" y="138"/>
                </a:lnTo>
                <a:close/>
                <a:moveTo>
                  <a:pt x="1184" y="238"/>
                </a:moveTo>
                <a:lnTo>
                  <a:pt x="1181" y="237"/>
                </a:lnTo>
                <a:lnTo>
                  <a:pt x="1177" y="237"/>
                </a:lnTo>
                <a:lnTo>
                  <a:pt x="1184" y="238"/>
                </a:lnTo>
                <a:close/>
                <a:moveTo>
                  <a:pt x="1486" y="200"/>
                </a:moveTo>
                <a:lnTo>
                  <a:pt x="1485" y="199"/>
                </a:lnTo>
                <a:lnTo>
                  <a:pt x="1481" y="200"/>
                </a:lnTo>
                <a:lnTo>
                  <a:pt x="1486" y="200"/>
                </a:lnTo>
                <a:close/>
                <a:moveTo>
                  <a:pt x="1307" y="456"/>
                </a:moveTo>
                <a:lnTo>
                  <a:pt x="1307" y="454"/>
                </a:lnTo>
                <a:lnTo>
                  <a:pt x="1304" y="454"/>
                </a:lnTo>
                <a:lnTo>
                  <a:pt x="1307" y="456"/>
                </a:lnTo>
                <a:close/>
                <a:moveTo>
                  <a:pt x="1307" y="314"/>
                </a:moveTo>
                <a:lnTo>
                  <a:pt x="1302" y="317"/>
                </a:lnTo>
                <a:lnTo>
                  <a:pt x="1306" y="317"/>
                </a:lnTo>
                <a:lnTo>
                  <a:pt x="1307" y="314"/>
                </a:lnTo>
                <a:close/>
                <a:moveTo>
                  <a:pt x="1467" y="258"/>
                </a:moveTo>
                <a:lnTo>
                  <a:pt x="1455" y="262"/>
                </a:lnTo>
                <a:lnTo>
                  <a:pt x="1460" y="264"/>
                </a:lnTo>
                <a:lnTo>
                  <a:pt x="1461" y="261"/>
                </a:lnTo>
                <a:lnTo>
                  <a:pt x="1467" y="263"/>
                </a:lnTo>
                <a:lnTo>
                  <a:pt x="1463" y="261"/>
                </a:lnTo>
                <a:lnTo>
                  <a:pt x="1469" y="258"/>
                </a:lnTo>
                <a:lnTo>
                  <a:pt x="1467" y="258"/>
                </a:lnTo>
                <a:close/>
                <a:moveTo>
                  <a:pt x="1087" y="172"/>
                </a:moveTo>
                <a:lnTo>
                  <a:pt x="1101" y="165"/>
                </a:lnTo>
                <a:lnTo>
                  <a:pt x="1105" y="167"/>
                </a:lnTo>
                <a:lnTo>
                  <a:pt x="1101" y="170"/>
                </a:lnTo>
                <a:lnTo>
                  <a:pt x="1106" y="170"/>
                </a:lnTo>
                <a:lnTo>
                  <a:pt x="1105" y="174"/>
                </a:lnTo>
                <a:lnTo>
                  <a:pt x="1112" y="174"/>
                </a:lnTo>
                <a:lnTo>
                  <a:pt x="1102" y="178"/>
                </a:lnTo>
                <a:lnTo>
                  <a:pt x="1111" y="178"/>
                </a:lnTo>
                <a:lnTo>
                  <a:pt x="1109" y="181"/>
                </a:lnTo>
                <a:lnTo>
                  <a:pt x="1091" y="177"/>
                </a:lnTo>
                <a:lnTo>
                  <a:pt x="1087" y="180"/>
                </a:lnTo>
                <a:lnTo>
                  <a:pt x="1097" y="187"/>
                </a:lnTo>
                <a:lnTo>
                  <a:pt x="1103" y="189"/>
                </a:lnTo>
                <a:lnTo>
                  <a:pt x="1120" y="186"/>
                </a:lnTo>
                <a:lnTo>
                  <a:pt x="1123" y="186"/>
                </a:lnTo>
                <a:lnTo>
                  <a:pt x="1121" y="188"/>
                </a:lnTo>
                <a:lnTo>
                  <a:pt x="1120" y="187"/>
                </a:lnTo>
                <a:lnTo>
                  <a:pt x="1112" y="189"/>
                </a:lnTo>
                <a:lnTo>
                  <a:pt x="1116" y="192"/>
                </a:lnTo>
                <a:lnTo>
                  <a:pt x="1120" y="188"/>
                </a:lnTo>
                <a:lnTo>
                  <a:pt x="1123" y="188"/>
                </a:lnTo>
                <a:lnTo>
                  <a:pt x="1130" y="187"/>
                </a:lnTo>
                <a:lnTo>
                  <a:pt x="1136" y="188"/>
                </a:lnTo>
                <a:lnTo>
                  <a:pt x="1134" y="190"/>
                </a:lnTo>
                <a:lnTo>
                  <a:pt x="1136" y="190"/>
                </a:lnTo>
                <a:lnTo>
                  <a:pt x="1136" y="188"/>
                </a:lnTo>
                <a:lnTo>
                  <a:pt x="1146" y="189"/>
                </a:lnTo>
                <a:lnTo>
                  <a:pt x="1151" y="199"/>
                </a:lnTo>
                <a:lnTo>
                  <a:pt x="1163" y="203"/>
                </a:lnTo>
                <a:lnTo>
                  <a:pt x="1176" y="199"/>
                </a:lnTo>
                <a:lnTo>
                  <a:pt x="1174" y="195"/>
                </a:lnTo>
                <a:lnTo>
                  <a:pt x="1176" y="194"/>
                </a:lnTo>
                <a:lnTo>
                  <a:pt x="1168" y="190"/>
                </a:lnTo>
                <a:lnTo>
                  <a:pt x="1161" y="190"/>
                </a:lnTo>
                <a:lnTo>
                  <a:pt x="1161" y="183"/>
                </a:lnTo>
                <a:lnTo>
                  <a:pt x="1161" y="181"/>
                </a:lnTo>
                <a:lnTo>
                  <a:pt x="1167" y="176"/>
                </a:lnTo>
                <a:lnTo>
                  <a:pt x="1161" y="175"/>
                </a:lnTo>
                <a:lnTo>
                  <a:pt x="1162" y="173"/>
                </a:lnTo>
                <a:lnTo>
                  <a:pt x="1157" y="169"/>
                </a:lnTo>
                <a:lnTo>
                  <a:pt x="1143" y="170"/>
                </a:lnTo>
                <a:lnTo>
                  <a:pt x="1146" y="165"/>
                </a:lnTo>
                <a:lnTo>
                  <a:pt x="1136" y="160"/>
                </a:lnTo>
                <a:lnTo>
                  <a:pt x="1125" y="162"/>
                </a:lnTo>
                <a:lnTo>
                  <a:pt x="1124" y="166"/>
                </a:lnTo>
                <a:lnTo>
                  <a:pt x="1121" y="165"/>
                </a:lnTo>
                <a:lnTo>
                  <a:pt x="1123" y="160"/>
                </a:lnTo>
                <a:lnTo>
                  <a:pt x="1116" y="153"/>
                </a:lnTo>
                <a:lnTo>
                  <a:pt x="1103" y="151"/>
                </a:lnTo>
                <a:lnTo>
                  <a:pt x="1079" y="153"/>
                </a:lnTo>
                <a:lnTo>
                  <a:pt x="1076" y="157"/>
                </a:lnTo>
                <a:lnTo>
                  <a:pt x="1076" y="166"/>
                </a:lnTo>
                <a:lnTo>
                  <a:pt x="1091" y="166"/>
                </a:lnTo>
                <a:lnTo>
                  <a:pt x="1087" y="172"/>
                </a:lnTo>
                <a:close/>
                <a:moveTo>
                  <a:pt x="1527" y="174"/>
                </a:moveTo>
                <a:lnTo>
                  <a:pt x="1533" y="175"/>
                </a:lnTo>
                <a:lnTo>
                  <a:pt x="1536" y="174"/>
                </a:lnTo>
                <a:lnTo>
                  <a:pt x="1527" y="174"/>
                </a:lnTo>
                <a:close/>
                <a:moveTo>
                  <a:pt x="1552" y="386"/>
                </a:moveTo>
                <a:lnTo>
                  <a:pt x="1555" y="388"/>
                </a:lnTo>
                <a:lnTo>
                  <a:pt x="1556" y="386"/>
                </a:lnTo>
                <a:lnTo>
                  <a:pt x="1553" y="385"/>
                </a:lnTo>
                <a:lnTo>
                  <a:pt x="1552" y="386"/>
                </a:lnTo>
                <a:close/>
                <a:moveTo>
                  <a:pt x="1548" y="383"/>
                </a:moveTo>
                <a:lnTo>
                  <a:pt x="1545" y="386"/>
                </a:lnTo>
                <a:lnTo>
                  <a:pt x="1549" y="383"/>
                </a:lnTo>
                <a:lnTo>
                  <a:pt x="1548" y="383"/>
                </a:lnTo>
                <a:close/>
                <a:moveTo>
                  <a:pt x="1499" y="341"/>
                </a:moveTo>
                <a:lnTo>
                  <a:pt x="1499" y="336"/>
                </a:lnTo>
                <a:lnTo>
                  <a:pt x="1494" y="335"/>
                </a:lnTo>
                <a:lnTo>
                  <a:pt x="1492" y="331"/>
                </a:lnTo>
                <a:lnTo>
                  <a:pt x="1488" y="330"/>
                </a:lnTo>
                <a:lnTo>
                  <a:pt x="1477" y="326"/>
                </a:lnTo>
                <a:lnTo>
                  <a:pt x="1460" y="328"/>
                </a:lnTo>
                <a:lnTo>
                  <a:pt x="1441" y="326"/>
                </a:lnTo>
                <a:lnTo>
                  <a:pt x="1438" y="326"/>
                </a:lnTo>
                <a:lnTo>
                  <a:pt x="1438" y="336"/>
                </a:lnTo>
                <a:lnTo>
                  <a:pt x="1446" y="339"/>
                </a:lnTo>
                <a:lnTo>
                  <a:pt x="1446" y="344"/>
                </a:lnTo>
                <a:lnTo>
                  <a:pt x="1451" y="349"/>
                </a:lnTo>
                <a:lnTo>
                  <a:pt x="1458" y="352"/>
                </a:lnTo>
                <a:lnTo>
                  <a:pt x="1477" y="349"/>
                </a:lnTo>
                <a:lnTo>
                  <a:pt x="1500" y="351"/>
                </a:lnTo>
                <a:lnTo>
                  <a:pt x="1507" y="348"/>
                </a:lnTo>
                <a:lnTo>
                  <a:pt x="1502" y="347"/>
                </a:lnTo>
                <a:lnTo>
                  <a:pt x="1502" y="343"/>
                </a:lnTo>
                <a:lnTo>
                  <a:pt x="1499" y="341"/>
                </a:lnTo>
                <a:close/>
                <a:moveTo>
                  <a:pt x="1079" y="217"/>
                </a:moveTo>
                <a:lnTo>
                  <a:pt x="1084" y="221"/>
                </a:lnTo>
                <a:lnTo>
                  <a:pt x="1091" y="223"/>
                </a:lnTo>
                <a:lnTo>
                  <a:pt x="1097" y="223"/>
                </a:lnTo>
                <a:lnTo>
                  <a:pt x="1091" y="218"/>
                </a:lnTo>
                <a:lnTo>
                  <a:pt x="1087" y="218"/>
                </a:lnTo>
                <a:lnTo>
                  <a:pt x="1089" y="213"/>
                </a:lnTo>
                <a:lnTo>
                  <a:pt x="1087" y="211"/>
                </a:lnTo>
                <a:lnTo>
                  <a:pt x="1079" y="203"/>
                </a:lnTo>
                <a:lnTo>
                  <a:pt x="1072" y="204"/>
                </a:lnTo>
                <a:lnTo>
                  <a:pt x="1076" y="207"/>
                </a:lnTo>
                <a:lnTo>
                  <a:pt x="1079" y="217"/>
                </a:lnTo>
                <a:close/>
                <a:moveTo>
                  <a:pt x="964" y="200"/>
                </a:moveTo>
                <a:lnTo>
                  <a:pt x="953" y="193"/>
                </a:lnTo>
                <a:lnTo>
                  <a:pt x="942" y="195"/>
                </a:lnTo>
                <a:lnTo>
                  <a:pt x="955" y="204"/>
                </a:lnTo>
                <a:lnTo>
                  <a:pt x="964" y="200"/>
                </a:lnTo>
                <a:close/>
                <a:moveTo>
                  <a:pt x="2538" y="766"/>
                </a:moveTo>
                <a:lnTo>
                  <a:pt x="2536" y="762"/>
                </a:lnTo>
                <a:lnTo>
                  <a:pt x="2533" y="762"/>
                </a:lnTo>
                <a:lnTo>
                  <a:pt x="2533" y="766"/>
                </a:lnTo>
                <a:lnTo>
                  <a:pt x="2536" y="766"/>
                </a:lnTo>
                <a:lnTo>
                  <a:pt x="2538" y="766"/>
                </a:lnTo>
                <a:close/>
                <a:moveTo>
                  <a:pt x="2548" y="793"/>
                </a:moveTo>
                <a:lnTo>
                  <a:pt x="2547" y="788"/>
                </a:lnTo>
                <a:lnTo>
                  <a:pt x="2542" y="795"/>
                </a:lnTo>
                <a:lnTo>
                  <a:pt x="2542" y="800"/>
                </a:lnTo>
                <a:lnTo>
                  <a:pt x="2547" y="795"/>
                </a:lnTo>
                <a:lnTo>
                  <a:pt x="2548" y="793"/>
                </a:lnTo>
                <a:close/>
                <a:moveTo>
                  <a:pt x="833" y="254"/>
                </a:moveTo>
                <a:lnTo>
                  <a:pt x="830" y="258"/>
                </a:lnTo>
                <a:lnTo>
                  <a:pt x="835" y="258"/>
                </a:lnTo>
                <a:lnTo>
                  <a:pt x="830" y="259"/>
                </a:lnTo>
                <a:lnTo>
                  <a:pt x="833" y="261"/>
                </a:lnTo>
                <a:lnTo>
                  <a:pt x="839" y="257"/>
                </a:lnTo>
                <a:lnTo>
                  <a:pt x="855" y="260"/>
                </a:lnTo>
                <a:lnTo>
                  <a:pt x="855" y="263"/>
                </a:lnTo>
                <a:lnTo>
                  <a:pt x="851" y="264"/>
                </a:lnTo>
                <a:lnTo>
                  <a:pt x="856" y="268"/>
                </a:lnTo>
                <a:lnTo>
                  <a:pt x="857" y="262"/>
                </a:lnTo>
                <a:lnTo>
                  <a:pt x="856" y="262"/>
                </a:lnTo>
                <a:lnTo>
                  <a:pt x="857" y="258"/>
                </a:lnTo>
                <a:lnTo>
                  <a:pt x="856" y="253"/>
                </a:lnTo>
                <a:lnTo>
                  <a:pt x="857" y="252"/>
                </a:lnTo>
                <a:lnTo>
                  <a:pt x="859" y="253"/>
                </a:lnTo>
                <a:lnTo>
                  <a:pt x="860" y="258"/>
                </a:lnTo>
                <a:lnTo>
                  <a:pt x="863" y="258"/>
                </a:lnTo>
                <a:lnTo>
                  <a:pt x="863" y="266"/>
                </a:lnTo>
                <a:lnTo>
                  <a:pt x="865" y="266"/>
                </a:lnTo>
                <a:lnTo>
                  <a:pt x="875" y="257"/>
                </a:lnTo>
                <a:lnTo>
                  <a:pt x="875" y="256"/>
                </a:lnTo>
                <a:lnTo>
                  <a:pt x="872" y="255"/>
                </a:lnTo>
                <a:lnTo>
                  <a:pt x="875" y="253"/>
                </a:lnTo>
                <a:lnTo>
                  <a:pt x="875" y="250"/>
                </a:lnTo>
                <a:lnTo>
                  <a:pt x="876" y="250"/>
                </a:lnTo>
                <a:lnTo>
                  <a:pt x="882" y="256"/>
                </a:lnTo>
                <a:lnTo>
                  <a:pt x="885" y="253"/>
                </a:lnTo>
                <a:lnTo>
                  <a:pt x="886" y="250"/>
                </a:lnTo>
                <a:lnTo>
                  <a:pt x="890" y="246"/>
                </a:lnTo>
                <a:lnTo>
                  <a:pt x="885" y="241"/>
                </a:lnTo>
                <a:lnTo>
                  <a:pt x="893" y="240"/>
                </a:lnTo>
                <a:lnTo>
                  <a:pt x="892" y="235"/>
                </a:lnTo>
                <a:lnTo>
                  <a:pt x="893" y="234"/>
                </a:lnTo>
                <a:lnTo>
                  <a:pt x="905" y="234"/>
                </a:lnTo>
                <a:lnTo>
                  <a:pt x="901" y="238"/>
                </a:lnTo>
                <a:lnTo>
                  <a:pt x="899" y="245"/>
                </a:lnTo>
                <a:lnTo>
                  <a:pt x="908" y="250"/>
                </a:lnTo>
                <a:lnTo>
                  <a:pt x="916" y="246"/>
                </a:lnTo>
                <a:lnTo>
                  <a:pt x="913" y="241"/>
                </a:lnTo>
                <a:lnTo>
                  <a:pt x="925" y="240"/>
                </a:lnTo>
                <a:lnTo>
                  <a:pt x="930" y="237"/>
                </a:lnTo>
                <a:lnTo>
                  <a:pt x="928" y="234"/>
                </a:lnTo>
                <a:lnTo>
                  <a:pt x="924" y="230"/>
                </a:lnTo>
                <a:lnTo>
                  <a:pt x="932" y="230"/>
                </a:lnTo>
                <a:lnTo>
                  <a:pt x="924" y="226"/>
                </a:lnTo>
                <a:lnTo>
                  <a:pt x="924" y="223"/>
                </a:lnTo>
                <a:lnTo>
                  <a:pt x="924" y="221"/>
                </a:lnTo>
                <a:lnTo>
                  <a:pt x="938" y="217"/>
                </a:lnTo>
                <a:lnTo>
                  <a:pt x="922" y="210"/>
                </a:lnTo>
                <a:lnTo>
                  <a:pt x="912" y="212"/>
                </a:lnTo>
                <a:lnTo>
                  <a:pt x="920" y="214"/>
                </a:lnTo>
                <a:lnTo>
                  <a:pt x="917" y="217"/>
                </a:lnTo>
                <a:lnTo>
                  <a:pt x="912" y="215"/>
                </a:lnTo>
                <a:lnTo>
                  <a:pt x="913" y="217"/>
                </a:lnTo>
                <a:lnTo>
                  <a:pt x="901" y="214"/>
                </a:lnTo>
                <a:lnTo>
                  <a:pt x="883" y="217"/>
                </a:lnTo>
                <a:lnTo>
                  <a:pt x="879" y="221"/>
                </a:lnTo>
                <a:lnTo>
                  <a:pt x="868" y="227"/>
                </a:lnTo>
                <a:lnTo>
                  <a:pt x="864" y="233"/>
                </a:lnTo>
                <a:lnTo>
                  <a:pt x="852" y="238"/>
                </a:lnTo>
                <a:lnTo>
                  <a:pt x="848" y="245"/>
                </a:lnTo>
                <a:lnTo>
                  <a:pt x="831" y="246"/>
                </a:lnTo>
                <a:lnTo>
                  <a:pt x="826" y="255"/>
                </a:lnTo>
                <a:lnTo>
                  <a:pt x="831" y="252"/>
                </a:lnTo>
                <a:lnTo>
                  <a:pt x="833" y="254"/>
                </a:lnTo>
                <a:close/>
                <a:moveTo>
                  <a:pt x="829" y="256"/>
                </a:moveTo>
                <a:lnTo>
                  <a:pt x="829" y="257"/>
                </a:lnTo>
                <a:lnTo>
                  <a:pt x="831" y="256"/>
                </a:lnTo>
                <a:lnTo>
                  <a:pt x="829" y="256"/>
                </a:lnTo>
                <a:close/>
                <a:moveTo>
                  <a:pt x="2527" y="877"/>
                </a:moveTo>
                <a:lnTo>
                  <a:pt x="2531" y="875"/>
                </a:lnTo>
                <a:lnTo>
                  <a:pt x="2527" y="875"/>
                </a:lnTo>
                <a:lnTo>
                  <a:pt x="2527" y="877"/>
                </a:lnTo>
                <a:close/>
                <a:moveTo>
                  <a:pt x="964" y="222"/>
                </a:moveTo>
                <a:lnTo>
                  <a:pt x="958" y="222"/>
                </a:lnTo>
                <a:lnTo>
                  <a:pt x="962" y="223"/>
                </a:lnTo>
                <a:lnTo>
                  <a:pt x="964" y="222"/>
                </a:lnTo>
                <a:close/>
                <a:moveTo>
                  <a:pt x="890" y="261"/>
                </a:moveTo>
                <a:lnTo>
                  <a:pt x="878" y="269"/>
                </a:lnTo>
                <a:lnTo>
                  <a:pt x="890" y="273"/>
                </a:lnTo>
                <a:lnTo>
                  <a:pt x="893" y="273"/>
                </a:lnTo>
                <a:lnTo>
                  <a:pt x="908" y="258"/>
                </a:lnTo>
                <a:lnTo>
                  <a:pt x="906" y="258"/>
                </a:lnTo>
                <a:lnTo>
                  <a:pt x="890" y="261"/>
                </a:lnTo>
                <a:close/>
                <a:moveTo>
                  <a:pt x="1025" y="229"/>
                </a:moveTo>
                <a:lnTo>
                  <a:pt x="1028" y="230"/>
                </a:lnTo>
                <a:lnTo>
                  <a:pt x="1027" y="229"/>
                </a:lnTo>
                <a:lnTo>
                  <a:pt x="1025" y="229"/>
                </a:lnTo>
                <a:close/>
                <a:moveTo>
                  <a:pt x="1017" y="242"/>
                </a:moveTo>
                <a:lnTo>
                  <a:pt x="1021" y="242"/>
                </a:lnTo>
                <a:lnTo>
                  <a:pt x="1009" y="245"/>
                </a:lnTo>
                <a:lnTo>
                  <a:pt x="1011" y="249"/>
                </a:lnTo>
                <a:lnTo>
                  <a:pt x="1025" y="255"/>
                </a:lnTo>
                <a:lnTo>
                  <a:pt x="1021" y="260"/>
                </a:lnTo>
                <a:lnTo>
                  <a:pt x="1014" y="261"/>
                </a:lnTo>
                <a:lnTo>
                  <a:pt x="1034" y="268"/>
                </a:lnTo>
                <a:lnTo>
                  <a:pt x="1031" y="272"/>
                </a:lnTo>
                <a:lnTo>
                  <a:pt x="1009" y="271"/>
                </a:lnTo>
                <a:lnTo>
                  <a:pt x="998" y="272"/>
                </a:lnTo>
                <a:lnTo>
                  <a:pt x="995" y="269"/>
                </a:lnTo>
                <a:lnTo>
                  <a:pt x="997" y="268"/>
                </a:lnTo>
                <a:lnTo>
                  <a:pt x="995" y="266"/>
                </a:lnTo>
                <a:lnTo>
                  <a:pt x="984" y="266"/>
                </a:lnTo>
                <a:lnTo>
                  <a:pt x="990" y="262"/>
                </a:lnTo>
                <a:lnTo>
                  <a:pt x="980" y="257"/>
                </a:lnTo>
                <a:lnTo>
                  <a:pt x="979" y="256"/>
                </a:lnTo>
                <a:lnTo>
                  <a:pt x="980" y="252"/>
                </a:lnTo>
                <a:lnTo>
                  <a:pt x="972" y="250"/>
                </a:lnTo>
                <a:lnTo>
                  <a:pt x="956" y="252"/>
                </a:lnTo>
                <a:lnTo>
                  <a:pt x="952" y="249"/>
                </a:lnTo>
                <a:lnTo>
                  <a:pt x="952" y="244"/>
                </a:lnTo>
                <a:lnTo>
                  <a:pt x="942" y="241"/>
                </a:lnTo>
                <a:lnTo>
                  <a:pt x="935" y="244"/>
                </a:lnTo>
                <a:lnTo>
                  <a:pt x="930" y="249"/>
                </a:lnTo>
                <a:lnTo>
                  <a:pt x="949" y="252"/>
                </a:lnTo>
                <a:lnTo>
                  <a:pt x="925" y="251"/>
                </a:lnTo>
                <a:lnTo>
                  <a:pt x="920" y="255"/>
                </a:lnTo>
                <a:lnTo>
                  <a:pt x="919" y="256"/>
                </a:lnTo>
                <a:lnTo>
                  <a:pt x="922" y="257"/>
                </a:lnTo>
                <a:lnTo>
                  <a:pt x="919" y="260"/>
                </a:lnTo>
                <a:lnTo>
                  <a:pt x="946" y="261"/>
                </a:lnTo>
                <a:lnTo>
                  <a:pt x="917" y="264"/>
                </a:lnTo>
                <a:lnTo>
                  <a:pt x="910" y="269"/>
                </a:lnTo>
                <a:lnTo>
                  <a:pt x="924" y="271"/>
                </a:lnTo>
                <a:lnTo>
                  <a:pt x="944" y="268"/>
                </a:lnTo>
                <a:lnTo>
                  <a:pt x="928" y="274"/>
                </a:lnTo>
                <a:lnTo>
                  <a:pt x="910" y="274"/>
                </a:lnTo>
                <a:lnTo>
                  <a:pt x="905" y="281"/>
                </a:lnTo>
                <a:lnTo>
                  <a:pt x="919" y="284"/>
                </a:lnTo>
                <a:lnTo>
                  <a:pt x="924" y="280"/>
                </a:lnTo>
                <a:lnTo>
                  <a:pt x="924" y="284"/>
                </a:lnTo>
                <a:lnTo>
                  <a:pt x="926" y="286"/>
                </a:lnTo>
                <a:lnTo>
                  <a:pt x="932" y="290"/>
                </a:lnTo>
                <a:lnTo>
                  <a:pt x="936" y="288"/>
                </a:lnTo>
                <a:lnTo>
                  <a:pt x="935" y="286"/>
                </a:lnTo>
                <a:lnTo>
                  <a:pt x="938" y="286"/>
                </a:lnTo>
                <a:lnTo>
                  <a:pt x="938" y="284"/>
                </a:lnTo>
                <a:lnTo>
                  <a:pt x="940" y="284"/>
                </a:lnTo>
                <a:lnTo>
                  <a:pt x="940" y="287"/>
                </a:lnTo>
                <a:lnTo>
                  <a:pt x="942" y="290"/>
                </a:lnTo>
                <a:lnTo>
                  <a:pt x="952" y="286"/>
                </a:lnTo>
                <a:lnTo>
                  <a:pt x="953" y="283"/>
                </a:lnTo>
                <a:lnTo>
                  <a:pt x="949" y="279"/>
                </a:lnTo>
                <a:lnTo>
                  <a:pt x="955" y="280"/>
                </a:lnTo>
                <a:lnTo>
                  <a:pt x="956" y="278"/>
                </a:lnTo>
                <a:lnTo>
                  <a:pt x="956" y="274"/>
                </a:lnTo>
                <a:lnTo>
                  <a:pt x="958" y="278"/>
                </a:lnTo>
                <a:lnTo>
                  <a:pt x="968" y="278"/>
                </a:lnTo>
                <a:lnTo>
                  <a:pt x="959" y="279"/>
                </a:lnTo>
                <a:lnTo>
                  <a:pt x="956" y="284"/>
                </a:lnTo>
                <a:lnTo>
                  <a:pt x="956" y="286"/>
                </a:lnTo>
                <a:lnTo>
                  <a:pt x="975" y="286"/>
                </a:lnTo>
                <a:lnTo>
                  <a:pt x="976" y="286"/>
                </a:lnTo>
                <a:lnTo>
                  <a:pt x="976" y="283"/>
                </a:lnTo>
                <a:lnTo>
                  <a:pt x="982" y="280"/>
                </a:lnTo>
                <a:lnTo>
                  <a:pt x="980" y="284"/>
                </a:lnTo>
                <a:lnTo>
                  <a:pt x="1003" y="280"/>
                </a:lnTo>
                <a:lnTo>
                  <a:pt x="991" y="287"/>
                </a:lnTo>
                <a:lnTo>
                  <a:pt x="975" y="290"/>
                </a:lnTo>
                <a:lnTo>
                  <a:pt x="952" y="297"/>
                </a:lnTo>
                <a:lnTo>
                  <a:pt x="962" y="303"/>
                </a:lnTo>
                <a:lnTo>
                  <a:pt x="976" y="306"/>
                </a:lnTo>
                <a:lnTo>
                  <a:pt x="991" y="302"/>
                </a:lnTo>
                <a:lnTo>
                  <a:pt x="1005" y="298"/>
                </a:lnTo>
                <a:lnTo>
                  <a:pt x="1011" y="294"/>
                </a:lnTo>
                <a:lnTo>
                  <a:pt x="1023" y="294"/>
                </a:lnTo>
                <a:lnTo>
                  <a:pt x="1034" y="287"/>
                </a:lnTo>
                <a:lnTo>
                  <a:pt x="1038" y="290"/>
                </a:lnTo>
                <a:lnTo>
                  <a:pt x="1034" y="287"/>
                </a:lnTo>
                <a:lnTo>
                  <a:pt x="1039" y="291"/>
                </a:lnTo>
                <a:lnTo>
                  <a:pt x="1046" y="290"/>
                </a:lnTo>
                <a:lnTo>
                  <a:pt x="1047" y="284"/>
                </a:lnTo>
                <a:lnTo>
                  <a:pt x="1049" y="290"/>
                </a:lnTo>
                <a:lnTo>
                  <a:pt x="1061" y="291"/>
                </a:lnTo>
                <a:lnTo>
                  <a:pt x="1072" y="286"/>
                </a:lnTo>
                <a:lnTo>
                  <a:pt x="1072" y="284"/>
                </a:lnTo>
                <a:lnTo>
                  <a:pt x="1072" y="280"/>
                </a:lnTo>
                <a:lnTo>
                  <a:pt x="1076" y="278"/>
                </a:lnTo>
                <a:lnTo>
                  <a:pt x="1078" y="274"/>
                </a:lnTo>
                <a:lnTo>
                  <a:pt x="1078" y="272"/>
                </a:lnTo>
                <a:lnTo>
                  <a:pt x="1082" y="268"/>
                </a:lnTo>
                <a:lnTo>
                  <a:pt x="1081" y="263"/>
                </a:lnTo>
                <a:lnTo>
                  <a:pt x="1079" y="260"/>
                </a:lnTo>
                <a:lnTo>
                  <a:pt x="1068" y="256"/>
                </a:lnTo>
                <a:lnTo>
                  <a:pt x="1060" y="257"/>
                </a:lnTo>
                <a:lnTo>
                  <a:pt x="1060" y="263"/>
                </a:lnTo>
                <a:lnTo>
                  <a:pt x="1064" y="264"/>
                </a:lnTo>
                <a:lnTo>
                  <a:pt x="1061" y="267"/>
                </a:lnTo>
                <a:lnTo>
                  <a:pt x="1057" y="262"/>
                </a:lnTo>
                <a:lnTo>
                  <a:pt x="1049" y="262"/>
                </a:lnTo>
                <a:lnTo>
                  <a:pt x="1045" y="264"/>
                </a:lnTo>
                <a:lnTo>
                  <a:pt x="1050" y="258"/>
                </a:lnTo>
                <a:lnTo>
                  <a:pt x="1047" y="258"/>
                </a:lnTo>
                <a:lnTo>
                  <a:pt x="1039" y="258"/>
                </a:lnTo>
                <a:lnTo>
                  <a:pt x="1038" y="253"/>
                </a:lnTo>
                <a:lnTo>
                  <a:pt x="1043" y="249"/>
                </a:lnTo>
                <a:lnTo>
                  <a:pt x="1036" y="245"/>
                </a:lnTo>
                <a:lnTo>
                  <a:pt x="1035" y="238"/>
                </a:lnTo>
                <a:lnTo>
                  <a:pt x="1038" y="234"/>
                </a:lnTo>
                <a:lnTo>
                  <a:pt x="1034" y="232"/>
                </a:lnTo>
                <a:lnTo>
                  <a:pt x="1025" y="234"/>
                </a:lnTo>
                <a:lnTo>
                  <a:pt x="1017" y="242"/>
                </a:lnTo>
                <a:close/>
                <a:moveTo>
                  <a:pt x="968" y="211"/>
                </a:moveTo>
                <a:lnTo>
                  <a:pt x="985" y="217"/>
                </a:lnTo>
                <a:lnTo>
                  <a:pt x="1012" y="211"/>
                </a:lnTo>
                <a:lnTo>
                  <a:pt x="1016" y="208"/>
                </a:lnTo>
                <a:lnTo>
                  <a:pt x="1014" y="206"/>
                </a:lnTo>
                <a:lnTo>
                  <a:pt x="1006" y="206"/>
                </a:lnTo>
                <a:lnTo>
                  <a:pt x="1003" y="202"/>
                </a:lnTo>
                <a:lnTo>
                  <a:pt x="1019" y="197"/>
                </a:lnTo>
                <a:lnTo>
                  <a:pt x="1023" y="194"/>
                </a:lnTo>
                <a:lnTo>
                  <a:pt x="997" y="194"/>
                </a:lnTo>
                <a:lnTo>
                  <a:pt x="969" y="199"/>
                </a:lnTo>
                <a:lnTo>
                  <a:pt x="968" y="200"/>
                </a:lnTo>
                <a:lnTo>
                  <a:pt x="968" y="204"/>
                </a:lnTo>
                <a:lnTo>
                  <a:pt x="968" y="211"/>
                </a:lnTo>
                <a:close/>
                <a:moveTo>
                  <a:pt x="949" y="230"/>
                </a:moveTo>
                <a:lnTo>
                  <a:pt x="946" y="234"/>
                </a:lnTo>
                <a:lnTo>
                  <a:pt x="957" y="237"/>
                </a:lnTo>
                <a:lnTo>
                  <a:pt x="966" y="234"/>
                </a:lnTo>
                <a:lnTo>
                  <a:pt x="960" y="230"/>
                </a:lnTo>
                <a:lnTo>
                  <a:pt x="949" y="230"/>
                </a:lnTo>
                <a:close/>
                <a:moveTo>
                  <a:pt x="986" y="183"/>
                </a:moveTo>
                <a:lnTo>
                  <a:pt x="993" y="187"/>
                </a:lnTo>
                <a:lnTo>
                  <a:pt x="1001" y="185"/>
                </a:lnTo>
                <a:lnTo>
                  <a:pt x="1009" y="190"/>
                </a:lnTo>
                <a:lnTo>
                  <a:pt x="1024" y="190"/>
                </a:lnTo>
                <a:lnTo>
                  <a:pt x="1027" y="182"/>
                </a:lnTo>
                <a:lnTo>
                  <a:pt x="1009" y="170"/>
                </a:lnTo>
                <a:lnTo>
                  <a:pt x="971" y="181"/>
                </a:lnTo>
                <a:lnTo>
                  <a:pt x="968" y="184"/>
                </a:lnTo>
                <a:lnTo>
                  <a:pt x="969" y="187"/>
                </a:lnTo>
                <a:lnTo>
                  <a:pt x="986" y="183"/>
                </a:lnTo>
                <a:close/>
                <a:moveTo>
                  <a:pt x="1168" y="238"/>
                </a:moveTo>
                <a:lnTo>
                  <a:pt x="1159" y="238"/>
                </a:lnTo>
                <a:lnTo>
                  <a:pt x="1169" y="241"/>
                </a:lnTo>
                <a:lnTo>
                  <a:pt x="1168" y="238"/>
                </a:lnTo>
                <a:close/>
                <a:moveTo>
                  <a:pt x="2520" y="734"/>
                </a:moveTo>
                <a:lnTo>
                  <a:pt x="2516" y="734"/>
                </a:lnTo>
                <a:lnTo>
                  <a:pt x="2520" y="735"/>
                </a:lnTo>
                <a:lnTo>
                  <a:pt x="2520" y="734"/>
                </a:lnTo>
                <a:close/>
                <a:moveTo>
                  <a:pt x="1136" y="242"/>
                </a:moveTo>
                <a:lnTo>
                  <a:pt x="1142" y="242"/>
                </a:lnTo>
                <a:lnTo>
                  <a:pt x="1157" y="238"/>
                </a:lnTo>
                <a:lnTo>
                  <a:pt x="1149" y="238"/>
                </a:lnTo>
                <a:lnTo>
                  <a:pt x="1136" y="242"/>
                </a:lnTo>
                <a:close/>
                <a:moveTo>
                  <a:pt x="1124" y="200"/>
                </a:moveTo>
                <a:lnTo>
                  <a:pt x="1125" y="204"/>
                </a:lnTo>
                <a:lnTo>
                  <a:pt x="1130" y="206"/>
                </a:lnTo>
                <a:lnTo>
                  <a:pt x="1146" y="204"/>
                </a:lnTo>
                <a:lnTo>
                  <a:pt x="1136" y="199"/>
                </a:lnTo>
                <a:lnTo>
                  <a:pt x="1124" y="200"/>
                </a:lnTo>
                <a:close/>
                <a:moveTo>
                  <a:pt x="1098" y="251"/>
                </a:moveTo>
                <a:lnTo>
                  <a:pt x="1095" y="253"/>
                </a:lnTo>
                <a:lnTo>
                  <a:pt x="1105" y="258"/>
                </a:lnTo>
                <a:lnTo>
                  <a:pt x="1112" y="258"/>
                </a:lnTo>
                <a:lnTo>
                  <a:pt x="1123" y="253"/>
                </a:lnTo>
                <a:lnTo>
                  <a:pt x="1124" y="252"/>
                </a:lnTo>
                <a:lnTo>
                  <a:pt x="1123" y="249"/>
                </a:lnTo>
                <a:lnTo>
                  <a:pt x="1098" y="251"/>
                </a:lnTo>
                <a:close/>
                <a:moveTo>
                  <a:pt x="1090" y="284"/>
                </a:moveTo>
                <a:lnTo>
                  <a:pt x="1098" y="287"/>
                </a:lnTo>
                <a:lnTo>
                  <a:pt x="1108" y="283"/>
                </a:lnTo>
                <a:lnTo>
                  <a:pt x="1105" y="278"/>
                </a:lnTo>
                <a:lnTo>
                  <a:pt x="1101" y="274"/>
                </a:lnTo>
                <a:lnTo>
                  <a:pt x="1091" y="278"/>
                </a:lnTo>
                <a:lnTo>
                  <a:pt x="1090" y="284"/>
                </a:lnTo>
                <a:close/>
                <a:moveTo>
                  <a:pt x="1202" y="301"/>
                </a:moveTo>
                <a:lnTo>
                  <a:pt x="1200" y="298"/>
                </a:lnTo>
                <a:lnTo>
                  <a:pt x="1192" y="302"/>
                </a:lnTo>
                <a:lnTo>
                  <a:pt x="1196" y="303"/>
                </a:lnTo>
                <a:lnTo>
                  <a:pt x="1202" y="301"/>
                </a:lnTo>
                <a:close/>
                <a:moveTo>
                  <a:pt x="1112" y="262"/>
                </a:moveTo>
                <a:lnTo>
                  <a:pt x="1125" y="258"/>
                </a:lnTo>
                <a:lnTo>
                  <a:pt x="1127" y="257"/>
                </a:lnTo>
                <a:lnTo>
                  <a:pt x="1103" y="262"/>
                </a:lnTo>
                <a:lnTo>
                  <a:pt x="1112" y="262"/>
                </a:lnTo>
                <a:close/>
                <a:moveTo>
                  <a:pt x="1157" y="269"/>
                </a:moveTo>
                <a:lnTo>
                  <a:pt x="1157" y="269"/>
                </a:lnTo>
                <a:lnTo>
                  <a:pt x="1157" y="269"/>
                </a:lnTo>
                <a:lnTo>
                  <a:pt x="1157" y="269"/>
                </a:lnTo>
                <a:lnTo>
                  <a:pt x="1157" y="269"/>
                </a:lnTo>
                <a:close/>
                <a:moveTo>
                  <a:pt x="1202" y="226"/>
                </a:moveTo>
                <a:lnTo>
                  <a:pt x="1198" y="227"/>
                </a:lnTo>
                <a:lnTo>
                  <a:pt x="1203" y="227"/>
                </a:lnTo>
                <a:lnTo>
                  <a:pt x="1202" y="226"/>
                </a:lnTo>
                <a:close/>
                <a:moveTo>
                  <a:pt x="1081" y="326"/>
                </a:moveTo>
                <a:lnTo>
                  <a:pt x="1065" y="326"/>
                </a:lnTo>
                <a:lnTo>
                  <a:pt x="1058" y="332"/>
                </a:lnTo>
                <a:lnTo>
                  <a:pt x="1067" y="336"/>
                </a:lnTo>
                <a:lnTo>
                  <a:pt x="1083" y="350"/>
                </a:lnTo>
                <a:lnTo>
                  <a:pt x="1084" y="350"/>
                </a:lnTo>
                <a:lnTo>
                  <a:pt x="1094" y="337"/>
                </a:lnTo>
                <a:lnTo>
                  <a:pt x="1095" y="331"/>
                </a:lnTo>
                <a:lnTo>
                  <a:pt x="1086" y="326"/>
                </a:lnTo>
                <a:lnTo>
                  <a:pt x="1081" y="326"/>
                </a:lnTo>
                <a:close/>
                <a:moveTo>
                  <a:pt x="1157" y="242"/>
                </a:moveTo>
                <a:lnTo>
                  <a:pt x="1166" y="242"/>
                </a:lnTo>
                <a:lnTo>
                  <a:pt x="1173" y="245"/>
                </a:lnTo>
                <a:lnTo>
                  <a:pt x="1173" y="244"/>
                </a:lnTo>
                <a:lnTo>
                  <a:pt x="1175" y="245"/>
                </a:lnTo>
                <a:lnTo>
                  <a:pt x="1173" y="242"/>
                </a:lnTo>
                <a:lnTo>
                  <a:pt x="1185" y="242"/>
                </a:lnTo>
                <a:lnTo>
                  <a:pt x="1185" y="239"/>
                </a:lnTo>
                <a:lnTo>
                  <a:pt x="1185" y="238"/>
                </a:lnTo>
                <a:lnTo>
                  <a:pt x="1192" y="241"/>
                </a:lnTo>
                <a:lnTo>
                  <a:pt x="1195" y="245"/>
                </a:lnTo>
                <a:lnTo>
                  <a:pt x="1192" y="246"/>
                </a:lnTo>
                <a:lnTo>
                  <a:pt x="1195" y="250"/>
                </a:lnTo>
                <a:lnTo>
                  <a:pt x="1198" y="252"/>
                </a:lnTo>
                <a:lnTo>
                  <a:pt x="1195" y="257"/>
                </a:lnTo>
                <a:lnTo>
                  <a:pt x="1196" y="263"/>
                </a:lnTo>
                <a:lnTo>
                  <a:pt x="1191" y="267"/>
                </a:lnTo>
                <a:lnTo>
                  <a:pt x="1200" y="268"/>
                </a:lnTo>
                <a:lnTo>
                  <a:pt x="1198" y="273"/>
                </a:lnTo>
                <a:lnTo>
                  <a:pt x="1202" y="277"/>
                </a:lnTo>
                <a:lnTo>
                  <a:pt x="1195" y="274"/>
                </a:lnTo>
                <a:lnTo>
                  <a:pt x="1189" y="274"/>
                </a:lnTo>
                <a:lnTo>
                  <a:pt x="1189" y="274"/>
                </a:lnTo>
                <a:lnTo>
                  <a:pt x="1190" y="278"/>
                </a:lnTo>
                <a:lnTo>
                  <a:pt x="1185" y="278"/>
                </a:lnTo>
                <a:lnTo>
                  <a:pt x="1185" y="279"/>
                </a:lnTo>
                <a:lnTo>
                  <a:pt x="1188" y="280"/>
                </a:lnTo>
                <a:lnTo>
                  <a:pt x="1188" y="283"/>
                </a:lnTo>
                <a:lnTo>
                  <a:pt x="1189" y="284"/>
                </a:lnTo>
                <a:lnTo>
                  <a:pt x="1189" y="290"/>
                </a:lnTo>
                <a:lnTo>
                  <a:pt x="1169" y="290"/>
                </a:lnTo>
                <a:lnTo>
                  <a:pt x="1170" y="287"/>
                </a:lnTo>
                <a:lnTo>
                  <a:pt x="1168" y="290"/>
                </a:lnTo>
                <a:lnTo>
                  <a:pt x="1159" y="290"/>
                </a:lnTo>
                <a:lnTo>
                  <a:pt x="1153" y="290"/>
                </a:lnTo>
                <a:lnTo>
                  <a:pt x="1153" y="286"/>
                </a:lnTo>
                <a:lnTo>
                  <a:pt x="1154" y="286"/>
                </a:lnTo>
                <a:lnTo>
                  <a:pt x="1162" y="282"/>
                </a:lnTo>
                <a:lnTo>
                  <a:pt x="1149" y="279"/>
                </a:lnTo>
                <a:lnTo>
                  <a:pt x="1153" y="278"/>
                </a:lnTo>
                <a:lnTo>
                  <a:pt x="1162" y="278"/>
                </a:lnTo>
                <a:lnTo>
                  <a:pt x="1157" y="275"/>
                </a:lnTo>
                <a:lnTo>
                  <a:pt x="1166" y="270"/>
                </a:lnTo>
                <a:lnTo>
                  <a:pt x="1163" y="270"/>
                </a:lnTo>
                <a:lnTo>
                  <a:pt x="1164" y="269"/>
                </a:lnTo>
                <a:lnTo>
                  <a:pt x="1158" y="269"/>
                </a:lnTo>
                <a:lnTo>
                  <a:pt x="1155" y="271"/>
                </a:lnTo>
                <a:lnTo>
                  <a:pt x="1157" y="269"/>
                </a:lnTo>
                <a:lnTo>
                  <a:pt x="1155" y="270"/>
                </a:lnTo>
                <a:lnTo>
                  <a:pt x="1124" y="273"/>
                </a:lnTo>
                <a:lnTo>
                  <a:pt x="1120" y="270"/>
                </a:lnTo>
                <a:lnTo>
                  <a:pt x="1124" y="270"/>
                </a:lnTo>
                <a:lnTo>
                  <a:pt x="1131" y="270"/>
                </a:lnTo>
                <a:lnTo>
                  <a:pt x="1130" y="266"/>
                </a:lnTo>
                <a:lnTo>
                  <a:pt x="1125" y="266"/>
                </a:lnTo>
                <a:lnTo>
                  <a:pt x="1127" y="264"/>
                </a:lnTo>
                <a:lnTo>
                  <a:pt x="1123" y="266"/>
                </a:lnTo>
                <a:lnTo>
                  <a:pt x="1111" y="266"/>
                </a:lnTo>
                <a:lnTo>
                  <a:pt x="1121" y="262"/>
                </a:lnTo>
                <a:lnTo>
                  <a:pt x="1130" y="262"/>
                </a:lnTo>
                <a:lnTo>
                  <a:pt x="1132" y="262"/>
                </a:lnTo>
                <a:lnTo>
                  <a:pt x="1140" y="264"/>
                </a:lnTo>
                <a:lnTo>
                  <a:pt x="1140" y="263"/>
                </a:lnTo>
                <a:lnTo>
                  <a:pt x="1137" y="260"/>
                </a:lnTo>
                <a:lnTo>
                  <a:pt x="1142" y="256"/>
                </a:lnTo>
                <a:lnTo>
                  <a:pt x="1136" y="257"/>
                </a:lnTo>
                <a:lnTo>
                  <a:pt x="1134" y="256"/>
                </a:lnTo>
                <a:lnTo>
                  <a:pt x="1140" y="250"/>
                </a:lnTo>
                <a:lnTo>
                  <a:pt x="1128" y="250"/>
                </a:lnTo>
                <a:lnTo>
                  <a:pt x="1128" y="245"/>
                </a:lnTo>
                <a:lnTo>
                  <a:pt x="1133" y="244"/>
                </a:lnTo>
                <a:lnTo>
                  <a:pt x="1142" y="245"/>
                </a:lnTo>
                <a:lnTo>
                  <a:pt x="1162" y="261"/>
                </a:lnTo>
                <a:lnTo>
                  <a:pt x="1169" y="257"/>
                </a:lnTo>
                <a:lnTo>
                  <a:pt x="1163" y="260"/>
                </a:lnTo>
                <a:lnTo>
                  <a:pt x="1158" y="252"/>
                </a:lnTo>
                <a:lnTo>
                  <a:pt x="1166" y="255"/>
                </a:lnTo>
                <a:lnTo>
                  <a:pt x="1169" y="253"/>
                </a:lnTo>
                <a:lnTo>
                  <a:pt x="1155" y="252"/>
                </a:lnTo>
                <a:lnTo>
                  <a:pt x="1154" y="250"/>
                </a:lnTo>
                <a:lnTo>
                  <a:pt x="1163" y="249"/>
                </a:lnTo>
                <a:lnTo>
                  <a:pt x="1151" y="247"/>
                </a:lnTo>
                <a:lnTo>
                  <a:pt x="1146" y="243"/>
                </a:lnTo>
                <a:lnTo>
                  <a:pt x="1157" y="242"/>
                </a:lnTo>
                <a:close/>
                <a:moveTo>
                  <a:pt x="1157" y="269"/>
                </a:moveTo>
                <a:lnTo>
                  <a:pt x="1155" y="269"/>
                </a:lnTo>
                <a:lnTo>
                  <a:pt x="1156" y="269"/>
                </a:lnTo>
                <a:lnTo>
                  <a:pt x="1157" y="269"/>
                </a:lnTo>
                <a:lnTo>
                  <a:pt x="1157" y="269"/>
                </a:lnTo>
                <a:lnTo>
                  <a:pt x="1157" y="269"/>
                </a:lnTo>
                <a:lnTo>
                  <a:pt x="1157" y="269"/>
                </a:lnTo>
                <a:lnTo>
                  <a:pt x="1157" y="269"/>
                </a:lnTo>
                <a:lnTo>
                  <a:pt x="1157" y="269"/>
                </a:lnTo>
                <a:close/>
                <a:moveTo>
                  <a:pt x="1196" y="283"/>
                </a:moveTo>
                <a:lnTo>
                  <a:pt x="1190" y="280"/>
                </a:lnTo>
                <a:lnTo>
                  <a:pt x="1191" y="284"/>
                </a:lnTo>
                <a:lnTo>
                  <a:pt x="1196" y="283"/>
                </a:lnTo>
                <a:close/>
                <a:moveTo>
                  <a:pt x="1176" y="324"/>
                </a:moveTo>
                <a:lnTo>
                  <a:pt x="1185" y="321"/>
                </a:lnTo>
                <a:lnTo>
                  <a:pt x="1192" y="317"/>
                </a:lnTo>
                <a:lnTo>
                  <a:pt x="1195" y="313"/>
                </a:lnTo>
                <a:lnTo>
                  <a:pt x="1169" y="320"/>
                </a:lnTo>
                <a:lnTo>
                  <a:pt x="1176" y="324"/>
                </a:lnTo>
                <a:close/>
                <a:moveTo>
                  <a:pt x="1190" y="280"/>
                </a:moveTo>
                <a:lnTo>
                  <a:pt x="1190" y="280"/>
                </a:lnTo>
                <a:lnTo>
                  <a:pt x="1190" y="280"/>
                </a:lnTo>
                <a:lnTo>
                  <a:pt x="1190" y="280"/>
                </a:lnTo>
                <a:lnTo>
                  <a:pt x="1190" y="280"/>
                </a:lnTo>
                <a:close/>
                <a:moveTo>
                  <a:pt x="1390" y="241"/>
                </a:moveTo>
                <a:lnTo>
                  <a:pt x="1390" y="244"/>
                </a:lnTo>
                <a:lnTo>
                  <a:pt x="1393" y="244"/>
                </a:lnTo>
                <a:lnTo>
                  <a:pt x="1390" y="241"/>
                </a:lnTo>
                <a:close/>
                <a:moveTo>
                  <a:pt x="2522" y="753"/>
                </a:moveTo>
                <a:lnTo>
                  <a:pt x="2520" y="754"/>
                </a:lnTo>
                <a:lnTo>
                  <a:pt x="2522" y="755"/>
                </a:lnTo>
                <a:lnTo>
                  <a:pt x="2522" y="753"/>
                </a:lnTo>
                <a:close/>
                <a:moveTo>
                  <a:pt x="1229" y="221"/>
                </a:moveTo>
                <a:lnTo>
                  <a:pt x="1228" y="218"/>
                </a:lnTo>
                <a:lnTo>
                  <a:pt x="1225" y="218"/>
                </a:lnTo>
                <a:lnTo>
                  <a:pt x="1229" y="221"/>
                </a:lnTo>
                <a:close/>
                <a:moveTo>
                  <a:pt x="1237" y="187"/>
                </a:moveTo>
                <a:lnTo>
                  <a:pt x="1244" y="189"/>
                </a:lnTo>
                <a:lnTo>
                  <a:pt x="1241" y="187"/>
                </a:lnTo>
                <a:lnTo>
                  <a:pt x="1237" y="187"/>
                </a:lnTo>
                <a:close/>
                <a:moveTo>
                  <a:pt x="1226" y="200"/>
                </a:moveTo>
                <a:lnTo>
                  <a:pt x="1215" y="206"/>
                </a:lnTo>
                <a:lnTo>
                  <a:pt x="1214" y="208"/>
                </a:lnTo>
                <a:lnTo>
                  <a:pt x="1221" y="214"/>
                </a:lnTo>
                <a:lnTo>
                  <a:pt x="1254" y="214"/>
                </a:lnTo>
                <a:lnTo>
                  <a:pt x="1257" y="208"/>
                </a:lnTo>
                <a:lnTo>
                  <a:pt x="1262" y="206"/>
                </a:lnTo>
                <a:lnTo>
                  <a:pt x="1260" y="204"/>
                </a:lnTo>
                <a:lnTo>
                  <a:pt x="1254" y="203"/>
                </a:lnTo>
                <a:lnTo>
                  <a:pt x="1228" y="204"/>
                </a:lnTo>
                <a:lnTo>
                  <a:pt x="1226" y="200"/>
                </a:lnTo>
                <a:close/>
                <a:moveTo>
                  <a:pt x="1292" y="222"/>
                </a:moveTo>
                <a:lnTo>
                  <a:pt x="1295" y="221"/>
                </a:lnTo>
                <a:lnTo>
                  <a:pt x="1290" y="218"/>
                </a:lnTo>
                <a:lnTo>
                  <a:pt x="1287" y="221"/>
                </a:lnTo>
                <a:lnTo>
                  <a:pt x="1292" y="222"/>
                </a:lnTo>
                <a:close/>
                <a:moveTo>
                  <a:pt x="1303" y="207"/>
                </a:moveTo>
                <a:lnTo>
                  <a:pt x="1291" y="206"/>
                </a:lnTo>
                <a:lnTo>
                  <a:pt x="1285" y="210"/>
                </a:lnTo>
                <a:lnTo>
                  <a:pt x="1285" y="215"/>
                </a:lnTo>
                <a:lnTo>
                  <a:pt x="1298" y="221"/>
                </a:lnTo>
                <a:lnTo>
                  <a:pt x="1309" y="215"/>
                </a:lnTo>
                <a:lnTo>
                  <a:pt x="1309" y="212"/>
                </a:lnTo>
                <a:lnTo>
                  <a:pt x="1303" y="207"/>
                </a:lnTo>
                <a:close/>
                <a:moveTo>
                  <a:pt x="1306" y="232"/>
                </a:moveTo>
                <a:lnTo>
                  <a:pt x="1296" y="234"/>
                </a:lnTo>
                <a:lnTo>
                  <a:pt x="1306" y="244"/>
                </a:lnTo>
                <a:lnTo>
                  <a:pt x="1310" y="241"/>
                </a:lnTo>
                <a:lnTo>
                  <a:pt x="1307" y="238"/>
                </a:lnTo>
                <a:lnTo>
                  <a:pt x="1310" y="234"/>
                </a:lnTo>
                <a:lnTo>
                  <a:pt x="1306" y="232"/>
                </a:lnTo>
                <a:close/>
                <a:moveTo>
                  <a:pt x="1210" y="343"/>
                </a:moveTo>
                <a:lnTo>
                  <a:pt x="1207" y="339"/>
                </a:lnTo>
                <a:lnTo>
                  <a:pt x="1204" y="341"/>
                </a:lnTo>
                <a:lnTo>
                  <a:pt x="1203" y="344"/>
                </a:lnTo>
                <a:lnTo>
                  <a:pt x="1206" y="348"/>
                </a:lnTo>
                <a:lnTo>
                  <a:pt x="1209" y="347"/>
                </a:lnTo>
                <a:lnTo>
                  <a:pt x="1210" y="343"/>
                </a:lnTo>
                <a:close/>
                <a:moveTo>
                  <a:pt x="1204" y="337"/>
                </a:moveTo>
                <a:lnTo>
                  <a:pt x="1203" y="337"/>
                </a:lnTo>
                <a:lnTo>
                  <a:pt x="1206" y="339"/>
                </a:lnTo>
                <a:lnTo>
                  <a:pt x="1204" y="337"/>
                </a:lnTo>
                <a:close/>
                <a:moveTo>
                  <a:pt x="1209" y="352"/>
                </a:moveTo>
                <a:lnTo>
                  <a:pt x="1209" y="351"/>
                </a:lnTo>
                <a:lnTo>
                  <a:pt x="1209" y="349"/>
                </a:lnTo>
                <a:lnTo>
                  <a:pt x="1204" y="352"/>
                </a:lnTo>
                <a:lnTo>
                  <a:pt x="1209" y="352"/>
                </a:lnTo>
                <a:close/>
                <a:moveTo>
                  <a:pt x="1215" y="274"/>
                </a:moveTo>
                <a:lnTo>
                  <a:pt x="1221" y="271"/>
                </a:lnTo>
                <a:lnTo>
                  <a:pt x="1218" y="269"/>
                </a:lnTo>
                <a:lnTo>
                  <a:pt x="1214" y="268"/>
                </a:lnTo>
                <a:lnTo>
                  <a:pt x="1204" y="272"/>
                </a:lnTo>
                <a:lnTo>
                  <a:pt x="1207" y="278"/>
                </a:lnTo>
                <a:lnTo>
                  <a:pt x="1213" y="274"/>
                </a:lnTo>
                <a:lnTo>
                  <a:pt x="1210" y="272"/>
                </a:lnTo>
                <a:lnTo>
                  <a:pt x="1213" y="271"/>
                </a:lnTo>
                <a:lnTo>
                  <a:pt x="1215" y="274"/>
                </a:lnTo>
                <a:close/>
                <a:moveTo>
                  <a:pt x="1237" y="266"/>
                </a:moveTo>
                <a:lnTo>
                  <a:pt x="1244" y="266"/>
                </a:lnTo>
                <a:lnTo>
                  <a:pt x="1241" y="258"/>
                </a:lnTo>
                <a:lnTo>
                  <a:pt x="1235" y="262"/>
                </a:lnTo>
                <a:lnTo>
                  <a:pt x="1237" y="266"/>
                </a:lnTo>
                <a:close/>
                <a:moveTo>
                  <a:pt x="1235" y="256"/>
                </a:moveTo>
                <a:lnTo>
                  <a:pt x="1236" y="252"/>
                </a:lnTo>
                <a:lnTo>
                  <a:pt x="1231" y="255"/>
                </a:lnTo>
                <a:lnTo>
                  <a:pt x="1235" y="256"/>
                </a:lnTo>
                <a:close/>
                <a:moveTo>
                  <a:pt x="1224" y="257"/>
                </a:moveTo>
                <a:lnTo>
                  <a:pt x="1221" y="260"/>
                </a:lnTo>
                <a:lnTo>
                  <a:pt x="1222" y="261"/>
                </a:lnTo>
                <a:lnTo>
                  <a:pt x="1224" y="257"/>
                </a:lnTo>
                <a:close/>
                <a:moveTo>
                  <a:pt x="1354" y="427"/>
                </a:moveTo>
                <a:lnTo>
                  <a:pt x="1346" y="427"/>
                </a:lnTo>
                <a:lnTo>
                  <a:pt x="1344" y="427"/>
                </a:lnTo>
                <a:lnTo>
                  <a:pt x="1347" y="431"/>
                </a:lnTo>
                <a:lnTo>
                  <a:pt x="1357" y="431"/>
                </a:lnTo>
                <a:lnTo>
                  <a:pt x="1354" y="427"/>
                </a:lnTo>
                <a:close/>
                <a:moveTo>
                  <a:pt x="2464" y="843"/>
                </a:moveTo>
                <a:lnTo>
                  <a:pt x="2472" y="840"/>
                </a:lnTo>
                <a:lnTo>
                  <a:pt x="2465" y="847"/>
                </a:lnTo>
                <a:lnTo>
                  <a:pt x="2472" y="843"/>
                </a:lnTo>
                <a:lnTo>
                  <a:pt x="2475" y="846"/>
                </a:lnTo>
                <a:lnTo>
                  <a:pt x="2471" y="849"/>
                </a:lnTo>
                <a:lnTo>
                  <a:pt x="2472" y="849"/>
                </a:lnTo>
                <a:lnTo>
                  <a:pt x="2471" y="851"/>
                </a:lnTo>
                <a:lnTo>
                  <a:pt x="2475" y="849"/>
                </a:lnTo>
                <a:lnTo>
                  <a:pt x="2478" y="849"/>
                </a:lnTo>
                <a:lnTo>
                  <a:pt x="2486" y="848"/>
                </a:lnTo>
                <a:lnTo>
                  <a:pt x="2490" y="843"/>
                </a:lnTo>
                <a:lnTo>
                  <a:pt x="2490" y="844"/>
                </a:lnTo>
                <a:lnTo>
                  <a:pt x="2495" y="844"/>
                </a:lnTo>
                <a:lnTo>
                  <a:pt x="2498" y="842"/>
                </a:lnTo>
                <a:lnTo>
                  <a:pt x="2499" y="840"/>
                </a:lnTo>
                <a:lnTo>
                  <a:pt x="2502" y="840"/>
                </a:lnTo>
                <a:lnTo>
                  <a:pt x="2502" y="836"/>
                </a:lnTo>
                <a:lnTo>
                  <a:pt x="2510" y="835"/>
                </a:lnTo>
                <a:lnTo>
                  <a:pt x="2510" y="831"/>
                </a:lnTo>
                <a:lnTo>
                  <a:pt x="2513" y="836"/>
                </a:lnTo>
                <a:lnTo>
                  <a:pt x="2522" y="836"/>
                </a:lnTo>
                <a:lnTo>
                  <a:pt x="2523" y="835"/>
                </a:lnTo>
                <a:lnTo>
                  <a:pt x="2519" y="831"/>
                </a:lnTo>
                <a:lnTo>
                  <a:pt x="2525" y="828"/>
                </a:lnTo>
                <a:lnTo>
                  <a:pt x="2522" y="825"/>
                </a:lnTo>
                <a:lnTo>
                  <a:pt x="2526" y="820"/>
                </a:lnTo>
                <a:lnTo>
                  <a:pt x="2526" y="816"/>
                </a:lnTo>
                <a:lnTo>
                  <a:pt x="2522" y="812"/>
                </a:lnTo>
                <a:lnTo>
                  <a:pt x="2524" y="808"/>
                </a:lnTo>
                <a:lnTo>
                  <a:pt x="2518" y="801"/>
                </a:lnTo>
                <a:lnTo>
                  <a:pt x="2518" y="800"/>
                </a:lnTo>
                <a:lnTo>
                  <a:pt x="2526" y="800"/>
                </a:lnTo>
                <a:lnTo>
                  <a:pt x="2523" y="797"/>
                </a:lnTo>
                <a:lnTo>
                  <a:pt x="2518" y="799"/>
                </a:lnTo>
                <a:lnTo>
                  <a:pt x="2516" y="796"/>
                </a:lnTo>
                <a:lnTo>
                  <a:pt x="2520" y="795"/>
                </a:lnTo>
                <a:lnTo>
                  <a:pt x="2523" y="796"/>
                </a:lnTo>
                <a:lnTo>
                  <a:pt x="2526" y="797"/>
                </a:lnTo>
                <a:lnTo>
                  <a:pt x="2527" y="796"/>
                </a:lnTo>
                <a:lnTo>
                  <a:pt x="2529" y="796"/>
                </a:lnTo>
                <a:lnTo>
                  <a:pt x="2527" y="786"/>
                </a:lnTo>
                <a:lnTo>
                  <a:pt x="2529" y="788"/>
                </a:lnTo>
                <a:lnTo>
                  <a:pt x="2531" y="790"/>
                </a:lnTo>
                <a:lnTo>
                  <a:pt x="2533" y="787"/>
                </a:lnTo>
                <a:lnTo>
                  <a:pt x="2529" y="784"/>
                </a:lnTo>
                <a:lnTo>
                  <a:pt x="2526" y="784"/>
                </a:lnTo>
                <a:lnTo>
                  <a:pt x="2527" y="781"/>
                </a:lnTo>
                <a:lnTo>
                  <a:pt x="2522" y="776"/>
                </a:lnTo>
                <a:lnTo>
                  <a:pt x="2522" y="776"/>
                </a:lnTo>
                <a:lnTo>
                  <a:pt x="2516" y="776"/>
                </a:lnTo>
                <a:lnTo>
                  <a:pt x="2510" y="775"/>
                </a:lnTo>
                <a:lnTo>
                  <a:pt x="2510" y="775"/>
                </a:lnTo>
                <a:lnTo>
                  <a:pt x="2506" y="772"/>
                </a:lnTo>
                <a:lnTo>
                  <a:pt x="2506" y="773"/>
                </a:lnTo>
                <a:lnTo>
                  <a:pt x="2503" y="774"/>
                </a:lnTo>
                <a:lnTo>
                  <a:pt x="2502" y="774"/>
                </a:lnTo>
                <a:lnTo>
                  <a:pt x="2499" y="776"/>
                </a:lnTo>
                <a:lnTo>
                  <a:pt x="2498" y="776"/>
                </a:lnTo>
                <a:lnTo>
                  <a:pt x="2498" y="779"/>
                </a:lnTo>
                <a:lnTo>
                  <a:pt x="2497" y="775"/>
                </a:lnTo>
                <a:lnTo>
                  <a:pt x="2490" y="776"/>
                </a:lnTo>
                <a:lnTo>
                  <a:pt x="2490" y="780"/>
                </a:lnTo>
                <a:lnTo>
                  <a:pt x="2491" y="781"/>
                </a:lnTo>
                <a:lnTo>
                  <a:pt x="2485" y="786"/>
                </a:lnTo>
                <a:lnTo>
                  <a:pt x="2488" y="787"/>
                </a:lnTo>
                <a:lnTo>
                  <a:pt x="2495" y="786"/>
                </a:lnTo>
                <a:lnTo>
                  <a:pt x="2494" y="788"/>
                </a:lnTo>
                <a:lnTo>
                  <a:pt x="2493" y="788"/>
                </a:lnTo>
                <a:lnTo>
                  <a:pt x="2494" y="789"/>
                </a:lnTo>
                <a:lnTo>
                  <a:pt x="2493" y="789"/>
                </a:lnTo>
                <a:lnTo>
                  <a:pt x="2487" y="793"/>
                </a:lnTo>
                <a:lnTo>
                  <a:pt x="2490" y="796"/>
                </a:lnTo>
                <a:lnTo>
                  <a:pt x="2482" y="796"/>
                </a:lnTo>
                <a:lnTo>
                  <a:pt x="2480" y="798"/>
                </a:lnTo>
                <a:lnTo>
                  <a:pt x="2476" y="796"/>
                </a:lnTo>
                <a:lnTo>
                  <a:pt x="2471" y="796"/>
                </a:lnTo>
                <a:lnTo>
                  <a:pt x="2468" y="797"/>
                </a:lnTo>
                <a:lnTo>
                  <a:pt x="2465" y="793"/>
                </a:lnTo>
                <a:lnTo>
                  <a:pt x="2462" y="794"/>
                </a:lnTo>
                <a:lnTo>
                  <a:pt x="2462" y="797"/>
                </a:lnTo>
                <a:lnTo>
                  <a:pt x="2465" y="796"/>
                </a:lnTo>
                <a:lnTo>
                  <a:pt x="2471" y="804"/>
                </a:lnTo>
                <a:lnTo>
                  <a:pt x="2468" y="804"/>
                </a:lnTo>
                <a:lnTo>
                  <a:pt x="2466" y="804"/>
                </a:lnTo>
                <a:lnTo>
                  <a:pt x="2466" y="808"/>
                </a:lnTo>
                <a:lnTo>
                  <a:pt x="2472" y="808"/>
                </a:lnTo>
                <a:lnTo>
                  <a:pt x="2464" y="809"/>
                </a:lnTo>
                <a:lnTo>
                  <a:pt x="2465" y="813"/>
                </a:lnTo>
                <a:lnTo>
                  <a:pt x="2471" y="811"/>
                </a:lnTo>
                <a:lnTo>
                  <a:pt x="2468" y="816"/>
                </a:lnTo>
                <a:lnTo>
                  <a:pt x="2471" y="816"/>
                </a:lnTo>
                <a:lnTo>
                  <a:pt x="2470" y="814"/>
                </a:lnTo>
                <a:lnTo>
                  <a:pt x="2482" y="813"/>
                </a:lnTo>
                <a:lnTo>
                  <a:pt x="2482" y="816"/>
                </a:lnTo>
                <a:lnTo>
                  <a:pt x="2478" y="816"/>
                </a:lnTo>
                <a:lnTo>
                  <a:pt x="2475" y="820"/>
                </a:lnTo>
                <a:lnTo>
                  <a:pt x="2476" y="821"/>
                </a:lnTo>
                <a:lnTo>
                  <a:pt x="2475" y="823"/>
                </a:lnTo>
                <a:lnTo>
                  <a:pt x="2468" y="827"/>
                </a:lnTo>
                <a:lnTo>
                  <a:pt x="2480" y="825"/>
                </a:lnTo>
                <a:lnTo>
                  <a:pt x="2482" y="824"/>
                </a:lnTo>
                <a:lnTo>
                  <a:pt x="2485" y="825"/>
                </a:lnTo>
                <a:lnTo>
                  <a:pt x="2471" y="827"/>
                </a:lnTo>
                <a:lnTo>
                  <a:pt x="2470" y="830"/>
                </a:lnTo>
                <a:lnTo>
                  <a:pt x="2470" y="834"/>
                </a:lnTo>
                <a:lnTo>
                  <a:pt x="2464" y="831"/>
                </a:lnTo>
                <a:lnTo>
                  <a:pt x="2458" y="835"/>
                </a:lnTo>
                <a:lnTo>
                  <a:pt x="2458" y="836"/>
                </a:lnTo>
                <a:lnTo>
                  <a:pt x="2469" y="835"/>
                </a:lnTo>
                <a:lnTo>
                  <a:pt x="2462" y="839"/>
                </a:lnTo>
                <a:lnTo>
                  <a:pt x="2458" y="840"/>
                </a:lnTo>
                <a:lnTo>
                  <a:pt x="2458" y="843"/>
                </a:lnTo>
                <a:lnTo>
                  <a:pt x="2462" y="842"/>
                </a:lnTo>
                <a:lnTo>
                  <a:pt x="2464" y="843"/>
                </a:lnTo>
                <a:close/>
                <a:moveTo>
                  <a:pt x="1579" y="605"/>
                </a:moveTo>
                <a:lnTo>
                  <a:pt x="1578" y="605"/>
                </a:lnTo>
                <a:lnTo>
                  <a:pt x="1579" y="607"/>
                </a:lnTo>
                <a:lnTo>
                  <a:pt x="1582" y="608"/>
                </a:lnTo>
                <a:lnTo>
                  <a:pt x="1585" y="614"/>
                </a:lnTo>
                <a:lnTo>
                  <a:pt x="1593" y="612"/>
                </a:lnTo>
                <a:lnTo>
                  <a:pt x="1591" y="611"/>
                </a:lnTo>
                <a:lnTo>
                  <a:pt x="1579" y="605"/>
                </a:lnTo>
                <a:lnTo>
                  <a:pt x="1579" y="605"/>
                </a:lnTo>
                <a:close/>
                <a:moveTo>
                  <a:pt x="2488" y="402"/>
                </a:moveTo>
                <a:lnTo>
                  <a:pt x="2482" y="405"/>
                </a:lnTo>
                <a:lnTo>
                  <a:pt x="2484" y="406"/>
                </a:lnTo>
                <a:lnTo>
                  <a:pt x="2488" y="402"/>
                </a:lnTo>
                <a:close/>
                <a:moveTo>
                  <a:pt x="2499" y="399"/>
                </a:moveTo>
                <a:lnTo>
                  <a:pt x="2492" y="399"/>
                </a:lnTo>
                <a:lnTo>
                  <a:pt x="2491" y="400"/>
                </a:lnTo>
                <a:lnTo>
                  <a:pt x="2491" y="400"/>
                </a:lnTo>
                <a:lnTo>
                  <a:pt x="2496" y="400"/>
                </a:lnTo>
                <a:lnTo>
                  <a:pt x="2499" y="399"/>
                </a:lnTo>
                <a:close/>
                <a:moveTo>
                  <a:pt x="1566" y="407"/>
                </a:moveTo>
                <a:lnTo>
                  <a:pt x="1566" y="407"/>
                </a:lnTo>
                <a:lnTo>
                  <a:pt x="1564" y="406"/>
                </a:lnTo>
                <a:lnTo>
                  <a:pt x="1563" y="407"/>
                </a:lnTo>
                <a:lnTo>
                  <a:pt x="1564" y="407"/>
                </a:lnTo>
                <a:lnTo>
                  <a:pt x="1566" y="407"/>
                </a:lnTo>
                <a:close/>
                <a:moveTo>
                  <a:pt x="2504" y="734"/>
                </a:moveTo>
                <a:lnTo>
                  <a:pt x="2503" y="732"/>
                </a:lnTo>
                <a:lnTo>
                  <a:pt x="2501" y="735"/>
                </a:lnTo>
                <a:lnTo>
                  <a:pt x="2503" y="735"/>
                </a:lnTo>
                <a:lnTo>
                  <a:pt x="2504" y="734"/>
                </a:lnTo>
                <a:close/>
                <a:moveTo>
                  <a:pt x="2489" y="400"/>
                </a:moveTo>
                <a:lnTo>
                  <a:pt x="2488" y="402"/>
                </a:lnTo>
                <a:lnTo>
                  <a:pt x="2491" y="400"/>
                </a:lnTo>
                <a:lnTo>
                  <a:pt x="2489" y="400"/>
                </a:lnTo>
                <a:close/>
                <a:moveTo>
                  <a:pt x="2504" y="732"/>
                </a:moveTo>
                <a:lnTo>
                  <a:pt x="2506" y="732"/>
                </a:lnTo>
                <a:lnTo>
                  <a:pt x="2506" y="727"/>
                </a:lnTo>
                <a:lnTo>
                  <a:pt x="2504" y="726"/>
                </a:lnTo>
                <a:lnTo>
                  <a:pt x="2504" y="732"/>
                </a:lnTo>
                <a:close/>
                <a:moveTo>
                  <a:pt x="1450" y="362"/>
                </a:moveTo>
                <a:lnTo>
                  <a:pt x="1450" y="362"/>
                </a:lnTo>
                <a:lnTo>
                  <a:pt x="1450" y="362"/>
                </a:lnTo>
                <a:lnTo>
                  <a:pt x="1450" y="362"/>
                </a:lnTo>
                <a:close/>
                <a:moveTo>
                  <a:pt x="1448" y="360"/>
                </a:moveTo>
                <a:lnTo>
                  <a:pt x="1450" y="362"/>
                </a:lnTo>
                <a:lnTo>
                  <a:pt x="1450" y="361"/>
                </a:lnTo>
                <a:lnTo>
                  <a:pt x="1448" y="360"/>
                </a:lnTo>
                <a:close/>
                <a:moveTo>
                  <a:pt x="1516" y="570"/>
                </a:moveTo>
                <a:lnTo>
                  <a:pt x="1514" y="570"/>
                </a:lnTo>
                <a:lnTo>
                  <a:pt x="1514" y="571"/>
                </a:lnTo>
                <a:lnTo>
                  <a:pt x="1514" y="572"/>
                </a:lnTo>
                <a:lnTo>
                  <a:pt x="1516" y="570"/>
                </a:lnTo>
                <a:close/>
                <a:moveTo>
                  <a:pt x="1533" y="566"/>
                </a:moveTo>
                <a:lnTo>
                  <a:pt x="1532" y="565"/>
                </a:lnTo>
                <a:lnTo>
                  <a:pt x="1532" y="566"/>
                </a:lnTo>
                <a:lnTo>
                  <a:pt x="1534" y="567"/>
                </a:lnTo>
                <a:lnTo>
                  <a:pt x="1534" y="566"/>
                </a:lnTo>
                <a:lnTo>
                  <a:pt x="1533" y="566"/>
                </a:lnTo>
                <a:close/>
                <a:moveTo>
                  <a:pt x="1466" y="361"/>
                </a:moveTo>
                <a:lnTo>
                  <a:pt x="1463" y="364"/>
                </a:lnTo>
                <a:lnTo>
                  <a:pt x="1466" y="365"/>
                </a:lnTo>
                <a:lnTo>
                  <a:pt x="1468" y="365"/>
                </a:lnTo>
                <a:lnTo>
                  <a:pt x="1469" y="365"/>
                </a:lnTo>
                <a:lnTo>
                  <a:pt x="1466" y="361"/>
                </a:lnTo>
                <a:close/>
                <a:moveTo>
                  <a:pt x="1470" y="370"/>
                </a:moveTo>
                <a:lnTo>
                  <a:pt x="1470" y="370"/>
                </a:lnTo>
                <a:lnTo>
                  <a:pt x="1470" y="370"/>
                </a:lnTo>
                <a:lnTo>
                  <a:pt x="1470" y="370"/>
                </a:lnTo>
                <a:close/>
                <a:moveTo>
                  <a:pt x="1466" y="368"/>
                </a:moveTo>
                <a:lnTo>
                  <a:pt x="1470" y="370"/>
                </a:lnTo>
                <a:lnTo>
                  <a:pt x="1468" y="365"/>
                </a:lnTo>
                <a:lnTo>
                  <a:pt x="1466" y="368"/>
                </a:lnTo>
                <a:close/>
                <a:moveTo>
                  <a:pt x="1456" y="435"/>
                </a:moveTo>
                <a:lnTo>
                  <a:pt x="1455" y="435"/>
                </a:lnTo>
                <a:lnTo>
                  <a:pt x="1445" y="435"/>
                </a:lnTo>
                <a:lnTo>
                  <a:pt x="1439" y="439"/>
                </a:lnTo>
                <a:lnTo>
                  <a:pt x="1443" y="439"/>
                </a:lnTo>
                <a:lnTo>
                  <a:pt x="1452" y="443"/>
                </a:lnTo>
                <a:lnTo>
                  <a:pt x="1449" y="439"/>
                </a:lnTo>
                <a:lnTo>
                  <a:pt x="1456" y="439"/>
                </a:lnTo>
                <a:lnTo>
                  <a:pt x="1461" y="436"/>
                </a:lnTo>
                <a:lnTo>
                  <a:pt x="1460" y="435"/>
                </a:lnTo>
                <a:lnTo>
                  <a:pt x="1456" y="435"/>
                </a:lnTo>
                <a:lnTo>
                  <a:pt x="1456" y="435"/>
                </a:lnTo>
                <a:close/>
                <a:moveTo>
                  <a:pt x="1599" y="246"/>
                </a:moveTo>
                <a:lnTo>
                  <a:pt x="1598" y="245"/>
                </a:lnTo>
                <a:lnTo>
                  <a:pt x="1596" y="245"/>
                </a:lnTo>
                <a:lnTo>
                  <a:pt x="1599" y="246"/>
                </a:lnTo>
                <a:close/>
                <a:moveTo>
                  <a:pt x="1634" y="440"/>
                </a:moveTo>
                <a:lnTo>
                  <a:pt x="1628" y="442"/>
                </a:lnTo>
                <a:lnTo>
                  <a:pt x="1631" y="442"/>
                </a:lnTo>
                <a:lnTo>
                  <a:pt x="1634" y="440"/>
                </a:lnTo>
                <a:close/>
                <a:moveTo>
                  <a:pt x="1603" y="240"/>
                </a:moveTo>
                <a:lnTo>
                  <a:pt x="1597" y="242"/>
                </a:lnTo>
                <a:lnTo>
                  <a:pt x="1606" y="242"/>
                </a:lnTo>
                <a:lnTo>
                  <a:pt x="1603" y="240"/>
                </a:lnTo>
                <a:close/>
                <a:moveTo>
                  <a:pt x="1651" y="474"/>
                </a:moveTo>
                <a:lnTo>
                  <a:pt x="1644" y="476"/>
                </a:lnTo>
                <a:lnTo>
                  <a:pt x="1648" y="477"/>
                </a:lnTo>
                <a:lnTo>
                  <a:pt x="1651" y="474"/>
                </a:lnTo>
                <a:close/>
                <a:moveTo>
                  <a:pt x="1686" y="492"/>
                </a:moveTo>
                <a:lnTo>
                  <a:pt x="1685" y="490"/>
                </a:lnTo>
                <a:lnTo>
                  <a:pt x="1682" y="492"/>
                </a:lnTo>
                <a:lnTo>
                  <a:pt x="1686" y="492"/>
                </a:lnTo>
                <a:close/>
                <a:moveTo>
                  <a:pt x="1626" y="458"/>
                </a:moveTo>
                <a:lnTo>
                  <a:pt x="1626" y="456"/>
                </a:lnTo>
                <a:lnTo>
                  <a:pt x="1625" y="456"/>
                </a:lnTo>
                <a:lnTo>
                  <a:pt x="1626" y="458"/>
                </a:lnTo>
                <a:close/>
                <a:moveTo>
                  <a:pt x="1659" y="476"/>
                </a:moveTo>
                <a:lnTo>
                  <a:pt x="1659" y="477"/>
                </a:lnTo>
                <a:lnTo>
                  <a:pt x="1661" y="477"/>
                </a:lnTo>
                <a:lnTo>
                  <a:pt x="1659" y="476"/>
                </a:lnTo>
                <a:close/>
                <a:moveTo>
                  <a:pt x="2509" y="626"/>
                </a:moveTo>
                <a:lnTo>
                  <a:pt x="2509" y="623"/>
                </a:lnTo>
                <a:lnTo>
                  <a:pt x="2516" y="627"/>
                </a:lnTo>
                <a:lnTo>
                  <a:pt x="2513" y="623"/>
                </a:lnTo>
                <a:lnTo>
                  <a:pt x="2509" y="620"/>
                </a:lnTo>
                <a:lnTo>
                  <a:pt x="2506" y="620"/>
                </a:lnTo>
                <a:lnTo>
                  <a:pt x="2506" y="621"/>
                </a:lnTo>
                <a:lnTo>
                  <a:pt x="2508" y="624"/>
                </a:lnTo>
                <a:lnTo>
                  <a:pt x="2504" y="624"/>
                </a:lnTo>
                <a:lnTo>
                  <a:pt x="2509" y="626"/>
                </a:lnTo>
                <a:close/>
                <a:moveTo>
                  <a:pt x="2506" y="723"/>
                </a:moveTo>
                <a:lnTo>
                  <a:pt x="2504" y="723"/>
                </a:lnTo>
                <a:lnTo>
                  <a:pt x="2506" y="726"/>
                </a:lnTo>
                <a:lnTo>
                  <a:pt x="2506" y="723"/>
                </a:lnTo>
                <a:close/>
                <a:moveTo>
                  <a:pt x="2508" y="721"/>
                </a:moveTo>
                <a:lnTo>
                  <a:pt x="2508" y="719"/>
                </a:lnTo>
                <a:lnTo>
                  <a:pt x="2501" y="721"/>
                </a:lnTo>
                <a:lnTo>
                  <a:pt x="2506" y="723"/>
                </a:lnTo>
                <a:lnTo>
                  <a:pt x="2508" y="721"/>
                </a:lnTo>
                <a:close/>
                <a:moveTo>
                  <a:pt x="2517" y="621"/>
                </a:moveTo>
                <a:lnTo>
                  <a:pt x="2509" y="617"/>
                </a:lnTo>
                <a:lnTo>
                  <a:pt x="2516" y="625"/>
                </a:lnTo>
                <a:lnTo>
                  <a:pt x="2517" y="621"/>
                </a:lnTo>
                <a:close/>
                <a:moveTo>
                  <a:pt x="1570" y="419"/>
                </a:moveTo>
                <a:lnTo>
                  <a:pt x="1570" y="419"/>
                </a:lnTo>
                <a:lnTo>
                  <a:pt x="1570" y="419"/>
                </a:lnTo>
                <a:lnTo>
                  <a:pt x="1570" y="419"/>
                </a:lnTo>
                <a:close/>
                <a:moveTo>
                  <a:pt x="1560" y="385"/>
                </a:moveTo>
                <a:lnTo>
                  <a:pt x="1572" y="388"/>
                </a:lnTo>
                <a:lnTo>
                  <a:pt x="1579" y="394"/>
                </a:lnTo>
                <a:lnTo>
                  <a:pt x="1574" y="401"/>
                </a:lnTo>
                <a:lnTo>
                  <a:pt x="1567" y="400"/>
                </a:lnTo>
                <a:lnTo>
                  <a:pt x="1561" y="407"/>
                </a:lnTo>
                <a:lnTo>
                  <a:pt x="1562" y="407"/>
                </a:lnTo>
                <a:lnTo>
                  <a:pt x="1563" y="407"/>
                </a:lnTo>
                <a:lnTo>
                  <a:pt x="1561" y="410"/>
                </a:lnTo>
                <a:lnTo>
                  <a:pt x="1559" y="412"/>
                </a:lnTo>
                <a:lnTo>
                  <a:pt x="1564" y="408"/>
                </a:lnTo>
                <a:lnTo>
                  <a:pt x="1567" y="407"/>
                </a:lnTo>
                <a:lnTo>
                  <a:pt x="1566" y="407"/>
                </a:lnTo>
                <a:lnTo>
                  <a:pt x="1566" y="403"/>
                </a:lnTo>
                <a:lnTo>
                  <a:pt x="1569" y="403"/>
                </a:lnTo>
                <a:lnTo>
                  <a:pt x="1574" y="402"/>
                </a:lnTo>
                <a:lnTo>
                  <a:pt x="1574" y="405"/>
                </a:lnTo>
                <a:lnTo>
                  <a:pt x="1569" y="407"/>
                </a:lnTo>
                <a:lnTo>
                  <a:pt x="1575" y="406"/>
                </a:lnTo>
                <a:lnTo>
                  <a:pt x="1579" y="401"/>
                </a:lnTo>
                <a:lnTo>
                  <a:pt x="1582" y="399"/>
                </a:lnTo>
                <a:lnTo>
                  <a:pt x="1586" y="401"/>
                </a:lnTo>
                <a:lnTo>
                  <a:pt x="1588" y="405"/>
                </a:lnTo>
                <a:lnTo>
                  <a:pt x="1585" y="410"/>
                </a:lnTo>
                <a:lnTo>
                  <a:pt x="1579" y="415"/>
                </a:lnTo>
                <a:lnTo>
                  <a:pt x="1574" y="420"/>
                </a:lnTo>
                <a:lnTo>
                  <a:pt x="1574" y="422"/>
                </a:lnTo>
                <a:lnTo>
                  <a:pt x="1572" y="429"/>
                </a:lnTo>
                <a:lnTo>
                  <a:pt x="1579" y="422"/>
                </a:lnTo>
                <a:lnTo>
                  <a:pt x="1582" y="413"/>
                </a:lnTo>
                <a:lnTo>
                  <a:pt x="1598" y="407"/>
                </a:lnTo>
                <a:lnTo>
                  <a:pt x="1600" y="407"/>
                </a:lnTo>
                <a:lnTo>
                  <a:pt x="1594" y="411"/>
                </a:lnTo>
                <a:lnTo>
                  <a:pt x="1588" y="413"/>
                </a:lnTo>
                <a:lnTo>
                  <a:pt x="1589" y="415"/>
                </a:lnTo>
                <a:lnTo>
                  <a:pt x="1588" y="419"/>
                </a:lnTo>
                <a:lnTo>
                  <a:pt x="1590" y="419"/>
                </a:lnTo>
                <a:lnTo>
                  <a:pt x="1590" y="415"/>
                </a:lnTo>
                <a:lnTo>
                  <a:pt x="1594" y="415"/>
                </a:lnTo>
                <a:lnTo>
                  <a:pt x="1604" y="409"/>
                </a:lnTo>
                <a:lnTo>
                  <a:pt x="1618" y="413"/>
                </a:lnTo>
                <a:lnTo>
                  <a:pt x="1618" y="416"/>
                </a:lnTo>
                <a:lnTo>
                  <a:pt x="1617" y="419"/>
                </a:lnTo>
                <a:lnTo>
                  <a:pt x="1614" y="416"/>
                </a:lnTo>
                <a:lnTo>
                  <a:pt x="1614" y="420"/>
                </a:lnTo>
                <a:lnTo>
                  <a:pt x="1600" y="425"/>
                </a:lnTo>
                <a:lnTo>
                  <a:pt x="1612" y="424"/>
                </a:lnTo>
                <a:lnTo>
                  <a:pt x="1615" y="426"/>
                </a:lnTo>
                <a:lnTo>
                  <a:pt x="1610" y="429"/>
                </a:lnTo>
                <a:lnTo>
                  <a:pt x="1621" y="425"/>
                </a:lnTo>
                <a:lnTo>
                  <a:pt x="1620" y="424"/>
                </a:lnTo>
                <a:lnTo>
                  <a:pt x="1621" y="420"/>
                </a:lnTo>
                <a:lnTo>
                  <a:pt x="1628" y="423"/>
                </a:lnTo>
                <a:lnTo>
                  <a:pt x="1637" y="432"/>
                </a:lnTo>
                <a:lnTo>
                  <a:pt x="1638" y="439"/>
                </a:lnTo>
                <a:lnTo>
                  <a:pt x="1626" y="439"/>
                </a:lnTo>
                <a:lnTo>
                  <a:pt x="1626" y="442"/>
                </a:lnTo>
                <a:lnTo>
                  <a:pt x="1622" y="440"/>
                </a:lnTo>
                <a:lnTo>
                  <a:pt x="1625" y="439"/>
                </a:lnTo>
                <a:lnTo>
                  <a:pt x="1626" y="439"/>
                </a:lnTo>
                <a:lnTo>
                  <a:pt x="1626" y="439"/>
                </a:lnTo>
                <a:lnTo>
                  <a:pt x="1626" y="436"/>
                </a:lnTo>
                <a:lnTo>
                  <a:pt x="1621" y="440"/>
                </a:lnTo>
                <a:lnTo>
                  <a:pt x="1622" y="440"/>
                </a:lnTo>
                <a:lnTo>
                  <a:pt x="1620" y="441"/>
                </a:lnTo>
                <a:lnTo>
                  <a:pt x="1619" y="442"/>
                </a:lnTo>
                <a:lnTo>
                  <a:pt x="1625" y="443"/>
                </a:lnTo>
                <a:lnTo>
                  <a:pt x="1637" y="443"/>
                </a:lnTo>
                <a:lnTo>
                  <a:pt x="1641" y="447"/>
                </a:lnTo>
                <a:lnTo>
                  <a:pt x="1644" y="450"/>
                </a:lnTo>
                <a:lnTo>
                  <a:pt x="1641" y="451"/>
                </a:lnTo>
                <a:lnTo>
                  <a:pt x="1611" y="445"/>
                </a:lnTo>
                <a:lnTo>
                  <a:pt x="1605" y="448"/>
                </a:lnTo>
                <a:lnTo>
                  <a:pt x="1611" y="447"/>
                </a:lnTo>
                <a:lnTo>
                  <a:pt x="1623" y="451"/>
                </a:lnTo>
                <a:lnTo>
                  <a:pt x="1616" y="451"/>
                </a:lnTo>
                <a:lnTo>
                  <a:pt x="1610" y="453"/>
                </a:lnTo>
                <a:lnTo>
                  <a:pt x="1610" y="456"/>
                </a:lnTo>
                <a:lnTo>
                  <a:pt x="1611" y="454"/>
                </a:lnTo>
                <a:lnTo>
                  <a:pt x="1621" y="452"/>
                </a:lnTo>
                <a:lnTo>
                  <a:pt x="1628" y="456"/>
                </a:lnTo>
                <a:lnTo>
                  <a:pt x="1626" y="456"/>
                </a:lnTo>
                <a:lnTo>
                  <a:pt x="1626" y="455"/>
                </a:lnTo>
                <a:lnTo>
                  <a:pt x="1625" y="455"/>
                </a:lnTo>
                <a:lnTo>
                  <a:pt x="1625" y="456"/>
                </a:lnTo>
                <a:lnTo>
                  <a:pt x="1616" y="459"/>
                </a:lnTo>
                <a:lnTo>
                  <a:pt x="1628" y="463"/>
                </a:lnTo>
                <a:lnTo>
                  <a:pt x="1604" y="459"/>
                </a:lnTo>
                <a:lnTo>
                  <a:pt x="1623" y="464"/>
                </a:lnTo>
                <a:lnTo>
                  <a:pt x="1612" y="467"/>
                </a:lnTo>
                <a:lnTo>
                  <a:pt x="1614" y="467"/>
                </a:lnTo>
                <a:lnTo>
                  <a:pt x="1619" y="467"/>
                </a:lnTo>
                <a:lnTo>
                  <a:pt x="1631" y="467"/>
                </a:lnTo>
                <a:lnTo>
                  <a:pt x="1630" y="468"/>
                </a:lnTo>
                <a:lnTo>
                  <a:pt x="1630" y="470"/>
                </a:lnTo>
                <a:lnTo>
                  <a:pt x="1633" y="468"/>
                </a:lnTo>
                <a:lnTo>
                  <a:pt x="1634" y="469"/>
                </a:lnTo>
                <a:lnTo>
                  <a:pt x="1634" y="468"/>
                </a:lnTo>
                <a:lnTo>
                  <a:pt x="1642" y="470"/>
                </a:lnTo>
                <a:lnTo>
                  <a:pt x="1640" y="471"/>
                </a:lnTo>
                <a:lnTo>
                  <a:pt x="1637" y="472"/>
                </a:lnTo>
                <a:lnTo>
                  <a:pt x="1639" y="474"/>
                </a:lnTo>
                <a:lnTo>
                  <a:pt x="1639" y="473"/>
                </a:lnTo>
                <a:lnTo>
                  <a:pt x="1641" y="474"/>
                </a:lnTo>
                <a:lnTo>
                  <a:pt x="1638" y="481"/>
                </a:lnTo>
                <a:lnTo>
                  <a:pt x="1642" y="477"/>
                </a:lnTo>
                <a:lnTo>
                  <a:pt x="1642" y="481"/>
                </a:lnTo>
                <a:lnTo>
                  <a:pt x="1645" y="479"/>
                </a:lnTo>
                <a:lnTo>
                  <a:pt x="1648" y="479"/>
                </a:lnTo>
                <a:lnTo>
                  <a:pt x="1647" y="480"/>
                </a:lnTo>
                <a:lnTo>
                  <a:pt x="1650" y="481"/>
                </a:lnTo>
                <a:lnTo>
                  <a:pt x="1653" y="479"/>
                </a:lnTo>
                <a:lnTo>
                  <a:pt x="1650" y="482"/>
                </a:lnTo>
                <a:lnTo>
                  <a:pt x="1650" y="485"/>
                </a:lnTo>
                <a:lnTo>
                  <a:pt x="1650" y="486"/>
                </a:lnTo>
                <a:lnTo>
                  <a:pt x="1654" y="482"/>
                </a:lnTo>
                <a:lnTo>
                  <a:pt x="1654" y="483"/>
                </a:lnTo>
                <a:lnTo>
                  <a:pt x="1661" y="483"/>
                </a:lnTo>
                <a:lnTo>
                  <a:pt x="1661" y="482"/>
                </a:lnTo>
                <a:lnTo>
                  <a:pt x="1668" y="479"/>
                </a:lnTo>
                <a:lnTo>
                  <a:pt x="1673" y="481"/>
                </a:lnTo>
                <a:lnTo>
                  <a:pt x="1667" y="485"/>
                </a:lnTo>
                <a:lnTo>
                  <a:pt x="1667" y="486"/>
                </a:lnTo>
                <a:lnTo>
                  <a:pt x="1665" y="489"/>
                </a:lnTo>
                <a:lnTo>
                  <a:pt x="1671" y="487"/>
                </a:lnTo>
                <a:lnTo>
                  <a:pt x="1672" y="487"/>
                </a:lnTo>
                <a:lnTo>
                  <a:pt x="1676" y="487"/>
                </a:lnTo>
                <a:lnTo>
                  <a:pt x="1679" y="489"/>
                </a:lnTo>
                <a:lnTo>
                  <a:pt x="1682" y="493"/>
                </a:lnTo>
                <a:lnTo>
                  <a:pt x="1676" y="495"/>
                </a:lnTo>
                <a:lnTo>
                  <a:pt x="1682" y="495"/>
                </a:lnTo>
                <a:lnTo>
                  <a:pt x="1685" y="500"/>
                </a:lnTo>
                <a:lnTo>
                  <a:pt x="1682" y="499"/>
                </a:lnTo>
                <a:lnTo>
                  <a:pt x="1675" y="502"/>
                </a:lnTo>
                <a:lnTo>
                  <a:pt x="1674" y="505"/>
                </a:lnTo>
                <a:lnTo>
                  <a:pt x="1676" y="502"/>
                </a:lnTo>
                <a:lnTo>
                  <a:pt x="1691" y="500"/>
                </a:lnTo>
                <a:lnTo>
                  <a:pt x="1685" y="507"/>
                </a:lnTo>
                <a:lnTo>
                  <a:pt x="1691" y="502"/>
                </a:lnTo>
                <a:lnTo>
                  <a:pt x="1691" y="499"/>
                </a:lnTo>
                <a:lnTo>
                  <a:pt x="1691" y="499"/>
                </a:lnTo>
                <a:lnTo>
                  <a:pt x="1693" y="499"/>
                </a:lnTo>
                <a:lnTo>
                  <a:pt x="1692" y="498"/>
                </a:lnTo>
                <a:lnTo>
                  <a:pt x="1694" y="497"/>
                </a:lnTo>
                <a:lnTo>
                  <a:pt x="1697" y="500"/>
                </a:lnTo>
                <a:lnTo>
                  <a:pt x="1691" y="504"/>
                </a:lnTo>
                <a:lnTo>
                  <a:pt x="1691" y="507"/>
                </a:lnTo>
                <a:lnTo>
                  <a:pt x="1686" y="511"/>
                </a:lnTo>
                <a:lnTo>
                  <a:pt x="1691" y="511"/>
                </a:lnTo>
                <a:lnTo>
                  <a:pt x="1691" y="513"/>
                </a:lnTo>
                <a:lnTo>
                  <a:pt x="1694" y="508"/>
                </a:lnTo>
                <a:lnTo>
                  <a:pt x="1700" y="507"/>
                </a:lnTo>
                <a:lnTo>
                  <a:pt x="1697" y="515"/>
                </a:lnTo>
                <a:lnTo>
                  <a:pt x="1699" y="511"/>
                </a:lnTo>
                <a:lnTo>
                  <a:pt x="1699" y="511"/>
                </a:lnTo>
                <a:lnTo>
                  <a:pt x="1704" y="511"/>
                </a:lnTo>
                <a:lnTo>
                  <a:pt x="1708" y="516"/>
                </a:lnTo>
                <a:lnTo>
                  <a:pt x="1705" y="510"/>
                </a:lnTo>
                <a:lnTo>
                  <a:pt x="1710" y="507"/>
                </a:lnTo>
                <a:lnTo>
                  <a:pt x="1712" y="507"/>
                </a:lnTo>
                <a:lnTo>
                  <a:pt x="1710" y="510"/>
                </a:lnTo>
                <a:lnTo>
                  <a:pt x="1716" y="508"/>
                </a:lnTo>
                <a:lnTo>
                  <a:pt x="1723" y="516"/>
                </a:lnTo>
                <a:lnTo>
                  <a:pt x="1720" y="517"/>
                </a:lnTo>
                <a:lnTo>
                  <a:pt x="1713" y="515"/>
                </a:lnTo>
                <a:lnTo>
                  <a:pt x="1710" y="519"/>
                </a:lnTo>
                <a:lnTo>
                  <a:pt x="1715" y="519"/>
                </a:lnTo>
                <a:lnTo>
                  <a:pt x="1719" y="521"/>
                </a:lnTo>
                <a:lnTo>
                  <a:pt x="1713" y="520"/>
                </a:lnTo>
                <a:lnTo>
                  <a:pt x="1720" y="523"/>
                </a:lnTo>
                <a:lnTo>
                  <a:pt x="1713" y="524"/>
                </a:lnTo>
                <a:lnTo>
                  <a:pt x="1705" y="523"/>
                </a:lnTo>
                <a:lnTo>
                  <a:pt x="1701" y="523"/>
                </a:lnTo>
                <a:lnTo>
                  <a:pt x="1707" y="524"/>
                </a:lnTo>
                <a:lnTo>
                  <a:pt x="1701" y="525"/>
                </a:lnTo>
                <a:lnTo>
                  <a:pt x="1699" y="523"/>
                </a:lnTo>
                <a:lnTo>
                  <a:pt x="1701" y="527"/>
                </a:lnTo>
                <a:lnTo>
                  <a:pt x="1710" y="527"/>
                </a:lnTo>
                <a:lnTo>
                  <a:pt x="1713" y="531"/>
                </a:lnTo>
                <a:lnTo>
                  <a:pt x="1705" y="531"/>
                </a:lnTo>
                <a:lnTo>
                  <a:pt x="1707" y="531"/>
                </a:lnTo>
                <a:lnTo>
                  <a:pt x="1707" y="535"/>
                </a:lnTo>
                <a:lnTo>
                  <a:pt x="1704" y="535"/>
                </a:lnTo>
                <a:lnTo>
                  <a:pt x="1699" y="536"/>
                </a:lnTo>
                <a:lnTo>
                  <a:pt x="1704" y="539"/>
                </a:lnTo>
                <a:lnTo>
                  <a:pt x="1701" y="539"/>
                </a:lnTo>
                <a:lnTo>
                  <a:pt x="1704" y="541"/>
                </a:lnTo>
                <a:lnTo>
                  <a:pt x="1701" y="543"/>
                </a:lnTo>
                <a:lnTo>
                  <a:pt x="1701" y="543"/>
                </a:lnTo>
                <a:lnTo>
                  <a:pt x="1699" y="543"/>
                </a:lnTo>
                <a:lnTo>
                  <a:pt x="1698" y="540"/>
                </a:lnTo>
                <a:lnTo>
                  <a:pt x="1695" y="535"/>
                </a:lnTo>
                <a:lnTo>
                  <a:pt x="1695" y="539"/>
                </a:lnTo>
                <a:lnTo>
                  <a:pt x="1695" y="541"/>
                </a:lnTo>
                <a:lnTo>
                  <a:pt x="1693" y="539"/>
                </a:lnTo>
                <a:lnTo>
                  <a:pt x="1687" y="539"/>
                </a:lnTo>
                <a:lnTo>
                  <a:pt x="1693" y="543"/>
                </a:lnTo>
                <a:lnTo>
                  <a:pt x="1689" y="543"/>
                </a:lnTo>
                <a:lnTo>
                  <a:pt x="1694" y="546"/>
                </a:lnTo>
                <a:lnTo>
                  <a:pt x="1687" y="543"/>
                </a:lnTo>
                <a:lnTo>
                  <a:pt x="1693" y="546"/>
                </a:lnTo>
                <a:lnTo>
                  <a:pt x="1691" y="550"/>
                </a:lnTo>
                <a:lnTo>
                  <a:pt x="1693" y="552"/>
                </a:lnTo>
                <a:lnTo>
                  <a:pt x="1689" y="557"/>
                </a:lnTo>
                <a:lnTo>
                  <a:pt x="1686" y="556"/>
                </a:lnTo>
                <a:lnTo>
                  <a:pt x="1687" y="554"/>
                </a:lnTo>
                <a:lnTo>
                  <a:pt x="1685" y="552"/>
                </a:lnTo>
                <a:lnTo>
                  <a:pt x="1681" y="554"/>
                </a:lnTo>
                <a:lnTo>
                  <a:pt x="1680" y="553"/>
                </a:lnTo>
                <a:lnTo>
                  <a:pt x="1681" y="551"/>
                </a:lnTo>
                <a:lnTo>
                  <a:pt x="1675" y="551"/>
                </a:lnTo>
                <a:lnTo>
                  <a:pt x="1675" y="553"/>
                </a:lnTo>
                <a:lnTo>
                  <a:pt x="1671" y="547"/>
                </a:lnTo>
                <a:lnTo>
                  <a:pt x="1674" y="547"/>
                </a:lnTo>
                <a:lnTo>
                  <a:pt x="1671" y="547"/>
                </a:lnTo>
                <a:lnTo>
                  <a:pt x="1676" y="544"/>
                </a:lnTo>
                <a:lnTo>
                  <a:pt x="1668" y="546"/>
                </a:lnTo>
                <a:lnTo>
                  <a:pt x="1667" y="545"/>
                </a:lnTo>
                <a:lnTo>
                  <a:pt x="1674" y="540"/>
                </a:lnTo>
                <a:lnTo>
                  <a:pt x="1668" y="543"/>
                </a:lnTo>
                <a:lnTo>
                  <a:pt x="1664" y="543"/>
                </a:lnTo>
                <a:lnTo>
                  <a:pt x="1672" y="539"/>
                </a:lnTo>
                <a:lnTo>
                  <a:pt x="1667" y="539"/>
                </a:lnTo>
                <a:lnTo>
                  <a:pt x="1660" y="535"/>
                </a:lnTo>
                <a:lnTo>
                  <a:pt x="1664" y="533"/>
                </a:lnTo>
                <a:lnTo>
                  <a:pt x="1674" y="531"/>
                </a:lnTo>
                <a:lnTo>
                  <a:pt x="1672" y="530"/>
                </a:lnTo>
                <a:lnTo>
                  <a:pt x="1674" y="525"/>
                </a:lnTo>
                <a:lnTo>
                  <a:pt x="1679" y="522"/>
                </a:lnTo>
                <a:lnTo>
                  <a:pt x="1674" y="523"/>
                </a:lnTo>
                <a:lnTo>
                  <a:pt x="1671" y="528"/>
                </a:lnTo>
                <a:lnTo>
                  <a:pt x="1655" y="531"/>
                </a:lnTo>
                <a:lnTo>
                  <a:pt x="1653" y="531"/>
                </a:lnTo>
                <a:lnTo>
                  <a:pt x="1659" y="527"/>
                </a:lnTo>
                <a:lnTo>
                  <a:pt x="1652" y="529"/>
                </a:lnTo>
                <a:lnTo>
                  <a:pt x="1651" y="527"/>
                </a:lnTo>
                <a:lnTo>
                  <a:pt x="1642" y="527"/>
                </a:lnTo>
                <a:lnTo>
                  <a:pt x="1642" y="523"/>
                </a:lnTo>
                <a:lnTo>
                  <a:pt x="1642" y="522"/>
                </a:lnTo>
                <a:lnTo>
                  <a:pt x="1641" y="522"/>
                </a:lnTo>
                <a:lnTo>
                  <a:pt x="1643" y="521"/>
                </a:lnTo>
                <a:lnTo>
                  <a:pt x="1641" y="521"/>
                </a:lnTo>
                <a:lnTo>
                  <a:pt x="1641" y="522"/>
                </a:lnTo>
                <a:lnTo>
                  <a:pt x="1640" y="520"/>
                </a:lnTo>
                <a:lnTo>
                  <a:pt x="1641" y="521"/>
                </a:lnTo>
                <a:lnTo>
                  <a:pt x="1641" y="517"/>
                </a:lnTo>
                <a:lnTo>
                  <a:pt x="1638" y="520"/>
                </a:lnTo>
                <a:lnTo>
                  <a:pt x="1634" y="519"/>
                </a:lnTo>
                <a:lnTo>
                  <a:pt x="1628" y="519"/>
                </a:lnTo>
                <a:lnTo>
                  <a:pt x="1633" y="520"/>
                </a:lnTo>
                <a:lnTo>
                  <a:pt x="1638" y="523"/>
                </a:lnTo>
                <a:lnTo>
                  <a:pt x="1634" y="523"/>
                </a:lnTo>
                <a:lnTo>
                  <a:pt x="1625" y="519"/>
                </a:lnTo>
                <a:lnTo>
                  <a:pt x="1629" y="525"/>
                </a:lnTo>
                <a:lnTo>
                  <a:pt x="1634" y="530"/>
                </a:lnTo>
                <a:lnTo>
                  <a:pt x="1634" y="531"/>
                </a:lnTo>
                <a:lnTo>
                  <a:pt x="1634" y="535"/>
                </a:lnTo>
                <a:lnTo>
                  <a:pt x="1626" y="535"/>
                </a:lnTo>
                <a:lnTo>
                  <a:pt x="1621" y="527"/>
                </a:lnTo>
                <a:lnTo>
                  <a:pt x="1612" y="527"/>
                </a:lnTo>
                <a:lnTo>
                  <a:pt x="1622" y="530"/>
                </a:lnTo>
                <a:lnTo>
                  <a:pt x="1622" y="531"/>
                </a:lnTo>
                <a:lnTo>
                  <a:pt x="1618" y="530"/>
                </a:lnTo>
                <a:lnTo>
                  <a:pt x="1618" y="535"/>
                </a:lnTo>
                <a:lnTo>
                  <a:pt x="1623" y="535"/>
                </a:lnTo>
                <a:lnTo>
                  <a:pt x="1621" y="539"/>
                </a:lnTo>
                <a:lnTo>
                  <a:pt x="1626" y="539"/>
                </a:lnTo>
                <a:lnTo>
                  <a:pt x="1625" y="541"/>
                </a:lnTo>
                <a:lnTo>
                  <a:pt x="1628" y="539"/>
                </a:lnTo>
                <a:lnTo>
                  <a:pt x="1634" y="539"/>
                </a:lnTo>
                <a:lnTo>
                  <a:pt x="1633" y="543"/>
                </a:lnTo>
                <a:lnTo>
                  <a:pt x="1637" y="545"/>
                </a:lnTo>
                <a:lnTo>
                  <a:pt x="1632" y="546"/>
                </a:lnTo>
                <a:lnTo>
                  <a:pt x="1640" y="549"/>
                </a:lnTo>
                <a:lnTo>
                  <a:pt x="1638" y="552"/>
                </a:lnTo>
                <a:lnTo>
                  <a:pt x="1638" y="554"/>
                </a:lnTo>
                <a:lnTo>
                  <a:pt x="1642" y="561"/>
                </a:lnTo>
                <a:lnTo>
                  <a:pt x="1642" y="554"/>
                </a:lnTo>
                <a:lnTo>
                  <a:pt x="1650" y="557"/>
                </a:lnTo>
                <a:lnTo>
                  <a:pt x="1650" y="562"/>
                </a:lnTo>
                <a:lnTo>
                  <a:pt x="1650" y="558"/>
                </a:lnTo>
                <a:lnTo>
                  <a:pt x="1650" y="563"/>
                </a:lnTo>
                <a:lnTo>
                  <a:pt x="1655" y="563"/>
                </a:lnTo>
                <a:lnTo>
                  <a:pt x="1653" y="558"/>
                </a:lnTo>
                <a:lnTo>
                  <a:pt x="1658" y="558"/>
                </a:lnTo>
                <a:lnTo>
                  <a:pt x="1658" y="561"/>
                </a:lnTo>
                <a:lnTo>
                  <a:pt x="1659" y="562"/>
                </a:lnTo>
                <a:lnTo>
                  <a:pt x="1659" y="568"/>
                </a:lnTo>
                <a:lnTo>
                  <a:pt x="1661" y="563"/>
                </a:lnTo>
                <a:lnTo>
                  <a:pt x="1663" y="563"/>
                </a:lnTo>
                <a:lnTo>
                  <a:pt x="1663" y="564"/>
                </a:lnTo>
                <a:lnTo>
                  <a:pt x="1661" y="566"/>
                </a:lnTo>
                <a:lnTo>
                  <a:pt x="1665" y="566"/>
                </a:lnTo>
                <a:lnTo>
                  <a:pt x="1667" y="570"/>
                </a:lnTo>
                <a:lnTo>
                  <a:pt x="1665" y="575"/>
                </a:lnTo>
                <a:lnTo>
                  <a:pt x="1661" y="575"/>
                </a:lnTo>
                <a:lnTo>
                  <a:pt x="1668" y="578"/>
                </a:lnTo>
                <a:lnTo>
                  <a:pt x="1665" y="579"/>
                </a:lnTo>
                <a:lnTo>
                  <a:pt x="1674" y="579"/>
                </a:lnTo>
                <a:lnTo>
                  <a:pt x="1668" y="584"/>
                </a:lnTo>
                <a:lnTo>
                  <a:pt x="1675" y="587"/>
                </a:lnTo>
                <a:lnTo>
                  <a:pt x="1675" y="589"/>
                </a:lnTo>
                <a:lnTo>
                  <a:pt x="1675" y="591"/>
                </a:lnTo>
                <a:lnTo>
                  <a:pt x="1675" y="591"/>
                </a:lnTo>
                <a:lnTo>
                  <a:pt x="1676" y="595"/>
                </a:lnTo>
                <a:lnTo>
                  <a:pt x="1675" y="596"/>
                </a:lnTo>
                <a:lnTo>
                  <a:pt x="1672" y="595"/>
                </a:lnTo>
                <a:lnTo>
                  <a:pt x="1671" y="587"/>
                </a:lnTo>
                <a:lnTo>
                  <a:pt x="1664" y="584"/>
                </a:lnTo>
                <a:lnTo>
                  <a:pt x="1668" y="587"/>
                </a:lnTo>
                <a:lnTo>
                  <a:pt x="1667" y="590"/>
                </a:lnTo>
                <a:lnTo>
                  <a:pt x="1671" y="596"/>
                </a:lnTo>
                <a:lnTo>
                  <a:pt x="1667" y="595"/>
                </a:lnTo>
                <a:lnTo>
                  <a:pt x="1668" y="598"/>
                </a:lnTo>
                <a:lnTo>
                  <a:pt x="1671" y="600"/>
                </a:lnTo>
                <a:lnTo>
                  <a:pt x="1671" y="604"/>
                </a:lnTo>
                <a:lnTo>
                  <a:pt x="1674" y="608"/>
                </a:lnTo>
                <a:lnTo>
                  <a:pt x="1671" y="608"/>
                </a:lnTo>
                <a:lnTo>
                  <a:pt x="1665" y="605"/>
                </a:lnTo>
                <a:lnTo>
                  <a:pt x="1670" y="610"/>
                </a:lnTo>
                <a:lnTo>
                  <a:pt x="1663" y="614"/>
                </a:lnTo>
                <a:lnTo>
                  <a:pt x="1663" y="610"/>
                </a:lnTo>
                <a:lnTo>
                  <a:pt x="1663" y="608"/>
                </a:lnTo>
                <a:lnTo>
                  <a:pt x="1660" y="608"/>
                </a:lnTo>
                <a:lnTo>
                  <a:pt x="1654" y="605"/>
                </a:lnTo>
                <a:lnTo>
                  <a:pt x="1654" y="603"/>
                </a:lnTo>
                <a:lnTo>
                  <a:pt x="1652" y="604"/>
                </a:lnTo>
                <a:lnTo>
                  <a:pt x="1648" y="600"/>
                </a:lnTo>
                <a:lnTo>
                  <a:pt x="1652" y="604"/>
                </a:lnTo>
                <a:lnTo>
                  <a:pt x="1647" y="603"/>
                </a:lnTo>
                <a:lnTo>
                  <a:pt x="1644" y="592"/>
                </a:lnTo>
                <a:lnTo>
                  <a:pt x="1640" y="595"/>
                </a:lnTo>
                <a:lnTo>
                  <a:pt x="1642" y="598"/>
                </a:lnTo>
                <a:lnTo>
                  <a:pt x="1642" y="604"/>
                </a:lnTo>
                <a:lnTo>
                  <a:pt x="1640" y="602"/>
                </a:lnTo>
                <a:lnTo>
                  <a:pt x="1640" y="599"/>
                </a:lnTo>
                <a:lnTo>
                  <a:pt x="1638" y="599"/>
                </a:lnTo>
                <a:lnTo>
                  <a:pt x="1638" y="598"/>
                </a:lnTo>
                <a:lnTo>
                  <a:pt x="1638" y="596"/>
                </a:lnTo>
                <a:lnTo>
                  <a:pt x="1638" y="595"/>
                </a:lnTo>
                <a:lnTo>
                  <a:pt x="1636" y="596"/>
                </a:lnTo>
                <a:lnTo>
                  <a:pt x="1626" y="585"/>
                </a:lnTo>
                <a:lnTo>
                  <a:pt x="1630" y="593"/>
                </a:lnTo>
                <a:lnTo>
                  <a:pt x="1616" y="587"/>
                </a:lnTo>
                <a:lnTo>
                  <a:pt x="1611" y="587"/>
                </a:lnTo>
                <a:lnTo>
                  <a:pt x="1621" y="599"/>
                </a:lnTo>
                <a:lnTo>
                  <a:pt x="1629" y="600"/>
                </a:lnTo>
                <a:lnTo>
                  <a:pt x="1626" y="603"/>
                </a:lnTo>
                <a:lnTo>
                  <a:pt x="1626" y="604"/>
                </a:lnTo>
                <a:lnTo>
                  <a:pt x="1630" y="603"/>
                </a:lnTo>
                <a:lnTo>
                  <a:pt x="1630" y="605"/>
                </a:lnTo>
                <a:lnTo>
                  <a:pt x="1633" y="604"/>
                </a:lnTo>
                <a:lnTo>
                  <a:pt x="1640" y="612"/>
                </a:lnTo>
                <a:lnTo>
                  <a:pt x="1638" y="612"/>
                </a:lnTo>
                <a:lnTo>
                  <a:pt x="1638" y="612"/>
                </a:lnTo>
                <a:lnTo>
                  <a:pt x="1646" y="615"/>
                </a:lnTo>
                <a:lnTo>
                  <a:pt x="1646" y="616"/>
                </a:lnTo>
                <a:lnTo>
                  <a:pt x="1645" y="619"/>
                </a:lnTo>
                <a:lnTo>
                  <a:pt x="1646" y="620"/>
                </a:lnTo>
                <a:lnTo>
                  <a:pt x="1646" y="620"/>
                </a:lnTo>
                <a:lnTo>
                  <a:pt x="1650" y="620"/>
                </a:lnTo>
                <a:lnTo>
                  <a:pt x="1650" y="620"/>
                </a:lnTo>
                <a:lnTo>
                  <a:pt x="1654" y="622"/>
                </a:lnTo>
                <a:lnTo>
                  <a:pt x="1652" y="624"/>
                </a:lnTo>
                <a:lnTo>
                  <a:pt x="1653" y="628"/>
                </a:lnTo>
                <a:lnTo>
                  <a:pt x="1647" y="628"/>
                </a:lnTo>
                <a:lnTo>
                  <a:pt x="1641" y="626"/>
                </a:lnTo>
                <a:lnTo>
                  <a:pt x="1608" y="617"/>
                </a:lnTo>
                <a:lnTo>
                  <a:pt x="1601" y="612"/>
                </a:lnTo>
                <a:lnTo>
                  <a:pt x="1602" y="612"/>
                </a:lnTo>
                <a:lnTo>
                  <a:pt x="1593" y="612"/>
                </a:lnTo>
                <a:lnTo>
                  <a:pt x="1591" y="611"/>
                </a:lnTo>
                <a:lnTo>
                  <a:pt x="1586" y="608"/>
                </a:lnTo>
                <a:lnTo>
                  <a:pt x="1579" y="605"/>
                </a:lnTo>
                <a:lnTo>
                  <a:pt x="1582" y="600"/>
                </a:lnTo>
                <a:lnTo>
                  <a:pt x="1582" y="598"/>
                </a:lnTo>
                <a:lnTo>
                  <a:pt x="1578" y="603"/>
                </a:lnTo>
                <a:lnTo>
                  <a:pt x="1572" y="599"/>
                </a:lnTo>
                <a:lnTo>
                  <a:pt x="1570" y="595"/>
                </a:lnTo>
                <a:lnTo>
                  <a:pt x="1572" y="595"/>
                </a:lnTo>
                <a:lnTo>
                  <a:pt x="1578" y="591"/>
                </a:lnTo>
                <a:lnTo>
                  <a:pt x="1570" y="591"/>
                </a:lnTo>
                <a:lnTo>
                  <a:pt x="1570" y="585"/>
                </a:lnTo>
                <a:lnTo>
                  <a:pt x="1566" y="585"/>
                </a:lnTo>
                <a:lnTo>
                  <a:pt x="1566" y="587"/>
                </a:lnTo>
                <a:lnTo>
                  <a:pt x="1569" y="587"/>
                </a:lnTo>
                <a:lnTo>
                  <a:pt x="1567" y="589"/>
                </a:lnTo>
                <a:lnTo>
                  <a:pt x="1563" y="585"/>
                </a:lnTo>
                <a:lnTo>
                  <a:pt x="1561" y="586"/>
                </a:lnTo>
                <a:lnTo>
                  <a:pt x="1561" y="587"/>
                </a:lnTo>
                <a:lnTo>
                  <a:pt x="1560" y="587"/>
                </a:lnTo>
                <a:lnTo>
                  <a:pt x="1559" y="587"/>
                </a:lnTo>
                <a:lnTo>
                  <a:pt x="1558" y="587"/>
                </a:lnTo>
                <a:lnTo>
                  <a:pt x="1558" y="585"/>
                </a:lnTo>
                <a:lnTo>
                  <a:pt x="1559" y="584"/>
                </a:lnTo>
                <a:lnTo>
                  <a:pt x="1558" y="582"/>
                </a:lnTo>
                <a:lnTo>
                  <a:pt x="1558" y="579"/>
                </a:lnTo>
                <a:lnTo>
                  <a:pt x="1554" y="577"/>
                </a:lnTo>
                <a:lnTo>
                  <a:pt x="1554" y="579"/>
                </a:lnTo>
                <a:lnTo>
                  <a:pt x="1553" y="578"/>
                </a:lnTo>
                <a:lnTo>
                  <a:pt x="1548" y="575"/>
                </a:lnTo>
                <a:lnTo>
                  <a:pt x="1546" y="575"/>
                </a:lnTo>
                <a:lnTo>
                  <a:pt x="1546" y="568"/>
                </a:lnTo>
                <a:lnTo>
                  <a:pt x="1547" y="566"/>
                </a:lnTo>
                <a:lnTo>
                  <a:pt x="1546" y="562"/>
                </a:lnTo>
                <a:lnTo>
                  <a:pt x="1546" y="566"/>
                </a:lnTo>
                <a:lnTo>
                  <a:pt x="1545" y="567"/>
                </a:lnTo>
                <a:lnTo>
                  <a:pt x="1545" y="567"/>
                </a:lnTo>
                <a:lnTo>
                  <a:pt x="1545" y="567"/>
                </a:lnTo>
                <a:lnTo>
                  <a:pt x="1545" y="566"/>
                </a:lnTo>
                <a:lnTo>
                  <a:pt x="1543" y="567"/>
                </a:lnTo>
                <a:lnTo>
                  <a:pt x="1544" y="567"/>
                </a:lnTo>
                <a:lnTo>
                  <a:pt x="1542" y="567"/>
                </a:lnTo>
                <a:lnTo>
                  <a:pt x="1542" y="567"/>
                </a:lnTo>
                <a:lnTo>
                  <a:pt x="1542" y="567"/>
                </a:lnTo>
                <a:lnTo>
                  <a:pt x="1540" y="567"/>
                </a:lnTo>
                <a:lnTo>
                  <a:pt x="1541" y="568"/>
                </a:lnTo>
                <a:lnTo>
                  <a:pt x="1538" y="571"/>
                </a:lnTo>
                <a:lnTo>
                  <a:pt x="1536" y="567"/>
                </a:lnTo>
                <a:lnTo>
                  <a:pt x="1535" y="567"/>
                </a:lnTo>
                <a:lnTo>
                  <a:pt x="1534" y="566"/>
                </a:lnTo>
                <a:lnTo>
                  <a:pt x="1534" y="561"/>
                </a:lnTo>
                <a:lnTo>
                  <a:pt x="1532" y="565"/>
                </a:lnTo>
                <a:lnTo>
                  <a:pt x="1527" y="561"/>
                </a:lnTo>
                <a:lnTo>
                  <a:pt x="1530" y="558"/>
                </a:lnTo>
                <a:lnTo>
                  <a:pt x="1526" y="557"/>
                </a:lnTo>
                <a:lnTo>
                  <a:pt x="1526" y="561"/>
                </a:lnTo>
                <a:lnTo>
                  <a:pt x="1522" y="558"/>
                </a:lnTo>
                <a:lnTo>
                  <a:pt x="1531" y="566"/>
                </a:lnTo>
                <a:lnTo>
                  <a:pt x="1526" y="570"/>
                </a:lnTo>
                <a:lnTo>
                  <a:pt x="1510" y="564"/>
                </a:lnTo>
                <a:lnTo>
                  <a:pt x="1510" y="566"/>
                </a:lnTo>
                <a:lnTo>
                  <a:pt x="1514" y="571"/>
                </a:lnTo>
                <a:lnTo>
                  <a:pt x="1510" y="571"/>
                </a:lnTo>
                <a:lnTo>
                  <a:pt x="1514" y="572"/>
                </a:lnTo>
                <a:lnTo>
                  <a:pt x="1497" y="572"/>
                </a:lnTo>
                <a:lnTo>
                  <a:pt x="1500" y="573"/>
                </a:lnTo>
                <a:lnTo>
                  <a:pt x="1493" y="572"/>
                </a:lnTo>
                <a:lnTo>
                  <a:pt x="1489" y="573"/>
                </a:lnTo>
                <a:lnTo>
                  <a:pt x="1485" y="568"/>
                </a:lnTo>
                <a:lnTo>
                  <a:pt x="1481" y="570"/>
                </a:lnTo>
                <a:lnTo>
                  <a:pt x="1474" y="566"/>
                </a:lnTo>
                <a:lnTo>
                  <a:pt x="1474" y="561"/>
                </a:lnTo>
                <a:lnTo>
                  <a:pt x="1478" y="558"/>
                </a:lnTo>
                <a:lnTo>
                  <a:pt x="1478" y="556"/>
                </a:lnTo>
                <a:lnTo>
                  <a:pt x="1489" y="550"/>
                </a:lnTo>
                <a:lnTo>
                  <a:pt x="1486" y="546"/>
                </a:lnTo>
                <a:lnTo>
                  <a:pt x="1489" y="546"/>
                </a:lnTo>
                <a:lnTo>
                  <a:pt x="1488" y="545"/>
                </a:lnTo>
                <a:lnTo>
                  <a:pt x="1511" y="549"/>
                </a:lnTo>
                <a:lnTo>
                  <a:pt x="1514" y="554"/>
                </a:lnTo>
                <a:lnTo>
                  <a:pt x="1514" y="559"/>
                </a:lnTo>
                <a:lnTo>
                  <a:pt x="1514" y="559"/>
                </a:lnTo>
                <a:lnTo>
                  <a:pt x="1519" y="564"/>
                </a:lnTo>
                <a:lnTo>
                  <a:pt x="1520" y="562"/>
                </a:lnTo>
                <a:lnTo>
                  <a:pt x="1519" y="559"/>
                </a:lnTo>
                <a:lnTo>
                  <a:pt x="1515" y="559"/>
                </a:lnTo>
                <a:lnTo>
                  <a:pt x="1518" y="556"/>
                </a:lnTo>
                <a:lnTo>
                  <a:pt x="1518" y="552"/>
                </a:lnTo>
                <a:lnTo>
                  <a:pt x="1517" y="554"/>
                </a:lnTo>
                <a:lnTo>
                  <a:pt x="1509" y="546"/>
                </a:lnTo>
                <a:lnTo>
                  <a:pt x="1518" y="549"/>
                </a:lnTo>
                <a:lnTo>
                  <a:pt x="1518" y="546"/>
                </a:lnTo>
                <a:lnTo>
                  <a:pt x="1518" y="546"/>
                </a:lnTo>
                <a:lnTo>
                  <a:pt x="1529" y="547"/>
                </a:lnTo>
                <a:lnTo>
                  <a:pt x="1536" y="543"/>
                </a:lnTo>
                <a:lnTo>
                  <a:pt x="1545" y="543"/>
                </a:lnTo>
                <a:lnTo>
                  <a:pt x="1542" y="535"/>
                </a:lnTo>
                <a:lnTo>
                  <a:pt x="1538" y="533"/>
                </a:lnTo>
                <a:lnTo>
                  <a:pt x="1531" y="527"/>
                </a:lnTo>
                <a:lnTo>
                  <a:pt x="1545" y="516"/>
                </a:lnTo>
                <a:lnTo>
                  <a:pt x="1549" y="513"/>
                </a:lnTo>
                <a:lnTo>
                  <a:pt x="1555" y="505"/>
                </a:lnTo>
                <a:lnTo>
                  <a:pt x="1560" y="504"/>
                </a:lnTo>
                <a:lnTo>
                  <a:pt x="1562" y="500"/>
                </a:lnTo>
                <a:lnTo>
                  <a:pt x="1559" y="490"/>
                </a:lnTo>
                <a:lnTo>
                  <a:pt x="1555" y="488"/>
                </a:lnTo>
                <a:lnTo>
                  <a:pt x="1557" y="486"/>
                </a:lnTo>
                <a:lnTo>
                  <a:pt x="1550" y="482"/>
                </a:lnTo>
                <a:lnTo>
                  <a:pt x="1550" y="481"/>
                </a:lnTo>
                <a:lnTo>
                  <a:pt x="1551" y="476"/>
                </a:lnTo>
                <a:lnTo>
                  <a:pt x="1545" y="474"/>
                </a:lnTo>
                <a:lnTo>
                  <a:pt x="1548" y="471"/>
                </a:lnTo>
                <a:lnTo>
                  <a:pt x="1544" y="475"/>
                </a:lnTo>
                <a:lnTo>
                  <a:pt x="1541" y="475"/>
                </a:lnTo>
                <a:lnTo>
                  <a:pt x="1539" y="471"/>
                </a:lnTo>
                <a:lnTo>
                  <a:pt x="1538" y="471"/>
                </a:lnTo>
                <a:lnTo>
                  <a:pt x="1538" y="467"/>
                </a:lnTo>
                <a:lnTo>
                  <a:pt x="1538" y="468"/>
                </a:lnTo>
                <a:lnTo>
                  <a:pt x="1533" y="466"/>
                </a:lnTo>
                <a:lnTo>
                  <a:pt x="1527" y="462"/>
                </a:lnTo>
                <a:lnTo>
                  <a:pt x="1529" y="459"/>
                </a:lnTo>
                <a:lnTo>
                  <a:pt x="1527" y="459"/>
                </a:lnTo>
                <a:lnTo>
                  <a:pt x="1525" y="459"/>
                </a:lnTo>
                <a:lnTo>
                  <a:pt x="1522" y="459"/>
                </a:lnTo>
                <a:lnTo>
                  <a:pt x="1527" y="456"/>
                </a:lnTo>
                <a:lnTo>
                  <a:pt x="1526" y="453"/>
                </a:lnTo>
                <a:lnTo>
                  <a:pt x="1522" y="454"/>
                </a:lnTo>
                <a:lnTo>
                  <a:pt x="1521" y="458"/>
                </a:lnTo>
                <a:lnTo>
                  <a:pt x="1515" y="454"/>
                </a:lnTo>
                <a:lnTo>
                  <a:pt x="1514" y="458"/>
                </a:lnTo>
                <a:lnTo>
                  <a:pt x="1498" y="463"/>
                </a:lnTo>
                <a:lnTo>
                  <a:pt x="1498" y="462"/>
                </a:lnTo>
                <a:lnTo>
                  <a:pt x="1499" y="458"/>
                </a:lnTo>
                <a:lnTo>
                  <a:pt x="1498" y="456"/>
                </a:lnTo>
                <a:lnTo>
                  <a:pt x="1498" y="455"/>
                </a:lnTo>
                <a:lnTo>
                  <a:pt x="1508" y="455"/>
                </a:lnTo>
                <a:lnTo>
                  <a:pt x="1514" y="453"/>
                </a:lnTo>
                <a:lnTo>
                  <a:pt x="1514" y="450"/>
                </a:lnTo>
                <a:lnTo>
                  <a:pt x="1499" y="441"/>
                </a:lnTo>
                <a:lnTo>
                  <a:pt x="1503" y="440"/>
                </a:lnTo>
                <a:lnTo>
                  <a:pt x="1505" y="439"/>
                </a:lnTo>
                <a:lnTo>
                  <a:pt x="1500" y="439"/>
                </a:lnTo>
                <a:lnTo>
                  <a:pt x="1501" y="441"/>
                </a:lnTo>
                <a:lnTo>
                  <a:pt x="1500" y="440"/>
                </a:lnTo>
                <a:lnTo>
                  <a:pt x="1492" y="439"/>
                </a:lnTo>
                <a:lnTo>
                  <a:pt x="1497" y="437"/>
                </a:lnTo>
                <a:lnTo>
                  <a:pt x="1496" y="435"/>
                </a:lnTo>
                <a:lnTo>
                  <a:pt x="1489" y="435"/>
                </a:lnTo>
                <a:lnTo>
                  <a:pt x="1492" y="431"/>
                </a:lnTo>
                <a:lnTo>
                  <a:pt x="1482" y="435"/>
                </a:lnTo>
                <a:lnTo>
                  <a:pt x="1482" y="424"/>
                </a:lnTo>
                <a:lnTo>
                  <a:pt x="1478" y="422"/>
                </a:lnTo>
                <a:lnTo>
                  <a:pt x="1470" y="424"/>
                </a:lnTo>
                <a:lnTo>
                  <a:pt x="1470" y="420"/>
                </a:lnTo>
                <a:lnTo>
                  <a:pt x="1470" y="419"/>
                </a:lnTo>
                <a:lnTo>
                  <a:pt x="1470" y="420"/>
                </a:lnTo>
                <a:lnTo>
                  <a:pt x="1468" y="417"/>
                </a:lnTo>
                <a:lnTo>
                  <a:pt x="1463" y="416"/>
                </a:lnTo>
                <a:lnTo>
                  <a:pt x="1463" y="419"/>
                </a:lnTo>
                <a:lnTo>
                  <a:pt x="1460" y="416"/>
                </a:lnTo>
                <a:lnTo>
                  <a:pt x="1456" y="419"/>
                </a:lnTo>
                <a:lnTo>
                  <a:pt x="1467" y="421"/>
                </a:lnTo>
                <a:lnTo>
                  <a:pt x="1470" y="430"/>
                </a:lnTo>
                <a:lnTo>
                  <a:pt x="1469" y="435"/>
                </a:lnTo>
                <a:lnTo>
                  <a:pt x="1460" y="435"/>
                </a:lnTo>
                <a:lnTo>
                  <a:pt x="1459" y="433"/>
                </a:lnTo>
                <a:lnTo>
                  <a:pt x="1456" y="435"/>
                </a:lnTo>
                <a:lnTo>
                  <a:pt x="1449" y="430"/>
                </a:lnTo>
                <a:lnTo>
                  <a:pt x="1426" y="425"/>
                </a:lnTo>
                <a:lnTo>
                  <a:pt x="1434" y="429"/>
                </a:lnTo>
                <a:lnTo>
                  <a:pt x="1441" y="435"/>
                </a:lnTo>
                <a:lnTo>
                  <a:pt x="1437" y="436"/>
                </a:lnTo>
                <a:lnTo>
                  <a:pt x="1422" y="425"/>
                </a:lnTo>
                <a:lnTo>
                  <a:pt x="1407" y="420"/>
                </a:lnTo>
                <a:lnTo>
                  <a:pt x="1426" y="430"/>
                </a:lnTo>
                <a:lnTo>
                  <a:pt x="1420" y="435"/>
                </a:lnTo>
                <a:lnTo>
                  <a:pt x="1414" y="431"/>
                </a:lnTo>
                <a:lnTo>
                  <a:pt x="1414" y="431"/>
                </a:lnTo>
                <a:lnTo>
                  <a:pt x="1414" y="431"/>
                </a:lnTo>
                <a:lnTo>
                  <a:pt x="1407" y="428"/>
                </a:lnTo>
                <a:lnTo>
                  <a:pt x="1396" y="431"/>
                </a:lnTo>
                <a:lnTo>
                  <a:pt x="1373" y="425"/>
                </a:lnTo>
                <a:lnTo>
                  <a:pt x="1365" y="429"/>
                </a:lnTo>
                <a:lnTo>
                  <a:pt x="1374" y="431"/>
                </a:lnTo>
                <a:lnTo>
                  <a:pt x="1366" y="431"/>
                </a:lnTo>
                <a:lnTo>
                  <a:pt x="1354" y="423"/>
                </a:lnTo>
                <a:lnTo>
                  <a:pt x="1354" y="423"/>
                </a:lnTo>
                <a:lnTo>
                  <a:pt x="1350" y="423"/>
                </a:lnTo>
                <a:lnTo>
                  <a:pt x="1348" y="418"/>
                </a:lnTo>
                <a:lnTo>
                  <a:pt x="1346" y="419"/>
                </a:lnTo>
                <a:lnTo>
                  <a:pt x="1345" y="419"/>
                </a:lnTo>
                <a:lnTo>
                  <a:pt x="1345" y="423"/>
                </a:lnTo>
                <a:lnTo>
                  <a:pt x="1341" y="423"/>
                </a:lnTo>
                <a:lnTo>
                  <a:pt x="1337" y="425"/>
                </a:lnTo>
                <a:lnTo>
                  <a:pt x="1332" y="423"/>
                </a:lnTo>
                <a:lnTo>
                  <a:pt x="1336" y="423"/>
                </a:lnTo>
                <a:lnTo>
                  <a:pt x="1333" y="421"/>
                </a:lnTo>
                <a:lnTo>
                  <a:pt x="1324" y="416"/>
                </a:lnTo>
                <a:lnTo>
                  <a:pt x="1314" y="405"/>
                </a:lnTo>
                <a:lnTo>
                  <a:pt x="1317" y="402"/>
                </a:lnTo>
                <a:lnTo>
                  <a:pt x="1313" y="399"/>
                </a:lnTo>
                <a:lnTo>
                  <a:pt x="1335" y="405"/>
                </a:lnTo>
                <a:lnTo>
                  <a:pt x="1348" y="403"/>
                </a:lnTo>
                <a:lnTo>
                  <a:pt x="1340" y="399"/>
                </a:lnTo>
                <a:lnTo>
                  <a:pt x="1333" y="399"/>
                </a:lnTo>
                <a:lnTo>
                  <a:pt x="1333" y="394"/>
                </a:lnTo>
                <a:lnTo>
                  <a:pt x="1325" y="396"/>
                </a:lnTo>
                <a:lnTo>
                  <a:pt x="1307" y="393"/>
                </a:lnTo>
                <a:lnTo>
                  <a:pt x="1306" y="386"/>
                </a:lnTo>
                <a:lnTo>
                  <a:pt x="1309" y="382"/>
                </a:lnTo>
                <a:lnTo>
                  <a:pt x="1304" y="376"/>
                </a:lnTo>
                <a:lnTo>
                  <a:pt x="1306" y="374"/>
                </a:lnTo>
                <a:lnTo>
                  <a:pt x="1313" y="371"/>
                </a:lnTo>
                <a:lnTo>
                  <a:pt x="1307" y="371"/>
                </a:lnTo>
                <a:lnTo>
                  <a:pt x="1306" y="366"/>
                </a:lnTo>
                <a:lnTo>
                  <a:pt x="1309" y="358"/>
                </a:lnTo>
                <a:lnTo>
                  <a:pt x="1313" y="359"/>
                </a:lnTo>
                <a:lnTo>
                  <a:pt x="1313" y="352"/>
                </a:lnTo>
                <a:lnTo>
                  <a:pt x="1313" y="351"/>
                </a:lnTo>
                <a:lnTo>
                  <a:pt x="1313" y="347"/>
                </a:lnTo>
                <a:lnTo>
                  <a:pt x="1316" y="341"/>
                </a:lnTo>
                <a:lnTo>
                  <a:pt x="1324" y="332"/>
                </a:lnTo>
                <a:lnTo>
                  <a:pt x="1341" y="325"/>
                </a:lnTo>
                <a:lnTo>
                  <a:pt x="1360" y="321"/>
                </a:lnTo>
                <a:lnTo>
                  <a:pt x="1381" y="325"/>
                </a:lnTo>
                <a:lnTo>
                  <a:pt x="1365" y="336"/>
                </a:lnTo>
                <a:lnTo>
                  <a:pt x="1353" y="349"/>
                </a:lnTo>
                <a:lnTo>
                  <a:pt x="1351" y="354"/>
                </a:lnTo>
                <a:lnTo>
                  <a:pt x="1358" y="364"/>
                </a:lnTo>
                <a:lnTo>
                  <a:pt x="1353" y="367"/>
                </a:lnTo>
                <a:lnTo>
                  <a:pt x="1353" y="375"/>
                </a:lnTo>
                <a:lnTo>
                  <a:pt x="1368" y="388"/>
                </a:lnTo>
                <a:lnTo>
                  <a:pt x="1379" y="390"/>
                </a:lnTo>
                <a:lnTo>
                  <a:pt x="1384" y="390"/>
                </a:lnTo>
                <a:lnTo>
                  <a:pt x="1382" y="386"/>
                </a:lnTo>
                <a:lnTo>
                  <a:pt x="1384" y="383"/>
                </a:lnTo>
                <a:lnTo>
                  <a:pt x="1374" y="383"/>
                </a:lnTo>
                <a:lnTo>
                  <a:pt x="1369" y="382"/>
                </a:lnTo>
                <a:lnTo>
                  <a:pt x="1370" y="379"/>
                </a:lnTo>
                <a:lnTo>
                  <a:pt x="1369" y="376"/>
                </a:lnTo>
                <a:lnTo>
                  <a:pt x="1362" y="375"/>
                </a:lnTo>
                <a:lnTo>
                  <a:pt x="1369" y="373"/>
                </a:lnTo>
                <a:lnTo>
                  <a:pt x="1369" y="371"/>
                </a:lnTo>
                <a:lnTo>
                  <a:pt x="1369" y="367"/>
                </a:lnTo>
                <a:lnTo>
                  <a:pt x="1379" y="368"/>
                </a:lnTo>
                <a:lnTo>
                  <a:pt x="1389" y="376"/>
                </a:lnTo>
                <a:lnTo>
                  <a:pt x="1389" y="375"/>
                </a:lnTo>
                <a:lnTo>
                  <a:pt x="1379" y="367"/>
                </a:lnTo>
                <a:lnTo>
                  <a:pt x="1385" y="364"/>
                </a:lnTo>
                <a:lnTo>
                  <a:pt x="1380" y="365"/>
                </a:lnTo>
                <a:lnTo>
                  <a:pt x="1381" y="361"/>
                </a:lnTo>
                <a:lnTo>
                  <a:pt x="1376" y="365"/>
                </a:lnTo>
                <a:lnTo>
                  <a:pt x="1369" y="361"/>
                </a:lnTo>
                <a:lnTo>
                  <a:pt x="1369" y="360"/>
                </a:lnTo>
                <a:lnTo>
                  <a:pt x="1368" y="359"/>
                </a:lnTo>
                <a:lnTo>
                  <a:pt x="1365" y="355"/>
                </a:lnTo>
                <a:lnTo>
                  <a:pt x="1365" y="349"/>
                </a:lnTo>
                <a:lnTo>
                  <a:pt x="1372" y="347"/>
                </a:lnTo>
                <a:lnTo>
                  <a:pt x="1393" y="352"/>
                </a:lnTo>
                <a:lnTo>
                  <a:pt x="1369" y="344"/>
                </a:lnTo>
                <a:lnTo>
                  <a:pt x="1373" y="341"/>
                </a:lnTo>
                <a:lnTo>
                  <a:pt x="1374" y="342"/>
                </a:lnTo>
                <a:lnTo>
                  <a:pt x="1376" y="341"/>
                </a:lnTo>
                <a:lnTo>
                  <a:pt x="1399" y="347"/>
                </a:lnTo>
                <a:lnTo>
                  <a:pt x="1376" y="339"/>
                </a:lnTo>
                <a:lnTo>
                  <a:pt x="1381" y="335"/>
                </a:lnTo>
                <a:lnTo>
                  <a:pt x="1387" y="339"/>
                </a:lnTo>
                <a:lnTo>
                  <a:pt x="1381" y="335"/>
                </a:lnTo>
                <a:lnTo>
                  <a:pt x="1390" y="331"/>
                </a:lnTo>
                <a:lnTo>
                  <a:pt x="1392" y="332"/>
                </a:lnTo>
                <a:lnTo>
                  <a:pt x="1410" y="326"/>
                </a:lnTo>
                <a:lnTo>
                  <a:pt x="1429" y="326"/>
                </a:lnTo>
                <a:lnTo>
                  <a:pt x="1430" y="331"/>
                </a:lnTo>
                <a:lnTo>
                  <a:pt x="1430" y="337"/>
                </a:lnTo>
                <a:lnTo>
                  <a:pt x="1441" y="343"/>
                </a:lnTo>
                <a:lnTo>
                  <a:pt x="1441" y="348"/>
                </a:lnTo>
                <a:lnTo>
                  <a:pt x="1447" y="352"/>
                </a:lnTo>
                <a:lnTo>
                  <a:pt x="1429" y="368"/>
                </a:lnTo>
                <a:lnTo>
                  <a:pt x="1442" y="360"/>
                </a:lnTo>
                <a:lnTo>
                  <a:pt x="1442" y="364"/>
                </a:lnTo>
                <a:lnTo>
                  <a:pt x="1436" y="371"/>
                </a:lnTo>
                <a:lnTo>
                  <a:pt x="1443" y="375"/>
                </a:lnTo>
                <a:lnTo>
                  <a:pt x="1445" y="373"/>
                </a:lnTo>
                <a:lnTo>
                  <a:pt x="1443" y="370"/>
                </a:lnTo>
                <a:lnTo>
                  <a:pt x="1448" y="368"/>
                </a:lnTo>
                <a:lnTo>
                  <a:pt x="1447" y="367"/>
                </a:lnTo>
                <a:lnTo>
                  <a:pt x="1456" y="371"/>
                </a:lnTo>
                <a:lnTo>
                  <a:pt x="1448" y="365"/>
                </a:lnTo>
                <a:lnTo>
                  <a:pt x="1451" y="363"/>
                </a:lnTo>
                <a:lnTo>
                  <a:pt x="1450" y="362"/>
                </a:lnTo>
                <a:lnTo>
                  <a:pt x="1454" y="360"/>
                </a:lnTo>
                <a:lnTo>
                  <a:pt x="1456" y="365"/>
                </a:lnTo>
                <a:lnTo>
                  <a:pt x="1455" y="368"/>
                </a:lnTo>
                <a:lnTo>
                  <a:pt x="1459" y="366"/>
                </a:lnTo>
                <a:lnTo>
                  <a:pt x="1456" y="363"/>
                </a:lnTo>
                <a:lnTo>
                  <a:pt x="1459" y="363"/>
                </a:lnTo>
                <a:lnTo>
                  <a:pt x="1460" y="366"/>
                </a:lnTo>
                <a:lnTo>
                  <a:pt x="1460" y="364"/>
                </a:lnTo>
                <a:lnTo>
                  <a:pt x="1466" y="367"/>
                </a:lnTo>
                <a:lnTo>
                  <a:pt x="1466" y="370"/>
                </a:lnTo>
                <a:lnTo>
                  <a:pt x="1462" y="375"/>
                </a:lnTo>
                <a:lnTo>
                  <a:pt x="1471" y="378"/>
                </a:lnTo>
                <a:lnTo>
                  <a:pt x="1466" y="375"/>
                </a:lnTo>
                <a:lnTo>
                  <a:pt x="1466" y="370"/>
                </a:lnTo>
                <a:lnTo>
                  <a:pt x="1473" y="371"/>
                </a:lnTo>
                <a:lnTo>
                  <a:pt x="1470" y="370"/>
                </a:lnTo>
                <a:lnTo>
                  <a:pt x="1470" y="365"/>
                </a:lnTo>
                <a:lnTo>
                  <a:pt x="1492" y="372"/>
                </a:lnTo>
                <a:lnTo>
                  <a:pt x="1472" y="361"/>
                </a:lnTo>
                <a:lnTo>
                  <a:pt x="1474" y="360"/>
                </a:lnTo>
                <a:lnTo>
                  <a:pt x="1485" y="354"/>
                </a:lnTo>
                <a:lnTo>
                  <a:pt x="1497" y="354"/>
                </a:lnTo>
                <a:lnTo>
                  <a:pt x="1499" y="357"/>
                </a:lnTo>
                <a:lnTo>
                  <a:pt x="1506" y="359"/>
                </a:lnTo>
                <a:lnTo>
                  <a:pt x="1506" y="361"/>
                </a:lnTo>
                <a:lnTo>
                  <a:pt x="1509" y="359"/>
                </a:lnTo>
                <a:lnTo>
                  <a:pt x="1520" y="361"/>
                </a:lnTo>
                <a:lnTo>
                  <a:pt x="1525" y="369"/>
                </a:lnTo>
                <a:lnTo>
                  <a:pt x="1523" y="372"/>
                </a:lnTo>
                <a:lnTo>
                  <a:pt x="1534" y="373"/>
                </a:lnTo>
                <a:lnTo>
                  <a:pt x="1536" y="375"/>
                </a:lnTo>
                <a:lnTo>
                  <a:pt x="1534" y="379"/>
                </a:lnTo>
                <a:lnTo>
                  <a:pt x="1519" y="383"/>
                </a:lnTo>
                <a:lnTo>
                  <a:pt x="1525" y="385"/>
                </a:lnTo>
                <a:lnTo>
                  <a:pt x="1516" y="388"/>
                </a:lnTo>
                <a:lnTo>
                  <a:pt x="1528" y="385"/>
                </a:lnTo>
                <a:lnTo>
                  <a:pt x="1529" y="385"/>
                </a:lnTo>
                <a:lnTo>
                  <a:pt x="1536" y="382"/>
                </a:lnTo>
                <a:lnTo>
                  <a:pt x="1534" y="385"/>
                </a:lnTo>
                <a:lnTo>
                  <a:pt x="1536" y="388"/>
                </a:lnTo>
                <a:lnTo>
                  <a:pt x="1538" y="383"/>
                </a:lnTo>
                <a:lnTo>
                  <a:pt x="1542" y="383"/>
                </a:lnTo>
                <a:lnTo>
                  <a:pt x="1544" y="383"/>
                </a:lnTo>
                <a:lnTo>
                  <a:pt x="1538" y="388"/>
                </a:lnTo>
                <a:lnTo>
                  <a:pt x="1533" y="390"/>
                </a:lnTo>
                <a:lnTo>
                  <a:pt x="1538" y="389"/>
                </a:lnTo>
                <a:lnTo>
                  <a:pt x="1536" y="394"/>
                </a:lnTo>
                <a:lnTo>
                  <a:pt x="1534" y="396"/>
                </a:lnTo>
                <a:lnTo>
                  <a:pt x="1537" y="394"/>
                </a:lnTo>
                <a:lnTo>
                  <a:pt x="1539" y="388"/>
                </a:lnTo>
                <a:lnTo>
                  <a:pt x="1542" y="386"/>
                </a:lnTo>
                <a:lnTo>
                  <a:pt x="1542" y="393"/>
                </a:lnTo>
                <a:lnTo>
                  <a:pt x="1544" y="389"/>
                </a:lnTo>
                <a:lnTo>
                  <a:pt x="1547" y="390"/>
                </a:lnTo>
                <a:lnTo>
                  <a:pt x="1545" y="393"/>
                </a:lnTo>
                <a:lnTo>
                  <a:pt x="1551" y="394"/>
                </a:lnTo>
                <a:lnTo>
                  <a:pt x="1546" y="396"/>
                </a:lnTo>
                <a:lnTo>
                  <a:pt x="1546" y="399"/>
                </a:lnTo>
                <a:lnTo>
                  <a:pt x="1548" y="396"/>
                </a:lnTo>
                <a:lnTo>
                  <a:pt x="1552" y="394"/>
                </a:lnTo>
                <a:lnTo>
                  <a:pt x="1548" y="393"/>
                </a:lnTo>
                <a:lnTo>
                  <a:pt x="1547" y="388"/>
                </a:lnTo>
                <a:lnTo>
                  <a:pt x="1549" y="386"/>
                </a:lnTo>
                <a:lnTo>
                  <a:pt x="1552" y="388"/>
                </a:lnTo>
                <a:lnTo>
                  <a:pt x="1549" y="390"/>
                </a:lnTo>
                <a:lnTo>
                  <a:pt x="1553" y="388"/>
                </a:lnTo>
                <a:lnTo>
                  <a:pt x="1555" y="390"/>
                </a:lnTo>
                <a:lnTo>
                  <a:pt x="1552" y="391"/>
                </a:lnTo>
                <a:lnTo>
                  <a:pt x="1556" y="391"/>
                </a:lnTo>
                <a:lnTo>
                  <a:pt x="1560" y="385"/>
                </a:lnTo>
                <a:close/>
                <a:moveTo>
                  <a:pt x="1397" y="332"/>
                </a:moveTo>
                <a:lnTo>
                  <a:pt x="1394" y="332"/>
                </a:lnTo>
                <a:lnTo>
                  <a:pt x="1395" y="332"/>
                </a:lnTo>
                <a:lnTo>
                  <a:pt x="1397" y="336"/>
                </a:lnTo>
                <a:lnTo>
                  <a:pt x="1397" y="332"/>
                </a:lnTo>
                <a:close/>
                <a:moveTo>
                  <a:pt x="1359" y="415"/>
                </a:moveTo>
                <a:lnTo>
                  <a:pt x="1357" y="417"/>
                </a:lnTo>
                <a:lnTo>
                  <a:pt x="1359" y="417"/>
                </a:lnTo>
                <a:lnTo>
                  <a:pt x="1359" y="415"/>
                </a:lnTo>
                <a:close/>
                <a:moveTo>
                  <a:pt x="1377" y="395"/>
                </a:moveTo>
                <a:lnTo>
                  <a:pt x="1365" y="397"/>
                </a:lnTo>
                <a:lnTo>
                  <a:pt x="1352" y="402"/>
                </a:lnTo>
                <a:lnTo>
                  <a:pt x="1377" y="397"/>
                </a:lnTo>
                <a:lnTo>
                  <a:pt x="1377" y="395"/>
                </a:lnTo>
                <a:close/>
                <a:moveTo>
                  <a:pt x="1443" y="375"/>
                </a:moveTo>
                <a:lnTo>
                  <a:pt x="1441" y="375"/>
                </a:lnTo>
                <a:lnTo>
                  <a:pt x="1437" y="379"/>
                </a:lnTo>
                <a:lnTo>
                  <a:pt x="1443" y="375"/>
                </a:lnTo>
                <a:close/>
                <a:moveTo>
                  <a:pt x="1469" y="414"/>
                </a:moveTo>
                <a:lnTo>
                  <a:pt x="1466" y="412"/>
                </a:lnTo>
                <a:lnTo>
                  <a:pt x="1465" y="413"/>
                </a:lnTo>
                <a:lnTo>
                  <a:pt x="1467" y="413"/>
                </a:lnTo>
                <a:lnTo>
                  <a:pt x="1469" y="414"/>
                </a:lnTo>
                <a:close/>
                <a:moveTo>
                  <a:pt x="1476" y="376"/>
                </a:moveTo>
                <a:lnTo>
                  <a:pt x="1479" y="375"/>
                </a:lnTo>
                <a:lnTo>
                  <a:pt x="1475" y="375"/>
                </a:lnTo>
                <a:lnTo>
                  <a:pt x="1475" y="375"/>
                </a:lnTo>
                <a:lnTo>
                  <a:pt x="1476" y="376"/>
                </a:lnTo>
                <a:close/>
                <a:moveTo>
                  <a:pt x="1482" y="382"/>
                </a:moveTo>
                <a:lnTo>
                  <a:pt x="1476" y="377"/>
                </a:lnTo>
                <a:lnTo>
                  <a:pt x="1477" y="379"/>
                </a:lnTo>
                <a:lnTo>
                  <a:pt x="1482" y="382"/>
                </a:lnTo>
                <a:close/>
                <a:moveTo>
                  <a:pt x="1509" y="375"/>
                </a:moveTo>
                <a:lnTo>
                  <a:pt x="1508" y="375"/>
                </a:lnTo>
                <a:lnTo>
                  <a:pt x="1504" y="380"/>
                </a:lnTo>
                <a:lnTo>
                  <a:pt x="1509" y="375"/>
                </a:lnTo>
                <a:close/>
                <a:moveTo>
                  <a:pt x="1528" y="385"/>
                </a:moveTo>
                <a:lnTo>
                  <a:pt x="1521" y="389"/>
                </a:lnTo>
                <a:lnTo>
                  <a:pt x="1526" y="388"/>
                </a:lnTo>
                <a:lnTo>
                  <a:pt x="1526" y="390"/>
                </a:lnTo>
                <a:lnTo>
                  <a:pt x="1526" y="388"/>
                </a:lnTo>
                <a:lnTo>
                  <a:pt x="1528" y="385"/>
                </a:lnTo>
                <a:close/>
                <a:moveTo>
                  <a:pt x="1538" y="463"/>
                </a:moveTo>
                <a:lnTo>
                  <a:pt x="1536" y="463"/>
                </a:lnTo>
                <a:lnTo>
                  <a:pt x="1538" y="465"/>
                </a:lnTo>
                <a:lnTo>
                  <a:pt x="1538" y="463"/>
                </a:lnTo>
                <a:close/>
                <a:moveTo>
                  <a:pt x="1545" y="394"/>
                </a:moveTo>
                <a:lnTo>
                  <a:pt x="1544" y="394"/>
                </a:lnTo>
                <a:lnTo>
                  <a:pt x="1541" y="399"/>
                </a:lnTo>
                <a:lnTo>
                  <a:pt x="1544" y="396"/>
                </a:lnTo>
                <a:lnTo>
                  <a:pt x="1545" y="394"/>
                </a:lnTo>
                <a:close/>
                <a:moveTo>
                  <a:pt x="1548" y="399"/>
                </a:moveTo>
                <a:lnTo>
                  <a:pt x="1545" y="401"/>
                </a:lnTo>
                <a:lnTo>
                  <a:pt x="1547" y="402"/>
                </a:lnTo>
                <a:lnTo>
                  <a:pt x="1548" y="399"/>
                </a:lnTo>
                <a:close/>
                <a:moveTo>
                  <a:pt x="1562" y="580"/>
                </a:moveTo>
                <a:lnTo>
                  <a:pt x="1562" y="582"/>
                </a:lnTo>
                <a:lnTo>
                  <a:pt x="1562" y="582"/>
                </a:lnTo>
                <a:lnTo>
                  <a:pt x="1562" y="580"/>
                </a:lnTo>
                <a:close/>
                <a:moveTo>
                  <a:pt x="1698" y="527"/>
                </a:moveTo>
                <a:lnTo>
                  <a:pt x="1699" y="528"/>
                </a:lnTo>
                <a:lnTo>
                  <a:pt x="1699" y="527"/>
                </a:lnTo>
                <a:lnTo>
                  <a:pt x="1698" y="527"/>
                </a:lnTo>
                <a:close/>
                <a:moveTo>
                  <a:pt x="1680" y="499"/>
                </a:moveTo>
                <a:lnTo>
                  <a:pt x="1672" y="500"/>
                </a:lnTo>
                <a:lnTo>
                  <a:pt x="1681" y="499"/>
                </a:lnTo>
                <a:lnTo>
                  <a:pt x="1672" y="497"/>
                </a:lnTo>
                <a:lnTo>
                  <a:pt x="1680" y="499"/>
                </a:lnTo>
                <a:close/>
                <a:moveTo>
                  <a:pt x="1658" y="487"/>
                </a:moveTo>
                <a:lnTo>
                  <a:pt x="1663" y="490"/>
                </a:lnTo>
                <a:lnTo>
                  <a:pt x="1663" y="488"/>
                </a:lnTo>
                <a:lnTo>
                  <a:pt x="1659" y="486"/>
                </a:lnTo>
                <a:lnTo>
                  <a:pt x="1658" y="487"/>
                </a:lnTo>
                <a:close/>
                <a:moveTo>
                  <a:pt x="1646" y="520"/>
                </a:moveTo>
                <a:lnTo>
                  <a:pt x="1643" y="521"/>
                </a:lnTo>
                <a:lnTo>
                  <a:pt x="1643" y="521"/>
                </a:lnTo>
                <a:lnTo>
                  <a:pt x="1646" y="520"/>
                </a:lnTo>
                <a:close/>
                <a:moveTo>
                  <a:pt x="1641" y="485"/>
                </a:moveTo>
                <a:lnTo>
                  <a:pt x="1648" y="486"/>
                </a:lnTo>
                <a:lnTo>
                  <a:pt x="1648" y="484"/>
                </a:lnTo>
                <a:lnTo>
                  <a:pt x="1647" y="485"/>
                </a:lnTo>
                <a:lnTo>
                  <a:pt x="1641" y="485"/>
                </a:lnTo>
                <a:close/>
                <a:moveTo>
                  <a:pt x="1626" y="474"/>
                </a:moveTo>
                <a:lnTo>
                  <a:pt x="1630" y="473"/>
                </a:lnTo>
                <a:lnTo>
                  <a:pt x="1631" y="474"/>
                </a:lnTo>
                <a:lnTo>
                  <a:pt x="1635" y="472"/>
                </a:lnTo>
                <a:lnTo>
                  <a:pt x="1628" y="473"/>
                </a:lnTo>
                <a:lnTo>
                  <a:pt x="1626" y="474"/>
                </a:lnTo>
                <a:close/>
                <a:moveTo>
                  <a:pt x="1604" y="435"/>
                </a:moveTo>
                <a:lnTo>
                  <a:pt x="1604" y="435"/>
                </a:lnTo>
                <a:lnTo>
                  <a:pt x="1605" y="434"/>
                </a:lnTo>
                <a:lnTo>
                  <a:pt x="1604" y="435"/>
                </a:lnTo>
                <a:lnTo>
                  <a:pt x="1604" y="435"/>
                </a:lnTo>
                <a:close/>
                <a:moveTo>
                  <a:pt x="1594" y="443"/>
                </a:moveTo>
                <a:lnTo>
                  <a:pt x="1605" y="443"/>
                </a:lnTo>
                <a:lnTo>
                  <a:pt x="1609" y="442"/>
                </a:lnTo>
                <a:lnTo>
                  <a:pt x="1594" y="443"/>
                </a:lnTo>
                <a:close/>
                <a:moveTo>
                  <a:pt x="1599" y="435"/>
                </a:moveTo>
                <a:lnTo>
                  <a:pt x="1598" y="435"/>
                </a:lnTo>
                <a:lnTo>
                  <a:pt x="1596" y="440"/>
                </a:lnTo>
                <a:lnTo>
                  <a:pt x="1599" y="435"/>
                </a:lnTo>
                <a:close/>
                <a:moveTo>
                  <a:pt x="1593" y="431"/>
                </a:moveTo>
                <a:lnTo>
                  <a:pt x="1594" y="431"/>
                </a:lnTo>
                <a:lnTo>
                  <a:pt x="1598" y="429"/>
                </a:lnTo>
                <a:lnTo>
                  <a:pt x="1598" y="428"/>
                </a:lnTo>
                <a:lnTo>
                  <a:pt x="1599" y="426"/>
                </a:lnTo>
                <a:lnTo>
                  <a:pt x="1593" y="431"/>
                </a:lnTo>
                <a:close/>
                <a:moveTo>
                  <a:pt x="1570" y="419"/>
                </a:moveTo>
                <a:lnTo>
                  <a:pt x="1569" y="423"/>
                </a:lnTo>
                <a:lnTo>
                  <a:pt x="1571" y="423"/>
                </a:lnTo>
                <a:lnTo>
                  <a:pt x="1574" y="415"/>
                </a:lnTo>
                <a:lnTo>
                  <a:pt x="1572" y="415"/>
                </a:lnTo>
                <a:lnTo>
                  <a:pt x="1569" y="419"/>
                </a:lnTo>
                <a:lnTo>
                  <a:pt x="1570" y="419"/>
                </a:lnTo>
                <a:close/>
                <a:moveTo>
                  <a:pt x="1565" y="212"/>
                </a:moveTo>
                <a:lnTo>
                  <a:pt x="1561" y="215"/>
                </a:lnTo>
                <a:lnTo>
                  <a:pt x="1569" y="218"/>
                </a:lnTo>
                <a:lnTo>
                  <a:pt x="1578" y="216"/>
                </a:lnTo>
                <a:lnTo>
                  <a:pt x="1565" y="212"/>
                </a:lnTo>
                <a:close/>
                <a:moveTo>
                  <a:pt x="1564" y="595"/>
                </a:moveTo>
                <a:lnTo>
                  <a:pt x="1570" y="595"/>
                </a:lnTo>
                <a:lnTo>
                  <a:pt x="1569" y="594"/>
                </a:lnTo>
                <a:lnTo>
                  <a:pt x="1564" y="595"/>
                </a:lnTo>
                <a:close/>
                <a:moveTo>
                  <a:pt x="1314" y="65"/>
                </a:moveTo>
                <a:lnTo>
                  <a:pt x="1316" y="65"/>
                </a:lnTo>
                <a:lnTo>
                  <a:pt x="1317" y="64"/>
                </a:lnTo>
                <a:lnTo>
                  <a:pt x="1314" y="65"/>
                </a:lnTo>
                <a:close/>
                <a:moveTo>
                  <a:pt x="1871" y="61"/>
                </a:moveTo>
                <a:lnTo>
                  <a:pt x="1848" y="50"/>
                </a:lnTo>
                <a:lnTo>
                  <a:pt x="1843" y="47"/>
                </a:lnTo>
                <a:lnTo>
                  <a:pt x="1840" y="51"/>
                </a:lnTo>
                <a:lnTo>
                  <a:pt x="1845" y="55"/>
                </a:lnTo>
                <a:lnTo>
                  <a:pt x="1871" y="61"/>
                </a:lnTo>
                <a:close/>
                <a:moveTo>
                  <a:pt x="1862" y="52"/>
                </a:moveTo>
                <a:lnTo>
                  <a:pt x="1855" y="50"/>
                </a:lnTo>
                <a:lnTo>
                  <a:pt x="1856" y="52"/>
                </a:lnTo>
                <a:lnTo>
                  <a:pt x="1862" y="52"/>
                </a:lnTo>
                <a:close/>
                <a:moveTo>
                  <a:pt x="1506" y="158"/>
                </a:moveTo>
                <a:lnTo>
                  <a:pt x="1489" y="155"/>
                </a:lnTo>
                <a:lnTo>
                  <a:pt x="1488" y="158"/>
                </a:lnTo>
                <a:lnTo>
                  <a:pt x="1506" y="158"/>
                </a:lnTo>
                <a:close/>
                <a:moveTo>
                  <a:pt x="1393" y="166"/>
                </a:moveTo>
                <a:lnTo>
                  <a:pt x="1402" y="166"/>
                </a:lnTo>
                <a:lnTo>
                  <a:pt x="1399" y="165"/>
                </a:lnTo>
                <a:lnTo>
                  <a:pt x="1390" y="163"/>
                </a:lnTo>
                <a:lnTo>
                  <a:pt x="1393" y="166"/>
                </a:lnTo>
                <a:close/>
                <a:moveTo>
                  <a:pt x="2339" y="58"/>
                </a:moveTo>
                <a:lnTo>
                  <a:pt x="2333" y="52"/>
                </a:lnTo>
                <a:lnTo>
                  <a:pt x="2341" y="61"/>
                </a:lnTo>
                <a:lnTo>
                  <a:pt x="2339" y="58"/>
                </a:lnTo>
                <a:close/>
                <a:moveTo>
                  <a:pt x="1514" y="162"/>
                </a:moveTo>
                <a:lnTo>
                  <a:pt x="1531" y="162"/>
                </a:lnTo>
                <a:lnTo>
                  <a:pt x="1526" y="160"/>
                </a:lnTo>
                <a:lnTo>
                  <a:pt x="1531" y="158"/>
                </a:lnTo>
                <a:lnTo>
                  <a:pt x="1506" y="158"/>
                </a:lnTo>
                <a:lnTo>
                  <a:pt x="1507" y="158"/>
                </a:lnTo>
                <a:lnTo>
                  <a:pt x="1514" y="162"/>
                </a:lnTo>
                <a:close/>
                <a:moveTo>
                  <a:pt x="1915" y="42"/>
                </a:moveTo>
                <a:lnTo>
                  <a:pt x="1905" y="40"/>
                </a:lnTo>
                <a:lnTo>
                  <a:pt x="1913" y="44"/>
                </a:lnTo>
                <a:lnTo>
                  <a:pt x="1915" y="42"/>
                </a:lnTo>
                <a:close/>
                <a:moveTo>
                  <a:pt x="1927" y="33"/>
                </a:moveTo>
                <a:lnTo>
                  <a:pt x="1912" y="30"/>
                </a:lnTo>
                <a:lnTo>
                  <a:pt x="1913" y="33"/>
                </a:lnTo>
                <a:lnTo>
                  <a:pt x="1927" y="33"/>
                </a:lnTo>
                <a:close/>
                <a:moveTo>
                  <a:pt x="2023" y="17"/>
                </a:moveTo>
                <a:lnTo>
                  <a:pt x="2013" y="17"/>
                </a:lnTo>
                <a:lnTo>
                  <a:pt x="2035" y="25"/>
                </a:lnTo>
                <a:lnTo>
                  <a:pt x="2023" y="17"/>
                </a:lnTo>
                <a:close/>
                <a:moveTo>
                  <a:pt x="1935" y="29"/>
                </a:moveTo>
                <a:lnTo>
                  <a:pt x="1941" y="29"/>
                </a:lnTo>
                <a:lnTo>
                  <a:pt x="1928" y="25"/>
                </a:lnTo>
                <a:lnTo>
                  <a:pt x="1935" y="29"/>
                </a:lnTo>
                <a:close/>
                <a:moveTo>
                  <a:pt x="1534" y="567"/>
                </a:moveTo>
                <a:lnTo>
                  <a:pt x="1535" y="567"/>
                </a:lnTo>
                <a:lnTo>
                  <a:pt x="1534" y="567"/>
                </a:lnTo>
                <a:lnTo>
                  <a:pt x="1534" y="567"/>
                </a:lnTo>
                <a:close/>
                <a:moveTo>
                  <a:pt x="2311" y="73"/>
                </a:moveTo>
                <a:lnTo>
                  <a:pt x="2322" y="70"/>
                </a:lnTo>
                <a:lnTo>
                  <a:pt x="2311" y="69"/>
                </a:lnTo>
                <a:lnTo>
                  <a:pt x="2310" y="70"/>
                </a:lnTo>
                <a:lnTo>
                  <a:pt x="2313" y="72"/>
                </a:lnTo>
                <a:lnTo>
                  <a:pt x="2311" y="73"/>
                </a:lnTo>
                <a:close/>
                <a:moveTo>
                  <a:pt x="1381" y="161"/>
                </a:moveTo>
                <a:lnTo>
                  <a:pt x="1382" y="163"/>
                </a:lnTo>
                <a:lnTo>
                  <a:pt x="1390" y="163"/>
                </a:lnTo>
                <a:lnTo>
                  <a:pt x="1385" y="160"/>
                </a:lnTo>
                <a:lnTo>
                  <a:pt x="1381" y="161"/>
                </a:lnTo>
                <a:close/>
                <a:moveTo>
                  <a:pt x="2329" y="65"/>
                </a:moveTo>
                <a:lnTo>
                  <a:pt x="2319" y="57"/>
                </a:lnTo>
                <a:lnTo>
                  <a:pt x="2313" y="57"/>
                </a:lnTo>
                <a:lnTo>
                  <a:pt x="2321" y="65"/>
                </a:lnTo>
                <a:lnTo>
                  <a:pt x="2329" y="65"/>
                </a:lnTo>
                <a:close/>
                <a:moveTo>
                  <a:pt x="1684" y="256"/>
                </a:moveTo>
                <a:lnTo>
                  <a:pt x="1685" y="257"/>
                </a:lnTo>
                <a:lnTo>
                  <a:pt x="1685" y="254"/>
                </a:lnTo>
                <a:lnTo>
                  <a:pt x="1684" y="256"/>
                </a:lnTo>
                <a:close/>
                <a:moveTo>
                  <a:pt x="1554" y="580"/>
                </a:moveTo>
                <a:lnTo>
                  <a:pt x="1554" y="579"/>
                </a:lnTo>
                <a:lnTo>
                  <a:pt x="1553" y="579"/>
                </a:lnTo>
                <a:lnTo>
                  <a:pt x="1554" y="580"/>
                </a:lnTo>
                <a:close/>
                <a:moveTo>
                  <a:pt x="1555" y="579"/>
                </a:moveTo>
                <a:lnTo>
                  <a:pt x="1554" y="579"/>
                </a:lnTo>
                <a:lnTo>
                  <a:pt x="1554" y="579"/>
                </a:lnTo>
                <a:lnTo>
                  <a:pt x="1555" y="579"/>
                </a:lnTo>
                <a:close/>
                <a:moveTo>
                  <a:pt x="1541" y="570"/>
                </a:moveTo>
                <a:lnTo>
                  <a:pt x="1542" y="572"/>
                </a:lnTo>
                <a:lnTo>
                  <a:pt x="1542" y="570"/>
                </a:lnTo>
                <a:lnTo>
                  <a:pt x="1542" y="568"/>
                </a:lnTo>
                <a:lnTo>
                  <a:pt x="1541" y="570"/>
                </a:lnTo>
                <a:close/>
                <a:moveTo>
                  <a:pt x="1544" y="567"/>
                </a:moveTo>
                <a:lnTo>
                  <a:pt x="1542" y="570"/>
                </a:lnTo>
                <a:lnTo>
                  <a:pt x="1544" y="570"/>
                </a:lnTo>
                <a:lnTo>
                  <a:pt x="1545" y="567"/>
                </a:lnTo>
                <a:lnTo>
                  <a:pt x="1544" y="567"/>
                </a:lnTo>
                <a:lnTo>
                  <a:pt x="1544" y="567"/>
                </a:lnTo>
                <a:close/>
                <a:moveTo>
                  <a:pt x="1536" y="567"/>
                </a:moveTo>
                <a:lnTo>
                  <a:pt x="1535" y="567"/>
                </a:lnTo>
                <a:lnTo>
                  <a:pt x="1535" y="567"/>
                </a:lnTo>
                <a:lnTo>
                  <a:pt x="1536" y="567"/>
                </a:lnTo>
                <a:close/>
                <a:moveTo>
                  <a:pt x="2344" y="73"/>
                </a:moveTo>
                <a:lnTo>
                  <a:pt x="2350" y="73"/>
                </a:lnTo>
                <a:lnTo>
                  <a:pt x="2343" y="69"/>
                </a:lnTo>
                <a:lnTo>
                  <a:pt x="2335" y="69"/>
                </a:lnTo>
                <a:lnTo>
                  <a:pt x="2344" y="73"/>
                </a:lnTo>
                <a:close/>
                <a:moveTo>
                  <a:pt x="1543" y="567"/>
                </a:moveTo>
                <a:lnTo>
                  <a:pt x="1542" y="567"/>
                </a:lnTo>
                <a:lnTo>
                  <a:pt x="1542" y="567"/>
                </a:lnTo>
                <a:lnTo>
                  <a:pt x="1543" y="567"/>
                </a:lnTo>
                <a:close/>
                <a:moveTo>
                  <a:pt x="1682" y="596"/>
                </a:moveTo>
                <a:lnTo>
                  <a:pt x="1680" y="591"/>
                </a:lnTo>
                <a:lnTo>
                  <a:pt x="1678" y="587"/>
                </a:lnTo>
                <a:lnTo>
                  <a:pt x="1675" y="588"/>
                </a:lnTo>
                <a:lnTo>
                  <a:pt x="1675" y="589"/>
                </a:lnTo>
                <a:lnTo>
                  <a:pt x="1675" y="591"/>
                </a:lnTo>
                <a:lnTo>
                  <a:pt x="1682" y="596"/>
                </a:lnTo>
                <a:close/>
                <a:moveTo>
                  <a:pt x="1278" y="72"/>
                </a:moveTo>
                <a:lnTo>
                  <a:pt x="1275" y="72"/>
                </a:lnTo>
                <a:lnTo>
                  <a:pt x="1300" y="62"/>
                </a:lnTo>
                <a:lnTo>
                  <a:pt x="1310" y="62"/>
                </a:lnTo>
                <a:lnTo>
                  <a:pt x="1315" y="67"/>
                </a:lnTo>
                <a:lnTo>
                  <a:pt x="1316" y="65"/>
                </a:lnTo>
                <a:lnTo>
                  <a:pt x="1321" y="65"/>
                </a:lnTo>
                <a:lnTo>
                  <a:pt x="1319" y="62"/>
                </a:lnTo>
                <a:lnTo>
                  <a:pt x="1333" y="55"/>
                </a:lnTo>
                <a:lnTo>
                  <a:pt x="1344" y="56"/>
                </a:lnTo>
                <a:lnTo>
                  <a:pt x="1346" y="58"/>
                </a:lnTo>
                <a:lnTo>
                  <a:pt x="1344" y="60"/>
                </a:lnTo>
                <a:lnTo>
                  <a:pt x="1352" y="62"/>
                </a:lnTo>
                <a:lnTo>
                  <a:pt x="1347" y="61"/>
                </a:lnTo>
                <a:lnTo>
                  <a:pt x="1350" y="57"/>
                </a:lnTo>
                <a:lnTo>
                  <a:pt x="1359" y="57"/>
                </a:lnTo>
                <a:lnTo>
                  <a:pt x="1370" y="66"/>
                </a:lnTo>
                <a:lnTo>
                  <a:pt x="1368" y="61"/>
                </a:lnTo>
                <a:lnTo>
                  <a:pt x="1376" y="61"/>
                </a:lnTo>
                <a:lnTo>
                  <a:pt x="1381" y="63"/>
                </a:lnTo>
                <a:lnTo>
                  <a:pt x="1377" y="61"/>
                </a:lnTo>
                <a:lnTo>
                  <a:pt x="1380" y="61"/>
                </a:lnTo>
                <a:lnTo>
                  <a:pt x="1384" y="63"/>
                </a:lnTo>
                <a:lnTo>
                  <a:pt x="1380" y="58"/>
                </a:lnTo>
                <a:lnTo>
                  <a:pt x="1354" y="54"/>
                </a:lnTo>
                <a:lnTo>
                  <a:pt x="1350" y="51"/>
                </a:lnTo>
                <a:lnTo>
                  <a:pt x="1373" y="49"/>
                </a:lnTo>
                <a:lnTo>
                  <a:pt x="1370" y="45"/>
                </a:lnTo>
                <a:lnTo>
                  <a:pt x="1365" y="43"/>
                </a:lnTo>
                <a:lnTo>
                  <a:pt x="1377" y="42"/>
                </a:lnTo>
                <a:lnTo>
                  <a:pt x="1400" y="47"/>
                </a:lnTo>
                <a:lnTo>
                  <a:pt x="1408" y="54"/>
                </a:lnTo>
                <a:lnTo>
                  <a:pt x="1403" y="56"/>
                </a:lnTo>
                <a:lnTo>
                  <a:pt x="1425" y="58"/>
                </a:lnTo>
                <a:lnTo>
                  <a:pt x="1414" y="54"/>
                </a:lnTo>
                <a:lnTo>
                  <a:pt x="1407" y="50"/>
                </a:lnTo>
                <a:lnTo>
                  <a:pt x="1414" y="49"/>
                </a:lnTo>
                <a:lnTo>
                  <a:pt x="1463" y="65"/>
                </a:lnTo>
                <a:lnTo>
                  <a:pt x="1453" y="58"/>
                </a:lnTo>
                <a:lnTo>
                  <a:pt x="1441" y="56"/>
                </a:lnTo>
                <a:lnTo>
                  <a:pt x="1437" y="55"/>
                </a:lnTo>
                <a:lnTo>
                  <a:pt x="1439" y="54"/>
                </a:lnTo>
                <a:lnTo>
                  <a:pt x="1425" y="50"/>
                </a:lnTo>
                <a:lnTo>
                  <a:pt x="1412" y="46"/>
                </a:lnTo>
                <a:lnTo>
                  <a:pt x="1415" y="41"/>
                </a:lnTo>
                <a:lnTo>
                  <a:pt x="1429" y="41"/>
                </a:lnTo>
                <a:lnTo>
                  <a:pt x="1416" y="37"/>
                </a:lnTo>
                <a:lnTo>
                  <a:pt x="1420" y="36"/>
                </a:lnTo>
                <a:lnTo>
                  <a:pt x="1442" y="38"/>
                </a:lnTo>
                <a:lnTo>
                  <a:pt x="1427" y="31"/>
                </a:lnTo>
                <a:lnTo>
                  <a:pt x="1429" y="28"/>
                </a:lnTo>
                <a:lnTo>
                  <a:pt x="1445" y="31"/>
                </a:lnTo>
                <a:lnTo>
                  <a:pt x="1453" y="37"/>
                </a:lnTo>
                <a:lnTo>
                  <a:pt x="1455" y="37"/>
                </a:lnTo>
                <a:lnTo>
                  <a:pt x="1472" y="37"/>
                </a:lnTo>
                <a:lnTo>
                  <a:pt x="1453" y="33"/>
                </a:lnTo>
                <a:lnTo>
                  <a:pt x="1452" y="31"/>
                </a:lnTo>
                <a:lnTo>
                  <a:pt x="1456" y="28"/>
                </a:lnTo>
                <a:lnTo>
                  <a:pt x="1445" y="27"/>
                </a:lnTo>
                <a:lnTo>
                  <a:pt x="1453" y="25"/>
                </a:lnTo>
                <a:lnTo>
                  <a:pt x="1460" y="25"/>
                </a:lnTo>
                <a:lnTo>
                  <a:pt x="1463" y="27"/>
                </a:lnTo>
                <a:lnTo>
                  <a:pt x="1469" y="24"/>
                </a:lnTo>
                <a:lnTo>
                  <a:pt x="1470" y="25"/>
                </a:lnTo>
                <a:lnTo>
                  <a:pt x="1470" y="29"/>
                </a:lnTo>
                <a:lnTo>
                  <a:pt x="1479" y="29"/>
                </a:lnTo>
                <a:lnTo>
                  <a:pt x="1477" y="27"/>
                </a:lnTo>
                <a:lnTo>
                  <a:pt x="1483" y="25"/>
                </a:lnTo>
                <a:lnTo>
                  <a:pt x="1510" y="36"/>
                </a:lnTo>
                <a:lnTo>
                  <a:pt x="1505" y="43"/>
                </a:lnTo>
                <a:lnTo>
                  <a:pt x="1519" y="36"/>
                </a:lnTo>
                <a:lnTo>
                  <a:pt x="1504" y="32"/>
                </a:lnTo>
                <a:lnTo>
                  <a:pt x="1508" y="31"/>
                </a:lnTo>
                <a:lnTo>
                  <a:pt x="1488" y="23"/>
                </a:lnTo>
                <a:lnTo>
                  <a:pt x="1492" y="21"/>
                </a:lnTo>
                <a:lnTo>
                  <a:pt x="1531" y="21"/>
                </a:lnTo>
                <a:lnTo>
                  <a:pt x="1541" y="27"/>
                </a:lnTo>
                <a:lnTo>
                  <a:pt x="1559" y="34"/>
                </a:lnTo>
                <a:lnTo>
                  <a:pt x="1560" y="32"/>
                </a:lnTo>
                <a:lnTo>
                  <a:pt x="1542" y="26"/>
                </a:lnTo>
                <a:lnTo>
                  <a:pt x="1559" y="21"/>
                </a:lnTo>
                <a:lnTo>
                  <a:pt x="1571" y="21"/>
                </a:lnTo>
                <a:lnTo>
                  <a:pt x="1572" y="21"/>
                </a:lnTo>
                <a:lnTo>
                  <a:pt x="1569" y="23"/>
                </a:lnTo>
                <a:lnTo>
                  <a:pt x="1582" y="27"/>
                </a:lnTo>
                <a:lnTo>
                  <a:pt x="1574" y="22"/>
                </a:lnTo>
                <a:lnTo>
                  <a:pt x="1592" y="16"/>
                </a:lnTo>
                <a:lnTo>
                  <a:pt x="1604" y="20"/>
                </a:lnTo>
                <a:lnTo>
                  <a:pt x="1602" y="22"/>
                </a:lnTo>
                <a:lnTo>
                  <a:pt x="1609" y="20"/>
                </a:lnTo>
                <a:lnTo>
                  <a:pt x="1618" y="22"/>
                </a:lnTo>
                <a:lnTo>
                  <a:pt x="1618" y="29"/>
                </a:lnTo>
                <a:lnTo>
                  <a:pt x="1648" y="29"/>
                </a:lnTo>
                <a:lnTo>
                  <a:pt x="1615" y="38"/>
                </a:lnTo>
                <a:lnTo>
                  <a:pt x="1633" y="35"/>
                </a:lnTo>
                <a:lnTo>
                  <a:pt x="1657" y="28"/>
                </a:lnTo>
                <a:lnTo>
                  <a:pt x="1665" y="30"/>
                </a:lnTo>
                <a:lnTo>
                  <a:pt x="1667" y="28"/>
                </a:lnTo>
                <a:lnTo>
                  <a:pt x="1664" y="27"/>
                </a:lnTo>
                <a:lnTo>
                  <a:pt x="1674" y="25"/>
                </a:lnTo>
                <a:lnTo>
                  <a:pt x="1671" y="27"/>
                </a:lnTo>
                <a:lnTo>
                  <a:pt x="1676" y="31"/>
                </a:lnTo>
                <a:lnTo>
                  <a:pt x="1691" y="28"/>
                </a:lnTo>
                <a:lnTo>
                  <a:pt x="1693" y="31"/>
                </a:lnTo>
                <a:lnTo>
                  <a:pt x="1686" y="34"/>
                </a:lnTo>
                <a:lnTo>
                  <a:pt x="1699" y="39"/>
                </a:lnTo>
                <a:lnTo>
                  <a:pt x="1696" y="42"/>
                </a:lnTo>
                <a:lnTo>
                  <a:pt x="1693" y="44"/>
                </a:lnTo>
                <a:lnTo>
                  <a:pt x="1710" y="41"/>
                </a:lnTo>
                <a:lnTo>
                  <a:pt x="1707" y="45"/>
                </a:lnTo>
                <a:lnTo>
                  <a:pt x="1720" y="45"/>
                </a:lnTo>
                <a:lnTo>
                  <a:pt x="1726" y="48"/>
                </a:lnTo>
                <a:lnTo>
                  <a:pt x="1724" y="50"/>
                </a:lnTo>
                <a:lnTo>
                  <a:pt x="1708" y="58"/>
                </a:lnTo>
                <a:lnTo>
                  <a:pt x="1686" y="66"/>
                </a:lnTo>
                <a:lnTo>
                  <a:pt x="1679" y="66"/>
                </a:lnTo>
                <a:lnTo>
                  <a:pt x="1681" y="69"/>
                </a:lnTo>
                <a:lnTo>
                  <a:pt x="1679" y="69"/>
                </a:lnTo>
                <a:lnTo>
                  <a:pt x="1665" y="69"/>
                </a:lnTo>
                <a:lnTo>
                  <a:pt x="1653" y="73"/>
                </a:lnTo>
                <a:lnTo>
                  <a:pt x="1664" y="73"/>
                </a:lnTo>
                <a:lnTo>
                  <a:pt x="1657" y="75"/>
                </a:lnTo>
                <a:lnTo>
                  <a:pt x="1621" y="74"/>
                </a:lnTo>
                <a:lnTo>
                  <a:pt x="1605" y="71"/>
                </a:lnTo>
                <a:lnTo>
                  <a:pt x="1620" y="77"/>
                </a:lnTo>
                <a:lnTo>
                  <a:pt x="1644" y="77"/>
                </a:lnTo>
                <a:lnTo>
                  <a:pt x="1593" y="89"/>
                </a:lnTo>
                <a:lnTo>
                  <a:pt x="1601" y="89"/>
                </a:lnTo>
                <a:lnTo>
                  <a:pt x="1594" y="93"/>
                </a:lnTo>
                <a:lnTo>
                  <a:pt x="1596" y="93"/>
                </a:lnTo>
                <a:lnTo>
                  <a:pt x="1659" y="78"/>
                </a:lnTo>
                <a:lnTo>
                  <a:pt x="1675" y="74"/>
                </a:lnTo>
                <a:lnTo>
                  <a:pt x="1676" y="77"/>
                </a:lnTo>
                <a:lnTo>
                  <a:pt x="1637" y="96"/>
                </a:lnTo>
                <a:lnTo>
                  <a:pt x="1630" y="97"/>
                </a:lnTo>
                <a:lnTo>
                  <a:pt x="1631" y="97"/>
                </a:lnTo>
                <a:lnTo>
                  <a:pt x="1611" y="109"/>
                </a:lnTo>
                <a:lnTo>
                  <a:pt x="1604" y="116"/>
                </a:lnTo>
                <a:lnTo>
                  <a:pt x="1594" y="120"/>
                </a:lnTo>
                <a:lnTo>
                  <a:pt x="1596" y="120"/>
                </a:lnTo>
                <a:lnTo>
                  <a:pt x="1593" y="123"/>
                </a:lnTo>
                <a:lnTo>
                  <a:pt x="1571" y="126"/>
                </a:lnTo>
                <a:lnTo>
                  <a:pt x="1561" y="123"/>
                </a:lnTo>
                <a:lnTo>
                  <a:pt x="1567" y="126"/>
                </a:lnTo>
                <a:lnTo>
                  <a:pt x="1558" y="126"/>
                </a:lnTo>
                <a:lnTo>
                  <a:pt x="1558" y="127"/>
                </a:lnTo>
                <a:lnTo>
                  <a:pt x="1587" y="126"/>
                </a:lnTo>
                <a:lnTo>
                  <a:pt x="1574" y="132"/>
                </a:lnTo>
                <a:lnTo>
                  <a:pt x="1582" y="135"/>
                </a:lnTo>
                <a:lnTo>
                  <a:pt x="1579" y="138"/>
                </a:lnTo>
                <a:lnTo>
                  <a:pt x="1562" y="142"/>
                </a:lnTo>
                <a:lnTo>
                  <a:pt x="1553" y="141"/>
                </a:lnTo>
                <a:lnTo>
                  <a:pt x="1552" y="138"/>
                </a:lnTo>
                <a:lnTo>
                  <a:pt x="1534" y="138"/>
                </a:lnTo>
                <a:lnTo>
                  <a:pt x="1526" y="138"/>
                </a:lnTo>
                <a:lnTo>
                  <a:pt x="1547" y="139"/>
                </a:lnTo>
                <a:lnTo>
                  <a:pt x="1549" y="143"/>
                </a:lnTo>
                <a:lnTo>
                  <a:pt x="1542" y="147"/>
                </a:lnTo>
                <a:lnTo>
                  <a:pt x="1538" y="143"/>
                </a:lnTo>
                <a:lnTo>
                  <a:pt x="1539" y="147"/>
                </a:lnTo>
                <a:lnTo>
                  <a:pt x="1536" y="149"/>
                </a:lnTo>
                <a:lnTo>
                  <a:pt x="1525" y="146"/>
                </a:lnTo>
                <a:lnTo>
                  <a:pt x="1522" y="147"/>
                </a:lnTo>
                <a:lnTo>
                  <a:pt x="1525" y="149"/>
                </a:lnTo>
                <a:lnTo>
                  <a:pt x="1522" y="151"/>
                </a:lnTo>
                <a:lnTo>
                  <a:pt x="1493" y="143"/>
                </a:lnTo>
                <a:lnTo>
                  <a:pt x="1492" y="147"/>
                </a:lnTo>
                <a:lnTo>
                  <a:pt x="1505" y="149"/>
                </a:lnTo>
                <a:lnTo>
                  <a:pt x="1507" y="154"/>
                </a:lnTo>
                <a:lnTo>
                  <a:pt x="1496" y="154"/>
                </a:lnTo>
                <a:lnTo>
                  <a:pt x="1489" y="149"/>
                </a:lnTo>
                <a:lnTo>
                  <a:pt x="1493" y="153"/>
                </a:lnTo>
                <a:lnTo>
                  <a:pt x="1479" y="152"/>
                </a:lnTo>
                <a:lnTo>
                  <a:pt x="1489" y="155"/>
                </a:lnTo>
                <a:lnTo>
                  <a:pt x="1489" y="155"/>
                </a:lnTo>
                <a:lnTo>
                  <a:pt x="1483" y="154"/>
                </a:lnTo>
                <a:lnTo>
                  <a:pt x="1477" y="157"/>
                </a:lnTo>
                <a:lnTo>
                  <a:pt x="1507" y="160"/>
                </a:lnTo>
                <a:lnTo>
                  <a:pt x="1486" y="162"/>
                </a:lnTo>
                <a:lnTo>
                  <a:pt x="1467" y="160"/>
                </a:lnTo>
                <a:lnTo>
                  <a:pt x="1485" y="162"/>
                </a:lnTo>
                <a:lnTo>
                  <a:pt x="1483" y="164"/>
                </a:lnTo>
                <a:lnTo>
                  <a:pt x="1500" y="162"/>
                </a:lnTo>
                <a:lnTo>
                  <a:pt x="1514" y="164"/>
                </a:lnTo>
                <a:lnTo>
                  <a:pt x="1503" y="169"/>
                </a:lnTo>
                <a:lnTo>
                  <a:pt x="1519" y="166"/>
                </a:lnTo>
                <a:lnTo>
                  <a:pt x="1526" y="169"/>
                </a:lnTo>
                <a:lnTo>
                  <a:pt x="1527" y="172"/>
                </a:lnTo>
                <a:lnTo>
                  <a:pt x="1525" y="173"/>
                </a:lnTo>
                <a:lnTo>
                  <a:pt x="1526" y="177"/>
                </a:lnTo>
                <a:lnTo>
                  <a:pt x="1522" y="178"/>
                </a:lnTo>
                <a:lnTo>
                  <a:pt x="1500" y="178"/>
                </a:lnTo>
                <a:lnTo>
                  <a:pt x="1516" y="182"/>
                </a:lnTo>
                <a:lnTo>
                  <a:pt x="1522" y="185"/>
                </a:lnTo>
                <a:lnTo>
                  <a:pt x="1515" y="190"/>
                </a:lnTo>
                <a:lnTo>
                  <a:pt x="1496" y="190"/>
                </a:lnTo>
                <a:lnTo>
                  <a:pt x="1515" y="192"/>
                </a:lnTo>
                <a:lnTo>
                  <a:pt x="1510" y="195"/>
                </a:lnTo>
                <a:lnTo>
                  <a:pt x="1505" y="194"/>
                </a:lnTo>
                <a:lnTo>
                  <a:pt x="1496" y="198"/>
                </a:lnTo>
                <a:lnTo>
                  <a:pt x="1476" y="195"/>
                </a:lnTo>
                <a:lnTo>
                  <a:pt x="1473" y="198"/>
                </a:lnTo>
                <a:lnTo>
                  <a:pt x="1478" y="200"/>
                </a:lnTo>
                <a:lnTo>
                  <a:pt x="1478" y="204"/>
                </a:lnTo>
                <a:lnTo>
                  <a:pt x="1481" y="207"/>
                </a:lnTo>
                <a:lnTo>
                  <a:pt x="1477" y="216"/>
                </a:lnTo>
                <a:lnTo>
                  <a:pt x="1463" y="218"/>
                </a:lnTo>
                <a:lnTo>
                  <a:pt x="1445" y="218"/>
                </a:lnTo>
                <a:lnTo>
                  <a:pt x="1433" y="215"/>
                </a:lnTo>
                <a:lnTo>
                  <a:pt x="1422" y="206"/>
                </a:lnTo>
                <a:lnTo>
                  <a:pt x="1422" y="207"/>
                </a:lnTo>
                <a:lnTo>
                  <a:pt x="1427" y="211"/>
                </a:lnTo>
                <a:lnTo>
                  <a:pt x="1426" y="215"/>
                </a:lnTo>
                <a:lnTo>
                  <a:pt x="1434" y="218"/>
                </a:lnTo>
                <a:lnTo>
                  <a:pt x="1420" y="218"/>
                </a:lnTo>
                <a:lnTo>
                  <a:pt x="1425" y="222"/>
                </a:lnTo>
                <a:lnTo>
                  <a:pt x="1434" y="218"/>
                </a:lnTo>
                <a:lnTo>
                  <a:pt x="1449" y="221"/>
                </a:lnTo>
                <a:lnTo>
                  <a:pt x="1455" y="218"/>
                </a:lnTo>
                <a:lnTo>
                  <a:pt x="1463" y="221"/>
                </a:lnTo>
                <a:lnTo>
                  <a:pt x="1466" y="224"/>
                </a:lnTo>
                <a:lnTo>
                  <a:pt x="1460" y="230"/>
                </a:lnTo>
                <a:lnTo>
                  <a:pt x="1466" y="230"/>
                </a:lnTo>
                <a:lnTo>
                  <a:pt x="1466" y="234"/>
                </a:lnTo>
                <a:lnTo>
                  <a:pt x="1469" y="234"/>
                </a:lnTo>
                <a:lnTo>
                  <a:pt x="1475" y="228"/>
                </a:lnTo>
                <a:lnTo>
                  <a:pt x="1482" y="229"/>
                </a:lnTo>
                <a:lnTo>
                  <a:pt x="1482" y="237"/>
                </a:lnTo>
                <a:lnTo>
                  <a:pt x="1474" y="244"/>
                </a:lnTo>
                <a:lnTo>
                  <a:pt x="1469" y="240"/>
                </a:lnTo>
                <a:lnTo>
                  <a:pt x="1460" y="249"/>
                </a:lnTo>
                <a:lnTo>
                  <a:pt x="1434" y="252"/>
                </a:lnTo>
                <a:lnTo>
                  <a:pt x="1434" y="251"/>
                </a:lnTo>
                <a:lnTo>
                  <a:pt x="1440" y="245"/>
                </a:lnTo>
                <a:lnTo>
                  <a:pt x="1433" y="241"/>
                </a:lnTo>
                <a:lnTo>
                  <a:pt x="1429" y="244"/>
                </a:lnTo>
                <a:lnTo>
                  <a:pt x="1422" y="241"/>
                </a:lnTo>
                <a:lnTo>
                  <a:pt x="1423" y="240"/>
                </a:lnTo>
                <a:lnTo>
                  <a:pt x="1422" y="238"/>
                </a:lnTo>
                <a:lnTo>
                  <a:pt x="1426" y="237"/>
                </a:lnTo>
                <a:lnTo>
                  <a:pt x="1418" y="238"/>
                </a:lnTo>
                <a:lnTo>
                  <a:pt x="1412" y="232"/>
                </a:lnTo>
                <a:lnTo>
                  <a:pt x="1415" y="238"/>
                </a:lnTo>
                <a:lnTo>
                  <a:pt x="1422" y="240"/>
                </a:lnTo>
                <a:lnTo>
                  <a:pt x="1418" y="241"/>
                </a:lnTo>
                <a:lnTo>
                  <a:pt x="1420" y="244"/>
                </a:lnTo>
                <a:lnTo>
                  <a:pt x="1407" y="245"/>
                </a:lnTo>
                <a:lnTo>
                  <a:pt x="1402" y="234"/>
                </a:lnTo>
                <a:lnTo>
                  <a:pt x="1400" y="238"/>
                </a:lnTo>
                <a:lnTo>
                  <a:pt x="1403" y="241"/>
                </a:lnTo>
                <a:lnTo>
                  <a:pt x="1403" y="246"/>
                </a:lnTo>
                <a:lnTo>
                  <a:pt x="1396" y="246"/>
                </a:lnTo>
                <a:lnTo>
                  <a:pt x="1390" y="239"/>
                </a:lnTo>
                <a:lnTo>
                  <a:pt x="1388" y="241"/>
                </a:lnTo>
                <a:lnTo>
                  <a:pt x="1390" y="244"/>
                </a:lnTo>
                <a:lnTo>
                  <a:pt x="1384" y="245"/>
                </a:lnTo>
                <a:lnTo>
                  <a:pt x="1377" y="240"/>
                </a:lnTo>
                <a:lnTo>
                  <a:pt x="1380" y="246"/>
                </a:lnTo>
                <a:lnTo>
                  <a:pt x="1387" y="250"/>
                </a:lnTo>
                <a:lnTo>
                  <a:pt x="1380" y="250"/>
                </a:lnTo>
                <a:lnTo>
                  <a:pt x="1359" y="246"/>
                </a:lnTo>
                <a:lnTo>
                  <a:pt x="1357" y="244"/>
                </a:lnTo>
                <a:lnTo>
                  <a:pt x="1360" y="241"/>
                </a:lnTo>
                <a:lnTo>
                  <a:pt x="1355" y="238"/>
                </a:lnTo>
                <a:lnTo>
                  <a:pt x="1358" y="241"/>
                </a:lnTo>
                <a:lnTo>
                  <a:pt x="1353" y="244"/>
                </a:lnTo>
                <a:lnTo>
                  <a:pt x="1353" y="246"/>
                </a:lnTo>
                <a:lnTo>
                  <a:pt x="1340" y="244"/>
                </a:lnTo>
                <a:lnTo>
                  <a:pt x="1337" y="238"/>
                </a:lnTo>
                <a:lnTo>
                  <a:pt x="1337" y="244"/>
                </a:lnTo>
                <a:lnTo>
                  <a:pt x="1341" y="246"/>
                </a:lnTo>
                <a:lnTo>
                  <a:pt x="1328" y="245"/>
                </a:lnTo>
                <a:lnTo>
                  <a:pt x="1329" y="241"/>
                </a:lnTo>
                <a:lnTo>
                  <a:pt x="1326" y="238"/>
                </a:lnTo>
                <a:lnTo>
                  <a:pt x="1328" y="232"/>
                </a:lnTo>
                <a:lnTo>
                  <a:pt x="1324" y="234"/>
                </a:lnTo>
                <a:lnTo>
                  <a:pt x="1325" y="240"/>
                </a:lnTo>
                <a:lnTo>
                  <a:pt x="1321" y="245"/>
                </a:lnTo>
                <a:lnTo>
                  <a:pt x="1321" y="240"/>
                </a:lnTo>
                <a:lnTo>
                  <a:pt x="1320" y="245"/>
                </a:lnTo>
                <a:lnTo>
                  <a:pt x="1310" y="240"/>
                </a:lnTo>
                <a:lnTo>
                  <a:pt x="1314" y="238"/>
                </a:lnTo>
                <a:lnTo>
                  <a:pt x="1313" y="234"/>
                </a:lnTo>
                <a:lnTo>
                  <a:pt x="1328" y="226"/>
                </a:lnTo>
                <a:lnTo>
                  <a:pt x="1326" y="226"/>
                </a:lnTo>
                <a:lnTo>
                  <a:pt x="1352" y="222"/>
                </a:lnTo>
                <a:lnTo>
                  <a:pt x="1346" y="222"/>
                </a:lnTo>
                <a:lnTo>
                  <a:pt x="1350" y="219"/>
                </a:lnTo>
                <a:lnTo>
                  <a:pt x="1346" y="219"/>
                </a:lnTo>
                <a:lnTo>
                  <a:pt x="1350" y="218"/>
                </a:lnTo>
                <a:lnTo>
                  <a:pt x="1340" y="218"/>
                </a:lnTo>
                <a:lnTo>
                  <a:pt x="1335" y="216"/>
                </a:lnTo>
                <a:lnTo>
                  <a:pt x="1337" y="212"/>
                </a:lnTo>
                <a:lnTo>
                  <a:pt x="1337" y="210"/>
                </a:lnTo>
                <a:lnTo>
                  <a:pt x="1331" y="206"/>
                </a:lnTo>
                <a:lnTo>
                  <a:pt x="1333" y="200"/>
                </a:lnTo>
                <a:lnTo>
                  <a:pt x="1346" y="199"/>
                </a:lnTo>
                <a:lnTo>
                  <a:pt x="1357" y="200"/>
                </a:lnTo>
                <a:lnTo>
                  <a:pt x="1363" y="204"/>
                </a:lnTo>
                <a:lnTo>
                  <a:pt x="1368" y="212"/>
                </a:lnTo>
                <a:lnTo>
                  <a:pt x="1366" y="214"/>
                </a:lnTo>
                <a:lnTo>
                  <a:pt x="1369" y="212"/>
                </a:lnTo>
                <a:lnTo>
                  <a:pt x="1385" y="217"/>
                </a:lnTo>
                <a:lnTo>
                  <a:pt x="1384" y="214"/>
                </a:lnTo>
                <a:lnTo>
                  <a:pt x="1400" y="215"/>
                </a:lnTo>
                <a:lnTo>
                  <a:pt x="1396" y="212"/>
                </a:lnTo>
                <a:lnTo>
                  <a:pt x="1393" y="214"/>
                </a:lnTo>
                <a:lnTo>
                  <a:pt x="1381" y="214"/>
                </a:lnTo>
                <a:lnTo>
                  <a:pt x="1380" y="211"/>
                </a:lnTo>
                <a:lnTo>
                  <a:pt x="1380" y="211"/>
                </a:lnTo>
                <a:lnTo>
                  <a:pt x="1376" y="212"/>
                </a:lnTo>
                <a:lnTo>
                  <a:pt x="1369" y="210"/>
                </a:lnTo>
                <a:lnTo>
                  <a:pt x="1374" y="210"/>
                </a:lnTo>
                <a:lnTo>
                  <a:pt x="1380" y="211"/>
                </a:lnTo>
                <a:lnTo>
                  <a:pt x="1385" y="204"/>
                </a:lnTo>
                <a:lnTo>
                  <a:pt x="1380" y="207"/>
                </a:lnTo>
                <a:lnTo>
                  <a:pt x="1373" y="205"/>
                </a:lnTo>
                <a:lnTo>
                  <a:pt x="1377" y="202"/>
                </a:lnTo>
                <a:lnTo>
                  <a:pt x="1373" y="202"/>
                </a:lnTo>
                <a:lnTo>
                  <a:pt x="1370" y="202"/>
                </a:lnTo>
                <a:lnTo>
                  <a:pt x="1368" y="200"/>
                </a:lnTo>
                <a:lnTo>
                  <a:pt x="1377" y="194"/>
                </a:lnTo>
                <a:lnTo>
                  <a:pt x="1376" y="194"/>
                </a:lnTo>
                <a:lnTo>
                  <a:pt x="1377" y="190"/>
                </a:lnTo>
                <a:lnTo>
                  <a:pt x="1390" y="190"/>
                </a:lnTo>
                <a:lnTo>
                  <a:pt x="1380" y="189"/>
                </a:lnTo>
                <a:lnTo>
                  <a:pt x="1381" y="186"/>
                </a:lnTo>
                <a:lnTo>
                  <a:pt x="1384" y="186"/>
                </a:lnTo>
                <a:lnTo>
                  <a:pt x="1380" y="184"/>
                </a:lnTo>
                <a:lnTo>
                  <a:pt x="1384" y="176"/>
                </a:lnTo>
                <a:lnTo>
                  <a:pt x="1376" y="181"/>
                </a:lnTo>
                <a:lnTo>
                  <a:pt x="1379" y="184"/>
                </a:lnTo>
                <a:lnTo>
                  <a:pt x="1369" y="192"/>
                </a:lnTo>
                <a:lnTo>
                  <a:pt x="1357" y="193"/>
                </a:lnTo>
                <a:lnTo>
                  <a:pt x="1357" y="191"/>
                </a:lnTo>
                <a:lnTo>
                  <a:pt x="1352" y="194"/>
                </a:lnTo>
                <a:lnTo>
                  <a:pt x="1341" y="194"/>
                </a:lnTo>
                <a:lnTo>
                  <a:pt x="1347" y="190"/>
                </a:lnTo>
                <a:lnTo>
                  <a:pt x="1337" y="190"/>
                </a:lnTo>
                <a:lnTo>
                  <a:pt x="1337" y="181"/>
                </a:lnTo>
                <a:lnTo>
                  <a:pt x="1347" y="178"/>
                </a:lnTo>
                <a:lnTo>
                  <a:pt x="1350" y="178"/>
                </a:lnTo>
                <a:lnTo>
                  <a:pt x="1347" y="177"/>
                </a:lnTo>
                <a:lnTo>
                  <a:pt x="1350" y="172"/>
                </a:lnTo>
                <a:lnTo>
                  <a:pt x="1377" y="165"/>
                </a:lnTo>
                <a:lnTo>
                  <a:pt x="1396" y="170"/>
                </a:lnTo>
                <a:lnTo>
                  <a:pt x="1416" y="178"/>
                </a:lnTo>
                <a:lnTo>
                  <a:pt x="1418" y="178"/>
                </a:lnTo>
                <a:lnTo>
                  <a:pt x="1414" y="175"/>
                </a:lnTo>
                <a:lnTo>
                  <a:pt x="1420" y="174"/>
                </a:lnTo>
                <a:lnTo>
                  <a:pt x="1410" y="174"/>
                </a:lnTo>
                <a:lnTo>
                  <a:pt x="1403" y="170"/>
                </a:lnTo>
                <a:lnTo>
                  <a:pt x="1426" y="170"/>
                </a:lnTo>
                <a:lnTo>
                  <a:pt x="1426" y="164"/>
                </a:lnTo>
                <a:lnTo>
                  <a:pt x="1429" y="162"/>
                </a:lnTo>
                <a:lnTo>
                  <a:pt x="1415" y="166"/>
                </a:lnTo>
                <a:lnTo>
                  <a:pt x="1399" y="165"/>
                </a:lnTo>
                <a:lnTo>
                  <a:pt x="1392" y="159"/>
                </a:lnTo>
                <a:lnTo>
                  <a:pt x="1393" y="154"/>
                </a:lnTo>
                <a:lnTo>
                  <a:pt x="1387" y="157"/>
                </a:lnTo>
                <a:lnTo>
                  <a:pt x="1385" y="149"/>
                </a:lnTo>
                <a:lnTo>
                  <a:pt x="1379" y="147"/>
                </a:lnTo>
                <a:lnTo>
                  <a:pt x="1375" y="142"/>
                </a:lnTo>
                <a:lnTo>
                  <a:pt x="1353" y="137"/>
                </a:lnTo>
                <a:lnTo>
                  <a:pt x="1353" y="132"/>
                </a:lnTo>
                <a:lnTo>
                  <a:pt x="1357" y="131"/>
                </a:lnTo>
                <a:lnTo>
                  <a:pt x="1374" y="132"/>
                </a:lnTo>
                <a:lnTo>
                  <a:pt x="1357" y="130"/>
                </a:lnTo>
                <a:lnTo>
                  <a:pt x="1354" y="126"/>
                </a:lnTo>
                <a:lnTo>
                  <a:pt x="1355" y="119"/>
                </a:lnTo>
                <a:lnTo>
                  <a:pt x="1395" y="121"/>
                </a:lnTo>
                <a:lnTo>
                  <a:pt x="1420" y="135"/>
                </a:lnTo>
                <a:lnTo>
                  <a:pt x="1423" y="141"/>
                </a:lnTo>
                <a:lnTo>
                  <a:pt x="1426" y="145"/>
                </a:lnTo>
                <a:lnTo>
                  <a:pt x="1426" y="145"/>
                </a:lnTo>
                <a:lnTo>
                  <a:pt x="1430" y="142"/>
                </a:lnTo>
                <a:lnTo>
                  <a:pt x="1442" y="143"/>
                </a:lnTo>
                <a:lnTo>
                  <a:pt x="1453" y="141"/>
                </a:lnTo>
                <a:lnTo>
                  <a:pt x="1455" y="139"/>
                </a:lnTo>
                <a:lnTo>
                  <a:pt x="1439" y="141"/>
                </a:lnTo>
                <a:lnTo>
                  <a:pt x="1429" y="139"/>
                </a:lnTo>
                <a:lnTo>
                  <a:pt x="1427" y="132"/>
                </a:lnTo>
                <a:lnTo>
                  <a:pt x="1430" y="131"/>
                </a:lnTo>
                <a:lnTo>
                  <a:pt x="1420" y="130"/>
                </a:lnTo>
                <a:lnTo>
                  <a:pt x="1403" y="119"/>
                </a:lnTo>
                <a:lnTo>
                  <a:pt x="1448" y="112"/>
                </a:lnTo>
                <a:lnTo>
                  <a:pt x="1481" y="108"/>
                </a:lnTo>
                <a:lnTo>
                  <a:pt x="1452" y="107"/>
                </a:lnTo>
                <a:lnTo>
                  <a:pt x="1472" y="103"/>
                </a:lnTo>
                <a:lnTo>
                  <a:pt x="1503" y="101"/>
                </a:lnTo>
                <a:lnTo>
                  <a:pt x="1466" y="101"/>
                </a:lnTo>
                <a:lnTo>
                  <a:pt x="1466" y="94"/>
                </a:lnTo>
                <a:lnTo>
                  <a:pt x="1474" y="89"/>
                </a:lnTo>
                <a:lnTo>
                  <a:pt x="1497" y="79"/>
                </a:lnTo>
                <a:lnTo>
                  <a:pt x="1477" y="84"/>
                </a:lnTo>
                <a:lnTo>
                  <a:pt x="1467" y="91"/>
                </a:lnTo>
                <a:lnTo>
                  <a:pt x="1459" y="88"/>
                </a:lnTo>
                <a:lnTo>
                  <a:pt x="1463" y="91"/>
                </a:lnTo>
                <a:lnTo>
                  <a:pt x="1461" y="94"/>
                </a:lnTo>
                <a:lnTo>
                  <a:pt x="1463" y="95"/>
                </a:lnTo>
                <a:lnTo>
                  <a:pt x="1456" y="100"/>
                </a:lnTo>
                <a:lnTo>
                  <a:pt x="1437" y="106"/>
                </a:lnTo>
                <a:lnTo>
                  <a:pt x="1407" y="112"/>
                </a:lnTo>
                <a:lnTo>
                  <a:pt x="1403" y="108"/>
                </a:lnTo>
                <a:lnTo>
                  <a:pt x="1426" y="100"/>
                </a:lnTo>
                <a:lnTo>
                  <a:pt x="1402" y="106"/>
                </a:lnTo>
                <a:lnTo>
                  <a:pt x="1399" y="104"/>
                </a:lnTo>
                <a:lnTo>
                  <a:pt x="1403" y="101"/>
                </a:lnTo>
                <a:lnTo>
                  <a:pt x="1403" y="101"/>
                </a:lnTo>
                <a:lnTo>
                  <a:pt x="1395" y="102"/>
                </a:lnTo>
                <a:lnTo>
                  <a:pt x="1396" y="107"/>
                </a:lnTo>
                <a:lnTo>
                  <a:pt x="1395" y="112"/>
                </a:lnTo>
                <a:lnTo>
                  <a:pt x="1377" y="113"/>
                </a:lnTo>
                <a:lnTo>
                  <a:pt x="1365" y="112"/>
                </a:lnTo>
                <a:lnTo>
                  <a:pt x="1369" y="107"/>
                </a:lnTo>
                <a:lnTo>
                  <a:pt x="1362" y="112"/>
                </a:lnTo>
                <a:lnTo>
                  <a:pt x="1352" y="108"/>
                </a:lnTo>
                <a:lnTo>
                  <a:pt x="1369" y="96"/>
                </a:lnTo>
                <a:lnTo>
                  <a:pt x="1416" y="88"/>
                </a:lnTo>
                <a:lnTo>
                  <a:pt x="1368" y="93"/>
                </a:lnTo>
                <a:lnTo>
                  <a:pt x="1359" y="97"/>
                </a:lnTo>
                <a:lnTo>
                  <a:pt x="1346" y="109"/>
                </a:lnTo>
                <a:lnTo>
                  <a:pt x="1341" y="109"/>
                </a:lnTo>
                <a:lnTo>
                  <a:pt x="1314" y="97"/>
                </a:lnTo>
                <a:lnTo>
                  <a:pt x="1354" y="94"/>
                </a:lnTo>
                <a:lnTo>
                  <a:pt x="1382" y="84"/>
                </a:lnTo>
                <a:lnTo>
                  <a:pt x="1344" y="91"/>
                </a:lnTo>
                <a:lnTo>
                  <a:pt x="1307" y="94"/>
                </a:lnTo>
                <a:lnTo>
                  <a:pt x="1302" y="89"/>
                </a:lnTo>
                <a:lnTo>
                  <a:pt x="1306" y="85"/>
                </a:lnTo>
                <a:lnTo>
                  <a:pt x="1321" y="85"/>
                </a:lnTo>
                <a:lnTo>
                  <a:pt x="1306" y="83"/>
                </a:lnTo>
                <a:lnTo>
                  <a:pt x="1322" y="76"/>
                </a:lnTo>
                <a:lnTo>
                  <a:pt x="1346" y="77"/>
                </a:lnTo>
                <a:lnTo>
                  <a:pt x="1329" y="74"/>
                </a:lnTo>
                <a:lnTo>
                  <a:pt x="1300" y="81"/>
                </a:lnTo>
                <a:lnTo>
                  <a:pt x="1293" y="79"/>
                </a:lnTo>
                <a:lnTo>
                  <a:pt x="1312" y="73"/>
                </a:lnTo>
                <a:lnTo>
                  <a:pt x="1300" y="70"/>
                </a:lnTo>
                <a:lnTo>
                  <a:pt x="1281" y="76"/>
                </a:lnTo>
                <a:lnTo>
                  <a:pt x="1281" y="73"/>
                </a:lnTo>
                <a:lnTo>
                  <a:pt x="1281" y="73"/>
                </a:lnTo>
                <a:lnTo>
                  <a:pt x="1278" y="72"/>
                </a:lnTo>
                <a:close/>
                <a:moveTo>
                  <a:pt x="1366" y="184"/>
                </a:moveTo>
                <a:lnTo>
                  <a:pt x="1362" y="188"/>
                </a:lnTo>
                <a:lnTo>
                  <a:pt x="1364" y="188"/>
                </a:lnTo>
                <a:lnTo>
                  <a:pt x="1366" y="184"/>
                </a:lnTo>
                <a:close/>
                <a:moveTo>
                  <a:pt x="1418" y="193"/>
                </a:moveTo>
                <a:lnTo>
                  <a:pt x="1410" y="195"/>
                </a:lnTo>
                <a:lnTo>
                  <a:pt x="1412" y="199"/>
                </a:lnTo>
                <a:lnTo>
                  <a:pt x="1402" y="208"/>
                </a:lnTo>
                <a:lnTo>
                  <a:pt x="1398" y="211"/>
                </a:lnTo>
                <a:lnTo>
                  <a:pt x="1403" y="210"/>
                </a:lnTo>
                <a:lnTo>
                  <a:pt x="1415" y="198"/>
                </a:lnTo>
                <a:lnTo>
                  <a:pt x="1414" y="195"/>
                </a:lnTo>
                <a:lnTo>
                  <a:pt x="1418" y="193"/>
                </a:lnTo>
                <a:close/>
                <a:moveTo>
                  <a:pt x="1588" y="115"/>
                </a:moveTo>
                <a:lnTo>
                  <a:pt x="1589" y="118"/>
                </a:lnTo>
                <a:lnTo>
                  <a:pt x="1592" y="119"/>
                </a:lnTo>
                <a:lnTo>
                  <a:pt x="1593" y="118"/>
                </a:lnTo>
                <a:lnTo>
                  <a:pt x="1592" y="118"/>
                </a:lnTo>
                <a:lnTo>
                  <a:pt x="1588" y="115"/>
                </a:lnTo>
                <a:close/>
                <a:moveTo>
                  <a:pt x="2467" y="799"/>
                </a:moveTo>
                <a:lnTo>
                  <a:pt x="2465" y="799"/>
                </a:lnTo>
                <a:lnTo>
                  <a:pt x="2464" y="801"/>
                </a:lnTo>
                <a:lnTo>
                  <a:pt x="2468" y="802"/>
                </a:lnTo>
                <a:lnTo>
                  <a:pt x="2467" y="799"/>
                </a:lnTo>
                <a:close/>
                <a:moveTo>
                  <a:pt x="1280" y="73"/>
                </a:moveTo>
                <a:lnTo>
                  <a:pt x="1278" y="72"/>
                </a:lnTo>
                <a:lnTo>
                  <a:pt x="1277" y="72"/>
                </a:lnTo>
                <a:lnTo>
                  <a:pt x="1280" y="73"/>
                </a:lnTo>
                <a:close/>
                <a:moveTo>
                  <a:pt x="1638" y="521"/>
                </a:moveTo>
                <a:lnTo>
                  <a:pt x="1634" y="520"/>
                </a:lnTo>
                <a:lnTo>
                  <a:pt x="1637" y="522"/>
                </a:lnTo>
                <a:lnTo>
                  <a:pt x="1638" y="521"/>
                </a:lnTo>
                <a:close/>
                <a:moveTo>
                  <a:pt x="1633" y="520"/>
                </a:moveTo>
                <a:lnTo>
                  <a:pt x="1633" y="520"/>
                </a:lnTo>
                <a:lnTo>
                  <a:pt x="1634" y="520"/>
                </a:lnTo>
                <a:lnTo>
                  <a:pt x="1633" y="520"/>
                </a:lnTo>
                <a:close/>
                <a:moveTo>
                  <a:pt x="1667" y="570"/>
                </a:moveTo>
                <a:lnTo>
                  <a:pt x="1668" y="573"/>
                </a:lnTo>
                <a:lnTo>
                  <a:pt x="1671" y="572"/>
                </a:lnTo>
                <a:lnTo>
                  <a:pt x="1668" y="570"/>
                </a:lnTo>
                <a:lnTo>
                  <a:pt x="1667" y="570"/>
                </a:lnTo>
                <a:close/>
                <a:moveTo>
                  <a:pt x="1531" y="567"/>
                </a:moveTo>
                <a:lnTo>
                  <a:pt x="1536" y="568"/>
                </a:lnTo>
                <a:lnTo>
                  <a:pt x="1533" y="567"/>
                </a:lnTo>
                <a:lnTo>
                  <a:pt x="1531" y="567"/>
                </a:lnTo>
                <a:close/>
                <a:moveTo>
                  <a:pt x="1494" y="595"/>
                </a:moveTo>
                <a:lnTo>
                  <a:pt x="1498" y="595"/>
                </a:lnTo>
                <a:lnTo>
                  <a:pt x="1498" y="588"/>
                </a:lnTo>
                <a:lnTo>
                  <a:pt x="1493" y="591"/>
                </a:lnTo>
                <a:lnTo>
                  <a:pt x="1488" y="591"/>
                </a:lnTo>
                <a:lnTo>
                  <a:pt x="1494" y="595"/>
                </a:lnTo>
                <a:close/>
                <a:moveTo>
                  <a:pt x="1527" y="612"/>
                </a:moveTo>
                <a:lnTo>
                  <a:pt x="1539" y="616"/>
                </a:lnTo>
                <a:lnTo>
                  <a:pt x="1531" y="612"/>
                </a:lnTo>
                <a:lnTo>
                  <a:pt x="1527" y="612"/>
                </a:lnTo>
                <a:close/>
                <a:moveTo>
                  <a:pt x="1562" y="590"/>
                </a:moveTo>
                <a:lnTo>
                  <a:pt x="1564" y="590"/>
                </a:lnTo>
                <a:lnTo>
                  <a:pt x="1562" y="588"/>
                </a:lnTo>
                <a:lnTo>
                  <a:pt x="1562" y="590"/>
                </a:lnTo>
                <a:close/>
                <a:moveTo>
                  <a:pt x="1479" y="614"/>
                </a:moveTo>
                <a:lnTo>
                  <a:pt x="1482" y="614"/>
                </a:lnTo>
                <a:lnTo>
                  <a:pt x="1481" y="612"/>
                </a:lnTo>
                <a:lnTo>
                  <a:pt x="1479" y="614"/>
                </a:lnTo>
                <a:close/>
                <a:moveTo>
                  <a:pt x="1485" y="591"/>
                </a:moveTo>
                <a:lnTo>
                  <a:pt x="1477" y="590"/>
                </a:lnTo>
                <a:lnTo>
                  <a:pt x="1472" y="591"/>
                </a:lnTo>
                <a:lnTo>
                  <a:pt x="1481" y="600"/>
                </a:lnTo>
                <a:lnTo>
                  <a:pt x="1486" y="596"/>
                </a:lnTo>
                <a:lnTo>
                  <a:pt x="1485" y="591"/>
                </a:lnTo>
                <a:close/>
                <a:moveTo>
                  <a:pt x="1485" y="612"/>
                </a:moveTo>
                <a:lnTo>
                  <a:pt x="1483" y="612"/>
                </a:lnTo>
                <a:lnTo>
                  <a:pt x="1483" y="614"/>
                </a:lnTo>
                <a:lnTo>
                  <a:pt x="1485" y="612"/>
                </a:lnTo>
                <a:close/>
                <a:moveTo>
                  <a:pt x="1625" y="660"/>
                </a:moveTo>
                <a:lnTo>
                  <a:pt x="1623" y="658"/>
                </a:lnTo>
                <a:lnTo>
                  <a:pt x="1619" y="665"/>
                </a:lnTo>
                <a:lnTo>
                  <a:pt x="1626" y="662"/>
                </a:lnTo>
                <a:lnTo>
                  <a:pt x="1628" y="661"/>
                </a:lnTo>
                <a:lnTo>
                  <a:pt x="1625" y="660"/>
                </a:lnTo>
                <a:close/>
                <a:moveTo>
                  <a:pt x="1630" y="705"/>
                </a:moveTo>
                <a:lnTo>
                  <a:pt x="1628" y="705"/>
                </a:lnTo>
                <a:lnTo>
                  <a:pt x="1626" y="705"/>
                </a:lnTo>
                <a:lnTo>
                  <a:pt x="1628" y="709"/>
                </a:lnTo>
                <a:lnTo>
                  <a:pt x="1630" y="705"/>
                </a:lnTo>
                <a:close/>
                <a:moveTo>
                  <a:pt x="1638" y="600"/>
                </a:moveTo>
                <a:lnTo>
                  <a:pt x="1638" y="600"/>
                </a:lnTo>
                <a:lnTo>
                  <a:pt x="1641" y="604"/>
                </a:lnTo>
                <a:lnTo>
                  <a:pt x="1640" y="602"/>
                </a:lnTo>
                <a:lnTo>
                  <a:pt x="1638" y="600"/>
                </a:lnTo>
                <a:close/>
                <a:moveTo>
                  <a:pt x="1465" y="750"/>
                </a:moveTo>
                <a:lnTo>
                  <a:pt x="1466" y="747"/>
                </a:lnTo>
                <a:lnTo>
                  <a:pt x="1461" y="745"/>
                </a:lnTo>
                <a:lnTo>
                  <a:pt x="1460" y="752"/>
                </a:lnTo>
                <a:lnTo>
                  <a:pt x="1459" y="754"/>
                </a:lnTo>
                <a:lnTo>
                  <a:pt x="1455" y="763"/>
                </a:lnTo>
                <a:lnTo>
                  <a:pt x="1460" y="760"/>
                </a:lnTo>
                <a:lnTo>
                  <a:pt x="1463" y="752"/>
                </a:lnTo>
                <a:lnTo>
                  <a:pt x="1461" y="760"/>
                </a:lnTo>
                <a:lnTo>
                  <a:pt x="1465" y="750"/>
                </a:lnTo>
                <a:lnTo>
                  <a:pt x="1463" y="759"/>
                </a:lnTo>
                <a:lnTo>
                  <a:pt x="1466" y="748"/>
                </a:lnTo>
                <a:lnTo>
                  <a:pt x="1465" y="750"/>
                </a:lnTo>
                <a:close/>
                <a:moveTo>
                  <a:pt x="1631" y="706"/>
                </a:moveTo>
                <a:lnTo>
                  <a:pt x="1630" y="709"/>
                </a:lnTo>
                <a:lnTo>
                  <a:pt x="1631" y="709"/>
                </a:lnTo>
                <a:lnTo>
                  <a:pt x="1631" y="706"/>
                </a:lnTo>
                <a:close/>
                <a:moveTo>
                  <a:pt x="1596" y="648"/>
                </a:moveTo>
                <a:lnTo>
                  <a:pt x="1594" y="648"/>
                </a:lnTo>
                <a:lnTo>
                  <a:pt x="1596" y="649"/>
                </a:lnTo>
                <a:lnTo>
                  <a:pt x="1596" y="648"/>
                </a:lnTo>
                <a:close/>
                <a:moveTo>
                  <a:pt x="2517" y="630"/>
                </a:moveTo>
                <a:lnTo>
                  <a:pt x="2512" y="627"/>
                </a:lnTo>
                <a:lnTo>
                  <a:pt x="2517" y="630"/>
                </a:lnTo>
                <a:lnTo>
                  <a:pt x="2517" y="630"/>
                </a:lnTo>
                <a:close/>
                <a:moveTo>
                  <a:pt x="1453" y="724"/>
                </a:moveTo>
                <a:lnTo>
                  <a:pt x="1453" y="728"/>
                </a:lnTo>
                <a:lnTo>
                  <a:pt x="1455" y="723"/>
                </a:lnTo>
                <a:lnTo>
                  <a:pt x="1453" y="724"/>
                </a:lnTo>
                <a:close/>
                <a:moveTo>
                  <a:pt x="1453" y="740"/>
                </a:moveTo>
                <a:lnTo>
                  <a:pt x="1452" y="741"/>
                </a:lnTo>
                <a:lnTo>
                  <a:pt x="1453" y="741"/>
                </a:lnTo>
                <a:lnTo>
                  <a:pt x="1453" y="740"/>
                </a:lnTo>
                <a:close/>
                <a:moveTo>
                  <a:pt x="1455" y="738"/>
                </a:moveTo>
                <a:lnTo>
                  <a:pt x="1453" y="740"/>
                </a:lnTo>
                <a:lnTo>
                  <a:pt x="1455" y="741"/>
                </a:lnTo>
                <a:lnTo>
                  <a:pt x="1455" y="738"/>
                </a:lnTo>
                <a:close/>
                <a:moveTo>
                  <a:pt x="1448" y="679"/>
                </a:moveTo>
                <a:lnTo>
                  <a:pt x="1448" y="677"/>
                </a:lnTo>
                <a:lnTo>
                  <a:pt x="1447" y="679"/>
                </a:lnTo>
                <a:lnTo>
                  <a:pt x="1448" y="679"/>
                </a:lnTo>
                <a:close/>
                <a:moveTo>
                  <a:pt x="1457" y="630"/>
                </a:moveTo>
                <a:lnTo>
                  <a:pt x="1458" y="622"/>
                </a:lnTo>
                <a:lnTo>
                  <a:pt x="1458" y="620"/>
                </a:lnTo>
                <a:lnTo>
                  <a:pt x="1460" y="616"/>
                </a:lnTo>
                <a:lnTo>
                  <a:pt x="1452" y="616"/>
                </a:lnTo>
                <a:lnTo>
                  <a:pt x="1446" y="624"/>
                </a:lnTo>
                <a:lnTo>
                  <a:pt x="1446" y="630"/>
                </a:lnTo>
                <a:lnTo>
                  <a:pt x="1452" y="637"/>
                </a:lnTo>
                <a:lnTo>
                  <a:pt x="1456" y="635"/>
                </a:lnTo>
                <a:lnTo>
                  <a:pt x="1457" y="630"/>
                </a:lnTo>
                <a:close/>
                <a:moveTo>
                  <a:pt x="1408" y="525"/>
                </a:moveTo>
                <a:lnTo>
                  <a:pt x="1403" y="523"/>
                </a:lnTo>
                <a:lnTo>
                  <a:pt x="1407" y="527"/>
                </a:lnTo>
                <a:lnTo>
                  <a:pt x="1408" y="525"/>
                </a:lnTo>
                <a:close/>
                <a:moveTo>
                  <a:pt x="1466" y="756"/>
                </a:moveTo>
                <a:lnTo>
                  <a:pt x="1463" y="763"/>
                </a:lnTo>
                <a:lnTo>
                  <a:pt x="1466" y="757"/>
                </a:lnTo>
                <a:lnTo>
                  <a:pt x="1466" y="756"/>
                </a:lnTo>
                <a:close/>
                <a:moveTo>
                  <a:pt x="1653" y="624"/>
                </a:moveTo>
                <a:lnTo>
                  <a:pt x="1655" y="624"/>
                </a:lnTo>
                <a:lnTo>
                  <a:pt x="1655" y="622"/>
                </a:lnTo>
                <a:lnTo>
                  <a:pt x="1653" y="624"/>
                </a:lnTo>
                <a:close/>
                <a:moveTo>
                  <a:pt x="1448" y="677"/>
                </a:moveTo>
                <a:lnTo>
                  <a:pt x="1452" y="676"/>
                </a:lnTo>
                <a:lnTo>
                  <a:pt x="1452" y="673"/>
                </a:lnTo>
                <a:lnTo>
                  <a:pt x="1448" y="677"/>
                </a:lnTo>
                <a:close/>
                <a:moveTo>
                  <a:pt x="1692" y="498"/>
                </a:moveTo>
                <a:lnTo>
                  <a:pt x="1689" y="497"/>
                </a:lnTo>
                <a:lnTo>
                  <a:pt x="1686" y="499"/>
                </a:lnTo>
                <a:lnTo>
                  <a:pt x="1691" y="499"/>
                </a:lnTo>
                <a:lnTo>
                  <a:pt x="1692" y="498"/>
                </a:lnTo>
                <a:close/>
                <a:moveTo>
                  <a:pt x="1395" y="539"/>
                </a:moveTo>
                <a:lnTo>
                  <a:pt x="1402" y="539"/>
                </a:lnTo>
                <a:lnTo>
                  <a:pt x="1403" y="538"/>
                </a:lnTo>
                <a:lnTo>
                  <a:pt x="1396" y="535"/>
                </a:lnTo>
                <a:lnTo>
                  <a:pt x="1395" y="539"/>
                </a:lnTo>
                <a:close/>
                <a:moveTo>
                  <a:pt x="1400" y="620"/>
                </a:moveTo>
                <a:lnTo>
                  <a:pt x="1407" y="622"/>
                </a:lnTo>
                <a:lnTo>
                  <a:pt x="1422" y="610"/>
                </a:lnTo>
                <a:lnTo>
                  <a:pt x="1425" y="605"/>
                </a:lnTo>
                <a:lnTo>
                  <a:pt x="1420" y="604"/>
                </a:lnTo>
                <a:lnTo>
                  <a:pt x="1407" y="607"/>
                </a:lnTo>
                <a:lnTo>
                  <a:pt x="1402" y="605"/>
                </a:lnTo>
                <a:lnTo>
                  <a:pt x="1392" y="616"/>
                </a:lnTo>
                <a:lnTo>
                  <a:pt x="1393" y="619"/>
                </a:lnTo>
                <a:lnTo>
                  <a:pt x="1393" y="624"/>
                </a:lnTo>
                <a:lnTo>
                  <a:pt x="1400" y="620"/>
                </a:lnTo>
                <a:close/>
                <a:moveTo>
                  <a:pt x="1442" y="582"/>
                </a:moveTo>
                <a:lnTo>
                  <a:pt x="1442" y="580"/>
                </a:lnTo>
                <a:lnTo>
                  <a:pt x="1442" y="579"/>
                </a:lnTo>
                <a:lnTo>
                  <a:pt x="1437" y="576"/>
                </a:lnTo>
                <a:lnTo>
                  <a:pt x="1434" y="577"/>
                </a:lnTo>
                <a:lnTo>
                  <a:pt x="1434" y="579"/>
                </a:lnTo>
                <a:lnTo>
                  <a:pt x="1429" y="577"/>
                </a:lnTo>
                <a:lnTo>
                  <a:pt x="1422" y="579"/>
                </a:lnTo>
                <a:lnTo>
                  <a:pt x="1427" y="576"/>
                </a:lnTo>
                <a:lnTo>
                  <a:pt x="1426" y="572"/>
                </a:lnTo>
                <a:lnTo>
                  <a:pt x="1426" y="567"/>
                </a:lnTo>
                <a:lnTo>
                  <a:pt x="1420" y="562"/>
                </a:lnTo>
                <a:lnTo>
                  <a:pt x="1403" y="556"/>
                </a:lnTo>
                <a:lnTo>
                  <a:pt x="1402" y="550"/>
                </a:lnTo>
                <a:lnTo>
                  <a:pt x="1390" y="549"/>
                </a:lnTo>
                <a:lnTo>
                  <a:pt x="1388" y="546"/>
                </a:lnTo>
                <a:lnTo>
                  <a:pt x="1390" y="546"/>
                </a:lnTo>
                <a:lnTo>
                  <a:pt x="1385" y="545"/>
                </a:lnTo>
                <a:lnTo>
                  <a:pt x="1384" y="544"/>
                </a:lnTo>
                <a:lnTo>
                  <a:pt x="1381" y="551"/>
                </a:lnTo>
                <a:lnTo>
                  <a:pt x="1380" y="551"/>
                </a:lnTo>
                <a:lnTo>
                  <a:pt x="1377" y="545"/>
                </a:lnTo>
                <a:lnTo>
                  <a:pt x="1373" y="541"/>
                </a:lnTo>
                <a:lnTo>
                  <a:pt x="1377" y="541"/>
                </a:lnTo>
                <a:lnTo>
                  <a:pt x="1376" y="539"/>
                </a:lnTo>
                <a:lnTo>
                  <a:pt x="1369" y="539"/>
                </a:lnTo>
                <a:lnTo>
                  <a:pt x="1369" y="533"/>
                </a:lnTo>
                <a:lnTo>
                  <a:pt x="1362" y="535"/>
                </a:lnTo>
                <a:lnTo>
                  <a:pt x="1361" y="546"/>
                </a:lnTo>
                <a:lnTo>
                  <a:pt x="1361" y="552"/>
                </a:lnTo>
                <a:lnTo>
                  <a:pt x="1359" y="556"/>
                </a:lnTo>
                <a:lnTo>
                  <a:pt x="1361" y="558"/>
                </a:lnTo>
                <a:lnTo>
                  <a:pt x="1357" y="564"/>
                </a:lnTo>
                <a:lnTo>
                  <a:pt x="1357" y="568"/>
                </a:lnTo>
                <a:lnTo>
                  <a:pt x="1359" y="577"/>
                </a:lnTo>
                <a:lnTo>
                  <a:pt x="1350" y="580"/>
                </a:lnTo>
                <a:lnTo>
                  <a:pt x="1346" y="587"/>
                </a:lnTo>
                <a:lnTo>
                  <a:pt x="1350" y="590"/>
                </a:lnTo>
                <a:lnTo>
                  <a:pt x="1355" y="587"/>
                </a:lnTo>
                <a:lnTo>
                  <a:pt x="1368" y="585"/>
                </a:lnTo>
                <a:lnTo>
                  <a:pt x="1369" y="587"/>
                </a:lnTo>
                <a:lnTo>
                  <a:pt x="1368" y="592"/>
                </a:lnTo>
                <a:lnTo>
                  <a:pt x="1369" y="598"/>
                </a:lnTo>
                <a:lnTo>
                  <a:pt x="1374" y="600"/>
                </a:lnTo>
                <a:lnTo>
                  <a:pt x="1384" y="595"/>
                </a:lnTo>
                <a:lnTo>
                  <a:pt x="1387" y="588"/>
                </a:lnTo>
                <a:lnTo>
                  <a:pt x="1397" y="584"/>
                </a:lnTo>
                <a:lnTo>
                  <a:pt x="1397" y="580"/>
                </a:lnTo>
                <a:lnTo>
                  <a:pt x="1395" y="579"/>
                </a:lnTo>
                <a:lnTo>
                  <a:pt x="1398" y="577"/>
                </a:lnTo>
                <a:lnTo>
                  <a:pt x="1407" y="573"/>
                </a:lnTo>
                <a:lnTo>
                  <a:pt x="1408" y="576"/>
                </a:lnTo>
                <a:lnTo>
                  <a:pt x="1403" y="580"/>
                </a:lnTo>
                <a:lnTo>
                  <a:pt x="1407" y="583"/>
                </a:lnTo>
                <a:lnTo>
                  <a:pt x="1414" y="583"/>
                </a:lnTo>
                <a:lnTo>
                  <a:pt x="1414" y="584"/>
                </a:lnTo>
                <a:lnTo>
                  <a:pt x="1414" y="585"/>
                </a:lnTo>
                <a:lnTo>
                  <a:pt x="1414" y="591"/>
                </a:lnTo>
                <a:lnTo>
                  <a:pt x="1422" y="591"/>
                </a:lnTo>
                <a:lnTo>
                  <a:pt x="1436" y="593"/>
                </a:lnTo>
                <a:lnTo>
                  <a:pt x="1448" y="584"/>
                </a:lnTo>
                <a:lnTo>
                  <a:pt x="1442" y="582"/>
                </a:lnTo>
                <a:close/>
                <a:moveTo>
                  <a:pt x="1384" y="540"/>
                </a:moveTo>
                <a:lnTo>
                  <a:pt x="1380" y="535"/>
                </a:lnTo>
                <a:lnTo>
                  <a:pt x="1373" y="535"/>
                </a:lnTo>
                <a:lnTo>
                  <a:pt x="1373" y="535"/>
                </a:lnTo>
                <a:lnTo>
                  <a:pt x="1380" y="542"/>
                </a:lnTo>
                <a:lnTo>
                  <a:pt x="1384" y="540"/>
                </a:lnTo>
                <a:close/>
                <a:moveTo>
                  <a:pt x="1393" y="539"/>
                </a:moveTo>
                <a:lnTo>
                  <a:pt x="1393" y="533"/>
                </a:lnTo>
                <a:lnTo>
                  <a:pt x="1392" y="530"/>
                </a:lnTo>
                <a:lnTo>
                  <a:pt x="1385" y="527"/>
                </a:lnTo>
                <a:lnTo>
                  <a:pt x="1386" y="530"/>
                </a:lnTo>
                <a:lnTo>
                  <a:pt x="1389" y="533"/>
                </a:lnTo>
                <a:lnTo>
                  <a:pt x="1389" y="539"/>
                </a:lnTo>
                <a:lnTo>
                  <a:pt x="1393" y="539"/>
                </a:lnTo>
                <a:close/>
                <a:moveTo>
                  <a:pt x="1438" y="821"/>
                </a:moveTo>
                <a:lnTo>
                  <a:pt x="1436" y="816"/>
                </a:lnTo>
                <a:lnTo>
                  <a:pt x="1425" y="816"/>
                </a:lnTo>
                <a:lnTo>
                  <a:pt x="1420" y="818"/>
                </a:lnTo>
                <a:lnTo>
                  <a:pt x="1438" y="824"/>
                </a:lnTo>
                <a:lnTo>
                  <a:pt x="1438" y="821"/>
                </a:lnTo>
                <a:close/>
                <a:moveTo>
                  <a:pt x="1721" y="741"/>
                </a:moveTo>
                <a:lnTo>
                  <a:pt x="1719" y="741"/>
                </a:lnTo>
                <a:lnTo>
                  <a:pt x="1721" y="744"/>
                </a:lnTo>
                <a:lnTo>
                  <a:pt x="1721" y="741"/>
                </a:lnTo>
                <a:close/>
                <a:moveTo>
                  <a:pt x="1720" y="738"/>
                </a:moveTo>
                <a:lnTo>
                  <a:pt x="1719" y="741"/>
                </a:lnTo>
                <a:lnTo>
                  <a:pt x="1721" y="738"/>
                </a:lnTo>
                <a:lnTo>
                  <a:pt x="1720" y="738"/>
                </a:lnTo>
                <a:close/>
                <a:moveTo>
                  <a:pt x="1715" y="748"/>
                </a:moveTo>
                <a:lnTo>
                  <a:pt x="1721" y="751"/>
                </a:lnTo>
                <a:lnTo>
                  <a:pt x="1719" y="748"/>
                </a:lnTo>
                <a:lnTo>
                  <a:pt x="1715" y="748"/>
                </a:lnTo>
                <a:close/>
                <a:moveTo>
                  <a:pt x="1716" y="722"/>
                </a:moveTo>
                <a:lnTo>
                  <a:pt x="1719" y="721"/>
                </a:lnTo>
                <a:lnTo>
                  <a:pt x="1715" y="718"/>
                </a:lnTo>
                <a:lnTo>
                  <a:pt x="1713" y="721"/>
                </a:lnTo>
                <a:lnTo>
                  <a:pt x="1716" y="722"/>
                </a:lnTo>
                <a:close/>
                <a:moveTo>
                  <a:pt x="1691" y="556"/>
                </a:moveTo>
                <a:lnTo>
                  <a:pt x="1694" y="557"/>
                </a:lnTo>
                <a:lnTo>
                  <a:pt x="1693" y="556"/>
                </a:lnTo>
                <a:lnTo>
                  <a:pt x="1691" y="556"/>
                </a:lnTo>
                <a:close/>
                <a:moveTo>
                  <a:pt x="1721" y="747"/>
                </a:moveTo>
                <a:lnTo>
                  <a:pt x="1724" y="747"/>
                </a:lnTo>
                <a:lnTo>
                  <a:pt x="1719" y="745"/>
                </a:lnTo>
                <a:lnTo>
                  <a:pt x="1721" y="747"/>
                </a:lnTo>
                <a:close/>
                <a:moveTo>
                  <a:pt x="1710" y="533"/>
                </a:moveTo>
                <a:lnTo>
                  <a:pt x="1708" y="531"/>
                </a:lnTo>
                <a:lnTo>
                  <a:pt x="1710" y="534"/>
                </a:lnTo>
                <a:lnTo>
                  <a:pt x="1710" y="533"/>
                </a:lnTo>
                <a:close/>
                <a:moveTo>
                  <a:pt x="1705" y="538"/>
                </a:moveTo>
                <a:lnTo>
                  <a:pt x="1708" y="539"/>
                </a:lnTo>
                <a:lnTo>
                  <a:pt x="1710" y="539"/>
                </a:lnTo>
                <a:lnTo>
                  <a:pt x="1708" y="538"/>
                </a:lnTo>
                <a:lnTo>
                  <a:pt x="1705" y="538"/>
                </a:lnTo>
                <a:close/>
                <a:moveTo>
                  <a:pt x="2521" y="618"/>
                </a:moveTo>
                <a:lnTo>
                  <a:pt x="2518" y="617"/>
                </a:lnTo>
                <a:lnTo>
                  <a:pt x="2517" y="618"/>
                </a:lnTo>
                <a:lnTo>
                  <a:pt x="2518" y="621"/>
                </a:lnTo>
                <a:lnTo>
                  <a:pt x="2521" y="618"/>
                </a:lnTo>
                <a:close/>
                <a:moveTo>
                  <a:pt x="1726" y="760"/>
                </a:moveTo>
                <a:lnTo>
                  <a:pt x="1727" y="759"/>
                </a:lnTo>
                <a:lnTo>
                  <a:pt x="1726" y="759"/>
                </a:lnTo>
                <a:lnTo>
                  <a:pt x="1726" y="760"/>
                </a:lnTo>
                <a:close/>
                <a:moveTo>
                  <a:pt x="1727" y="757"/>
                </a:moveTo>
                <a:lnTo>
                  <a:pt x="1726" y="754"/>
                </a:lnTo>
                <a:lnTo>
                  <a:pt x="1723" y="756"/>
                </a:lnTo>
                <a:lnTo>
                  <a:pt x="1727" y="757"/>
                </a:lnTo>
                <a:close/>
                <a:moveTo>
                  <a:pt x="1707" y="503"/>
                </a:moveTo>
                <a:lnTo>
                  <a:pt x="1704" y="503"/>
                </a:lnTo>
                <a:lnTo>
                  <a:pt x="1699" y="504"/>
                </a:lnTo>
                <a:lnTo>
                  <a:pt x="1701" y="506"/>
                </a:lnTo>
                <a:lnTo>
                  <a:pt x="1707" y="503"/>
                </a:lnTo>
                <a:close/>
                <a:moveTo>
                  <a:pt x="1729" y="759"/>
                </a:moveTo>
                <a:lnTo>
                  <a:pt x="1727" y="760"/>
                </a:lnTo>
                <a:lnTo>
                  <a:pt x="1731" y="759"/>
                </a:lnTo>
                <a:lnTo>
                  <a:pt x="1729" y="759"/>
                </a:lnTo>
                <a:close/>
                <a:moveTo>
                  <a:pt x="1724" y="743"/>
                </a:moveTo>
                <a:lnTo>
                  <a:pt x="1724" y="744"/>
                </a:lnTo>
                <a:lnTo>
                  <a:pt x="1726" y="743"/>
                </a:lnTo>
                <a:lnTo>
                  <a:pt x="1724" y="743"/>
                </a:lnTo>
                <a:close/>
                <a:moveTo>
                  <a:pt x="1681" y="587"/>
                </a:moveTo>
                <a:lnTo>
                  <a:pt x="1680" y="588"/>
                </a:lnTo>
                <a:lnTo>
                  <a:pt x="1681" y="591"/>
                </a:lnTo>
                <a:lnTo>
                  <a:pt x="1681" y="587"/>
                </a:lnTo>
                <a:close/>
                <a:moveTo>
                  <a:pt x="1672" y="631"/>
                </a:moveTo>
                <a:lnTo>
                  <a:pt x="1667" y="627"/>
                </a:lnTo>
                <a:lnTo>
                  <a:pt x="1665" y="626"/>
                </a:lnTo>
                <a:lnTo>
                  <a:pt x="1665" y="627"/>
                </a:lnTo>
                <a:lnTo>
                  <a:pt x="1671" y="631"/>
                </a:lnTo>
                <a:lnTo>
                  <a:pt x="1672" y="631"/>
                </a:lnTo>
                <a:close/>
                <a:moveTo>
                  <a:pt x="1640" y="520"/>
                </a:moveTo>
                <a:lnTo>
                  <a:pt x="1641" y="520"/>
                </a:lnTo>
                <a:lnTo>
                  <a:pt x="1640" y="519"/>
                </a:lnTo>
                <a:lnTo>
                  <a:pt x="1640" y="520"/>
                </a:lnTo>
                <a:close/>
                <a:moveTo>
                  <a:pt x="1680" y="676"/>
                </a:moveTo>
                <a:lnTo>
                  <a:pt x="1680" y="676"/>
                </a:lnTo>
                <a:lnTo>
                  <a:pt x="1680" y="676"/>
                </a:lnTo>
                <a:lnTo>
                  <a:pt x="1680" y="676"/>
                </a:lnTo>
                <a:close/>
                <a:moveTo>
                  <a:pt x="1670" y="642"/>
                </a:moveTo>
                <a:lnTo>
                  <a:pt x="1671" y="638"/>
                </a:lnTo>
                <a:lnTo>
                  <a:pt x="1671" y="637"/>
                </a:lnTo>
                <a:lnTo>
                  <a:pt x="1671" y="635"/>
                </a:lnTo>
                <a:lnTo>
                  <a:pt x="1667" y="633"/>
                </a:lnTo>
                <a:lnTo>
                  <a:pt x="1660" y="635"/>
                </a:lnTo>
                <a:lnTo>
                  <a:pt x="1670" y="642"/>
                </a:lnTo>
                <a:close/>
                <a:moveTo>
                  <a:pt x="1671" y="592"/>
                </a:moveTo>
                <a:lnTo>
                  <a:pt x="1671" y="590"/>
                </a:lnTo>
                <a:lnTo>
                  <a:pt x="1668" y="590"/>
                </a:lnTo>
                <a:lnTo>
                  <a:pt x="1671" y="592"/>
                </a:lnTo>
                <a:close/>
                <a:moveTo>
                  <a:pt x="1676" y="662"/>
                </a:moveTo>
                <a:lnTo>
                  <a:pt x="1674" y="661"/>
                </a:lnTo>
                <a:lnTo>
                  <a:pt x="1671" y="661"/>
                </a:lnTo>
                <a:lnTo>
                  <a:pt x="1676" y="665"/>
                </a:lnTo>
                <a:lnTo>
                  <a:pt x="1676" y="662"/>
                </a:lnTo>
                <a:close/>
                <a:moveTo>
                  <a:pt x="1679" y="584"/>
                </a:moveTo>
                <a:lnTo>
                  <a:pt x="1679" y="585"/>
                </a:lnTo>
                <a:lnTo>
                  <a:pt x="1680" y="585"/>
                </a:lnTo>
                <a:lnTo>
                  <a:pt x="1679" y="584"/>
                </a:lnTo>
                <a:close/>
                <a:moveTo>
                  <a:pt x="1672" y="616"/>
                </a:moveTo>
                <a:lnTo>
                  <a:pt x="1668" y="616"/>
                </a:lnTo>
                <a:lnTo>
                  <a:pt x="1675" y="617"/>
                </a:lnTo>
                <a:lnTo>
                  <a:pt x="1679" y="616"/>
                </a:lnTo>
                <a:lnTo>
                  <a:pt x="1672" y="616"/>
                </a:lnTo>
                <a:close/>
                <a:moveTo>
                  <a:pt x="1675" y="572"/>
                </a:moveTo>
                <a:lnTo>
                  <a:pt x="1674" y="572"/>
                </a:lnTo>
                <a:lnTo>
                  <a:pt x="1676" y="573"/>
                </a:lnTo>
                <a:lnTo>
                  <a:pt x="1675" y="572"/>
                </a:lnTo>
                <a:close/>
                <a:moveTo>
                  <a:pt x="1679" y="585"/>
                </a:moveTo>
                <a:lnTo>
                  <a:pt x="1676" y="584"/>
                </a:lnTo>
                <a:lnTo>
                  <a:pt x="1675" y="584"/>
                </a:lnTo>
                <a:lnTo>
                  <a:pt x="1675" y="582"/>
                </a:lnTo>
                <a:lnTo>
                  <a:pt x="1671" y="584"/>
                </a:lnTo>
                <a:lnTo>
                  <a:pt x="1679" y="585"/>
                </a:lnTo>
                <a:close/>
                <a:moveTo>
                  <a:pt x="1659" y="631"/>
                </a:moveTo>
                <a:lnTo>
                  <a:pt x="1659" y="630"/>
                </a:lnTo>
                <a:lnTo>
                  <a:pt x="1653" y="631"/>
                </a:lnTo>
                <a:lnTo>
                  <a:pt x="1659" y="631"/>
                </a:lnTo>
                <a:close/>
                <a:moveTo>
                  <a:pt x="1671" y="568"/>
                </a:moveTo>
                <a:lnTo>
                  <a:pt x="1668" y="568"/>
                </a:lnTo>
                <a:lnTo>
                  <a:pt x="1671" y="572"/>
                </a:lnTo>
                <a:lnTo>
                  <a:pt x="1672" y="570"/>
                </a:lnTo>
                <a:lnTo>
                  <a:pt x="1671" y="568"/>
                </a:lnTo>
                <a:close/>
                <a:moveTo>
                  <a:pt x="1681" y="582"/>
                </a:moveTo>
                <a:lnTo>
                  <a:pt x="1679" y="582"/>
                </a:lnTo>
                <a:lnTo>
                  <a:pt x="1681" y="584"/>
                </a:lnTo>
                <a:lnTo>
                  <a:pt x="1681" y="582"/>
                </a:lnTo>
                <a:close/>
                <a:moveTo>
                  <a:pt x="1458" y="745"/>
                </a:moveTo>
                <a:lnTo>
                  <a:pt x="1453" y="748"/>
                </a:lnTo>
                <a:lnTo>
                  <a:pt x="1446" y="751"/>
                </a:lnTo>
                <a:lnTo>
                  <a:pt x="1446" y="754"/>
                </a:lnTo>
                <a:lnTo>
                  <a:pt x="1454" y="751"/>
                </a:lnTo>
                <a:lnTo>
                  <a:pt x="1458" y="745"/>
                </a:lnTo>
                <a:close/>
                <a:moveTo>
                  <a:pt x="672" y="759"/>
                </a:moveTo>
                <a:lnTo>
                  <a:pt x="672" y="758"/>
                </a:lnTo>
                <a:lnTo>
                  <a:pt x="670" y="759"/>
                </a:lnTo>
                <a:lnTo>
                  <a:pt x="672" y="759"/>
                </a:lnTo>
                <a:close/>
                <a:moveTo>
                  <a:pt x="751" y="834"/>
                </a:moveTo>
                <a:lnTo>
                  <a:pt x="750" y="834"/>
                </a:lnTo>
                <a:lnTo>
                  <a:pt x="751" y="836"/>
                </a:lnTo>
                <a:lnTo>
                  <a:pt x="751" y="834"/>
                </a:lnTo>
                <a:lnTo>
                  <a:pt x="751" y="834"/>
                </a:lnTo>
                <a:lnTo>
                  <a:pt x="751" y="834"/>
                </a:lnTo>
                <a:lnTo>
                  <a:pt x="751" y="834"/>
                </a:lnTo>
                <a:lnTo>
                  <a:pt x="751" y="834"/>
                </a:lnTo>
                <a:close/>
                <a:moveTo>
                  <a:pt x="731" y="816"/>
                </a:moveTo>
                <a:lnTo>
                  <a:pt x="731" y="815"/>
                </a:lnTo>
                <a:lnTo>
                  <a:pt x="731" y="816"/>
                </a:lnTo>
                <a:lnTo>
                  <a:pt x="731" y="816"/>
                </a:lnTo>
                <a:close/>
                <a:moveTo>
                  <a:pt x="752" y="836"/>
                </a:moveTo>
                <a:lnTo>
                  <a:pt x="751" y="836"/>
                </a:lnTo>
                <a:lnTo>
                  <a:pt x="751" y="839"/>
                </a:lnTo>
                <a:lnTo>
                  <a:pt x="752" y="836"/>
                </a:lnTo>
                <a:close/>
                <a:moveTo>
                  <a:pt x="722" y="795"/>
                </a:moveTo>
                <a:lnTo>
                  <a:pt x="722" y="797"/>
                </a:lnTo>
                <a:lnTo>
                  <a:pt x="723" y="796"/>
                </a:lnTo>
                <a:lnTo>
                  <a:pt x="723" y="795"/>
                </a:lnTo>
                <a:lnTo>
                  <a:pt x="722" y="795"/>
                </a:lnTo>
                <a:close/>
                <a:moveTo>
                  <a:pt x="724" y="802"/>
                </a:moveTo>
                <a:lnTo>
                  <a:pt x="725" y="803"/>
                </a:lnTo>
                <a:lnTo>
                  <a:pt x="731" y="811"/>
                </a:lnTo>
                <a:lnTo>
                  <a:pt x="731" y="815"/>
                </a:lnTo>
                <a:lnTo>
                  <a:pt x="730" y="814"/>
                </a:lnTo>
                <a:lnTo>
                  <a:pt x="727" y="816"/>
                </a:lnTo>
                <a:lnTo>
                  <a:pt x="718" y="810"/>
                </a:lnTo>
                <a:lnTo>
                  <a:pt x="719" y="808"/>
                </a:lnTo>
                <a:lnTo>
                  <a:pt x="720" y="808"/>
                </a:lnTo>
                <a:lnTo>
                  <a:pt x="722" y="808"/>
                </a:lnTo>
                <a:lnTo>
                  <a:pt x="720" y="804"/>
                </a:lnTo>
                <a:lnTo>
                  <a:pt x="722" y="803"/>
                </a:lnTo>
                <a:lnTo>
                  <a:pt x="721" y="802"/>
                </a:lnTo>
                <a:lnTo>
                  <a:pt x="724" y="802"/>
                </a:lnTo>
                <a:close/>
                <a:moveTo>
                  <a:pt x="729" y="812"/>
                </a:moveTo>
                <a:lnTo>
                  <a:pt x="730" y="814"/>
                </a:lnTo>
                <a:lnTo>
                  <a:pt x="730" y="813"/>
                </a:lnTo>
                <a:lnTo>
                  <a:pt x="729" y="812"/>
                </a:lnTo>
                <a:close/>
                <a:moveTo>
                  <a:pt x="724" y="806"/>
                </a:moveTo>
                <a:lnTo>
                  <a:pt x="722" y="803"/>
                </a:lnTo>
                <a:lnTo>
                  <a:pt x="724" y="807"/>
                </a:lnTo>
                <a:lnTo>
                  <a:pt x="726" y="809"/>
                </a:lnTo>
                <a:lnTo>
                  <a:pt x="726" y="808"/>
                </a:lnTo>
                <a:lnTo>
                  <a:pt x="727" y="808"/>
                </a:lnTo>
                <a:lnTo>
                  <a:pt x="724" y="806"/>
                </a:lnTo>
                <a:close/>
                <a:moveTo>
                  <a:pt x="714" y="782"/>
                </a:moveTo>
                <a:lnTo>
                  <a:pt x="715" y="781"/>
                </a:lnTo>
                <a:lnTo>
                  <a:pt x="715" y="777"/>
                </a:lnTo>
                <a:lnTo>
                  <a:pt x="713" y="778"/>
                </a:lnTo>
                <a:lnTo>
                  <a:pt x="714" y="782"/>
                </a:lnTo>
                <a:close/>
                <a:moveTo>
                  <a:pt x="752" y="837"/>
                </a:moveTo>
                <a:lnTo>
                  <a:pt x="751" y="842"/>
                </a:lnTo>
                <a:lnTo>
                  <a:pt x="752" y="843"/>
                </a:lnTo>
                <a:lnTo>
                  <a:pt x="753" y="843"/>
                </a:lnTo>
                <a:lnTo>
                  <a:pt x="756" y="837"/>
                </a:lnTo>
                <a:lnTo>
                  <a:pt x="756" y="836"/>
                </a:lnTo>
                <a:lnTo>
                  <a:pt x="753" y="836"/>
                </a:lnTo>
                <a:lnTo>
                  <a:pt x="752" y="837"/>
                </a:lnTo>
                <a:close/>
                <a:moveTo>
                  <a:pt x="792" y="871"/>
                </a:moveTo>
                <a:lnTo>
                  <a:pt x="791" y="870"/>
                </a:lnTo>
                <a:lnTo>
                  <a:pt x="791" y="872"/>
                </a:lnTo>
                <a:lnTo>
                  <a:pt x="792" y="871"/>
                </a:lnTo>
                <a:close/>
                <a:moveTo>
                  <a:pt x="779" y="862"/>
                </a:moveTo>
                <a:lnTo>
                  <a:pt x="778" y="864"/>
                </a:lnTo>
                <a:lnTo>
                  <a:pt x="780" y="863"/>
                </a:lnTo>
                <a:lnTo>
                  <a:pt x="779" y="862"/>
                </a:lnTo>
                <a:close/>
                <a:moveTo>
                  <a:pt x="778" y="867"/>
                </a:moveTo>
                <a:lnTo>
                  <a:pt x="776" y="866"/>
                </a:lnTo>
                <a:lnTo>
                  <a:pt x="774" y="867"/>
                </a:lnTo>
                <a:lnTo>
                  <a:pt x="778" y="867"/>
                </a:lnTo>
                <a:close/>
                <a:moveTo>
                  <a:pt x="819" y="901"/>
                </a:moveTo>
                <a:lnTo>
                  <a:pt x="819" y="903"/>
                </a:lnTo>
                <a:lnTo>
                  <a:pt x="820" y="903"/>
                </a:lnTo>
                <a:lnTo>
                  <a:pt x="820" y="903"/>
                </a:lnTo>
                <a:lnTo>
                  <a:pt x="819" y="901"/>
                </a:lnTo>
                <a:close/>
                <a:moveTo>
                  <a:pt x="731" y="816"/>
                </a:moveTo>
                <a:lnTo>
                  <a:pt x="737" y="820"/>
                </a:lnTo>
                <a:lnTo>
                  <a:pt x="735" y="816"/>
                </a:lnTo>
                <a:lnTo>
                  <a:pt x="738" y="816"/>
                </a:lnTo>
                <a:lnTo>
                  <a:pt x="737" y="813"/>
                </a:lnTo>
                <a:lnTo>
                  <a:pt x="734" y="816"/>
                </a:lnTo>
                <a:lnTo>
                  <a:pt x="733" y="814"/>
                </a:lnTo>
                <a:lnTo>
                  <a:pt x="731" y="816"/>
                </a:lnTo>
                <a:close/>
                <a:moveTo>
                  <a:pt x="756" y="851"/>
                </a:moveTo>
                <a:lnTo>
                  <a:pt x="753" y="843"/>
                </a:lnTo>
                <a:lnTo>
                  <a:pt x="752" y="848"/>
                </a:lnTo>
                <a:lnTo>
                  <a:pt x="756" y="851"/>
                </a:lnTo>
                <a:close/>
                <a:moveTo>
                  <a:pt x="715" y="777"/>
                </a:moveTo>
                <a:lnTo>
                  <a:pt x="715" y="777"/>
                </a:lnTo>
                <a:lnTo>
                  <a:pt x="715" y="777"/>
                </a:lnTo>
                <a:lnTo>
                  <a:pt x="715" y="777"/>
                </a:lnTo>
                <a:close/>
                <a:moveTo>
                  <a:pt x="774" y="865"/>
                </a:moveTo>
                <a:lnTo>
                  <a:pt x="775" y="864"/>
                </a:lnTo>
                <a:lnTo>
                  <a:pt x="776" y="863"/>
                </a:lnTo>
                <a:lnTo>
                  <a:pt x="773" y="863"/>
                </a:lnTo>
                <a:lnTo>
                  <a:pt x="774" y="866"/>
                </a:lnTo>
                <a:lnTo>
                  <a:pt x="775" y="865"/>
                </a:lnTo>
                <a:lnTo>
                  <a:pt x="774" y="865"/>
                </a:lnTo>
                <a:close/>
                <a:moveTo>
                  <a:pt x="776" y="865"/>
                </a:moveTo>
                <a:lnTo>
                  <a:pt x="778" y="864"/>
                </a:lnTo>
                <a:lnTo>
                  <a:pt x="775" y="864"/>
                </a:lnTo>
                <a:lnTo>
                  <a:pt x="775" y="865"/>
                </a:lnTo>
                <a:lnTo>
                  <a:pt x="776" y="865"/>
                </a:lnTo>
                <a:close/>
                <a:moveTo>
                  <a:pt x="320" y="751"/>
                </a:moveTo>
                <a:lnTo>
                  <a:pt x="318" y="752"/>
                </a:lnTo>
                <a:lnTo>
                  <a:pt x="316" y="754"/>
                </a:lnTo>
                <a:lnTo>
                  <a:pt x="320" y="751"/>
                </a:lnTo>
                <a:close/>
                <a:moveTo>
                  <a:pt x="345" y="731"/>
                </a:moveTo>
                <a:lnTo>
                  <a:pt x="344" y="732"/>
                </a:lnTo>
                <a:lnTo>
                  <a:pt x="345" y="732"/>
                </a:lnTo>
                <a:lnTo>
                  <a:pt x="345" y="731"/>
                </a:lnTo>
                <a:close/>
                <a:moveTo>
                  <a:pt x="241" y="779"/>
                </a:moveTo>
                <a:lnTo>
                  <a:pt x="242" y="778"/>
                </a:lnTo>
                <a:lnTo>
                  <a:pt x="240" y="776"/>
                </a:lnTo>
                <a:lnTo>
                  <a:pt x="237" y="776"/>
                </a:lnTo>
                <a:lnTo>
                  <a:pt x="230" y="780"/>
                </a:lnTo>
                <a:lnTo>
                  <a:pt x="226" y="780"/>
                </a:lnTo>
                <a:lnTo>
                  <a:pt x="225" y="785"/>
                </a:lnTo>
                <a:lnTo>
                  <a:pt x="219" y="787"/>
                </a:lnTo>
                <a:lnTo>
                  <a:pt x="222" y="792"/>
                </a:lnTo>
                <a:lnTo>
                  <a:pt x="225" y="792"/>
                </a:lnTo>
                <a:lnTo>
                  <a:pt x="229" y="792"/>
                </a:lnTo>
                <a:lnTo>
                  <a:pt x="230" y="788"/>
                </a:lnTo>
                <a:lnTo>
                  <a:pt x="240" y="788"/>
                </a:lnTo>
                <a:lnTo>
                  <a:pt x="244" y="783"/>
                </a:lnTo>
                <a:lnTo>
                  <a:pt x="248" y="785"/>
                </a:lnTo>
                <a:lnTo>
                  <a:pt x="247" y="782"/>
                </a:lnTo>
                <a:lnTo>
                  <a:pt x="244" y="781"/>
                </a:lnTo>
                <a:lnTo>
                  <a:pt x="243" y="780"/>
                </a:lnTo>
                <a:lnTo>
                  <a:pt x="241" y="781"/>
                </a:lnTo>
                <a:lnTo>
                  <a:pt x="241" y="779"/>
                </a:lnTo>
                <a:close/>
                <a:moveTo>
                  <a:pt x="323" y="746"/>
                </a:moveTo>
                <a:lnTo>
                  <a:pt x="323" y="743"/>
                </a:lnTo>
                <a:lnTo>
                  <a:pt x="320" y="743"/>
                </a:lnTo>
                <a:lnTo>
                  <a:pt x="319" y="744"/>
                </a:lnTo>
                <a:lnTo>
                  <a:pt x="323" y="746"/>
                </a:lnTo>
                <a:close/>
                <a:moveTo>
                  <a:pt x="241" y="776"/>
                </a:moveTo>
                <a:lnTo>
                  <a:pt x="241" y="776"/>
                </a:lnTo>
                <a:lnTo>
                  <a:pt x="241" y="776"/>
                </a:lnTo>
                <a:lnTo>
                  <a:pt x="241" y="776"/>
                </a:lnTo>
                <a:close/>
                <a:moveTo>
                  <a:pt x="248" y="776"/>
                </a:moveTo>
                <a:lnTo>
                  <a:pt x="245" y="776"/>
                </a:lnTo>
                <a:lnTo>
                  <a:pt x="245" y="777"/>
                </a:lnTo>
                <a:lnTo>
                  <a:pt x="243" y="777"/>
                </a:lnTo>
                <a:lnTo>
                  <a:pt x="243" y="778"/>
                </a:lnTo>
                <a:lnTo>
                  <a:pt x="242" y="778"/>
                </a:lnTo>
                <a:lnTo>
                  <a:pt x="243" y="780"/>
                </a:lnTo>
                <a:lnTo>
                  <a:pt x="247" y="777"/>
                </a:lnTo>
                <a:lnTo>
                  <a:pt x="249" y="780"/>
                </a:lnTo>
                <a:lnTo>
                  <a:pt x="252" y="780"/>
                </a:lnTo>
                <a:lnTo>
                  <a:pt x="253" y="780"/>
                </a:lnTo>
                <a:lnTo>
                  <a:pt x="253" y="774"/>
                </a:lnTo>
                <a:lnTo>
                  <a:pt x="251" y="773"/>
                </a:lnTo>
                <a:lnTo>
                  <a:pt x="252" y="772"/>
                </a:lnTo>
                <a:lnTo>
                  <a:pt x="249" y="773"/>
                </a:lnTo>
                <a:lnTo>
                  <a:pt x="248" y="776"/>
                </a:lnTo>
                <a:close/>
                <a:moveTo>
                  <a:pt x="241" y="776"/>
                </a:moveTo>
                <a:lnTo>
                  <a:pt x="243" y="777"/>
                </a:lnTo>
                <a:lnTo>
                  <a:pt x="244" y="776"/>
                </a:lnTo>
                <a:lnTo>
                  <a:pt x="241" y="776"/>
                </a:lnTo>
                <a:close/>
                <a:moveTo>
                  <a:pt x="651" y="712"/>
                </a:moveTo>
                <a:lnTo>
                  <a:pt x="650" y="711"/>
                </a:lnTo>
                <a:lnTo>
                  <a:pt x="650" y="711"/>
                </a:lnTo>
                <a:lnTo>
                  <a:pt x="647" y="715"/>
                </a:lnTo>
                <a:lnTo>
                  <a:pt x="653" y="719"/>
                </a:lnTo>
                <a:lnTo>
                  <a:pt x="655" y="716"/>
                </a:lnTo>
                <a:lnTo>
                  <a:pt x="655" y="713"/>
                </a:lnTo>
                <a:lnTo>
                  <a:pt x="651" y="711"/>
                </a:lnTo>
                <a:lnTo>
                  <a:pt x="651" y="712"/>
                </a:lnTo>
                <a:lnTo>
                  <a:pt x="651" y="712"/>
                </a:lnTo>
                <a:close/>
                <a:moveTo>
                  <a:pt x="485" y="652"/>
                </a:moveTo>
                <a:lnTo>
                  <a:pt x="486" y="654"/>
                </a:lnTo>
                <a:lnTo>
                  <a:pt x="494" y="651"/>
                </a:lnTo>
                <a:lnTo>
                  <a:pt x="494" y="651"/>
                </a:lnTo>
                <a:lnTo>
                  <a:pt x="485" y="652"/>
                </a:lnTo>
                <a:close/>
                <a:moveTo>
                  <a:pt x="646" y="716"/>
                </a:moveTo>
                <a:lnTo>
                  <a:pt x="646" y="716"/>
                </a:lnTo>
                <a:lnTo>
                  <a:pt x="647" y="715"/>
                </a:lnTo>
                <a:lnTo>
                  <a:pt x="646" y="715"/>
                </a:lnTo>
                <a:lnTo>
                  <a:pt x="646" y="716"/>
                </a:lnTo>
                <a:close/>
                <a:moveTo>
                  <a:pt x="692" y="746"/>
                </a:moveTo>
                <a:lnTo>
                  <a:pt x="691" y="747"/>
                </a:lnTo>
                <a:lnTo>
                  <a:pt x="691" y="747"/>
                </a:lnTo>
                <a:lnTo>
                  <a:pt x="692" y="747"/>
                </a:lnTo>
                <a:lnTo>
                  <a:pt x="692" y="746"/>
                </a:lnTo>
                <a:close/>
                <a:moveTo>
                  <a:pt x="646" y="716"/>
                </a:moveTo>
                <a:lnTo>
                  <a:pt x="646" y="716"/>
                </a:lnTo>
                <a:lnTo>
                  <a:pt x="650" y="720"/>
                </a:lnTo>
                <a:lnTo>
                  <a:pt x="654" y="719"/>
                </a:lnTo>
                <a:lnTo>
                  <a:pt x="655" y="721"/>
                </a:lnTo>
                <a:lnTo>
                  <a:pt x="655" y="726"/>
                </a:lnTo>
                <a:lnTo>
                  <a:pt x="656" y="727"/>
                </a:lnTo>
                <a:lnTo>
                  <a:pt x="658" y="731"/>
                </a:lnTo>
                <a:lnTo>
                  <a:pt x="659" y="743"/>
                </a:lnTo>
                <a:lnTo>
                  <a:pt x="659" y="753"/>
                </a:lnTo>
                <a:lnTo>
                  <a:pt x="653" y="744"/>
                </a:lnTo>
                <a:lnTo>
                  <a:pt x="658" y="742"/>
                </a:lnTo>
                <a:lnTo>
                  <a:pt x="654" y="743"/>
                </a:lnTo>
                <a:lnTo>
                  <a:pt x="653" y="743"/>
                </a:lnTo>
                <a:lnTo>
                  <a:pt x="654" y="740"/>
                </a:lnTo>
                <a:lnTo>
                  <a:pt x="647" y="740"/>
                </a:lnTo>
                <a:lnTo>
                  <a:pt x="647" y="732"/>
                </a:lnTo>
                <a:lnTo>
                  <a:pt x="647" y="732"/>
                </a:lnTo>
                <a:lnTo>
                  <a:pt x="646" y="736"/>
                </a:lnTo>
                <a:lnTo>
                  <a:pt x="643" y="736"/>
                </a:lnTo>
                <a:lnTo>
                  <a:pt x="644" y="732"/>
                </a:lnTo>
                <a:lnTo>
                  <a:pt x="643" y="732"/>
                </a:lnTo>
                <a:lnTo>
                  <a:pt x="643" y="728"/>
                </a:lnTo>
                <a:lnTo>
                  <a:pt x="643" y="728"/>
                </a:lnTo>
                <a:lnTo>
                  <a:pt x="641" y="725"/>
                </a:lnTo>
                <a:lnTo>
                  <a:pt x="644" y="726"/>
                </a:lnTo>
                <a:lnTo>
                  <a:pt x="639" y="724"/>
                </a:lnTo>
                <a:lnTo>
                  <a:pt x="641" y="724"/>
                </a:lnTo>
                <a:lnTo>
                  <a:pt x="634" y="718"/>
                </a:lnTo>
                <a:lnTo>
                  <a:pt x="630" y="713"/>
                </a:lnTo>
                <a:lnTo>
                  <a:pt x="630" y="712"/>
                </a:lnTo>
                <a:lnTo>
                  <a:pt x="635" y="713"/>
                </a:lnTo>
                <a:lnTo>
                  <a:pt x="639" y="716"/>
                </a:lnTo>
                <a:lnTo>
                  <a:pt x="634" y="709"/>
                </a:lnTo>
                <a:lnTo>
                  <a:pt x="634" y="708"/>
                </a:lnTo>
                <a:lnTo>
                  <a:pt x="642" y="708"/>
                </a:lnTo>
                <a:lnTo>
                  <a:pt x="647" y="711"/>
                </a:lnTo>
                <a:lnTo>
                  <a:pt x="646" y="715"/>
                </a:lnTo>
                <a:lnTo>
                  <a:pt x="643" y="713"/>
                </a:lnTo>
                <a:lnTo>
                  <a:pt x="646" y="716"/>
                </a:lnTo>
                <a:lnTo>
                  <a:pt x="646" y="716"/>
                </a:lnTo>
                <a:close/>
                <a:moveTo>
                  <a:pt x="647" y="724"/>
                </a:moveTo>
                <a:lnTo>
                  <a:pt x="650" y="724"/>
                </a:lnTo>
                <a:lnTo>
                  <a:pt x="650" y="724"/>
                </a:lnTo>
                <a:lnTo>
                  <a:pt x="647" y="721"/>
                </a:lnTo>
                <a:lnTo>
                  <a:pt x="647" y="724"/>
                </a:lnTo>
                <a:close/>
                <a:moveTo>
                  <a:pt x="644" y="728"/>
                </a:moveTo>
                <a:lnTo>
                  <a:pt x="647" y="730"/>
                </a:lnTo>
                <a:lnTo>
                  <a:pt x="646" y="728"/>
                </a:lnTo>
                <a:lnTo>
                  <a:pt x="647" y="728"/>
                </a:lnTo>
                <a:lnTo>
                  <a:pt x="647" y="724"/>
                </a:lnTo>
                <a:lnTo>
                  <a:pt x="644" y="728"/>
                </a:lnTo>
                <a:close/>
                <a:moveTo>
                  <a:pt x="703" y="769"/>
                </a:moveTo>
                <a:lnTo>
                  <a:pt x="703" y="768"/>
                </a:lnTo>
                <a:lnTo>
                  <a:pt x="702" y="768"/>
                </a:lnTo>
                <a:lnTo>
                  <a:pt x="702" y="773"/>
                </a:lnTo>
                <a:lnTo>
                  <a:pt x="702" y="774"/>
                </a:lnTo>
                <a:lnTo>
                  <a:pt x="703" y="770"/>
                </a:lnTo>
                <a:lnTo>
                  <a:pt x="703" y="770"/>
                </a:lnTo>
                <a:lnTo>
                  <a:pt x="703" y="770"/>
                </a:lnTo>
                <a:lnTo>
                  <a:pt x="703" y="769"/>
                </a:lnTo>
                <a:close/>
                <a:moveTo>
                  <a:pt x="631" y="705"/>
                </a:moveTo>
                <a:lnTo>
                  <a:pt x="631" y="705"/>
                </a:lnTo>
                <a:lnTo>
                  <a:pt x="634" y="707"/>
                </a:lnTo>
                <a:lnTo>
                  <a:pt x="631" y="705"/>
                </a:lnTo>
                <a:close/>
                <a:moveTo>
                  <a:pt x="870" y="1169"/>
                </a:moveTo>
                <a:lnTo>
                  <a:pt x="873" y="1166"/>
                </a:lnTo>
                <a:lnTo>
                  <a:pt x="869" y="1166"/>
                </a:lnTo>
                <a:lnTo>
                  <a:pt x="870" y="1169"/>
                </a:lnTo>
                <a:close/>
                <a:moveTo>
                  <a:pt x="893" y="1175"/>
                </a:moveTo>
                <a:lnTo>
                  <a:pt x="896" y="1177"/>
                </a:lnTo>
                <a:lnTo>
                  <a:pt x="899" y="1177"/>
                </a:lnTo>
                <a:lnTo>
                  <a:pt x="896" y="1176"/>
                </a:lnTo>
                <a:lnTo>
                  <a:pt x="893" y="1175"/>
                </a:lnTo>
                <a:close/>
                <a:moveTo>
                  <a:pt x="896" y="1186"/>
                </a:moveTo>
                <a:lnTo>
                  <a:pt x="896" y="1186"/>
                </a:lnTo>
                <a:lnTo>
                  <a:pt x="893" y="1183"/>
                </a:lnTo>
                <a:lnTo>
                  <a:pt x="896" y="1186"/>
                </a:lnTo>
                <a:close/>
                <a:moveTo>
                  <a:pt x="893" y="1250"/>
                </a:moveTo>
                <a:lnTo>
                  <a:pt x="896" y="1248"/>
                </a:lnTo>
                <a:lnTo>
                  <a:pt x="893" y="1246"/>
                </a:lnTo>
                <a:lnTo>
                  <a:pt x="893" y="1250"/>
                </a:lnTo>
                <a:close/>
                <a:moveTo>
                  <a:pt x="939" y="1263"/>
                </a:moveTo>
                <a:lnTo>
                  <a:pt x="941" y="1264"/>
                </a:lnTo>
                <a:lnTo>
                  <a:pt x="941" y="1263"/>
                </a:lnTo>
                <a:lnTo>
                  <a:pt x="939" y="1259"/>
                </a:lnTo>
                <a:lnTo>
                  <a:pt x="939" y="1263"/>
                </a:lnTo>
                <a:close/>
                <a:moveTo>
                  <a:pt x="1022" y="2107"/>
                </a:moveTo>
                <a:lnTo>
                  <a:pt x="1025" y="2106"/>
                </a:lnTo>
                <a:lnTo>
                  <a:pt x="1022" y="2106"/>
                </a:lnTo>
                <a:lnTo>
                  <a:pt x="1022" y="2107"/>
                </a:lnTo>
                <a:close/>
                <a:moveTo>
                  <a:pt x="1001" y="1408"/>
                </a:moveTo>
                <a:lnTo>
                  <a:pt x="1002" y="1408"/>
                </a:lnTo>
                <a:lnTo>
                  <a:pt x="1003" y="1408"/>
                </a:lnTo>
                <a:lnTo>
                  <a:pt x="1002" y="1407"/>
                </a:lnTo>
                <a:lnTo>
                  <a:pt x="1001" y="1408"/>
                </a:lnTo>
                <a:close/>
                <a:moveTo>
                  <a:pt x="987" y="1319"/>
                </a:moveTo>
                <a:lnTo>
                  <a:pt x="989" y="1320"/>
                </a:lnTo>
                <a:lnTo>
                  <a:pt x="988" y="1319"/>
                </a:lnTo>
                <a:lnTo>
                  <a:pt x="987" y="1319"/>
                </a:lnTo>
                <a:close/>
                <a:moveTo>
                  <a:pt x="733" y="811"/>
                </a:moveTo>
                <a:lnTo>
                  <a:pt x="734" y="813"/>
                </a:lnTo>
                <a:lnTo>
                  <a:pt x="734" y="811"/>
                </a:lnTo>
                <a:lnTo>
                  <a:pt x="733" y="811"/>
                </a:lnTo>
                <a:close/>
                <a:moveTo>
                  <a:pt x="737" y="824"/>
                </a:moveTo>
                <a:lnTo>
                  <a:pt x="741" y="828"/>
                </a:lnTo>
                <a:lnTo>
                  <a:pt x="741" y="825"/>
                </a:lnTo>
                <a:lnTo>
                  <a:pt x="737" y="822"/>
                </a:lnTo>
                <a:lnTo>
                  <a:pt x="737" y="824"/>
                </a:lnTo>
                <a:close/>
                <a:moveTo>
                  <a:pt x="743" y="826"/>
                </a:moveTo>
                <a:lnTo>
                  <a:pt x="742" y="829"/>
                </a:lnTo>
                <a:lnTo>
                  <a:pt x="744" y="832"/>
                </a:lnTo>
                <a:lnTo>
                  <a:pt x="743" y="832"/>
                </a:lnTo>
                <a:lnTo>
                  <a:pt x="745" y="836"/>
                </a:lnTo>
                <a:lnTo>
                  <a:pt x="745" y="830"/>
                </a:lnTo>
                <a:lnTo>
                  <a:pt x="746" y="831"/>
                </a:lnTo>
                <a:lnTo>
                  <a:pt x="743" y="825"/>
                </a:lnTo>
                <a:lnTo>
                  <a:pt x="743" y="826"/>
                </a:lnTo>
                <a:close/>
                <a:moveTo>
                  <a:pt x="1067" y="1363"/>
                </a:moveTo>
                <a:lnTo>
                  <a:pt x="1065" y="1363"/>
                </a:lnTo>
                <a:lnTo>
                  <a:pt x="1066" y="1367"/>
                </a:lnTo>
                <a:lnTo>
                  <a:pt x="1067" y="1367"/>
                </a:lnTo>
                <a:lnTo>
                  <a:pt x="1067" y="1363"/>
                </a:lnTo>
                <a:close/>
                <a:moveTo>
                  <a:pt x="786" y="895"/>
                </a:moveTo>
                <a:lnTo>
                  <a:pt x="786" y="894"/>
                </a:lnTo>
                <a:lnTo>
                  <a:pt x="785" y="894"/>
                </a:lnTo>
                <a:lnTo>
                  <a:pt x="786" y="895"/>
                </a:lnTo>
                <a:close/>
                <a:moveTo>
                  <a:pt x="874" y="1166"/>
                </a:moveTo>
                <a:lnTo>
                  <a:pt x="875" y="1169"/>
                </a:lnTo>
                <a:lnTo>
                  <a:pt x="880" y="1166"/>
                </a:lnTo>
                <a:lnTo>
                  <a:pt x="874" y="1165"/>
                </a:lnTo>
                <a:lnTo>
                  <a:pt x="874" y="1166"/>
                </a:lnTo>
                <a:close/>
                <a:moveTo>
                  <a:pt x="252" y="772"/>
                </a:moveTo>
                <a:lnTo>
                  <a:pt x="255" y="772"/>
                </a:lnTo>
                <a:lnTo>
                  <a:pt x="254" y="770"/>
                </a:lnTo>
                <a:lnTo>
                  <a:pt x="252" y="772"/>
                </a:lnTo>
                <a:close/>
                <a:moveTo>
                  <a:pt x="1289" y="1695"/>
                </a:moveTo>
                <a:lnTo>
                  <a:pt x="1289" y="1693"/>
                </a:lnTo>
                <a:lnTo>
                  <a:pt x="1285" y="1691"/>
                </a:lnTo>
                <a:lnTo>
                  <a:pt x="1283" y="1696"/>
                </a:lnTo>
                <a:lnTo>
                  <a:pt x="1284" y="1696"/>
                </a:lnTo>
                <a:lnTo>
                  <a:pt x="1283" y="1698"/>
                </a:lnTo>
                <a:lnTo>
                  <a:pt x="1284" y="1700"/>
                </a:lnTo>
                <a:lnTo>
                  <a:pt x="1285" y="1700"/>
                </a:lnTo>
                <a:lnTo>
                  <a:pt x="1285" y="1696"/>
                </a:lnTo>
                <a:lnTo>
                  <a:pt x="1285" y="1696"/>
                </a:lnTo>
                <a:lnTo>
                  <a:pt x="1285" y="1695"/>
                </a:lnTo>
                <a:lnTo>
                  <a:pt x="1289" y="1700"/>
                </a:lnTo>
                <a:lnTo>
                  <a:pt x="1289" y="1697"/>
                </a:lnTo>
                <a:lnTo>
                  <a:pt x="1289" y="1695"/>
                </a:lnTo>
                <a:close/>
                <a:moveTo>
                  <a:pt x="1030" y="1306"/>
                </a:moveTo>
                <a:lnTo>
                  <a:pt x="1031" y="1305"/>
                </a:lnTo>
                <a:lnTo>
                  <a:pt x="1028" y="1306"/>
                </a:lnTo>
                <a:lnTo>
                  <a:pt x="1030" y="1306"/>
                </a:lnTo>
                <a:close/>
                <a:moveTo>
                  <a:pt x="831" y="923"/>
                </a:moveTo>
                <a:lnTo>
                  <a:pt x="831" y="924"/>
                </a:lnTo>
                <a:lnTo>
                  <a:pt x="832" y="923"/>
                </a:lnTo>
                <a:lnTo>
                  <a:pt x="831" y="923"/>
                </a:lnTo>
                <a:close/>
                <a:moveTo>
                  <a:pt x="1314" y="1706"/>
                </a:moveTo>
                <a:lnTo>
                  <a:pt x="1315" y="1706"/>
                </a:lnTo>
                <a:lnTo>
                  <a:pt x="1318" y="1702"/>
                </a:lnTo>
                <a:lnTo>
                  <a:pt x="1311" y="1706"/>
                </a:lnTo>
                <a:lnTo>
                  <a:pt x="1314" y="1706"/>
                </a:lnTo>
                <a:close/>
                <a:moveTo>
                  <a:pt x="795" y="873"/>
                </a:moveTo>
                <a:lnTo>
                  <a:pt x="795" y="873"/>
                </a:lnTo>
                <a:lnTo>
                  <a:pt x="795" y="873"/>
                </a:lnTo>
                <a:lnTo>
                  <a:pt x="795" y="873"/>
                </a:lnTo>
                <a:close/>
                <a:moveTo>
                  <a:pt x="1299" y="1688"/>
                </a:moveTo>
                <a:lnTo>
                  <a:pt x="1300" y="1688"/>
                </a:lnTo>
                <a:lnTo>
                  <a:pt x="1299" y="1687"/>
                </a:lnTo>
                <a:lnTo>
                  <a:pt x="1299" y="1688"/>
                </a:lnTo>
                <a:close/>
                <a:moveTo>
                  <a:pt x="796" y="874"/>
                </a:moveTo>
                <a:lnTo>
                  <a:pt x="795" y="873"/>
                </a:lnTo>
                <a:lnTo>
                  <a:pt x="795" y="875"/>
                </a:lnTo>
                <a:lnTo>
                  <a:pt x="796" y="874"/>
                </a:lnTo>
                <a:close/>
                <a:moveTo>
                  <a:pt x="835" y="918"/>
                </a:moveTo>
                <a:lnTo>
                  <a:pt x="832" y="923"/>
                </a:lnTo>
                <a:lnTo>
                  <a:pt x="835" y="920"/>
                </a:lnTo>
                <a:lnTo>
                  <a:pt x="835" y="918"/>
                </a:lnTo>
                <a:close/>
                <a:moveTo>
                  <a:pt x="1289" y="1701"/>
                </a:moveTo>
                <a:lnTo>
                  <a:pt x="1291" y="1702"/>
                </a:lnTo>
                <a:lnTo>
                  <a:pt x="1289" y="1700"/>
                </a:lnTo>
                <a:lnTo>
                  <a:pt x="1289" y="1701"/>
                </a:lnTo>
                <a:close/>
                <a:moveTo>
                  <a:pt x="792" y="873"/>
                </a:moveTo>
                <a:lnTo>
                  <a:pt x="795" y="873"/>
                </a:lnTo>
                <a:lnTo>
                  <a:pt x="793" y="872"/>
                </a:lnTo>
                <a:lnTo>
                  <a:pt x="792" y="873"/>
                </a:lnTo>
                <a:close/>
                <a:moveTo>
                  <a:pt x="1068" y="1369"/>
                </a:moveTo>
                <a:lnTo>
                  <a:pt x="1068" y="1367"/>
                </a:lnTo>
                <a:lnTo>
                  <a:pt x="1067" y="1369"/>
                </a:lnTo>
                <a:lnTo>
                  <a:pt x="1068" y="1369"/>
                </a:lnTo>
                <a:close/>
                <a:moveTo>
                  <a:pt x="1291" y="1702"/>
                </a:moveTo>
                <a:lnTo>
                  <a:pt x="1291" y="1702"/>
                </a:lnTo>
                <a:lnTo>
                  <a:pt x="1289" y="1704"/>
                </a:lnTo>
                <a:lnTo>
                  <a:pt x="1288" y="1704"/>
                </a:lnTo>
                <a:lnTo>
                  <a:pt x="1284" y="1707"/>
                </a:lnTo>
                <a:lnTo>
                  <a:pt x="1285" y="1708"/>
                </a:lnTo>
                <a:lnTo>
                  <a:pt x="1289" y="1708"/>
                </a:lnTo>
                <a:lnTo>
                  <a:pt x="1292" y="1706"/>
                </a:lnTo>
                <a:lnTo>
                  <a:pt x="1291" y="1702"/>
                </a:lnTo>
                <a:lnTo>
                  <a:pt x="1291" y="1702"/>
                </a:lnTo>
                <a:close/>
                <a:moveTo>
                  <a:pt x="1297" y="1695"/>
                </a:moveTo>
                <a:lnTo>
                  <a:pt x="1293" y="1694"/>
                </a:lnTo>
                <a:lnTo>
                  <a:pt x="1293" y="1697"/>
                </a:lnTo>
                <a:lnTo>
                  <a:pt x="1297" y="1697"/>
                </a:lnTo>
                <a:lnTo>
                  <a:pt x="1299" y="1695"/>
                </a:lnTo>
                <a:lnTo>
                  <a:pt x="1297" y="1695"/>
                </a:lnTo>
                <a:close/>
                <a:moveTo>
                  <a:pt x="1299" y="1702"/>
                </a:moveTo>
                <a:lnTo>
                  <a:pt x="1303" y="1705"/>
                </a:lnTo>
                <a:lnTo>
                  <a:pt x="1303" y="1702"/>
                </a:lnTo>
                <a:lnTo>
                  <a:pt x="1303" y="1701"/>
                </a:lnTo>
                <a:lnTo>
                  <a:pt x="1299" y="1699"/>
                </a:lnTo>
                <a:lnTo>
                  <a:pt x="1299" y="1702"/>
                </a:lnTo>
                <a:close/>
                <a:moveTo>
                  <a:pt x="1300" y="1712"/>
                </a:moveTo>
                <a:lnTo>
                  <a:pt x="1300" y="1709"/>
                </a:lnTo>
                <a:lnTo>
                  <a:pt x="1299" y="1709"/>
                </a:lnTo>
                <a:lnTo>
                  <a:pt x="1300" y="1712"/>
                </a:lnTo>
                <a:close/>
                <a:moveTo>
                  <a:pt x="776" y="865"/>
                </a:moveTo>
                <a:lnTo>
                  <a:pt x="774" y="866"/>
                </a:lnTo>
                <a:lnTo>
                  <a:pt x="776" y="866"/>
                </a:lnTo>
                <a:lnTo>
                  <a:pt x="779" y="866"/>
                </a:lnTo>
                <a:lnTo>
                  <a:pt x="780" y="865"/>
                </a:lnTo>
                <a:lnTo>
                  <a:pt x="779" y="865"/>
                </a:lnTo>
                <a:lnTo>
                  <a:pt x="776" y="865"/>
                </a:lnTo>
                <a:close/>
                <a:moveTo>
                  <a:pt x="1438" y="1310"/>
                </a:moveTo>
                <a:lnTo>
                  <a:pt x="1438" y="1310"/>
                </a:lnTo>
                <a:lnTo>
                  <a:pt x="1438" y="1310"/>
                </a:lnTo>
                <a:lnTo>
                  <a:pt x="1438" y="1310"/>
                </a:lnTo>
                <a:close/>
                <a:moveTo>
                  <a:pt x="1712" y="748"/>
                </a:moveTo>
                <a:lnTo>
                  <a:pt x="1716" y="747"/>
                </a:lnTo>
                <a:lnTo>
                  <a:pt x="1711" y="747"/>
                </a:lnTo>
                <a:lnTo>
                  <a:pt x="1711" y="748"/>
                </a:lnTo>
                <a:lnTo>
                  <a:pt x="1712" y="748"/>
                </a:lnTo>
                <a:close/>
                <a:moveTo>
                  <a:pt x="1438" y="1310"/>
                </a:moveTo>
                <a:lnTo>
                  <a:pt x="1438" y="1311"/>
                </a:lnTo>
                <a:lnTo>
                  <a:pt x="1438" y="1310"/>
                </a:lnTo>
                <a:lnTo>
                  <a:pt x="1438" y="1310"/>
                </a:lnTo>
                <a:close/>
                <a:moveTo>
                  <a:pt x="1438" y="1310"/>
                </a:moveTo>
                <a:lnTo>
                  <a:pt x="1439" y="1310"/>
                </a:lnTo>
                <a:lnTo>
                  <a:pt x="1439" y="1310"/>
                </a:lnTo>
                <a:lnTo>
                  <a:pt x="1438" y="1310"/>
                </a:lnTo>
                <a:lnTo>
                  <a:pt x="1438" y="1310"/>
                </a:lnTo>
                <a:close/>
                <a:moveTo>
                  <a:pt x="1260" y="628"/>
                </a:moveTo>
                <a:lnTo>
                  <a:pt x="1262" y="630"/>
                </a:lnTo>
                <a:lnTo>
                  <a:pt x="1263" y="627"/>
                </a:lnTo>
                <a:lnTo>
                  <a:pt x="1261" y="627"/>
                </a:lnTo>
                <a:lnTo>
                  <a:pt x="1261" y="628"/>
                </a:lnTo>
                <a:lnTo>
                  <a:pt x="1260" y="628"/>
                </a:lnTo>
                <a:close/>
                <a:moveTo>
                  <a:pt x="2526" y="732"/>
                </a:moveTo>
                <a:lnTo>
                  <a:pt x="2527" y="732"/>
                </a:lnTo>
                <a:lnTo>
                  <a:pt x="2526" y="731"/>
                </a:lnTo>
                <a:lnTo>
                  <a:pt x="2526" y="732"/>
                </a:lnTo>
                <a:close/>
                <a:moveTo>
                  <a:pt x="1309" y="462"/>
                </a:moveTo>
                <a:lnTo>
                  <a:pt x="1306" y="459"/>
                </a:lnTo>
                <a:lnTo>
                  <a:pt x="1306" y="462"/>
                </a:lnTo>
                <a:lnTo>
                  <a:pt x="1306" y="463"/>
                </a:lnTo>
                <a:lnTo>
                  <a:pt x="1309" y="462"/>
                </a:lnTo>
                <a:lnTo>
                  <a:pt x="1309" y="462"/>
                </a:lnTo>
                <a:lnTo>
                  <a:pt x="1309" y="462"/>
                </a:lnTo>
                <a:close/>
                <a:moveTo>
                  <a:pt x="1309" y="1232"/>
                </a:moveTo>
                <a:lnTo>
                  <a:pt x="1310" y="1233"/>
                </a:lnTo>
                <a:lnTo>
                  <a:pt x="1313" y="1232"/>
                </a:lnTo>
                <a:lnTo>
                  <a:pt x="1309" y="1232"/>
                </a:lnTo>
                <a:close/>
                <a:moveTo>
                  <a:pt x="1304" y="1246"/>
                </a:moveTo>
                <a:lnTo>
                  <a:pt x="1304" y="1245"/>
                </a:lnTo>
                <a:lnTo>
                  <a:pt x="1302" y="1243"/>
                </a:lnTo>
                <a:lnTo>
                  <a:pt x="1301" y="1244"/>
                </a:lnTo>
                <a:lnTo>
                  <a:pt x="1301" y="1246"/>
                </a:lnTo>
                <a:lnTo>
                  <a:pt x="1304" y="1246"/>
                </a:lnTo>
                <a:close/>
                <a:moveTo>
                  <a:pt x="1307" y="1249"/>
                </a:moveTo>
                <a:lnTo>
                  <a:pt x="1309" y="1246"/>
                </a:lnTo>
                <a:lnTo>
                  <a:pt x="1304" y="1246"/>
                </a:lnTo>
                <a:lnTo>
                  <a:pt x="1305" y="1249"/>
                </a:lnTo>
                <a:lnTo>
                  <a:pt x="1307" y="1249"/>
                </a:lnTo>
                <a:close/>
                <a:moveTo>
                  <a:pt x="1204" y="1295"/>
                </a:moveTo>
                <a:lnTo>
                  <a:pt x="1201" y="1277"/>
                </a:lnTo>
                <a:lnTo>
                  <a:pt x="1201" y="1287"/>
                </a:lnTo>
                <a:lnTo>
                  <a:pt x="1204" y="1295"/>
                </a:lnTo>
                <a:close/>
                <a:moveTo>
                  <a:pt x="1333" y="1418"/>
                </a:moveTo>
                <a:lnTo>
                  <a:pt x="1333" y="1419"/>
                </a:lnTo>
                <a:lnTo>
                  <a:pt x="1333" y="1419"/>
                </a:lnTo>
                <a:lnTo>
                  <a:pt x="1333" y="1418"/>
                </a:lnTo>
                <a:close/>
                <a:moveTo>
                  <a:pt x="1203" y="1296"/>
                </a:moveTo>
                <a:lnTo>
                  <a:pt x="1202" y="1296"/>
                </a:lnTo>
                <a:lnTo>
                  <a:pt x="1202" y="1297"/>
                </a:lnTo>
                <a:lnTo>
                  <a:pt x="1203" y="1296"/>
                </a:lnTo>
                <a:close/>
                <a:moveTo>
                  <a:pt x="1399" y="1503"/>
                </a:moveTo>
                <a:lnTo>
                  <a:pt x="1399" y="1507"/>
                </a:lnTo>
                <a:lnTo>
                  <a:pt x="1400" y="1507"/>
                </a:lnTo>
                <a:lnTo>
                  <a:pt x="1399" y="1503"/>
                </a:lnTo>
                <a:lnTo>
                  <a:pt x="1399" y="1503"/>
                </a:lnTo>
                <a:lnTo>
                  <a:pt x="1399" y="1503"/>
                </a:lnTo>
                <a:lnTo>
                  <a:pt x="1399" y="1503"/>
                </a:lnTo>
                <a:lnTo>
                  <a:pt x="1399" y="1503"/>
                </a:lnTo>
                <a:lnTo>
                  <a:pt x="1399" y="1503"/>
                </a:lnTo>
                <a:close/>
                <a:moveTo>
                  <a:pt x="590" y="677"/>
                </a:moveTo>
                <a:lnTo>
                  <a:pt x="590" y="677"/>
                </a:lnTo>
                <a:lnTo>
                  <a:pt x="590" y="677"/>
                </a:lnTo>
                <a:lnTo>
                  <a:pt x="590" y="677"/>
                </a:lnTo>
                <a:close/>
                <a:moveTo>
                  <a:pt x="2569" y="695"/>
                </a:moveTo>
                <a:lnTo>
                  <a:pt x="2566" y="695"/>
                </a:lnTo>
                <a:lnTo>
                  <a:pt x="2567" y="696"/>
                </a:lnTo>
                <a:lnTo>
                  <a:pt x="2569" y="695"/>
                </a:lnTo>
                <a:close/>
                <a:moveTo>
                  <a:pt x="2565" y="695"/>
                </a:moveTo>
                <a:lnTo>
                  <a:pt x="2561" y="693"/>
                </a:lnTo>
                <a:lnTo>
                  <a:pt x="2565" y="696"/>
                </a:lnTo>
                <a:lnTo>
                  <a:pt x="2565" y="695"/>
                </a:lnTo>
                <a:close/>
                <a:moveTo>
                  <a:pt x="2623" y="850"/>
                </a:moveTo>
                <a:lnTo>
                  <a:pt x="2623" y="849"/>
                </a:lnTo>
                <a:lnTo>
                  <a:pt x="2622" y="849"/>
                </a:lnTo>
                <a:lnTo>
                  <a:pt x="2622" y="851"/>
                </a:lnTo>
                <a:lnTo>
                  <a:pt x="2623" y="851"/>
                </a:lnTo>
                <a:lnTo>
                  <a:pt x="2623" y="850"/>
                </a:lnTo>
                <a:close/>
                <a:moveTo>
                  <a:pt x="2571" y="693"/>
                </a:moveTo>
                <a:lnTo>
                  <a:pt x="2566" y="688"/>
                </a:lnTo>
                <a:lnTo>
                  <a:pt x="2564" y="688"/>
                </a:lnTo>
                <a:lnTo>
                  <a:pt x="2564" y="691"/>
                </a:lnTo>
                <a:lnTo>
                  <a:pt x="2569" y="693"/>
                </a:lnTo>
                <a:lnTo>
                  <a:pt x="2571" y="693"/>
                </a:lnTo>
                <a:close/>
                <a:moveTo>
                  <a:pt x="2542" y="812"/>
                </a:moveTo>
                <a:lnTo>
                  <a:pt x="2543" y="812"/>
                </a:lnTo>
                <a:lnTo>
                  <a:pt x="2542" y="811"/>
                </a:lnTo>
                <a:lnTo>
                  <a:pt x="2542" y="812"/>
                </a:lnTo>
                <a:close/>
                <a:moveTo>
                  <a:pt x="751" y="828"/>
                </a:moveTo>
                <a:lnTo>
                  <a:pt x="750" y="825"/>
                </a:lnTo>
                <a:lnTo>
                  <a:pt x="750" y="824"/>
                </a:lnTo>
                <a:lnTo>
                  <a:pt x="750" y="824"/>
                </a:lnTo>
                <a:lnTo>
                  <a:pt x="749" y="823"/>
                </a:lnTo>
                <a:lnTo>
                  <a:pt x="749" y="823"/>
                </a:lnTo>
                <a:lnTo>
                  <a:pt x="747" y="824"/>
                </a:lnTo>
                <a:lnTo>
                  <a:pt x="747" y="831"/>
                </a:lnTo>
                <a:lnTo>
                  <a:pt x="751" y="828"/>
                </a:lnTo>
                <a:lnTo>
                  <a:pt x="751" y="828"/>
                </a:lnTo>
                <a:lnTo>
                  <a:pt x="751" y="828"/>
                </a:lnTo>
                <a:close/>
                <a:moveTo>
                  <a:pt x="2572" y="684"/>
                </a:moveTo>
                <a:lnTo>
                  <a:pt x="2572" y="685"/>
                </a:lnTo>
                <a:lnTo>
                  <a:pt x="2575" y="684"/>
                </a:lnTo>
                <a:lnTo>
                  <a:pt x="2572" y="684"/>
                </a:lnTo>
                <a:close/>
                <a:moveTo>
                  <a:pt x="679" y="721"/>
                </a:moveTo>
                <a:lnTo>
                  <a:pt x="679" y="721"/>
                </a:lnTo>
                <a:lnTo>
                  <a:pt x="679" y="721"/>
                </a:lnTo>
                <a:lnTo>
                  <a:pt x="679" y="721"/>
                </a:lnTo>
                <a:lnTo>
                  <a:pt x="679" y="721"/>
                </a:lnTo>
                <a:close/>
                <a:moveTo>
                  <a:pt x="2526" y="731"/>
                </a:moveTo>
                <a:lnTo>
                  <a:pt x="2526" y="731"/>
                </a:lnTo>
                <a:lnTo>
                  <a:pt x="2527" y="729"/>
                </a:lnTo>
                <a:lnTo>
                  <a:pt x="2518" y="727"/>
                </a:lnTo>
                <a:lnTo>
                  <a:pt x="2518" y="723"/>
                </a:lnTo>
                <a:lnTo>
                  <a:pt x="2515" y="721"/>
                </a:lnTo>
                <a:lnTo>
                  <a:pt x="2512" y="723"/>
                </a:lnTo>
                <a:lnTo>
                  <a:pt x="2514" y="726"/>
                </a:lnTo>
                <a:lnTo>
                  <a:pt x="2515" y="727"/>
                </a:lnTo>
                <a:lnTo>
                  <a:pt x="2516" y="727"/>
                </a:lnTo>
                <a:lnTo>
                  <a:pt x="2520" y="728"/>
                </a:lnTo>
                <a:lnTo>
                  <a:pt x="2516" y="728"/>
                </a:lnTo>
                <a:lnTo>
                  <a:pt x="2520" y="732"/>
                </a:lnTo>
                <a:lnTo>
                  <a:pt x="2522" y="732"/>
                </a:lnTo>
                <a:lnTo>
                  <a:pt x="2522" y="734"/>
                </a:lnTo>
                <a:lnTo>
                  <a:pt x="2526" y="732"/>
                </a:lnTo>
                <a:lnTo>
                  <a:pt x="2526" y="732"/>
                </a:lnTo>
                <a:lnTo>
                  <a:pt x="2526" y="732"/>
                </a:lnTo>
                <a:lnTo>
                  <a:pt x="2526" y="731"/>
                </a:lnTo>
                <a:close/>
                <a:moveTo>
                  <a:pt x="679" y="721"/>
                </a:moveTo>
                <a:lnTo>
                  <a:pt x="679" y="721"/>
                </a:lnTo>
                <a:lnTo>
                  <a:pt x="679" y="721"/>
                </a:lnTo>
                <a:lnTo>
                  <a:pt x="679" y="721"/>
                </a:lnTo>
                <a:lnTo>
                  <a:pt x="679" y="721"/>
                </a:lnTo>
                <a:close/>
                <a:moveTo>
                  <a:pt x="2522" y="758"/>
                </a:moveTo>
                <a:lnTo>
                  <a:pt x="2522" y="757"/>
                </a:lnTo>
                <a:lnTo>
                  <a:pt x="2516" y="759"/>
                </a:lnTo>
                <a:lnTo>
                  <a:pt x="2516" y="762"/>
                </a:lnTo>
                <a:lnTo>
                  <a:pt x="2520" y="761"/>
                </a:lnTo>
                <a:lnTo>
                  <a:pt x="2520" y="764"/>
                </a:lnTo>
                <a:lnTo>
                  <a:pt x="2523" y="762"/>
                </a:lnTo>
                <a:lnTo>
                  <a:pt x="2522" y="759"/>
                </a:lnTo>
                <a:lnTo>
                  <a:pt x="2522" y="759"/>
                </a:lnTo>
                <a:lnTo>
                  <a:pt x="2522" y="758"/>
                </a:lnTo>
                <a:close/>
                <a:moveTo>
                  <a:pt x="679" y="721"/>
                </a:moveTo>
                <a:lnTo>
                  <a:pt x="676" y="720"/>
                </a:lnTo>
                <a:lnTo>
                  <a:pt x="677" y="723"/>
                </a:lnTo>
                <a:lnTo>
                  <a:pt x="679" y="721"/>
                </a:lnTo>
                <a:lnTo>
                  <a:pt x="679" y="721"/>
                </a:lnTo>
                <a:lnTo>
                  <a:pt x="679" y="721"/>
                </a:lnTo>
                <a:close/>
                <a:moveTo>
                  <a:pt x="719" y="782"/>
                </a:moveTo>
                <a:lnTo>
                  <a:pt x="719" y="782"/>
                </a:lnTo>
                <a:lnTo>
                  <a:pt x="718" y="782"/>
                </a:lnTo>
                <a:lnTo>
                  <a:pt x="719" y="782"/>
                </a:lnTo>
                <a:lnTo>
                  <a:pt x="719" y="782"/>
                </a:lnTo>
                <a:lnTo>
                  <a:pt x="719" y="782"/>
                </a:lnTo>
                <a:lnTo>
                  <a:pt x="719" y="782"/>
                </a:lnTo>
                <a:close/>
                <a:moveTo>
                  <a:pt x="2518" y="719"/>
                </a:moveTo>
                <a:lnTo>
                  <a:pt x="2518" y="723"/>
                </a:lnTo>
                <a:lnTo>
                  <a:pt x="2518" y="721"/>
                </a:lnTo>
                <a:lnTo>
                  <a:pt x="2518" y="719"/>
                </a:lnTo>
                <a:close/>
                <a:moveTo>
                  <a:pt x="1719" y="724"/>
                </a:moveTo>
                <a:lnTo>
                  <a:pt x="1713" y="726"/>
                </a:lnTo>
                <a:lnTo>
                  <a:pt x="1719" y="728"/>
                </a:lnTo>
                <a:lnTo>
                  <a:pt x="1719" y="724"/>
                </a:lnTo>
                <a:close/>
                <a:moveTo>
                  <a:pt x="1472" y="702"/>
                </a:moveTo>
                <a:lnTo>
                  <a:pt x="1472" y="702"/>
                </a:lnTo>
                <a:lnTo>
                  <a:pt x="1470" y="700"/>
                </a:lnTo>
                <a:lnTo>
                  <a:pt x="1470" y="702"/>
                </a:lnTo>
                <a:lnTo>
                  <a:pt x="1474" y="704"/>
                </a:lnTo>
                <a:lnTo>
                  <a:pt x="1472" y="702"/>
                </a:lnTo>
                <a:lnTo>
                  <a:pt x="1472" y="702"/>
                </a:lnTo>
                <a:lnTo>
                  <a:pt x="1472" y="702"/>
                </a:lnTo>
                <a:close/>
                <a:moveTo>
                  <a:pt x="1641" y="977"/>
                </a:moveTo>
                <a:lnTo>
                  <a:pt x="1641" y="977"/>
                </a:lnTo>
                <a:lnTo>
                  <a:pt x="1641" y="977"/>
                </a:lnTo>
                <a:lnTo>
                  <a:pt x="1641" y="977"/>
                </a:lnTo>
                <a:close/>
                <a:moveTo>
                  <a:pt x="1266" y="620"/>
                </a:moveTo>
                <a:lnTo>
                  <a:pt x="1266" y="620"/>
                </a:lnTo>
                <a:lnTo>
                  <a:pt x="1269" y="624"/>
                </a:lnTo>
                <a:lnTo>
                  <a:pt x="1266" y="620"/>
                </a:lnTo>
                <a:close/>
                <a:moveTo>
                  <a:pt x="277" y="702"/>
                </a:moveTo>
                <a:lnTo>
                  <a:pt x="278" y="701"/>
                </a:lnTo>
                <a:lnTo>
                  <a:pt x="282" y="696"/>
                </a:lnTo>
                <a:lnTo>
                  <a:pt x="276" y="698"/>
                </a:lnTo>
                <a:lnTo>
                  <a:pt x="275" y="698"/>
                </a:lnTo>
                <a:lnTo>
                  <a:pt x="277" y="702"/>
                </a:lnTo>
                <a:close/>
                <a:moveTo>
                  <a:pt x="1680" y="981"/>
                </a:moveTo>
                <a:lnTo>
                  <a:pt x="1679" y="982"/>
                </a:lnTo>
                <a:lnTo>
                  <a:pt x="1680" y="983"/>
                </a:lnTo>
                <a:lnTo>
                  <a:pt x="1680" y="981"/>
                </a:lnTo>
                <a:close/>
                <a:moveTo>
                  <a:pt x="1712" y="724"/>
                </a:moveTo>
                <a:lnTo>
                  <a:pt x="1712" y="724"/>
                </a:lnTo>
                <a:lnTo>
                  <a:pt x="1713" y="726"/>
                </a:lnTo>
                <a:lnTo>
                  <a:pt x="1715" y="724"/>
                </a:lnTo>
                <a:lnTo>
                  <a:pt x="1713" y="723"/>
                </a:lnTo>
                <a:lnTo>
                  <a:pt x="1713" y="723"/>
                </a:lnTo>
                <a:lnTo>
                  <a:pt x="1713" y="723"/>
                </a:lnTo>
                <a:lnTo>
                  <a:pt x="1712" y="724"/>
                </a:lnTo>
                <a:close/>
                <a:moveTo>
                  <a:pt x="1731" y="937"/>
                </a:moveTo>
                <a:lnTo>
                  <a:pt x="1731" y="938"/>
                </a:lnTo>
                <a:lnTo>
                  <a:pt x="1731" y="938"/>
                </a:lnTo>
                <a:lnTo>
                  <a:pt x="1732" y="937"/>
                </a:lnTo>
                <a:lnTo>
                  <a:pt x="1731" y="937"/>
                </a:lnTo>
                <a:close/>
                <a:moveTo>
                  <a:pt x="1374" y="459"/>
                </a:moveTo>
                <a:lnTo>
                  <a:pt x="1376" y="459"/>
                </a:lnTo>
                <a:lnTo>
                  <a:pt x="1377" y="459"/>
                </a:lnTo>
                <a:lnTo>
                  <a:pt x="1377" y="459"/>
                </a:lnTo>
                <a:lnTo>
                  <a:pt x="1377" y="459"/>
                </a:lnTo>
                <a:lnTo>
                  <a:pt x="1374" y="459"/>
                </a:lnTo>
                <a:close/>
                <a:moveTo>
                  <a:pt x="709" y="445"/>
                </a:moveTo>
                <a:lnTo>
                  <a:pt x="709" y="442"/>
                </a:lnTo>
                <a:lnTo>
                  <a:pt x="708" y="440"/>
                </a:lnTo>
                <a:lnTo>
                  <a:pt x="708" y="440"/>
                </a:lnTo>
                <a:lnTo>
                  <a:pt x="709" y="445"/>
                </a:lnTo>
                <a:close/>
                <a:moveTo>
                  <a:pt x="1045" y="508"/>
                </a:moveTo>
                <a:lnTo>
                  <a:pt x="1046" y="507"/>
                </a:lnTo>
                <a:lnTo>
                  <a:pt x="1045" y="507"/>
                </a:lnTo>
                <a:lnTo>
                  <a:pt x="1044" y="507"/>
                </a:lnTo>
                <a:lnTo>
                  <a:pt x="1045" y="508"/>
                </a:lnTo>
                <a:close/>
                <a:moveTo>
                  <a:pt x="300" y="404"/>
                </a:moveTo>
                <a:lnTo>
                  <a:pt x="301" y="405"/>
                </a:lnTo>
                <a:lnTo>
                  <a:pt x="303" y="403"/>
                </a:lnTo>
                <a:lnTo>
                  <a:pt x="300" y="404"/>
                </a:lnTo>
                <a:close/>
                <a:moveTo>
                  <a:pt x="1241" y="379"/>
                </a:moveTo>
                <a:lnTo>
                  <a:pt x="1247" y="379"/>
                </a:lnTo>
                <a:lnTo>
                  <a:pt x="1245" y="375"/>
                </a:lnTo>
                <a:lnTo>
                  <a:pt x="1255" y="362"/>
                </a:lnTo>
                <a:lnTo>
                  <a:pt x="1253" y="360"/>
                </a:lnTo>
                <a:lnTo>
                  <a:pt x="1249" y="355"/>
                </a:lnTo>
                <a:lnTo>
                  <a:pt x="1249" y="359"/>
                </a:lnTo>
                <a:lnTo>
                  <a:pt x="1241" y="359"/>
                </a:lnTo>
                <a:lnTo>
                  <a:pt x="1241" y="352"/>
                </a:lnTo>
                <a:lnTo>
                  <a:pt x="1256" y="351"/>
                </a:lnTo>
                <a:lnTo>
                  <a:pt x="1273" y="354"/>
                </a:lnTo>
                <a:lnTo>
                  <a:pt x="1279" y="349"/>
                </a:lnTo>
                <a:lnTo>
                  <a:pt x="1288" y="336"/>
                </a:lnTo>
                <a:lnTo>
                  <a:pt x="1303" y="320"/>
                </a:lnTo>
                <a:lnTo>
                  <a:pt x="1283" y="317"/>
                </a:lnTo>
                <a:lnTo>
                  <a:pt x="1273" y="318"/>
                </a:lnTo>
                <a:lnTo>
                  <a:pt x="1273" y="317"/>
                </a:lnTo>
                <a:lnTo>
                  <a:pt x="1268" y="313"/>
                </a:lnTo>
                <a:lnTo>
                  <a:pt x="1258" y="312"/>
                </a:lnTo>
                <a:lnTo>
                  <a:pt x="1243" y="313"/>
                </a:lnTo>
                <a:lnTo>
                  <a:pt x="1228" y="319"/>
                </a:lnTo>
                <a:lnTo>
                  <a:pt x="1231" y="322"/>
                </a:lnTo>
                <a:lnTo>
                  <a:pt x="1235" y="322"/>
                </a:lnTo>
                <a:lnTo>
                  <a:pt x="1232" y="324"/>
                </a:lnTo>
                <a:lnTo>
                  <a:pt x="1240" y="326"/>
                </a:lnTo>
                <a:lnTo>
                  <a:pt x="1226" y="324"/>
                </a:lnTo>
                <a:lnTo>
                  <a:pt x="1224" y="325"/>
                </a:lnTo>
                <a:lnTo>
                  <a:pt x="1225" y="328"/>
                </a:lnTo>
                <a:lnTo>
                  <a:pt x="1224" y="330"/>
                </a:lnTo>
                <a:lnTo>
                  <a:pt x="1225" y="341"/>
                </a:lnTo>
                <a:lnTo>
                  <a:pt x="1224" y="343"/>
                </a:lnTo>
                <a:lnTo>
                  <a:pt x="1225" y="354"/>
                </a:lnTo>
                <a:lnTo>
                  <a:pt x="1227" y="355"/>
                </a:lnTo>
                <a:lnTo>
                  <a:pt x="1229" y="361"/>
                </a:lnTo>
                <a:lnTo>
                  <a:pt x="1229" y="371"/>
                </a:lnTo>
                <a:lnTo>
                  <a:pt x="1237" y="371"/>
                </a:lnTo>
                <a:lnTo>
                  <a:pt x="1229" y="371"/>
                </a:lnTo>
                <a:lnTo>
                  <a:pt x="1229" y="379"/>
                </a:lnTo>
                <a:lnTo>
                  <a:pt x="1229" y="379"/>
                </a:lnTo>
                <a:lnTo>
                  <a:pt x="1231" y="377"/>
                </a:lnTo>
                <a:lnTo>
                  <a:pt x="1240" y="375"/>
                </a:lnTo>
                <a:lnTo>
                  <a:pt x="1241" y="376"/>
                </a:lnTo>
                <a:lnTo>
                  <a:pt x="1237" y="379"/>
                </a:lnTo>
                <a:lnTo>
                  <a:pt x="1237" y="379"/>
                </a:lnTo>
                <a:lnTo>
                  <a:pt x="1240" y="379"/>
                </a:lnTo>
                <a:lnTo>
                  <a:pt x="1241" y="379"/>
                </a:lnTo>
                <a:close/>
                <a:moveTo>
                  <a:pt x="1224" y="341"/>
                </a:moveTo>
                <a:lnTo>
                  <a:pt x="1221" y="343"/>
                </a:lnTo>
                <a:lnTo>
                  <a:pt x="1224" y="344"/>
                </a:lnTo>
                <a:lnTo>
                  <a:pt x="1224" y="343"/>
                </a:lnTo>
                <a:lnTo>
                  <a:pt x="1224" y="343"/>
                </a:lnTo>
                <a:lnTo>
                  <a:pt x="1224" y="341"/>
                </a:lnTo>
                <a:close/>
                <a:moveTo>
                  <a:pt x="1181" y="470"/>
                </a:moveTo>
                <a:lnTo>
                  <a:pt x="1181" y="472"/>
                </a:lnTo>
                <a:lnTo>
                  <a:pt x="1181" y="471"/>
                </a:lnTo>
                <a:lnTo>
                  <a:pt x="1181" y="470"/>
                </a:lnTo>
                <a:close/>
                <a:moveTo>
                  <a:pt x="1438" y="1311"/>
                </a:moveTo>
                <a:lnTo>
                  <a:pt x="1438" y="1310"/>
                </a:lnTo>
                <a:lnTo>
                  <a:pt x="1438" y="1311"/>
                </a:lnTo>
                <a:lnTo>
                  <a:pt x="1438" y="1311"/>
                </a:lnTo>
                <a:close/>
                <a:moveTo>
                  <a:pt x="1439" y="1311"/>
                </a:moveTo>
                <a:lnTo>
                  <a:pt x="1440" y="1311"/>
                </a:lnTo>
                <a:lnTo>
                  <a:pt x="1439" y="1310"/>
                </a:lnTo>
                <a:lnTo>
                  <a:pt x="1438" y="1310"/>
                </a:lnTo>
                <a:lnTo>
                  <a:pt x="1439" y="1311"/>
                </a:lnTo>
                <a:close/>
                <a:moveTo>
                  <a:pt x="1513" y="1121"/>
                </a:moveTo>
                <a:lnTo>
                  <a:pt x="1513" y="1121"/>
                </a:lnTo>
                <a:lnTo>
                  <a:pt x="1513" y="1121"/>
                </a:lnTo>
                <a:lnTo>
                  <a:pt x="1513" y="1122"/>
                </a:lnTo>
                <a:lnTo>
                  <a:pt x="1513" y="1121"/>
                </a:lnTo>
                <a:close/>
                <a:moveTo>
                  <a:pt x="1641" y="980"/>
                </a:moveTo>
                <a:lnTo>
                  <a:pt x="1641" y="978"/>
                </a:lnTo>
                <a:lnTo>
                  <a:pt x="1641" y="979"/>
                </a:lnTo>
                <a:lnTo>
                  <a:pt x="1641" y="980"/>
                </a:lnTo>
                <a:close/>
                <a:moveTo>
                  <a:pt x="1447" y="1311"/>
                </a:moveTo>
                <a:lnTo>
                  <a:pt x="1447" y="1310"/>
                </a:lnTo>
                <a:lnTo>
                  <a:pt x="1445" y="1314"/>
                </a:lnTo>
                <a:lnTo>
                  <a:pt x="1447" y="1311"/>
                </a:lnTo>
                <a:lnTo>
                  <a:pt x="1447" y="1311"/>
                </a:lnTo>
                <a:lnTo>
                  <a:pt x="1447" y="1311"/>
                </a:lnTo>
                <a:lnTo>
                  <a:pt x="1447" y="1311"/>
                </a:lnTo>
                <a:close/>
                <a:moveTo>
                  <a:pt x="1414" y="1272"/>
                </a:moveTo>
                <a:lnTo>
                  <a:pt x="1416" y="1269"/>
                </a:lnTo>
                <a:lnTo>
                  <a:pt x="1414" y="1266"/>
                </a:lnTo>
                <a:lnTo>
                  <a:pt x="1414" y="1265"/>
                </a:lnTo>
                <a:lnTo>
                  <a:pt x="1413" y="1269"/>
                </a:lnTo>
                <a:lnTo>
                  <a:pt x="1414" y="1272"/>
                </a:lnTo>
                <a:close/>
                <a:moveTo>
                  <a:pt x="1436" y="1310"/>
                </a:moveTo>
                <a:lnTo>
                  <a:pt x="1438" y="1310"/>
                </a:lnTo>
                <a:lnTo>
                  <a:pt x="1438" y="1310"/>
                </a:lnTo>
                <a:lnTo>
                  <a:pt x="1436" y="1310"/>
                </a:lnTo>
                <a:close/>
                <a:moveTo>
                  <a:pt x="1414" y="1265"/>
                </a:moveTo>
                <a:lnTo>
                  <a:pt x="1414" y="1265"/>
                </a:lnTo>
                <a:lnTo>
                  <a:pt x="1414" y="1265"/>
                </a:lnTo>
                <a:lnTo>
                  <a:pt x="1414" y="1265"/>
                </a:lnTo>
                <a:close/>
                <a:moveTo>
                  <a:pt x="1433" y="1218"/>
                </a:moveTo>
                <a:lnTo>
                  <a:pt x="1433" y="1218"/>
                </a:lnTo>
                <a:lnTo>
                  <a:pt x="1433" y="1216"/>
                </a:lnTo>
                <a:lnTo>
                  <a:pt x="1433" y="1218"/>
                </a:lnTo>
                <a:close/>
                <a:moveTo>
                  <a:pt x="1614" y="989"/>
                </a:moveTo>
                <a:lnTo>
                  <a:pt x="1617" y="989"/>
                </a:lnTo>
                <a:lnTo>
                  <a:pt x="1617" y="989"/>
                </a:lnTo>
                <a:lnTo>
                  <a:pt x="1614" y="989"/>
                </a:lnTo>
                <a:lnTo>
                  <a:pt x="1614" y="989"/>
                </a:lnTo>
                <a:close/>
                <a:moveTo>
                  <a:pt x="1641" y="978"/>
                </a:moveTo>
                <a:lnTo>
                  <a:pt x="1643" y="977"/>
                </a:lnTo>
                <a:lnTo>
                  <a:pt x="1641" y="977"/>
                </a:lnTo>
                <a:lnTo>
                  <a:pt x="1641" y="978"/>
                </a:lnTo>
                <a:lnTo>
                  <a:pt x="1641" y="978"/>
                </a:lnTo>
                <a:close/>
                <a:moveTo>
                  <a:pt x="1614" y="988"/>
                </a:moveTo>
                <a:lnTo>
                  <a:pt x="1614" y="989"/>
                </a:lnTo>
                <a:lnTo>
                  <a:pt x="1614" y="988"/>
                </a:lnTo>
                <a:lnTo>
                  <a:pt x="1614" y="988"/>
                </a:lnTo>
                <a:close/>
                <a:moveTo>
                  <a:pt x="1540" y="1053"/>
                </a:moveTo>
                <a:lnTo>
                  <a:pt x="1539" y="1053"/>
                </a:lnTo>
                <a:lnTo>
                  <a:pt x="1537" y="1054"/>
                </a:lnTo>
                <a:lnTo>
                  <a:pt x="1537" y="1054"/>
                </a:lnTo>
                <a:lnTo>
                  <a:pt x="1540" y="1053"/>
                </a:lnTo>
                <a:close/>
                <a:moveTo>
                  <a:pt x="1506" y="1083"/>
                </a:moveTo>
                <a:lnTo>
                  <a:pt x="1507" y="1081"/>
                </a:lnTo>
                <a:lnTo>
                  <a:pt x="1507" y="1081"/>
                </a:lnTo>
                <a:lnTo>
                  <a:pt x="1506" y="1081"/>
                </a:lnTo>
                <a:lnTo>
                  <a:pt x="1506" y="1083"/>
                </a:lnTo>
                <a:close/>
                <a:moveTo>
                  <a:pt x="1517" y="1132"/>
                </a:moveTo>
                <a:lnTo>
                  <a:pt x="1513" y="1120"/>
                </a:lnTo>
                <a:lnTo>
                  <a:pt x="1513" y="1121"/>
                </a:lnTo>
                <a:lnTo>
                  <a:pt x="1518" y="1137"/>
                </a:lnTo>
                <a:lnTo>
                  <a:pt x="1517" y="1132"/>
                </a:lnTo>
                <a:close/>
                <a:moveTo>
                  <a:pt x="751" y="410"/>
                </a:moveTo>
                <a:lnTo>
                  <a:pt x="750" y="413"/>
                </a:lnTo>
                <a:lnTo>
                  <a:pt x="752" y="412"/>
                </a:lnTo>
                <a:lnTo>
                  <a:pt x="751" y="410"/>
                </a:lnTo>
                <a:close/>
                <a:moveTo>
                  <a:pt x="720" y="802"/>
                </a:moveTo>
                <a:lnTo>
                  <a:pt x="722" y="801"/>
                </a:lnTo>
                <a:lnTo>
                  <a:pt x="720" y="797"/>
                </a:lnTo>
                <a:lnTo>
                  <a:pt x="716" y="798"/>
                </a:lnTo>
                <a:lnTo>
                  <a:pt x="716" y="801"/>
                </a:lnTo>
                <a:lnTo>
                  <a:pt x="718" y="801"/>
                </a:lnTo>
                <a:lnTo>
                  <a:pt x="720" y="798"/>
                </a:lnTo>
                <a:lnTo>
                  <a:pt x="719" y="802"/>
                </a:lnTo>
                <a:lnTo>
                  <a:pt x="720" y="802"/>
                </a:lnTo>
                <a:close/>
                <a:moveTo>
                  <a:pt x="210" y="792"/>
                </a:moveTo>
                <a:lnTo>
                  <a:pt x="211" y="796"/>
                </a:lnTo>
                <a:lnTo>
                  <a:pt x="213" y="792"/>
                </a:lnTo>
                <a:lnTo>
                  <a:pt x="210" y="792"/>
                </a:lnTo>
                <a:close/>
                <a:moveTo>
                  <a:pt x="203" y="803"/>
                </a:moveTo>
                <a:lnTo>
                  <a:pt x="204" y="801"/>
                </a:lnTo>
                <a:lnTo>
                  <a:pt x="200" y="802"/>
                </a:lnTo>
                <a:lnTo>
                  <a:pt x="203" y="803"/>
                </a:lnTo>
                <a:close/>
                <a:moveTo>
                  <a:pt x="204" y="796"/>
                </a:moveTo>
                <a:lnTo>
                  <a:pt x="206" y="797"/>
                </a:lnTo>
                <a:lnTo>
                  <a:pt x="210" y="796"/>
                </a:lnTo>
                <a:lnTo>
                  <a:pt x="205" y="792"/>
                </a:lnTo>
                <a:lnTo>
                  <a:pt x="204" y="796"/>
                </a:lnTo>
                <a:close/>
                <a:moveTo>
                  <a:pt x="215" y="797"/>
                </a:moveTo>
                <a:lnTo>
                  <a:pt x="216" y="796"/>
                </a:lnTo>
                <a:lnTo>
                  <a:pt x="213" y="796"/>
                </a:lnTo>
                <a:lnTo>
                  <a:pt x="215" y="797"/>
                </a:lnTo>
                <a:close/>
                <a:moveTo>
                  <a:pt x="258" y="781"/>
                </a:moveTo>
                <a:lnTo>
                  <a:pt x="259" y="777"/>
                </a:lnTo>
                <a:lnTo>
                  <a:pt x="256" y="779"/>
                </a:lnTo>
                <a:lnTo>
                  <a:pt x="258" y="781"/>
                </a:lnTo>
                <a:close/>
                <a:moveTo>
                  <a:pt x="251" y="789"/>
                </a:moveTo>
                <a:lnTo>
                  <a:pt x="255" y="790"/>
                </a:lnTo>
                <a:lnTo>
                  <a:pt x="251" y="787"/>
                </a:lnTo>
                <a:lnTo>
                  <a:pt x="251" y="789"/>
                </a:lnTo>
                <a:close/>
                <a:moveTo>
                  <a:pt x="198" y="797"/>
                </a:moveTo>
                <a:lnTo>
                  <a:pt x="193" y="801"/>
                </a:lnTo>
                <a:lnTo>
                  <a:pt x="193" y="797"/>
                </a:lnTo>
                <a:lnTo>
                  <a:pt x="190" y="799"/>
                </a:lnTo>
                <a:lnTo>
                  <a:pt x="188" y="802"/>
                </a:lnTo>
                <a:lnTo>
                  <a:pt x="193" y="804"/>
                </a:lnTo>
                <a:lnTo>
                  <a:pt x="191" y="804"/>
                </a:lnTo>
                <a:lnTo>
                  <a:pt x="189" y="808"/>
                </a:lnTo>
                <a:lnTo>
                  <a:pt x="188" y="808"/>
                </a:lnTo>
                <a:lnTo>
                  <a:pt x="189" y="809"/>
                </a:lnTo>
                <a:lnTo>
                  <a:pt x="188" y="809"/>
                </a:lnTo>
                <a:lnTo>
                  <a:pt x="178" y="812"/>
                </a:lnTo>
                <a:lnTo>
                  <a:pt x="181" y="813"/>
                </a:lnTo>
                <a:lnTo>
                  <a:pt x="193" y="808"/>
                </a:lnTo>
                <a:lnTo>
                  <a:pt x="196" y="804"/>
                </a:lnTo>
                <a:lnTo>
                  <a:pt x="197" y="803"/>
                </a:lnTo>
                <a:lnTo>
                  <a:pt x="197" y="802"/>
                </a:lnTo>
                <a:lnTo>
                  <a:pt x="203" y="799"/>
                </a:lnTo>
                <a:lnTo>
                  <a:pt x="198" y="797"/>
                </a:lnTo>
                <a:close/>
                <a:moveTo>
                  <a:pt x="264" y="774"/>
                </a:moveTo>
                <a:lnTo>
                  <a:pt x="265" y="776"/>
                </a:lnTo>
                <a:lnTo>
                  <a:pt x="269" y="774"/>
                </a:lnTo>
                <a:lnTo>
                  <a:pt x="267" y="774"/>
                </a:lnTo>
                <a:lnTo>
                  <a:pt x="264" y="774"/>
                </a:lnTo>
                <a:close/>
                <a:moveTo>
                  <a:pt x="145" y="823"/>
                </a:moveTo>
                <a:lnTo>
                  <a:pt x="146" y="823"/>
                </a:lnTo>
                <a:lnTo>
                  <a:pt x="145" y="822"/>
                </a:lnTo>
                <a:lnTo>
                  <a:pt x="145" y="823"/>
                </a:lnTo>
                <a:close/>
                <a:moveTo>
                  <a:pt x="141" y="731"/>
                </a:moveTo>
                <a:lnTo>
                  <a:pt x="144" y="732"/>
                </a:lnTo>
                <a:lnTo>
                  <a:pt x="145" y="730"/>
                </a:lnTo>
                <a:lnTo>
                  <a:pt x="141" y="731"/>
                </a:lnTo>
                <a:close/>
                <a:moveTo>
                  <a:pt x="151" y="822"/>
                </a:moveTo>
                <a:lnTo>
                  <a:pt x="151" y="820"/>
                </a:lnTo>
                <a:lnTo>
                  <a:pt x="147" y="822"/>
                </a:lnTo>
                <a:lnTo>
                  <a:pt x="151" y="822"/>
                </a:lnTo>
                <a:close/>
                <a:moveTo>
                  <a:pt x="176" y="807"/>
                </a:moveTo>
                <a:lnTo>
                  <a:pt x="169" y="808"/>
                </a:lnTo>
                <a:lnTo>
                  <a:pt x="169" y="810"/>
                </a:lnTo>
                <a:lnTo>
                  <a:pt x="169" y="812"/>
                </a:lnTo>
                <a:lnTo>
                  <a:pt x="166" y="812"/>
                </a:lnTo>
                <a:lnTo>
                  <a:pt x="161" y="815"/>
                </a:lnTo>
                <a:lnTo>
                  <a:pt x="161" y="819"/>
                </a:lnTo>
                <a:lnTo>
                  <a:pt x="159" y="822"/>
                </a:lnTo>
                <a:lnTo>
                  <a:pt x="169" y="817"/>
                </a:lnTo>
                <a:lnTo>
                  <a:pt x="171" y="813"/>
                </a:lnTo>
                <a:lnTo>
                  <a:pt x="178" y="810"/>
                </a:lnTo>
                <a:lnTo>
                  <a:pt x="180" y="808"/>
                </a:lnTo>
                <a:lnTo>
                  <a:pt x="176" y="807"/>
                </a:lnTo>
                <a:close/>
                <a:moveTo>
                  <a:pt x="152" y="743"/>
                </a:moveTo>
                <a:lnTo>
                  <a:pt x="154" y="743"/>
                </a:lnTo>
                <a:lnTo>
                  <a:pt x="149" y="743"/>
                </a:lnTo>
                <a:lnTo>
                  <a:pt x="152" y="743"/>
                </a:lnTo>
                <a:close/>
                <a:moveTo>
                  <a:pt x="164" y="599"/>
                </a:moveTo>
                <a:lnTo>
                  <a:pt x="158" y="599"/>
                </a:lnTo>
                <a:lnTo>
                  <a:pt x="152" y="604"/>
                </a:lnTo>
                <a:lnTo>
                  <a:pt x="151" y="604"/>
                </a:lnTo>
                <a:lnTo>
                  <a:pt x="148" y="598"/>
                </a:lnTo>
                <a:lnTo>
                  <a:pt x="141" y="596"/>
                </a:lnTo>
                <a:lnTo>
                  <a:pt x="141" y="594"/>
                </a:lnTo>
                <a:lnTo>
                  <a:pt x="141" y="593"/>
                </a:lnTo>
                <a:lnTo>
                  <a:pt x="133" y="589"/>
                </a:lnTo>
                <a:lnTo>
                  <a:pt x="133" y="589"/>
                </a:lnTo>
                <a:lnTo>
                  <a:pt x="133" y="589"/>
                </a:lnTo>
                <a:lnTo>
                  <a:pt x="132" y="589"/>
                </a:lnTo>
                <a:lnTo>
                  <a:pt x="132" y="589"/>
                </a:lnTo>
                <a:lnTo>
                  <a:pt x="122" y="592"/>
                </a:lnTo>
                <a:lnTo>
                  <a:pt x="116" y="590"/>
                </a:lnTo>
                <a:lnTo>
                  <a:pt x="116" y="588"/>
                </a:lnTo>
                <a:lnTo>
                  <a:pt x="120" y="581"/>
                </a:lnTo>
                <a:lnTo>
                  <a:pt x="125" y="587"/>
                </a:lnTo>
                <a:lnTo>
                  <a:pt x="133" y="587"/>
                </a:lnTo>
                <a:lnTo>
                  <a:pt x="144" y="583"/>
                </a:lnTo>
                <a:lnTo>
                  <a:pt x="154" y="591"/>
                </a:lnTo>
                <a:lnTo>
                  <a:pt x="166" y="594"/>
                </a:lnTo>
                <a:lnTo>
                  <a:pt x="164" y="599"/>
                </a:lnTo>
                <a:close/>
                <a:moveTo>
                  <a:pt x="133" y="589"/>
                </a:moveTo>
                <a:lnTo>
                  <a:pt x="134" y="589"/>
                </a:lnTo>
                <a:lnTo>
                  <a:pt x="133" y="589"/>
                </a:lnTo>
                <a:lnTo>
                  <a:pt x="133" y="589"/>
                </a:lnTo>
                <a:lnTo>
                  <a:pt x="133" y="589"/>
                </a:lnTo>
                <a:close/>
                <a:moveTo>
                  <a:pt x="141" y="592"/>
                </a:moveTo>
                <a:lnTo>
                  <a:pt x="139" y="590"/>
                </a:lnTo>
                <a:lnTo>
                  <a:pt x="134" y="589"/>
                </a:lnTo>
                <a:lnTo>
                  <a:pt x="141" y="593"/>
                </a:lnTo>
                <a:lnTo>
                  <a:pt x="141" y="592"/>
                </a:lnTo>
                <a:close/>
                <a:moveTo>
                  <a:pt x="331" y="1663"/>
                </a:moveTo>
                <a:lnTo>
                  <a:pt x="329" y="1665"/>
                </a:lnTo>
                <a:lnTo>
                  <a:pt x="327" y="1665"/>
                </a:lnTo>
                <a:lnTo>
                  <a:pt x="333" y="1667"/>
                </a:lnTo>
                <a:lnTo>
                  <a:pt x="331" y="1665"/>
                </a:lnTo>
                <a:lnTo>
                  <a:pt x="331" y="1663"/>
                </a:lnTo>
                <a:close/>
                <a:moveTo>
                  <a:pt x="303" y="779"/>
                </a:moveTo>
                <a:lnTo>
                  <a:pt x="303" y="779"/>
                </a:lnTo>
                <a:lnTo>
                  <a:pt x="303" y="777"/>
                </a:lnTo>
                <a:lnTo>
                  <a:pt x="303" y="779"/>
                </a:lnTo>
                <a:close/>
                <a:moveTo>
                  <a:pt x="333" y="1373"/>
                </a:moveTo>
                <a:lnTo>
                  <a:pt x="330" y="1376"/>
                </a:lnTo>
                <a:lnTo>
                  <a:pt x="337" y="1376"/>
                </a:lnTo>
                <a:lnTo>
                  <a:pt x="338" y="1373"/>
                </a:lnTo>
                <a:lnTo>
                  <a:pt x="333" y="1373"/>
                </a:lnTo>
                <a:close/>
                <a:moveTo>
                  <a:pt x="301" y="777"/>
                </a:moveTo>
                <a:lnTo>
                  <a:pt x="301" y="776"/>
                </a:lnTo>
                <a:lnTo>
                  <a:pt x="300" y="776"/>
                </a:lnTo>
                <a:lnTo>
                  <a:pt x="300" y="777"/>
                </a:lnTo>
                <a:lnTo>
                  <a:pt x="301" y="777"/>
                </a:lnTo>
                <a:close/>
                <a:moveTo>
                  <a:pt x="297" y="776"/>
                </a:moveTo>
                <a:lnTo>
                  <a:pt x="300" y="776"/>
                </a:lnTo>
                <a:lnTo>
                  <a:pt x="300" y="773"/>
                </a:lnTo>
                <a:lnTo>
                  <a:pt x="297" y="776"/>
                </a:lnTo>
                <a:close/>
                <a:moveTo>
                  <a:pt x="283" y="769"/>
                </a:moveTo>
                <a:lnTo>
                  <a:pt x="282" y="769"/>
                </a:lnTo>
                <a:lnTo>
                  <a:pt x="281" y="770"/>
                </a:lnTo>
                <a:lnTo>
                  <a:pt x="281" y="774"/>
                </a:lnTo>
                <a:lnTo>
                  <a:pt x="284" y="773"/>
                </a:lnTo>
                <a:lnTo>
                  <a:pt x="283" y="773"/>
                </a:lnTo>
                <a:lnTo>
                  <a:pt x="283" y="769"/>
                </a:lnTo>
                <a:close/>
                <a:moveTo>
                  <a:pt x="316" y="1369"/>
                </a:moveTo>
                <a:lnTo>
                  <a:pt x="320" y="1375"/>
                </a:lnTo>
                <a:lnTo>
                  <a:pt x="323" y="1375"/>
                </a:lnTo>
                <a:lnTo>
                  <a:pt x="326" y="1375"/>
                </a:lnTo>
                <a:lnTo>
                  <a:pt x="322" y="1368"/>
                </a:lnTo>
                <a:lnTo>
                  <a:pt x="316" y="1369"/>
                </a:lnTo>
                <a:close/>
                <a:moveTo>
                  <a:pt x="136" y="826"/>
                </a:moveTo>
                <a:lnTo>
                  <a:pt x="138" y="824"/>
                </a:lnTo>
                <a:lnTo>
                  <a:pt x="137" y="824"/>
                </a:lnTo>
                <a:lnTo>
                  <a:pt x="136" y="826"/>
                </a:lnTo>
                <a:close/>
                <a:moveTo>
                  <a:pt x="337" y="1381"/>
                </a:moveTo>
                <a:lnTo>
                  <a:pt x="337" y="1379"/>
                </a:lnTo>
                <a:lnTo>
                  <a:pt x="334" y="1379"/>
                </a:lnTo>
                <a:lnTo>
                  <a:pt x="337" y="1381"/>
                </a:lnTo>
                <a:close/>
                <a:moveTo>
                  <a:pt x="289" y="1365"/>
                </a:moveTo>
                <a:lnTo>
                  <a:pt x="291" y="1361"/>
                </a:lnTo>
                <a:lnTo>
                  <a:pt x="288" y="1362"/>
                </a:lnTo>
                <a:lnTo>
                  <a:pt x="289" y="1365"/>
                </a:lnTo>
                <a:close/>
                <a:moveTo>
                  <a:pt x="296" y="1360"/>
                </a:moveTo>
                <a:lnTo>
                  <a:pt x="296" y="1362"/>
                </a:lnTo>
                <a:lnTo>
                  <a:pt x="300" y="1365"/>
                </a:lnTo>
                <a:lnTo>
                  <a:pt x="301" y="1362"/>
                </a:lnTo>
                <a:lnTo>
                  <a:pt x="303" y="1357"/>
                </a:lnTo>
                <a:lnTo>
                  <a:pt x="297" y="1357"/>
                </a:lnTo>
                <a:lnTo>
                  <a:pt x="296" y="1360"/>
                </a:lnTo>
                <a:close/>
                <a:moveTo>
                  <a:pt x="286" y="773"/>
                </a:moveTo>
                <a:lnTo>
                  <a:pt x="286" y="769"/>
                </a:lnTo>
                <a:lnTo>
                  <a:pt x="284" y="770"/>
                </a:lnTo>
                <a:lnTo>
                  <a:pt x="286" y="773"/>
                </a:lnTo>
                <a:close/>
                <a:moveTo>
                  <a:pt x="293" y="774"/>
                </a:moveTo>
                <a:lnTo>
                  <a:pt x="293" y="770"/>
                </a:lnTo>
                <a:lnTo>
                  <a:pt x="291" y="775"/>
                </a:lnTo>
                <a:lnTo>
                  <a:pt x="293" y="774"/>
                </a:lnTo>
                <a:close/>
                <a:moveTo>
                  <a:pt x="289" y="776"/>
                </a:moveTo>
                <a:lnTo>
                  <a:pt x="288" y="779"/>
                </a:lnTo>
                <a:lnTo>
                  <a:pt x="291" y="776"/>
                </a:lnTo>
                <a:lnTo>
                  <a:pt x="289" y="776"/>
                </a:lnTo>
                <a:lnTo>
                  <a:pt x="289" y="776"/>
                </a:lnTo>
                <a:close/>
                <a:moveTo>
                  <a:pt x="291" y="776"/>
                </a:moveTo>
                <a:lnTo>
                  <a:pt x="291" y="775"/>
                </a:lnTo>
                <a:lnTo>
                  <a:pt x="291" y="776"/>
                </a:lnTo>
                <a:lnTo>
                  <a:pt x="291" y="776"/>
                </a:lnTo>
                <a:close/>
                <a:moveTo>
                  <a:pt x="307" y="759"/>
                </a:moveTo>
                <a:lnTo>
                  <a:pt x="310" y="759"/>
                </a:lnTo>
                <a:lnTo>
                  <a:pt x="308" y="758"/>
                </a:lnTo>
                <a:lnTo>
                  <a:pt x="307" y="759"/>
                </a:lnTo>
                <a:close/>
                <a:moveTo>
                  <a:pt x="1" y="1946"/>
                </a:moveTo>
                <a:lnTo>
                  <a:pt x="0" y="1948"/>
                </a:lnTo>
                <a:lnTo>
                  <a:pt x="0" y="1950"/>
                </a:lnTo>
                <a:lnTo>
                  <a:pt x="1" y="1948"/>
                </a:lnTo>
                <a:lnTo>
                  <a:pt x="1" y="1946"/>
                </a:lnTo>
                <a:close/>
                <a:moveTo>
                  <a:pt x="50" y="839"/>
                </a:moveTo>
                <a:lnTo>
                  <a:pt x="44" y="840"/>
                </a:lnTo>
                <a:lnTo>
                  <a:pt x="44" y="841"/>
                </a:lnTo>
                <a:lnTo>
                  <a:pt x="44" y="846"/>
                </a:lnTo>
                <a:lnTo>
                  <a:pt x="44" y="847"/>
                </a:lnTo>
                <a:lnTo>
                  <a:pt x="50" y="843"/>
                </a:lnTo>
                <a:lnTo>
                  <a:pt x="50" y="839"/>
                </a:lnTo>
                <a:close/>
                <a:moveTo>
                  <a:pt x="1" y="1981"/>
                </a:moveTo>
                <a:lnTo>
                  <a:pt x="4" y="1979"/>
                </a:lnTo>
                <a:lnTo>
                  <a:pt x="1" y="1979"/>
                </a:lnTo>
                <a:lnTo>
                  <a:pt x="1" y="1981"/>
                </a:lnTo>
                <a:close/>
                <a:moveTo>
                  <a:pt x="52" y="844"/>
                </a:moveTo>
                <a:lnTo>
                  <a:pt x="52" y="842"/>
                </a:lnTo>
                <a:lnTo>
                  <a:pt x="50" y="843"/>
                </a:lnTo>
                <a:lnTo>
                  <a:pt x="50" y="844"/>
                </a:lnTo>
                <a:lnTo>
                  <a:pt x="52" y="844"/>
                </a:lnTo>
                <a:close/>
                <a:moveTo>
                  <a:pt x="14" y="1956"/>
                </a:moveTo>
                <a:lnTo>
                  <a:pt x="16" y="1953"/>
                </a:lnTo>
                <a:lnTo>
                  <a:pt x="14" y="1952"/>
                </a:lnTo>
                <a:lnTo>
                  <a:pt x="14" y="1956"/>
                </a:lnTo>
                <a:close/>
                <a:moveTo>
                  <a:pt x="24" y="1965"/>
                </a:moveTo>
                <a:lnTo>
                  <a:pt x="25" y="1964"/>
                </a:lnTo>
                <a:lnTo>
                  <a:pt x="24" y="1964"/>
                </a:lnTo>
                <a:lnTo>
                  <a:pt x="24" y="1965"/>
                </a:lnTo>
                <a:close/>
                <a:moveTo>
                  <a:pt x="16" y="852"/>
                </a:moveTo>
                <a:lnTo>
                  <a:pt x="18" y="852"/>
                </a:lnTo>
                <a:lnTo>
                  <a:pt x="16" y="850"/>
                </a:lnTo>
                <a:lnTo>
                  <a:pt x="16" y="852"/>
                </a:lnTo>
                <a:close/>
                <a:moveTo>
                  <a:pt x="807" y="425"/>
                </a:moveTo>
                <a:lnTo>
                  <a:pt x="801" y="425"/>
                </a:lnTo>
                <a:lnTo>
                  <a:pt x="807" y="428"/>
                </a:lnTo>
                <a:lnTo>
                  <a:pt x="807" y="425"/>
                </a:lnTo>
                <a:close/>
                <a:moveTo>
                  <a:pt x="801" y="325"/>
                </a:moveTo>
                <a:lnTo>
                  <a:pt x="805" y="326"/>
                </a:lnTo>
                <a:lnTo>
                  <a:pt x="804" y="325"/>
                </a:lnTo>
                <a:lnTo>
                  <a:pt x="801" y="325"/>
                </a:lnTo>
                <a:close/>
                <a:moveTo>
                  <a:pt x="649" y="445"/>
                </a:moveTo>
                <a:lnTo>
                  <a:pt x="646" y="445"/>
                </a:lnTo>
                <a:lnTo>
                  <a:pt x="649" y="447"/>
                </a:lnTo>
                <a:lnTo>
                  <a:pt x="649" y="445"/>
                </a:lnTo>
                <a:close/>
                <a:moveTo>
                  <a:pt x="108" y="556"/>
                </a:moveTo>
                <a:lnTo>
                  <a:pt x="104" y="560"/>
                </a:lnTo>
                <a:lnTo>
                  <a:pt x="112" y="560"/>
                </a:lnTo>
                <a:lnTo>
                  <a:pt x="108" y="556"/>
                </a:lnTo>
                <a:close/>
                <a:moveTo>
                  <a:pt x="27" y="840"/>
                </a:moveTo>
                <a:lnTo>
                  <a:pt x="31" y="842"/>
                </a:lnTo>
                <a:lnTo>
                  <a:pt x="28" y="846"/>
                </a:lnTo>
                <a:lnTo>
                  <a:pt x="32" y="847"/>
                </a:lnTo>
                <a:lnTo>
                  <a:pt x="32" y="841"/>
                </a:lnTo>
                <a:lnTo>
                  <a:pt x="31" y="840"/>
                </a:lnTo>
                <a:lnTo>
                  <a:pt x="27" y="840"/>
                </a:lnTo>
                <a:close/>
                <a:moveTo>
                  <a:pt x="158" y="533"/>
                </a:moveTo>
                <a:lnTo>
                  <a:pt x="158" y="535"/>
                </a:lnTo>
                <a:lnTo>
                  <a:pt x="160" y="533"/>
                </a:lnTo>
                <a:lnTo>
                  <a:pt x="158" y="533"/>
                </a:lnTo>
                <a:close/>
                <a:moveTo>
                  <a:pt x="597" y="440"/>
                </a:moveTo>
                <a:lnTo>
                  <a:pt x="592" y="439"/>
                </a:lnTo>
                <a:lnTo>
                  <a:pt x="589" y="440"/>
                </a:lnTo>
                <a:lnTo>
                  <a:pt x="592" y="442"/>
                </a:lnTo>
                <a:lnTo>
                  <a:pt x="597" y="440"/>
                </a:lnTo>
                <a:close/>
                <a:moveTo>
                  <a:pt x="104" y="656"/>
                </a:moveTo>
                <a:lnTo>
                  <a:pt x="103" y="659"/>
                </a:lnTo>
                <a:lnTo>
                  <a:pt x="109" y="664"/>
                </a:lnTo>
                <a:lnTo>
                  <a:pt x="113" y="664"/>
                </a:lnTo>
                <a:lnTo>
                  <a:pt x="106" y="659"/>
                </a:lnTo>
                <a:lnTo>
                  <a:pt x="104" y="656"/>
                </a:lnTo>
                <a:close/>
                <a:moveTo>
                  <a:pt x="96" y="838"/>
                </a:moveTo>
                <a:lnTo>
                  <a:pt x="104" y="836"/>
                </a:lnTo>
                <a:lnTo>
                  <a:pt x="87" y="835"/>
                </a:lnTo>
                <a:lnTo>
                  <a:pt x="96" y="838"/>
                </a:lnTo>
                <a:close/>
                <a:moveTo>
                  <a:pt x="88" y="1973"/>
                </a:moveTo>
                <a:lnTo>
                  <a:pt x="88" y="1971"/>
                </a:lnTo>
                <a:lnTo>
                  <a:pt x="86" y="1973"/>
                </a:lnTo>
                <a:lnTo>
                  <a:pt x="88" y="1973"/>
                </a:lnTo>
                <a:close/>
                <a:moveTo>
                  <a:pt x="87" y="831"/>
                </a:moveTo>
                <a:lnTo>
                  <a:pt x="85" y="830"/>
                </a:lnTo>
                <a:lnTo>
                  <a:pt x="81" y="831"/>
                </a:lnTo>
                <a:lnTo>
                  <a:pt x="85" y="834"/>
                </a:lnTo>
                <a:lnTo>
                  <a:pt x="69" y="838"/>
                </a:lnTo>
                <a:lnTo>
                  <a:pt x="84" y="836"/>
                </a:lnTo>
                <a:lnTo>
                  <a:pt x="86" y="835"/>
                </a:lnTo>
                <a:lnTo>
                  <a:pt x="87" y="831"/>
                </a:lnTo>
                <a:close/>
                <a:moveTo>
                  <a:pt x="109" y="834"/>
                </a:moveTo>
                <a:lnTo>
                  <a:pt x="110" y="834"/>
                </a:lnTo>
                <a:lnTo>
                  <a:pt x="113" y="831"/>
                </a:lnTo>
                <a:lnTo>
                  <a:pt x="110" y="830"/>
                </a:lnTo>
                <a:lnTo>
                  <a:pt x="109" y="834"/>
                </a:lnTo>
                <a:close/>
                <a:moveTo>
                  <a:pt x="108" y="1895"/>
                </a:moveTo>
                <a:lnTo>
                  <a:pt x="105" y="1895"/>
                </a:lnTo>
                <a:lnTo>
                  <a:pt x="108" y="1903"/>
                </a:lnTo>
                <a:lnTo>
                  <a:pt x="112" y="1903"/>
                </a:lnTo>
                <a:lnTo>
                  <a:pt x="113" y="1899"/>
                </a:lnTo>
                <a:lnTo>
                  <a:pt x="112" y="1895"/>
                </a:lnTo>
                <a:lnTo>
                  <a:pt x="108" y="1895"/>
                </a:lnTo>
                <a:close/>
                <a:moveTo>
                  <a:pt x="115" y="1903"/>
                </a:moveTo>
                <a:lnTo>
                  <a:pt x="116" y="1905"/>
                </a:lnTo>
                <a:lnTo>
                  <a:pt x="122" y="1905"/>
                </a:lnTo>
                <a:lnTo>
                  <a:pt x="118" y="1902"/>
                </a:lnTo>
                <a:lnTo>
                  <a:pt x="115" y="1903"/>
                </a:lnTo>
                <a:close/>
                <a:moveTo>
                  <a:pt x="73" y="2021"/>
                </a:moveTo>
                <a:lnTo>
                  <a:pt x="73" y="2017"/>
                </a:lnTo>
                <a:lnTo>
                  <a:pt x="71" y="2019"/>
                </a:lnTo>
                <a:lnTo>
                  <a:pt x="73" y="2021"/>
                </a:lnTo>
                <a:close/>
                <a:moveTo>
                  <a:pt x="58" y="842"/>
                </a:moveTo>
                <a:lnTo>
                  <a:pt x="59" y="841"/>
                </a:lnTo>
                <a:lnTo>
                  <a:pt x="57" y="840"/>
                </a:lnTo>
                <a:lnTo>
                  <a:pt x="58" y="842"/>
                </a:lnTo>
                <a:close/>
                <a:moveTo>
                  <a:pt x="53" y="2402"/>
                </a:moveTo>
                <a:lnTo>
                  <a:pt x="54" y="2401"/>
                </a:lnTo>
                <a:lnTo>
                  <a:pt x="53" y="2401"/>
                </a:lnTo>
                <a:lnTo>
                  <a:pt x="53" y="2402"/>
                </a:lnTo>
                <a:close/>
                <a:moveTo>
                  <a:pt x="53" y="2395"/>
                </a:moveTo>
                <a:lnTo>
                  <a:pt x="47" y="2393"/>
                </a:lnTo>
                <a:lnTo>
                  <a:pt x="42" y="2393"/>
                </a:lnTo>
                <a:lnTo>
                  <a:pt x="44" y="2394"/>
                </a:lnTo>
                <a:lnTo>
                  <a:pt x="44" y="2396"/>
                </a:lnTo>
                <a:lnTo>
                  <a:pt x="45" y="2397"/>
                </a:lnTo>
                <a:lnTo>
                  <a:pt x="46" y="2400"/>
                </a:lnTo>
                <a:lnTo>
                  <a:pt x="51" y="2398"/>
                </a:lnTo>
                <a:lnTo>
                  <a:pt x="47" y="2395"/>
                </a:lnTo>
                <a:lnTo>
                  <a:pt x="53" y="2395"/>
                </a:lnTo>
                <a:close/>
                <a:moveTo>
                  <a:pt x="54" y="842"/>
                </a:moveTo>
                <a:lnTo>
                  <a:pt x="54" y="841"/>
                </a:lnTo>
                <a:lnTo>
                  <a:pt x="53" y="841"/>
                </a:lnTo>
                <a:lnTo>
                  <a:pt x="54" y="842"/>
                </a:lnTo>
                <a:close/>
                <a:moveTo>
                  <a:pt x="44" y="840"/>
                </a:moveTo>
                <a:lnTo>
                  <a:pt x="40" y="840"/>
                </a:lnTo>
                <a:lnTo>
                  <a:pt x="40" y="841"/>
                </a:lnTo>
                <a:lnTo>
                  <a:pt x="34" y="849"/>
                </a:lnTo>
                <a:lnTo>
                  <a:pt x="35" y="849"/>
                </a:lnTo>
                <a:lnTo>
                  <a:pt x="42" y="849"/>
                </a:lnTo>
                <a:lnTo>
                  <a:pt x="44" y="840"/>
                </a:lnTo>
                <a:close/>
                <a:moveTo>
                  <a:pt x="70" y="2015"/>
                </a:moveTo>
                <a:lnTo>
                  <a:pt x="66" y="2013"/>
                </a:lnTo>
                <a:lnTo>
                  <a:pt x="66" y="2015"/>
                </a:lnTo>
                <a:lnTo>
                  <a:pt x="70" y="2017"/>
                </a:lnTo>
                <a:lnTo>
                  <a:pt x="71" y="2015"/>
                </a:lnTo>
                <a:lnTo>
                  <a:pt x="70" y="2015"/>
                </a:lnTo>
                <a:close/>
                <a:moveTo>
                  <a:pt x="57" y="838"/>
                </a:moveTo>
                <a:lnTo>
                  <a:pt x="58" y="838"/>
                </a:lnTo>
                <a:lnTo>
                  <a:pt x="59" y="836"/>
                </a:lnTo>
                <a:lnTo>
                  <a:pt x="58" y="836"/>
                </a:lnTo>
                <a:lnTo>
                  <a:pt x="57" y="838"/>
                </a:lnTo>
                <a:close/>
                <a:moveTo>
                  <a:pt x="197" y="660"/>
                </a:moveTo>
                <a:lnTo>
                  <a:pt x="192" y="664"/>
                </a:lnTo>
                <a:lnTo>
                  <a:pt x="185" y="666"/>
                </a:lnTo>
                <a:lnTo>
                  <a:pt x="189" y="669"/>
                </a:lnTo>
                <a:lnTo>
                  <a:pt x="203" y="675"/>
                </a:lnTo>
                <a:lnTo>
                  <a:pt x="204" y="674"/>
                </a:lnTo>
                <a:lnTo>
                  <a:pt x="203" y="671"/>
                </a:lnTo>
                <a:lnTo>
                  <a:pt x="211" y="670"/>
                </a:lnTo>
                <a:lnTo>
                  <a:pt x="209" y="667"/>
                </a:lnTo>
                <a:lnTo>
                  <a:pt x="209" y="664"/>
                </a:lnTo>
                <a:lnTo>
                  <a:pt x="201" y="664"/>
                </a:lnTo>
                <a:lnTo>
                  <a:pt x="201" y="660"/>
                </a:lnTo>
                <a:lnTo>
                  <a:pt x="197" y="660"/>
                </a:lnTo>
                <a:close/>
                <a:moveTo>
                  <a:pt x="677" y="763"/>
                </a:moveTo>
                <a:lnTo>
                  <a:pt x="679" y="762"/>
                </a:lnTo>
                <a:lnTo>
                  <a:pt x="679" y="762"/>
                </a:lnTo>
                <a:lnTo>
                  <a:pt x="676" y="762"/>
                </a:lnTo>
                <a:lnTo>
                  <a:pt x="677" y="763"/>
                </a:lnTo>
                <a:close/>
                <a:moveTo>
                  <a:pt x="689" y="746"/>
                </a:moveTo>
                <a:lnTo>
                  <a:pt x="686" y="746"/>
                </a:lnTo>
                <a:lnTo>
                  <a:pt x="683" y="749"/>
                </a:lnTo>
                <a:lnTo>
                  <a:pt x="686" y="751"/>
                </a:lnTo>
                <a:lnTo>
                  <a:pt x="689" y="749"/>
                </a:lnTo>
                <a:lnTo>
                  <a:pt x="689" y="746"/>
                </a:lnTo>
                <a:close/>
                <a:moveTo>
                  <a:pt x="696" y="782"/>
                </a:moveTo>
                <a:lnTo>
                  <a:pt x="695" y="782"/>
                </a:lnTo>
                <a:lnTo>
                  <a:pt x="695" y="782"/>
                </a:lnTo>
                <a:lnTo>
                  <a:pt x="696" y="782"/>
                </a:lnTo>
                <a:close/>
                <a:moveTo>
                  <a:pt x="696" y="767"/>
                </a:moveTo>
                <a:lnTo>
                  <a:pt x="688" y="758"/>
                </a:lnTo>
                <a:lnTo>
                  <a:pt x="683" y="754"/>
                </a:lnTo>
                <a:lnTo>
                  <a:pt x="683" y="755"/>
                </a:lnTo>
                <a:lnTo>
                  <a:pt x="680" y="752"/>
                </a:lnTo>
                <a:lnTo>
                  <a:pt x="679" y="752"/>
                </a:lnTo>
                <a:lnTo>
                  <a:pt x="677" y="752"/>
                </a:lnTo>
                <a:lnTo>
                  <a:pt x="675" y="751"/>
                </a:lnTo>
                <a:lnTo>
                  <a:pt x="675" y="752"/>
                </a:lnTo>
                <a:lnTo>
                  <a:pt x="677" y="752"/>
                </a:lnTo>
                <a:lnTo>
                  <a:pt x="673" y="757"/>
                </a:lnTo>
                <a:lnTo>
                  <a:pt x="679" y="756"/>
                </a:lnTo>
                <a:lnTo>
                  <a:pt x="679" y="760"/>
                </a:lnTo>
                <a:lnTo>
                  <a:pt x="679" y="762"/>
                </a:lnTo>
                <a:lnTo>
                  <a:pt x="680" y="760"/>
                </a:lnTo>
                <a:lnTo>
                  <a:pt x="683" y="760"/>
                </a:lnTo>
                <a:lnTo>
                  <a:pt x="680" y="764"/>
                </a:lnTo>
                <a:lnTo>
                  <a:pt x="679" y="764"/>
                </a:lnTo>
                <a:lnTo>
                  <a:pt x="678" y="764"/>
                </a:lnTo>
                <a:lnTo>
                  <a:pt x="679" y="767"/>
                </a:lnTo>
                <a:lnTo>
                  <a:pt x="679" y="768"/>
                </a:lnTo>
                <a:lnTo>
                  <a:pt x="686" y="768"/>
                </a:lnTo>
                <a:lnTo>
                  <a:pt x="683" y="769"/>
                </a:lnTo>
                <a:lnTo>
                  <a:pt x="686" y="772"/>
                </a:lnTo>
                <a:lnTo>
                  <a:pt x="684" y="776"/>
                </a:lnTo>
                <a:lnTo>
                  <a:pt x="687" y="776"/>
                </a:lnTo>
                <a:lnTo>
                  <a:pt x="687" y="780"/>
                </a:lnTo>
                <a:lnTo>
                  <a:pt x="687" y="782"/>
                </a:lnTo>
                <a:lnTo>
                  <a:pt x="688" y="780"/>
                </a:lnTo>
                <a:lnTo>
                  <a:pt x="692" y="780"/>
                </a:lnTo>
                <a:lnTo>
                  <a:pt x="695" y="782"/>
                </a:lnTo>
                <a:lnTo>
                  <a:pt x="695" y="776"/>
                </a:lnTo>
                <a:lnTo>
                  <a:pt x="692" y="777"/>
                </a:lnTo>
                <a:lnTo>
                  <a:pt x="695" y="774"/>
                </a:lnTo>
                <a:lnTo>
                  <a:pt x="695" y="772"/>
                </a:lnTo>
                <a:lnTo>
                  <a:pt x="697" y="770"/>
                </a:lnTo>
                <a:lnTo>
                  <a:pt x="693" y="767"/>
                </a:lnTo>
                <a:lnTo>
                  <a:pt x="687" y="765"/>
                </a:lnTo>
                <a:lnTo>
                  <a:pt x="687" y="764"/>
                </a:lnTo>
                <a:lnTo>
                  <a:pt x="696" y="767"/>
                </a:lnTo>
                <a:close/>
                <a:moveTo>
                  <a:pt x="679" y="776"/>
                </a:moveTo>
                <a:lnTo>
                  <a:pt x="683" y="779"/>
                </a:lnTo>
                <a:lnTo>
                  <a:pt x="686" y="788"/>
                </a:lnTo>
                <a:lnTo>
                  <a:pt x="689" y="788"/>
                </a:lnTo>
                <a:lnTo>
                  <a:pt x="683" y="776"/>
                </a:lnTo>
                <a:lnTo>
                  <a:pt x="679" y="776"/>
                </a:lnTo>
                <a:close/>
                <a:moveTo>
                  <a:pt x="679" y="776"/>
                </a:moveTo>
                <a:lnTo>
                  <a:pt x="679" y="776"/>
                </a:lnTo>
                <a:lnTo>
                  <a:pt x="679" y="776"/>
                </a:lnTo>
                <a:lnTo>
                  <a:pt x="679" y="776"/>
                </a:lnTo>
                <a:close/>
                <a:moveTo>
                  <a:pt x="691" y="744"/>
                </a:moveTo>
                <a:lnTo>
                  <a:pt x="691" y="744"/>
                </a:lnTo>
                <a:lnTo>
                  <a:pt x="691" y="744"/>
                </a:lnTo>
                <a:lnTo>
                  <a:pt x="691" y="744"/>
                </a:lnTo>
                <a:close/>
                <a:moveTo>
                  <a:pt x="695" y="784"/>
                </a:moveTo>
                <a:lnTo>
                  <a:pt x="695" y="782"/>
                </a:lnTo>
                <a:lnTo>
                  <a:pt x="693" y="782"/>
                </a:lnTo>
                <a:lnTo>
                  <a:pt x="695" y="784"/>
                </a:lnTo>
                <a:close/>
                <a:moveTo>
                  <a:pt x="669" y="728"/>
                </a:moveTo>
                <a:lnTo>
                  <a:pt x="669" y="728"/>
                </a:lnTo>
                <a:lnTo>
                  <a:pt x="669" y="728"/>
                </a:lnTo>
                <a:lnTo>
                  <a:pt x="669" y="728"/>
                </a:lnTo>
                <a:close/>
                <a:moveTo>
                  <a:pt x="666" y="726"/>
                </a:moveTo>
                <a:lnTo>
                  <a:pt x="669" y="728"/>
                </a:lnTo>
                <a:lnTo>
                  <a:pt x="672" y="728"/>
                </a:lnTo>
                <a:lnTo>
                  <a:pt x="663" y="716"/>
                </a:lnTo>
                <a:lnTo>
                  <a:pt x="663" y="712"/>
                </a:lnTo>
                <a:lnTo>
                  <a:pt x="671" y="721"/>
                </a:lnTo>
                <a:lnTo>
                  <a:pt x="666" y="712"/>
                </a:lnTo>
                <a:lnTo>
                  <a:pt x="660" y="712"/>
                </a:lnTo>
                <a:lnTo>
                  <a:pt x="656" y="706"/>
                </a:lnTo>
                <a:lnTo>
                  <a:pt x="662" y="724"/>
                </a:lnTo>
                <a:lnTo>
                  <a:pt x="665" y="724"/>
                </a:lnTo>
                <a:lnTo>
                  <a:pt x="662" y="725"/>
                </a:lnTo>
                <a:lnTo>
                  <a:pt x="665" y="728"/>
                </a:lnTo>
                <a:lnTo>
                  <a:pt x="662" y="726"/>
                </a:lnTo>
                <a:lnTo>
                  <a:pt x="660" y="730"/>
                </a:lnTo>
                <a:lnTo>
                  <a:pt x="662" y="735"/>
                </a:lnTo>
                <a:lnTo>
                  <a:pt x="669" y="730"/>
                </a:lnTo>
                <a:lnTo>
                  <a:pt x="666" y="726"/>
                </a:lnTo>
                <a:close/>
                <a:moveTo>
                  <a:pt x="672" y="728"/>
                </a:moveTo>
                <a:lnTo>
                  <a:pt x="669" y="728"/>
                </a:lnTo>
                <a:lnTo>
                  <a:pt x="670" y="728"/>
                </a:lnTo>
                <a:lnTo>
                  <a:pt x="672" y="728"/>
                </a:lnTo>
                <a:close/>
                <a:moveTo>
                  <a:pt x="659" y="728"/>
                </a:moveTo>
                <a:lnTo>
                  <a:pt x="658" y="726"/>
                </a:lnTo>
                <a:lnTo>
                  <a:pt x="656" y="726"/>
                </a:lnTo>
                <a:lnTo>
                  <a:pt x="659" y="728"/>
                </a:lnTo>
                <a:close/>
                <a:moveTo>
                  <a:pt x="686" y="740"/>
                </a:moveTo>
                <a:lnTo>
                  <a:pt x="684" y="743"/>
                </a:lnTo>
                <a:lnTo>
                  <a:pt x="691" y="743"/>
                </a:lnTo>
                <a:lnTo>
                  <a:pt x="687" y="740"/>
                </a:lnTo>
                <a:lnTo>
                  <a:pt x="686" y="740"/>
                </a:lnTo>
                <a:close/>
                <a:moveTo>
                  <a:pt x="691" y="743"/>
                </a:moveTo>
                <a:lnTo>
                  <a:pt x="691" y="744"/>
                </a:lnTo>
                <a:lnTo>
                  <a:pt x="691" y="744"/>
                </a:lnTo>
                <a:lnTo>
                  <a:pt x="691" y="743"/>
                </a:lnTo>
                <a:close/>
                <a:moveTo>
                  <a:pt x="678" y="765"/>
                </a:moveTo>
                <a:lnTo>
                  <a:pt x="676" y="767"/>
                </a:lnTo>
                <a:lnTo>
                  <a:pt x="677" y="767"/>
                </a:lnTo>
                <a:lnTo>
                  <a:pt x="678" y="767"/>
                </a:lnTo>
                <a:lnTo>
                  <a:pt x="678" y="765"/>
                </a:lnTo>
                <a:close/>
                <a:moveTo>
                  <a:pt x="2531" y="728"/>
                </a:moveTo>
                <a:lnTo>
                  <a:pt x="2526" y="728"/>
                </a:lnTo>
                <a:lnTo>
                  <a:pt x="2526" y="724"/>
                </a:lnTo>
                <a:lnTo>
                  <a:pt x="2531" y="724"/>
                </a:lnTo>
                <a:lnTo>
                  <a:pt x="2526" y="721"/>
                </a:lnTo>
                <a:lnTo>
                  <a:pt x="2526" y="718"/>
                </a:lnTo>
                <a:lnTo>
                  <a:pt x="2526" y="716"/>
                </a:lnTo>
                <a:lnTo>
                  <a:pt x="2526" y="715"/>
                </a:lnTo>
                <a:lnTo>
                  <a:pt x="2536" y="716"/>
                </a:lnTo>
                <a:lnTo>
                  <a:pt x="2531" y="712"/>
                </a:lnTo>
                <a:lnTo>
                  <a:pt x="2534" y="712"/>
                </a:lnTo>
                <a:lnTo>
                  <a:pt x="2533" y="708"/>
                </a:lnTo>
                <a:lnTo>
                  <a:pt x="2538" y="708"/>
                </a:lnTo>
                <a:lnTo>
                  <a:pt x="2535" y="705"/>
                </a:lnTo>
                <a:lnTo>
                  <a:pt x="2537" y="700"/>
                </a:lnTo>
                <a:lnTo>
                  <a:pt x="2538" y="701"/>
                </a:lnTo>
                <a:lnTo>
                  <a:pt x="2538" y="703"/>
                </a:lnTo>
                <a:lnTo>
                  <a:pt x="2543" y="700"/>
                </a:lnTo>
                <a:lnTo>
                  <a:pt x="2548" y="701"/>
                </a:lnTo>
                <a:lnTo>
                  <a:pt x="2566" y="697"/>
                </a:lnTo>
                <a:lnTo>
                  <a:pt x="2566" y="703"/>
                </a:lnTo>
                <a:lnTo>
                  <a:pt x="2564" y="706"/>
                </a:lnTo>
                <a:lnTo>
                  <a:pt x="2553" y="715"/>
                </a:lnTo>
                <a:lnTo>
                  <a:pt x="2552" y="716"/>
                </a:lnTo>
                <a:lnTo>
                  <a:pt x="2556" y="716"/>
                </a:lnTo>
                <a:lnTo>
                  <a:pt x="2553" y="720"/>
                </a:lnTo>
                <a:lnTo>
                  <a:pt x="2548" y="720"/>
                </a:lnTo>
                <a:lnTo>
                  <a:pt x="2547" y="723"/>
                </a:lnTo>
                <a:lnTo>
                  <a:pt x="2552" y="721"/>
                </a:lnTo>
                <a:lnTo>
                  <a:pt x="2549" y="724"/>
                </a:lnTo>
                <a:lnTo>
                  <a:pt x="2560" y="720"/>
                </a:lnTo>
                <a:lnTo>
                  <a:pt x="2581" y="720"/>
                </a:lnTo>
                <a:lnTo>
                  <a:pt x="2584" y="720"/>
                </a:lnTo>
                <a:lnTo>
                  <a:pt x="2585" y="724"/>
                </a:lnTo>
                <a:lnTo>
                  <a:pt x="2582" y="727"/>
                </a:lnTo>
                <a:lnTo>
                  <a:pt x="2579" y="738"/>
                </a:lnTo>
                <a:lnTo>
                  <a:pt x="2574" y="741"/>
                </a:lnTo>
                <a:lnTo>
                  <a:pt x="2574" y="743"/>
                </a:lnTo>
                <a:lnTo>
                  <a:pt x="2564" y="746"/>
                </a:lnTo>
                <a:lnTo>
                  <a:pt x="2569" y="746"/>
                </a:lnTo>
                <a:lnTo>
                  <a:pt x="2574" y="751"/>
                </a:lnTo>
                <a:lnTo>
                  <a:pt x="2561" y="756"/>
                </a:lnTo>
                <a:lnTo>
                  <a:pt x="2556" y="756"/>
                </a:lnTo>
                <a:lnTo>
                  <a:pt x="2566" y="758"/>
                </a:lnTo>
                <a:lnTo>
                  <a:pt x="2572" y="755"/>
                </a:lnTo>
                <a:lnTo>
                  <a:pt x="2581" y="760"/>
                </a:lnTo>
                <a:lnTo>
                  <a:pt x="2584" y="768"/>
                </a:lnTo>
                <a:lnTo>
                  <a:pt x="2586" y="768"/>
                </a:lnTo>
                <a:lnTo>
                  <a:pt x="2592" y="783"/>
                </a:lnTo>
                <a:lnTo>
                  <a:pt x="2593" y="783"/>
                </a:lnTo>
                <a:lnTo>
                  <a:pt x="2603" y="787"/>
                </a:lnTo>
                <a:lnTo>
                  <a:pt x="2605" y="792"/>
                </a:lnTo>
                <a:lnTo>
                  <a:pt x="2609" y="795"/>
                </a:lnTo>
                <a:lnTo>
                  <a:pt x="2606" y="796"/>
                </a:lnTo>
                <a:lnTo>
                  <a:pt x="2610" y="804"/>
                </a:lnTo>
                <a:lnTo>
                  <a:pt x="2610" y="806"/>
                </a:lnTo>
                <a:lnTo>
                  <a:pt x="2607" y="804"/>
                </a:lnTo>
                <a:lnTo>
                  <a:pt x="2605" y="804"/>
                </a:lnTo>
                <a:lnTo>
                  <a:pt x="2614" y="811"/>
                </a:lnTo>
                <a:lnTo>
                  <a:pt x="2616" y="815"/>
                </a:lnTo>
                <a:lnTo>
                  <a:pt x="2611" y="820"/>
                </a:lnTo>
                <a:lnTo>
                  <a:pt x="2616" y="823"/>
                </a:lnTo>
                <a:lnTo>
                  <a:pt x="2619" y="820"/>
                </a:lnTo>
                <a:lnTo>
                  <a:pt x="2623" y="820"/>
                </a:lnTo>
                <a:lnTo>
                  <a:pt x="2630" y="821"/>
                </a:lnTo>
                <a:lnTo>
                  <a:pt x="2635" y="823"/>
                </a:lnTo>
                <a:lnTo>
                  <a:pt x="2637" y="828"/>
                </a:lnTo>
                <a:lnTo>
                  <a:pt x="2633" y="836"/>
                </a:lnTo>
                <a:lnTo>
                  <a:pt x="2630" y="840"/>
                </a:lnTo>
                <a:lnTo>
                  <a:pt x="2627" y="844"/>
                </a:lnTo>
                <a:lnTo>
                  <a:pt x="2625" y="844"/>
                </a:lnTo>
                <a:lnTo>
                  <a:pt x="2623" y="844"/>
                </a:lnTo>
                <a:lnTo>
                  <a:pt x="2625" y="847"/>
                </a:lnTo>
                <a:lnTo>
                  <a:pt x="2619" y="849"/>
                </a:lnTo>
                <a:lnTo>
                  <a:pt x="2618" y="850"/>
                </a:lnTo>
                <a:lnTo>
                  <a:pt x="2622" y="851"/>
                </a:lnTo>
                <a:lnTo>
                  <a:pt x="2622" y="851"/>
                </a:lnTo>
                <a:lnTo>
                  <a:pt x="2630" y="850"/>
                </a:lnTo>
                <a:lnTo>
                  <a:pt x="2630" y="855"/>
                </a:lnTo>
                <a:lnTo>
                  <a:pt x="2622" y="857"/>
                </a:lnTo>
                <a:lnTo>
                  <a:pt x="2622" y="860"/>
                </a:lnTo>
                <a:lnTo>
                  <a:pt x="2612" y="863"/>
                </a:lnTo>
                <a:lnTo>
                  <a:pt x="2607" y="862"/>
                </a:lnTo>
                <a:lnTo>
                  <a:pt x="2600" y="864"/>
                </a:lnTo>
                <a:lnTo>
                  <a:pt x="2598" y="865"/>
                </a:lnTo>
                <a:lnTo>
                  <a:pt x="2596" y="865"/>
                </a:lnTo>
                <a:lnTo>
                  <a:pt x="2594" y="865"/>
                </a:lnTo>
                <a:lnTo>
                  <a:pt x="2594" y="865"/>
                </a:lnTo>
                <a:lnTo>
                  <a:pt x="2592" y="866"/>
                </a:lnTo>
                <a:lnTo>
                  <a:pt x="2588" y="865"/>
                </a:lnTo>
                <a:lnTo>
                  <a:pt x="2589" y="865"/>
                </a:lnTo>
                <a:lnTo>
                  <a:pt x="2581" y="865"/>
                </a:lnTo>
                <a:lnTo>
                  <a:pt x="2581" y="868"/>
                </a:lnTo>
                <a:lnTo>
                  <a:pt x="2574" y="865"/>
                </a:lnTo>
                <a:lnTo>
                  <a:pt x="2574" y="866"/>
                </a:lnTo>
                <a:lnTo>
                  <a:pt x="2567" y="863"/>
                </a:lnTo>
                <a:lnTo>
                  <a:pt x="2561" y="867"/>
                </a:lnTo>
                <a:lnTo>
                  <a:pt x="2556" y="873"/>
                </a:lnTo>
                <a:lnTo>
                  <a:pt x="2549" y="871"/>
                </a:lnTo>
                <a:lnTo>
                  <a:pt x="2547" y="873"/>
                </a:lnTo>
                <a:lnTo>
                  <a:pt x="2542" y="873"/>
                </a:lnTo>
                <a:lnTo>
                  <a:pt x="2534" y="875"/>
                </a:lnTo>
                <a:lnTo>
                  <a:pt x="2534" y="877"/>
                </a:lnTo>
                <a:lnTo>
                  <a:pt x="2534" y="879"/>
                </a:lnTo>
                <a:lnTo>
                  <a:pt x="2531" y="877"/>
                </a:lnTo>
                <a:lnTo>
                  <a:pt x="2533" y="877"/>
                </a:lnTo>
                <a:lnTo>
                  <a:pt x="2534" y="870"/>
                </a:lnTo>
                <a:lnTo>
                  <a:pt x="2534" y="869"/>
                </a:lnTo>
                <a:lnTo>
                  <a:pt x="2542" y="869"/>
                </a:lnTo>
                <a:lnTo>
                  <a:pt x="2542" y="862"/>
                </a:lnTo>
                <a:lnTo>
                  <a:pt x="2542" y="861"/>
                </a:lnTo>
                <a:lnTo>
                  <a:pt x="2548" y="861"/>
                </a:lnTo>
                <a:lnTo>
                  <a:pt x="2546" y="857"/>
                </a:lnTo>
                <a:lnTo>
                  <a:pt x="2546" y="855"/>
                </a:lnTo>
                <a:lnTo>
                  <a:pt x="2565" y="854"/>
                </a:lnTo>
                <a:lnTo>
                  <a:pt x="2567" y="851"/>
                </a:lnTo>
                <a:lnTo>
                  <a:pt x="2575" y="844"/>
                </a:lnTo>
                <a:lnTo>
                  <a:pt x="2564" y="853"/>
                </a:lnTo>
                <a:lnTo>
                  <a:pt x="2560" y="853"/>
                </a:lnTo>
                <a:lnTo>
                  <a:pt x="2555" y="847"/>
                </a:lnTo>
                <a:lnTo>
                  <a:pt x="2549" y="848"/>
                </a:lnTo>
                <a:lnTo>
                  <a:pt x="2548" y="846"/>
                </a:lnTo>
                <a:lnTo>
                  <a:pt x="2552" y="846"/>
                </a:lnTo>
                <a:lnTo>
                  <a:pt x="2547" y="843"/>
                </a:lnTo>
                <a:lnTo>
                  <a:pt x="2538" y="846"/>
                </a:lnTo>
                <a:lnTo>
                  <a:pt x="2541" y="844"/>
                </a:lnTo>
                <a:lnTo>
                  <a:pt x="2538" y="844"/>
                </a:lnTo>
                <a:lnTo>
                  <a:pt x="2534" y="840"/>
                </a:lnTo>
                <a:lnTo>
                  <a:pt x="2549" y="833"/>
                </a:lnTo>
                <a:lnTo>
                  <a:pt x="2552" y="828"/>
                </a:lnTo>
                <a:lnTo>
                  <a:pt x="2549" y="821"/>
                </a:lnTo>
                <a:lnTo>
                  <a:pt x="2546" y="824"/>
                </a:lnTo>
                <a:lnTo>
                  <a:pt x="2542" y="824"/>
                </a:lnTo>
                <a:lnTo>
                  <a:pt x="2546" y="816"/>
                </a:lnTo>
                <a:lnTo>
                  <a:pt x="2543" y="812"/>
                </a:lnTo>
                <a:lnTo>
                  <a:pt x="2548" y="812"/>
                </a:lnTo>
                <a:lnTo>
                  <a:pt x="2552" y="812"/>
                </a:lnTo>
                <a:lnTo>
                  <a:pt x="2551" y="812"/>
                </a:lnTo>
                <a:lnTo>
                  <a:pt x="2564" y="811"/>
                </a:lnTo>
                <a:lnTo>
                  <a:pt x="2565" y="812"/>
                </a:lnTo>
                <a:lnTo>
                  <a:pt x="2566" y="812"/>
                </a:lnTo>
                <a:lnTo>
                  <a:pt x="2569" y="813"/>
                </a:lnTo>
                <a:lnTo>
                  <a:pt x="2571" y="812"/>
                </a:lnTo>
                <a:lnTo>
                  <a:pt x="2567" y="812"/>
                </a:lnTo>
                <a:lnTo>
                  <a:pt x="2566" y="807"/>
                </a:lnTo>
                <a:lnTo>
                  <a:pt x="2569" y="803"/>
                </a:lnTo>
                <a:lnTo>
                  <a:pt x="2566" y="801"/>
                </a:lnTo>
                <a:lnTo>
                  <a:pt x="2566" y="800"/>
                </a:lnTo>
                <a:lnTo>
                  <a:pt x="2567" y="800"/>
                </a:lnTo>
                <a:lnTo>
                  <a:pt x="2569" y="793"/>
                </a:lnTo>
                <a:lnTo>
                  <a:pt x="2565" y="795"/>
                </a:lnTo>
                <a:lnTo>
                  <a:pt x="2559" y="788"/>
                </a:lnTo>
                <a:lnTo>
                  <a:pt x="2561" y="780"/>
                </a:lnTo>
                <a:lnTo>
                  <a:pt x="2560" y="780"/>
                </a:lnTo>
                <a:lnTo>
                  <a:pt x="2558" y="779"/>
                </a:lnTo>
                <a:lnTo>
                  <a:pt x="2552" y="782"/>
                </a:lnTo>
                <a:lnTo>
                  <a:pt x="2546" y="778"/>
                </a:lnTo>
                <a:lnTo>
                  <a:pt x="2546" y="783"/>
                </a:lnTo>
                <a:lnTo>
                  <a:pt x="2540" y="778"/>
                </a:lnTo>
                <a:lnTo>
                  <a:pt x="2539" y="781"/>
                </a:lnTo>
                <a:lnTo>
                  <a:pt x="2541" y="784"/>
                </a:lnTo>
                <a:lnTo>
                  <a:pt x="2539" y="784"/>
                </a:lnTo>
                <a:lnTo>
                  <a:pt x="2534" y="778"/>
                </a:lnTo>
                <a:lnTo>
                  <a:pt x="2534" y="777"/>
                </a:lnTo>
                <a:lnTo>
                  <a:pt x="2544" y="766"/>
                </a:lnTo>
                <a:lnTo>
                  <a:pt x="2539" y="763"/>
                </a:lnTo>
                <a:lnTo>
                  <a:pt x="2541" y="760"/>
                </a:lnTo>
                <a:lnTo>
                  <a:pt x="2546" y="760"/>
                </a:lnTo>
                <a:lnTo>
                  <a:pt x="2538" y="755"/>
                </a:lnTo>
                <a:lnTo>
                  <a:pt x="2538" y="753"/>
                </a:lnTo>
                <a:lnTo>
                  <a:pt x="2537" y="758"/>
                </a:lnTo>
                <a:lnTo>
                  <a:pt x="2538" y="759"/>
                </a:lnTo>
                <a:lnTo>
                  <a:pt x="2538" y="762"/>
                </a:lnTo>
                <a:lnTo>
                  <a:pt x="2537" y="758"/>
                </a:lnTo>
                <a:lnTo>
                  <a:pt x="2536" y="759"/>
                </a:lnTo>
                <a:lnTo>
                  <a:pt x="2534" y="757"/>
                </a:lnTo>
                <a:lnTo>
                  <a:pt x="2534" y="755"/>
                </a:lnTo>
                <a:lnTo>
                  <a:pt x="2539" y="752"/>
                </a:lnTo>
                <a:lnTo>
                  <a:pt x="2538" y="752"/>
                </a:lnTo>
                <a:lnTo>
                  <a:pt x="2530" y="755"/>
                </a:lnTo>
                <a:lnTo>
                  <a:pt x="2531" y="756"/>
                </a:lnTo>
                <a:lnTo>
                  <a:pt x="2530" y="756"/>
                </a:lnTo>
                <a:lnTo>
                  <a:pt x="2530" y="761"/>
                </a:lnTo>
                <a:lnTo>
                  <a:pt x="2530" y="764"/>
                </a:lnTo>
                <a:lnTo>
                  <a:pt x="2530" y="768"/>
                </a:lnTo>
                <a:lnTo>
                  <a:pt x="2526" y="770"/>
                </a:lnTo>
                <a:lnTo>
                  <a:pt x="2529" y="761"/>
                </a:lnTo>
                <a:lnTo>
                  <a:pt x="2528" y="757"/>
                </a:lnTo>
                <a:lnTo>
                  <a:pt x="2528" y="756"/>
                </a:lnTo>
                <a:lnTo>
                  <a:pt x="2527" y="756"/>
                </a:lnTo>
                <a:lnTo>
                  <a:pt x="2525" y="761"/>
                </a:lnTo>
                <a:lnTo>
                  <a:pt x="2522" y="759"/>
                </a:lnTo>
                <a:lnTo>
                  <a:pt x="2522" y="758"/>
                </a:lnTo>
                <a:lnTo>
                  <a:pt x="2522" y="757"/>
                </a:lnTo>
                <a:lnTo>
                  <a:pt x="2526" y="754"/>
                </a:lnTo>
                <a:lnTo>
                  <a:pt x="2526" y="749"/>
                </a:lnTo>
                <a:lnTo>
                  <a:pt x="2520" y="751"/>
                </a:lnTo>
                <a:lnTo>
                  <a:pt x="2519" y="750"/>
                </a:lnTo>
                <a:lnTo>
                  <a:pt x="2523" y="748"/>
                </a:lnTo>
                <a:lnTo>
                  <a:pt x="2522" y="748"/>
                </a:lnTo>
                <a:lnTo>
                  <a:pt x="2523" y="746"/>
                </a:lnTo>
                <a:lnTo>
                  <a:pt x="2519" y="744"/>
                </a:lnTo>
                <a:lnTo>
                  <a:pt x="2521" y="743"/>
                </a:lnTo>
                <a:lnTo>
                  <a:pt x="2526" y="739"/>
                </a:lnTo>
                <a:lnTo>
                  <a:pt x="2526" y="740"/>
                </a:lnTo>
                <a:lnTo>
                  <a:pt x="2529" y="740"/>
                </a:lnTo>
                <a:lnTo>
                  <a:pt x="2526" y="737"/>
                </a:lnTo>
                <a:lnTo>
                  <a:pt x="2527" y="736"/>
                </a:lnTo>
                <a:lnTo>
                  <a:pt x="2527" y="736"/>
                </a:lnTo>
                <a:lnTo>
                  <a:pt x="2531" y="736"/>
                </a:lnTo>
                <a:lnTo>
                  <a:pt x="2533" y="736"/>
                </a:lnTo>
                <a:lnTo>
                  <a:pt x="2527" y="732"/>
                </a:lnTo>
                <a:lnTo>
                  <a:pt x="2533" y="732"/>
                </a:lnTo>
                <a:lnTo>
                  <a:pt x="2529" y="730"/>
                </a:lnTo>
                <a:lnTo>
                  <a:pt x="2531" y="728"/>
                </a:lnTo>
                <a:close/>
                <a:moveTo>
                  <a:pt x="2530" y="754"/>
                </a:moveTo>
                <a:lnTo>
                  <a:pt x="2528" y="755"/>
                </a:lnTo>
                <a:lnTo>
                  <a:pt x="2529" y="754"/>
                </a:lnTo>
                <a:lnTo>
                  <a:pt x="2530" y="754"/>
                </a:lnTo>
                <a:close/>
                <a:moveTo>
                  <a:pt x="705" y="825"/>
                </a:moveTo>
                <a:lnTo>
                  <a:pt x="705" y="824"/>
                </a:lnTo>
                <a:lnTo>
                  <a:pt x="701" y="824"/>
                </a:lnTo>
                <a:lnTo>
                  <a:pt x="704" y="827"/>
                </a:lnTo>
                <a:lnTo>
                  <a:pt x="705" y="825"/>
                </a:lnTo>
                <a:close/>
                <a:moveTo>
                  <a:pt x="711" y="836"/>
                </a:moveTo>
                <a:lnTo>
                  <a:pt x="709" y="836"/>
                </a:lnTo>
                <a:lnTo>
                  <a:pt x="711" y="837"/>
                </a:lnTo>
                <a:lnTo>
                  <a:pt x="711" y="840"/>
                </a:lnTo>
                <a:lnTo>
                  <a:pt x="707" y="837"/>
                </a:lnTo>
                <a:lnTo>
                  <a:pt x="707" y="836"/>
                </a:lnTo>
                <a:lnTo>
                  <a:pt x="708" y="836"/>
                </a:lnTo>
                <a:lnTo>
                  <a:pt x="703" y="832"/>
                </a:lnTo>
                <a:lnTo>
                  <a:pt x="703" y="831"/>
                </a:lnTo>
                <a:lnTo>
                  <a:pt x="695" y="828"/>
                </a:lnTo>
                <a:lnTo>
                  <a:pt x="698" y="828"/>
                </a:lnTo>
                <a:lnTo>
                  <a:pt x="697" y="824"/>
                </a:lnTo>
                <a:lnTo>
                  <a:pt x="695" y="824"/>
                </a:lnTo>
                <a:lnTo>
                  <a:pt x="692" y="820"/>
                </a:lnTo>
                <a:lnTo>
                  <a:pt x="693" y="821"/>
                </a:lnTo>
                <a:lnTo>
                  <a:pt x="695" y="820"/>
                </a:lnTo>
                <a:lnTo>
                  <a:pt x="690" y="817"/>
                </a:lnTo>
                <a:lnTo>
                  <a:pt x="690" y="816"/>
                </a:lnTo>
                <a:lnTo>
                  <a:pt x="687" y="816"/>
                </a:lnTo>
                <a:lnTo>
                  <a:pt x="686" y="816"/>
                </a:lnTo>
                <a:lnTo>
                  <a:pt x="687" y="813"/>
                </a:lnTo>
                <a:lnTo>
                  <a:pt x="690" y="814"/>
                </a:lnTo>
                <a:lnTo>
                  <a:pt x="685" y="810"/>
                </a:lnTo>
                <a:lnTo>
                  <a:pt x="682" y="808"/>
                </a:lnTo>
                <a:lnTo>
                  <a:pt x="685" y="808"/>
                </a:lnTo>
                <a:lnTo>
                  <a:pt x="681" y="806"/>
                </a:lnTo>
                <a:lnTo>
                  <a:pt x="679" y="802"/>
                </a:lnTo>
                <a:lnTo>
                  <a:pt x="679" y="798"/>
                </a:lnTo>
                <a:lnTo>
                  <a:pt x="679" y="795"/>
                </a:lnTo>
                <a:lnTo>
                  <a:pt x="689" y="798"/>
                </a:lnTo>
                <a:lnTo>
                  <a:pt x="687" y="802"/>
                </a:lnTo>
                <a:lnTo>
                  <a:pt x="690" y="800"/>
                </a:lnTo>
                <a:lnTo>
                  <a:pt x="693" y="800"/>
                </a:lnTo>
                <a:lnTo>
                  <a:pt x="695" y="803"/>
                </a:lnTo>
                <a:lnTo>
                  <a:pt x="695" y="802"/>
                </a:lnTo>
                <a:lnTo>
                  <a:pt x="695" y="798"/>
                </a:lnTo>
                <a:lnTo>
                  <a:pt x="699" y="795"/>
                </a:lnTo>
                <a:lnTo>
                  <a:pt x="695" y="805"/>
                </a:lnTo>
                <a:lnTo>
                  <a:pt x="695" y="811"/>
                </a:lnTo>
                <a:lnTo>
                  <a:pt x="697" y="816"/>
                </a:lnTo>
                <a:lnTo>
                  <a:pt x="692" y="816"/>
                </a:lnTo>
                <a:lnTo>
                  <a:pt x="695" y="818"/>
                </a:lnTo>
                <a:lnTo>
                  <a:pt x="700" y="816"/>
                </a:lnTo>
                <a:lnTo>
                  <a:pt x="704" y="820"/>
                </a:lnTo>
                <a:lnTo>
                  <a:pt x="699" y="820"/>
                </a:lnTo>
                <a:lnTo>
                  <a:pt x="699" y="824"/>
                </a:lnTo>
                <a:lnTo>
                  <a:pt x="698" y="824"/>
                </a:lnTo>
                <a:lnTo>
                  <a:pt x="705" y="832"/>
                </a:lnTo>
                <a:lnTo>
                  <a:pt x="707" y="832"/>
                </a:lnTo>
                <a:lnTo>
                  <a:pt x="708" y="832"/>
                </a:lnTo>
                <a:lnTo>
                  <a:pt x="709" y="832"/>
                </a:lnTo>
                <a:lnTo>
                  <a:pt x="711" y="836"/>
                </a:lnTo>
                <a:close/>
                <a:moveTo>
                  <a:pt x="695" y="804"/>
                </a:moveTo>
                <a:lnTo>
                  <a:pt x="695" y="803"/>
                </a:lnTo>
                <a:lnTo>
                  <a:pt x="687" y="804"/>
                </a:lnTo>
                <a:lnTo>
                  <a:pt x="690" y="805"/>
                </a:lnTo>
                <a:lnTo>
                  <a:pt x="695" y="804"/>
                </a:lnTo>
                <a:close/>
                <a:moveTo>
                  <a:pt x="718" y="802"/>
                </a:moveTo>
                <a:lnTo>
                  <a:pt x="716" y="801"/>
                </a:lnTo>
                <a:lnTo>
                  <a:pt x="716" y="802"/>
                </a:lnTo>
                <a:lnTo>
                  <a:pt x="718" y="802"/>
                </a:lnTo>
                <a:close/>
                <a:moveTo>
                  <a:pt x="679" y="770"/>
                </a:moveTo>
                <a:lnTo>
                  <a:pt x="678" y="770"/>
                </a:lnTo>
                <a:lnTo>
                  <a:pt x="678" y="773"/>
                </a:lnTo>
                <a:lnTo>
                  <a:pt x="680" y="773"/>
                </a:lnTo>
                <a:lnTo>
                  <a:pt x="679" y="770"/>
                </a:lnTo>
                <a:close/>
                <a:moveTo>
                  <a:pt x="710" y="777"/>
                </a:moveTo>
                <a:lnTo>
                  <a:pt x="706" y="779"/>
                </a:lnTo>
                <a:lnTo>
                  <a:pt x="710" y="779"/>
                </a:lnTo>
                <a:lnTo>
                  <a:pt x="710" y="777"/>
                </a:lnTo>
                <a:close/>
                <a:moveTo>
                  <a:pt x="711" y="790"/>
                </a:moveTo>
                <a:lnTo>
                  <a:pt x="714" y="786"/>
                </a:lnTo>
                <a:lnTo>
                  <a:pt x="712" y="785"/>
                </a:lnTo>
                <a:lnTo>
                  <a:pt x="711" y="790"/>
                </a:lnTo>
                <a:close/>
                <a:moveTo>
                  <a:pt x="673" y="765"/>
                </a:moveTo>
                <a:lnTo>
                  <a:pt x="673" y="767"/>
                </a:lnTo>
                <a:lnTo>
                  <a:pt x="676" y="767"/>
                </a:lnTo>
                <a:lnTo>
                  <a:pt x="677" y="765"/>
                </a:lnTo>
                <a:lnTo>
                  <a:pt x="673" y="765"/>
                </a:lnTo>
                <a:close/>
                <a:moveTo>
                  <a:pt x="667" y="748"/>
                </a:moveTo>
                <a:lnTo>
                  <a:pt x="666" y="748"/>
                </a:lnTo>
                <a:lnTo>
                  <a:pt x="665" y="748"/>
                </a:lnTo>
                <a:lnTo>
                  <a:pt x="663" y="749"/>
                </a:lnTo>
                <a:lnTo>
                  <a:pt x="663" y="756"/>
                </a:lnTo>
                <a:lnTo>
                  <a:pt x="669" y="756"/>
                </a:lnTo>
                <a:lnTo>
                  <a:pt x="670" y="756"/>
                </a:lnTo>
                <a:lnTo>
                  <a:pt x="672" y="752"/>
                </a:lnTo>
                <a:lnTo>
                  <a:pt x="667" y="752"/>
                </a:lnTo>
                <a:lnTo>
                  <a:pt x="667" y="748"/>
                </a:lnTo>
                <a:close/>
                <a:moveTo>
                  <a:pt x="2591" y="660"/>
                </a:moveTo>
                <a:lnTo>
                  <a:pt x="2592" y="660"/>
                </a:lnTo>
                <a:lnTo>
                  <a:pt x="2590" y="659"/>
                </a:lnTo>
                <a:lnTo>
                  <a:pt x="2590" y="660"/>
                </a:lnTo>
                <a:lnTo>
                  <a:pt x="2591" y="660"/>
                </a:lnTo>
                <a:close/>
                <a:moveTo>
                  <a:pt x="665" y="759"/>
                </a:moveTo>
                <a:lnTo>
                  <a:pt x="669" y="758"/>
                </a:lnTo>
                <a:lnTo>
                  <a:pt x="665" y="758"/>
                </a:lnTo>
                <a:lnTo>
                  <a:pt x="665" y="759"/>
                </a:lnTo>
                <a:close/>
                <a:moveTo>
                  <a:pt x="672" y="732"/>
                </a:moveTo>
                <a:lnTo>
                  <a:pt x="670" y="735"/>
                </a:lnTo>
                <a:lnTo>
                  <a:pt x="673" y="736"/>
                </a:lnTo>
                <a:lnTo>
                  <a:pt x="672" y="736"/>
                </a:lnTo>
                <a:lnTo>
                  <a:pt x="675" y="738"/>
                </a:lnTo>
                <a:lnTo>
                  <a:pt x="675" y="743"/>
                </a:lnTo>
                <a:lnTo>
                  <a:pt x="675" y="743"/>
                </a:lnTo>
                <a:lnTo>
                  <a:pt x="673" y="740"/>
                </a:lnTo>
                <a:lnTo>
                  <a:pt x="672" y="740"/>
                </a:lnTo>
                <a:lnTo>
                  <a:pt x="670" y="738"/>
                </a:lnTo>
                <a:lnTo>
                  <a:pt x="665" y="737"/>
                </a:lnTo>
                <a:lnTo>
                  <a:pt x="669" y="740"/>
                </a:lnTo>
                <a:lnTo>
                  <a:pt x="664" y="740"/>
                </a:lnTo>
                <a:lnTo>
                  <a:pt x="665" y="744"/>
                </a:lnTo>
                <a:lnTo>
                  <a:pt x="667" y="744"/>
                </a:lnTo>
                <a:lnTo>
                  <a:pt x="667" y="747"/>
                </a:lnTo>
                <a:lnTo>
                  <a:pt x="671" y="749"/>
                </a:lnTo>
                <a:lnTo>
                  <a:pt x="671" y="744"/>
                </a:lnTo>
                <a:lnTo>
                  <a:pt x="675" y="744"/>
                </a:lnTo>
                <a:lnTo>
                  <a:pt x="675" y="748"/>
                </a:lnTo>
                <a:lnTo>
                  <a:pt x="677" y="748"/>
                </a:lnTo>
                <a:lnTo>
                  <a:pt x="683" y="744"/>
                </a:lnTo>
                <a:lnTo>
                  <a:pt x="679" y="738"/>
                </a:lnTo>
                <a:lnTo>
                  <a:pt x="684" y="743"/>
                </a:lnTo>
                <a:lnTo>
                  <a:pt x="686" y="738"/>
                </a:lnTo>
                <a:lnTo>
                  <a:pt x="683" y="735"/>
                </a:lnTo>
                <a:lnTo>
                  <a:pt x="672" y="732"/>
                </a:lnTo>
                <a:close/>
                <a:moveTo>
                  <a:pt x="598" y="1853"/>
                </a:moveTo>
                <a:lnTo>
                  <a:pt x="599" y="1852"/>
                </a:lnTo>
                <a:lnTo>
                  <a:pt x="598" y="1852"/>
                </a:lnTo>
                <a:lnTo>
                  <a:pt x="598" y="1853"/>
                </a:lnTo>
                <a:close/>
                <a:moveTo>
                  <a:pt x="676" y="773"/>
                </a:moveTo>
                <a:lnTo>
                  <a:pt x="678" y="769"/>
                </a:lnTo>
                <a:lnTo>
                  <a:pt x="677" y="767"/>
                </a:lnTo>
                <a:lnTo>
                  <a:pt x="676" y="770"/>
                </a:lnTo>
                <a:lnTo>
                  <a:pt x="676" y="773"/>
                </a:lnTo>
                <a:close/>
                <a:moveTo>
                  <a:pt x="403" y="701"/>
                </a:moveTo>
                <a:lnTo>
                  <a:pt x="399" y="702"/>
                </a:lnTo>
                <a:lnTo>
                  <a:pt x="402" y="704"/>
                </a:lnTo>
                <a:lnTo>
                  <a:pt x="403" y="701"/>
                </a:lnTo>
                <a:close/>
                <a:moveTo>
                  <a:pt x="443" y="672"/>
                </a:moveTo>
                <a:lnTo>
                  <a:pt x="442" y="674"/>
                </a:lnTo>
                <a:lnTo>
                  <a:pt x="445" y="675"/>
                </a:lnTo>
                <a:lnTo>
                  <a:pt x="443" y="672"/>
                </a:lnTo>
                <a:close/>
                <a:moveTo>
                  <a:pt x="412" y="1950"/>
                </a:moveTo>
                <a:lnTo>
                  <a:pt x="415" y="1948"/>
                </a:lnTo>
                <a:lnTo>
                  <a:pt x="412" y="1946"/>
                </a:lnTo>
                <a:lnTo>
                  <a:pt x="412" y="1950"/>
                </a:lnTo>
                <a:close/>
                <a:moveTo>
                  <a:pt x="403" y="704"/>
                </a:moveTo>
                <a:lnTo>
                  <a:pt x="408" y="707"/>
                </a:lnTo>
                <a:lnTo>
                  <a:pt x="407" y="710"/>
                </a:lnTo>
                <a:lnTo>
                  <a:pt x="404" y="708"/>
                </a:lnTo>
                <a:lnTo>
                  <a:pt x="403" y="710"/>
                </a:lnTo>
                <a:lnTo>
                  <a:pt x="404" y="712"/>
                </a:lnTo>
                <a:lnTo>
                  <a:pt x="401" y="712"/>
                </a:lnTo>
                <a:lnTo>
                  <a:pt x="399" y="714"/>
                </a:lnTo>
                <a:lnTo>
                  <a:pt x="396" y="714"/>
                </a:lnTo>
                <a:lnTo>
                  <a:pt x="391" y="714"/>
                </a:lnTo>
                <a:lnTo>
                  <a:pt x="396" y="715"/>
                </a:lnTo>
                <a:lnTo>
                  <a:pt x="394" y="716"/>
                </a:lnTo>
                <a:lnTo>
                  <a:pt x="394" y="720"/>
                </a:lnTo>
                <a:lnTo>
                  <a:pt x="396" y="716"/>
                </a:lnTo>
                <a:lnTo>
                  <a:pt x="402" y="715"/>
                </a:lnTo>
                <a:lnTo>
                  <a:pt x="403" y="717"/>
                </a:lnTo>
                <a:lnTo>
                  <a:pt x="401" y="721"/>
                </a:lnTo>
                <a:lnTo>
                  <a:pt x="402" y="724"/>
                </a:lnTo>
                <a:lnTo>
                  <a:pt x="407" y="724"/>
                </a:lnTo>
                <a:lnTo>
                  <a:pt x="403" y="728"/>
                </a:lnTo>
                <a:lnTo>
                  <a:pt x="397" y="724"/>
                </a:lnTo>
                <a:lnTo>
                  <a:pt x="394" y="725"/>
                </a:lnTo>
                <a:lnTo>
                  <a:pt x="401" y="728"/>
                </a:lnTo>
                <a:lnTo>
                  <a:pt x="399" y="732"/>
                </a:lnTo>
                <a:lnTo>
                  <a:pt x="394" y="732"/>
                </a:lnTo>
                <a:lnTo>
                  <a:pt x="389" y="735"/>
                </a:lnTo>
                <a:lnTo>
                  <a:pt x="387" y="732"/>
                </a:lnTo>
                <a:lnTo>
                  <a:pt x="389" y="731"/>
                </a:lnTo>
                <a:lnTo>
                  <a:pt x="382" y="732"/>
                </a:lnTo>
                <a:lnTo>
                  <a:pt x="386" y="735"/>
                </a:lnTo>
                <a:lnTo>
                  <a:pt x="379" y="740"/>
                </a:lnTo>
                <a:lnTo>
                  <a:pt x="377" y="740"/>
                </a:lnTo>
                <a:lnTo>
                  <a:pt x="381" y="735"/>
                </a:lnTo>
                <a:lnTo>
                  <a:pt x="378" y="736"/>
                </a:lnTo>
                <a:lnTo>
                  <a:pt x="381" y="731"/>
                </a:lnTo>
                <a:lnTo>
                  <a:pt x="376" y="736"/>
                </a:lnTo>
                <a:lnTo>
                  <a:pt x="377" y="732"/>
                </a:lnTo>
                <a:lnTo>
                  <a:pt x="369" y="731"/>
                </a:lnTo>
                <a:lnTo>
                  <a:pt x="369" y="730"/>
                </a:lnTo>
                <a:lnTo>
                  <a:pt x="367" y="728"/>
                </a:lnTo>
                <a:lnTo>
                  <a:pt x="369" y="724"/>
                </a:lnTo>
                <a:lnTo>
                  <a:pt x="375" y="720"/>
                </a:lnTo>
                <a:lnTo>
                  <a:pt x="379" y="721"/>
                </a:lnTo>
                <a:lnTo>
                  <a:pt x="381" y="727"/>
                </a:lnTo>
                <a:lnTo>
                  <a:pt x="381" y="728"/>
                </a:lnTo>
                <a:lnTo>
                  <a:pt x="381" y="724"/>
                </a:lnTo>
                <a:lnTo>
                  <a:pt x="386" y="724"/>
                </a:lnTo>
                <a:lnTo>
                  <a:pt x="377" y="720"/>
                </a:lnTo>
                <a:lnTo>
                  <a:pt x="377" y="716"/>
                </a:lnTo>
                <a:lnTo>
                  <a:pt x="380" y="715"/>
                </a:lnTo>
                <a:lnTo>
                  <a:pt x="386" y="716"/>
                </a:lnTo>
                <a:lnTo>
                  <a:pt x="387" y="721"/>
                </a:lnTo>
                <a:lnTo>
                  <a:pt x="389" y="720"/>
                </a:lnTo>
                <a:lnTo>
                  <a:pt x="387" y="716"/>
                </a:lnTo>
                <a:lnTo>
                  <a:pt x="390" y="716"/>
                </a:lnTo>
                <a:lnTo>
                  <a:pt x="394" y="716"/>
                </a:lnTo>
                <a:lnTo>
                  <a:pt x="390" y="714"/>
                </a:lnTo>
                <a:lnTo>
                  <a:pt x="388" y="713"/>
                </a:lnTo>
                <a:lnTo>
                  <a:pt x="390" y="716"/>
                </a:lnTo>
                <a:lnTo>
                  <a:pt x="386" y="715"/>
                </a:lnTo>
                <a:lnTo>
                  <a:pt x="387" y="713"/>
                </a:lnTo>
                <a:lnTo>
                  <a:pt x="388" y="713"/>
                </a:lnTo>
                <a:lnTo>
                  <a:pt x="390" y="712"/>
                </a:lnTo>
                <a:lnTo>
                  <a:pt x="396" y="712"/>
                </a:lnTo>
                <a:lnTo>
                  <a:pt x="392" y="710"/>
                </a:lnTo>
                <a:lnTo>
                  <a:pt x="394" y="707"/>
                </a:lnTo>
                <a:lnTo>
                  <a:pt x="394" y="704"/>
                </a:lnTo>
                <a:lnTo>
                  <a:pt x="397" y="704"/>
                </a:lnTo>
                <a:lnTo>
                  <a:pt x="402" y="704"/>
                </a:lnTo>
                <a:lnTo>
                  <a:pt x="403" y="704"/>
                </a:lnTo>
                <a:close/>
                <a:moveTo>
                  <a:pt x="394" y="732"/>
                </a:moveTo>
                <a:lnTo>
                  <a:pt x="394" y="732"/>
                </a:lnTo>
                <a:lnTo>
                  <a:pt x="393" y="732"/>
                </a:lnTo>
                <a:lnTo>
                  <a:pt x="394" y="732"/>
                </a:lnTo>
                <a:close/>
                <a:moveTo>
                  <a:pt x="369" y="736"/>
                </a:moveTo>
                <a:lnTo>
                  <a:pt x="371" y="736"/>
                </a:lnTo>
                <a:lnTo>
                  <a:pt x="370" y="735"/>
                </a:lnTo>
                <a:lnTo>
                  <a:pt x="369" y="731"/>
                </a:lnTo>
                <a:lnTo>
                  <a:pt x="369" y="731"/>
                </a:lnTo>
                <a:lnTo>
                  <a:pt x="369" y="736"/>
                </a:lnTo>
                <a:close/>
                <a:moveTo>
                  <a:pt x="442" y="1959"/>
                </a:moveTo>
                <a:lnTo>
                  <a:pt x="439" y="1959"/>
                </a:lnTo>
                <a:lnTo>
                  <a:pt x="439" y="1960"/>
                </a:lnTo>
                <a:lnTo>
                  <a:pt x="446" y="1964"/>
                </a:lnTo>
                <a:lnTo>
                  <a:pt x="446" y="1962"/>
                </a:lnTo>
                <a:lnTo>
                  <a:pt x="444" y="1960"/>
                </a:lnTo>
                <a:lnTo>
                  <a:pt x="442" y="1959"/>
                </a:lnTo>
                <a:close/>
                <a:moveTo>
                  <a:pt x="411" y="1945"/>
                </a:moveTo>
                <a:lnTo>
                  <a:pt x="412" y="1946"/>
                </a:lnTo>
                <a:lnTo>
                  <a:pt x="412" y="1945"/>
                </a:lnTo>
                <a:lnTo>
                  <a:pt x="411" y="1945"/>
                </a:lnTo>
                <a:close/>
                <a:moveTo>
                  <a:pt x="436" y="1959"/>
                </a:moveTo>
                <a:lnTo>
                  <a:pt x="436" y="1957"/>
                </a:lnTo>
                <a:lnTo>
                  <a:pt x="435" y="1957"/>
                </a:lnTo>
                <a:lnTo>
                  <a:pt x="436" y="1959"/>
                </a:lnTo>
                <a:close/>
                <a:moveTo>
                  <a:pt x="333" y="743"/>
                </a:moveTo>
                <a:lnTo>
                  <a:pt x="330" y="743"/>
                </a:lnTo>
                <a:lnTo>
                  <a:pt x="336" y="743"/>
                </a:lnTo>
                <a:lnTo>
                  <a:pt x="333" y="743"/>
                </a:lnTo>
                <a:close/>
                <a:moveTo>
                  <a:pt x="361" y="1393"/>
                </a:moveTo>
                <a:lnTo>
                  <a:pt x="349" y="1389"/>
                </a:lnTo>
                <a:lnTo>
                  <a:pt x="349" y="1391"/>
                </a:lnTo>
                <a:lnTo>
                  <a:pt x="349" y="1393"/>
                </a:lnTo>
                <a:lnTo>
                  <a:pt x="346" y="1396"/>
                </a:lnTo>
                <a:lnTo>
                  <a:pt x="349" y="1402"/>
                </a:lnTo>
                <a:lnTo>
                  <a:pt x="349" y="1407"/>
                </a:lnTo>
                <a:lnTo>
                  <a:pt x="354" y="1411"/>
                </a:lnTo>
                <a:lnTo>
                  <a:pt x="355" y="1408"/>
                </a:lnTo>
                <a:lnTo>
                  <a:pt x="360" y="1407"/>
                </a:lnTo>
                <a:lnTo>
                  <a:pt x="363" y="1407"/>
                </a:lnTo>
                <a:lnTo>
                  <a:pt x="367" y="1402"/>
                </a:lnTo>
                <a:lnTo>
                  <a:pt x="363" y="1400"/>
                </a:lnTo>
                <a:lnTo>
                  <a:pt x="361" y="1393"/>
                </a:lnTo>
                <a:close/>
                <a:moveTo>
                  <a:pt x="349" y="1381"/>
                </a:moveTo>
                <a:lnTo>
                  <a:pt x="347" y="1377"/>
                </a:lnTo>
                <a:lnTo>
                  <a:pt x="342" y="1379"/>
                </a:lnTo>
                <a:lnTo>
                  <a:pt x="337" y="1376"/>
                </a:lnTo>
                <a:lnTo>
                  <a:pt x="337" y="1379"/>
                </a:lnTo>
                <a:lnTo>
                  <a:pt x="340" y="1381"/>
                </a:lnTo>
                <a:lnTo>
                  <a:pt x="343" y="1384"/>
                </a:lnTo>
                <a:lnTo>
                  <a:pt x="348" y="1383"/>
                </a:lnTo>
                <a:lnTo>
                  <a:pt x="349" y="1381"/>
                </a:lnTo>
                <a:close/>
                <a:moveTo>
                  <a:pt x="353" y="762"/>
                </a:moveTo>
                <a:lnTo>
                  <a:pt x="356" y="762"/>
                </a:lnTo>
                <a:lnTo>
                  <a:pt x="356" y="758"/>
                </a:lnTo>
                <a:lnTo>
                  <a:pt x="353" y="762"/>
                </a:lnTo>
                <a:close/>
                <a:moveTo>
                  <a:pt x="375" y="746"/>
                </a:moveTo>
                <a:lnTo>
                  <a:pt x="377" y="743"/>
                </a:lnTo>
                <a:lnTo>
                  <a:pt x="374" y="743"/>
                </a:lnTo>
                <a:lnTo>
                  <a:pt x="375" y="746"/>
                </a:lnTo>
                <a:close/>
                <a:moveTo>
                  <a:pt x="377" y="736"/>
                </a:moveTo>
                <a:lnTo>
                  <a:pt x="371" y="736"/>
                </a:lnTo>
                <a:lnTo>
                  <a:pt x="374" y="740"/>
                </a:lnTo>
                <a:lnTo>
                  <a:pt x="377" y="736"/>
                </a:lnTo>
                <a:close/>
                <a:moveTo>
                  <a:pt x="367" y="747"/>
                </a:moveTo>
                <a:lnTo>
                  <a:pt x="373" y="743"/>
                </a:lnTo>
                <a:lnTo>
                  <a:pt x="367" y="743"/>
                </a:lnTo>
                <a:lnTo>
                  <a:pt x="367" y="747"/>
                </a:lnTo>
                <a:close/>
                <a:moveTo>
                  <a:pt x="485" y="660"/>
                </a:moveTo>
                <a:lnTo>
                  <a:pt x="487" y="660"/>
                </a:lnTo>
                <a:lnTo>
                  <a:pt x="486" y="663"/>
                </a:lnTo>
                <a:lnTo>
                  <a:pt x="486" y="664"/>
                </a:lnTo>
                <a:lnTo>
                  <a:pt x="494" y="660"/>
                </a:lnTo>
                <a:lnTo>
                  <a:pt x="486" y="659"/>
                </a:lnTo>
                <a:lnTo>
                  <a:pt x="485" y="660"/>
                </a:lnTo>
                <a:close/>
                <a:moveTo>
                  <a:pt x="592" y="1842"/>
                </a:moveTo>
                <a:lnTo>
                  <a:pt x="594" y="1843"/>
                </a:lnTo>
                <a:lnTo>
                  <a:pt x="596" y="1840"/>
                </a:lnTo>
                <a:lnTo>
                  <a:pt x="594" y="1840"/>
                </a:lnTo>
                <a:lnTo>
                  <a:pt x="592" y="1842"/>
                </a:lnTo>
                <a:close/>
                <a:moveTo>
                  <a:pt x="508" y="663"/>
                </a:moveTo>
                <a:lnTo>
                  <a:pt x="508" y="660"/>
                </a:lnTo>
                <a:lnTo>
                  <a:pt x="505" y="663"/>
                </a:lnTo>
                <a:lnTo>
                  <a:pt x="508" y="663"/>
                </a:lnTo>
                <a:close/>
                <a:moveTo>
                  <a:pt x="485" y="648"/>
                </a:moveTo>
                <a:lnTo>
                  <a:pt x="482" y="651"/>
                </a:lnTo>
                <a:lnTo>
                  <a:pt x="485" y="651"/>
                </a:lnTo>
                <a:lnTo>
                  <a:pt x="485" y="648"/>
                </a:lnTo>
                <a:close/>
                <a:moveTo>
                  <a:pt x="576" y="1836"/>
                </a:moveTo>
                <a:lnTo>
                  <a:pt x="579" y="1835"/>
                </a:lnTo>
                <a:lnTo>
                  <a:pt x="576" y="1835"/>
                </a:lnTo>
                <a:lnTo>
                  <a:pt x="576" y="1836"/>
                </a:lnTo>
                <a:close/>
                <a:moveTo>
                  <a:pt x="576" y="1829"/>
                </a:moveTo>
                <a:lnTo>
                  <a:pt x="579" y="1828"/>
                </a:lnTo>
                <a:lnTo>
                  <a:pt x="576" y="1828"/>
                </a:lnTo>
                <a:lnTo>
                  <a:pt x="576" y="1829"/>
                </a:lnTo>
                <a:close/>
                <a:moveTo>
                  <a:pt x="592" y="1846"/>
                </a:moveTo>
                <a:lnTo>
                  <a:pt x="594" y="1843"/>
                </a:lnTo>
                <a:lnTo>
                  <a:pt x="592" y="1843"/>
                </a:lnTo>
                <a:lnTo>
                  <a:pt x="592" y="1846"/>
                </a:lnTo>
                <a:close/>
                <a:moveTo>
                  <a:pt x="585" y="1829"/>
                </a:moveTo>
                <a:lnTo>
                  <a:pt x="587" y="1829"/>
                </a:lnTo>
                <a:lnTo>
                  <a:pt x="585" y="1828"/>
                </a:lnTo>
                <a:lnTo>
                  <a:pt x="585" y="1829"/>
                </a:lnTo>
                <a:close/>
                <a:moveTo>
                  <a:pt x="468" y="654"/>
                </a:moveTo>
                <a:lnTo>
                  <a:pt x="468" y="652"/>
                </a:lnTo>
                <a:lnTo>
                  <a:pt x="465" y="652"/>
                </a:lnTo>
                <a:lnTo>
                  <a:pt x="467" y="654"/>
                </a:lnTo>
                <a:lnTo>
                  <a:pt x="468" y="654"/>
                </a:lnTo>
                <a:close/>
                <a:moveTo>
                  <a:pt x="475" y="654"/>
                </a:moveTo>
                <a:lnTo>
                  <a:pt x="474" y="656"/>
                </a:lnTo>
                <a:lnTo>
                  <a:pt x="476" y="654"/>
                </a:lnTo>
                <a:lnTo>
                  <a:pt x="475" y="654"/>
                </a:lnTo>
                <a:close/>
                <a:moveTo>
                  <a:pt x="467" y="665"/>
                </a:moveTo>
                <a:lnTo>
                  <a:pt x="463" y="669"/>
                </a:lnTo>
                <a:lnTo>
                  <a:pt x="468" y="667"/>
                </a:lnTo>
                <a:lnTo>
                  <a:pt x="467" y="665"/>
                </a:lnTo>
                <a:close/>
                <a:moveTo>
                  <a:pt x="463" y="651"/>
                </a:moveTo>
                <a:lnTo>
                  <a:pt x="467" y="651"/>
                </a:lnTo>
                <a:lnTo>
                  <a:pt x="465" y="648"/>
                </a:lnTo>
                <a:lnTo>
                  <a:pt x="463" y="651"/>
                </a:lnTo>
                <a:close/>
                <a:moveTo>
                  <a:pt x="462" y="669"/>
                </a:moveTo>
                <a:lnTo>
                  <a:pt x="463" y="669"/>
                </a:lnTo>
                <a:lnTo>
                  <a:pt x="465" y="665"/>
                </a:lnTo>
                <a:lnTo>
                  <a:pt x="462" y="669"/>
                </a:lnTo>
                <a:close/>
                <a:moveTo>
                  <a:pt x="471" y="665"/>
                </a:moveTo>
                <a:lnTo>
                  <a:pt x="472" y="660"/>
                </a:lnTo>
                <a:lnTo>
                  <a:pt x="471" y="660"/>
                </a:lnTo>
                <a:lnTo>
                  <a:pt x="472" y="659"/>
                </a:lnTo>
                <a:lnTo>
                  <a:pt x="471" y="658"/>
                </a:lnTo>
                <a:lnTo>
                  <a:pt x="471" y="659"/>
                </a:lnTo>
                <a:lnTo>
                  <a:pt x="467" y="664"/>
                </a:lnTo>
                <a:lnTo>
                  <a:pt x="471" y="665"/>
                </a:lnTo>
                <a:close/>
                <a:moveTo>
                  <a:pt x="475" y="667"/>
                </a:moveTo>
                <a:lnTo>
                  <a:pt x="468" y="670"/>
                </a:lnTo>
                <a:lnTo>
                  <a:pt x="467" y="674"/>
                </a:lnTo>
                <a:lnTo>
                  <a:pt x="474" y="671"/>
                </a:lnTo>
                <a:lnTo>
                  <a:pt x="481" y="663"/>
                </a:lnTo>
                <a:lnTo>
                  <a:pt x="479" y="660"/>
                </a:lnTo>
                <a:lnTo>
                  <a:pt x="475" y="667"/>
                </a:lnTo>
                <a:close/>
                <a:moveTo>
                  <a:pt x="4359" y="1680"/>
                </a:moveTo>
                <a:lnTo>
                  <a:pt x="4359" y="1680"/>
                </a:lnTo>
                <a:lnTo>
                  <a:pt x="4359" y="1680"/>
                </a:lnTo>
                <a:lnTo>
                  <a:pt x="4357" y="1680"/>
                </a:lnTo>
                <a:lnTo>
                  <a:pt x="4357" y="1680"/>
                </a:lnTo>
                <a:lnTo>
                  <a:pt x="4358" y="1680"/>
                </a:lnTo>
                <a:lnTo>
                  <a:pt x="4358" y="1680"/>
                </a:lnTo>
                <a:lnTo>
                  <a:pt x="4359" y="1680"/>
                </a:lnTo>
                <a:close/>
                <a:moveTo>
                  <a:pt x="5044" y="2037"/>
                </a:moveTo>
                <a:lnTo>
                  <a:pt x="5043" y="2036"/>
                </a:lnTo>
                <a:lnTo>
                  <a:pt x="5043" y="2036"/>
                </a:lnTo>
                <a:lnTo>
                  <a:pt x="5043" y="2038"/>
                </a:lnTo>
                <a:lnTo>
                  <a:pt x="5045" y="2038"/>
                </a:lnTo>
                <a:lnTo>
                  <a:pt x="5044" y="2037"/>
                </a:lnTo>
                <a:close/>
                <a:moveTo>
                  <a:pt x="5212" y="1949"/>
                </a:moveTo>
                <a:lnTo>
                  <a:pt x="5209" y="1947"/>
                </a:lnTo>
                <a:lnTo>
                  <a:pt x="5208" y="1949"/>
                </a:lnTo>
                <a:lnTo>
                  <a:pt x="5211" y="1949"/>
                </a:lnTo>
                <a:lnTo>
                  <a:pt x="5212" y="1949"/>
                </a:lnTo>
                <a:close/>
                <a:moveTo>
                  <a:pt x="5223" y="1950"/>
                </a:moveTo>
                <a:lnTo>
                  <a:pt x="5224" y="1950"/>
                </a:lnTo>
                <a:lnTo>
                  <a:pt x="5224" y="1948"/>
                </a:lnTo>
                <a:lnTo>
                  <a:pt x="5224" y="1948"/>
                </a:lnTo>
                <a:lnTo>
                  <a:pt x="5223" y="1949"/>
                </a:lnTo>
                <a:lnTo>
                  <a:pt x="5223" y="1950"/>
                </a:lnTo>
                <a:close/>
                <a:moveTo>
                  <a:pt x="5208" y="1961"/>
                </a:moveTo>
                <a:lnTo>
                  <a:pt x="5208" y="1961"/>
                </a:lnTo>
                <a:lnTo>
                  <a:pt x="5208" y="1961"/>
                </a:lnTo>
                <a:lnTo>
                  <a:pt x="5209" y="1960"/>
                </a:lnTo>
                <a:lnTo>
                  <a:pt x="5208" y="1960"/>
                </a:lnTo>
                <a:lnTo>
                  <a:pt x="5208" y="1961"/>
                </a:lnTo>
                <a:close/>
                <a:moveTo>
                  <a:pt x="5223" y="1973"/>
                </a:moveTo>
                <a:lnTo>
                  <a:pt x="5224" y="1974"/>
                </a:lnTo>
                <a:lnTo>
                  <a:pt x="5224" y="1974"/>
                </a:lnTo>
                <a:lnTo>
                  <a:pt x="5224" y="1972"/>
                </a:lnTo>
                <a:lnTo>
                  <a:pt x="5223" y="1972"/>
                </a:lnTo>
                <a:lnTo>
                  <a:pt x="5223" y="1973"/>
                </a:lnTo>
                <a:close/>
                <a:moveTo>
                  <a:pt x="5217" y="853"/>
                </a:moveTo>
                <a:lnTo>
                  <a:pt x="5221" y="853"/>
                </a:lnTo>
                <a:lnTo>
                  <a:pt x="5219" y="853"/>
                </a:lnTo>
                <a:lnTo>
                  <a:pt x="5217" y="852"/>
                </a:lnTo>
                <a:lnTo>
                  <a:pt x="5208" y="846"/>
                </a:lnTo>
                <a:lnTo>
                  <a:pt x="5208" y="846"/>
                </a:lnTo>
                <a:lnTo>
                  <a:pt x="5208" y="847"/>
                </a:lnTo>
                <a:lnTo>
                  <a:pt x="5211" y="849"/>
                </a:lnTo>
                <a:lnTo>
                  <a:pt x="5217" y="853"/>
                </a:lnTo>
                <a:close/>
                <a:moveTo>
                  <a:pt x="5218" y="1939"/>
                </a:moveTo>
                <a:lnTo>
                  <a:pt x="5216" y="1941"/>
                </a:lnTo>
                <a:lnTo>
                  <a:pt x="5211" y="1943"/>
                </a:lnTo>
                <a:lnTo>
                  <a:pt x="5209" y="1944"/>
                </a:lnTo>
                <a:lnTo>
                  <a:pt x="5208" y="1946"/>
                </a:lnTo>
                <a:lnTo>
                  <a:pt x="5206" y="1945"/>
                </a:lnTo>
                <a:lnTo>
                  <a:pt x="5205" y="1945"/>
                </a:lnTo>
                <a:lnTo>
                  <a:pt x="5204" y="1948"/>
                </a:lnTo>
                <a:lnTo>
                  <a:pt x="5206" y="1949"/>
                </a:lnTo>
                <a:lnTo>
                  <a:pt x="5208" y="1951"/>
                </a:lnTo>
                <a:lnTo>
                  <a:pt x="5208" y="1949"/>
                </a:lnTo>
                <a:lnTo>
                  <a:pt x="5208" y="1949"/>
                </a:lnTo>
                <a:lnTo>
                  <a:pt x="5208" y="1949"/>
                </a:lnTo>
                <a:lnTo>
                  <a:pt x="5208" y="1948"/>
                </a:lnTo>
                <a:lnTo>
                  <a:pt x="5212" y="1946"/>
                </a:lnTo>
                <a:lnTo>
                  <a:pt x="5212" y="1948"/>
                </a:lnTo>
                <a:lnTo>
                  <a:pt x="5221" y="1946"/>
                </a:lnTo>
                <a:lnTo>
                  <a:pt x="5223" y="1943"/>
                </a:lnTo>
                <a:lnTo>
                  <a:pt x="5224" y="1941"/>
                </a:lnTo>
                <a:lnTo>
                  <a:pt x="5221" y="1943"/>
                </a:lnTo>
                <a:lnTo>
                  <a:pt x="5218" y="1945"/>
                </a:lnTo>
                <a:lnTo>
                  <a:pt x="5221" y="1942"/>
                </a:lnTo>
                <a:lnTo>
                  <a:pt x="5224" y="1938"/>
                </a:lnTo>
                <a:lnTo>
                  <a:pt x="5221" y="1939"/>
                </a:lnTo>
                <a:lnTo>
                  <a:pt x="5218" y="1939"/>
                </a:lnTo>
                <a:close/>
                <a:moveTo>
                  <a:pt x="5207" y="840"/>
                </a:moveTo>
                <a:lnTo>
                  <a:pt x="5208" y="840"/>
                </a:lnTo>
                <a:lnTo>
                  <a:pt x="5206" y="839"/>
                </a:lnTo>
                <a:lnTo>
                  <a:pt x="5204" y="838"/>
                </a:lnTo>
                <a:lnTo>
                  <a:pt x="5205" y="839"/>
                </a:lnTo>
                <a:lnTo>
                  <a:pt x="5207" y="840"/>
                </a:lnTo>
                <a:close/>
                <a:moveTo>
                  <a:pt x="5169" y="830"/>
                </a:moveTo>
                <a:lnTo>
                  <a:pt x="5169" y="830"/>
                </a:lnTo>
                <a:lnTo>
                  <a:pt x="5169" y="831"/>
                </a:lnTo>
                <a:lnTo>
                  <a:pt x="5170" y="831"/>
                </a:lnTo>
                <a:lnTo>
                  <a:pt x="5169" y="830"/>
                </a:lnTo>
                <a:close/>
                <a:moveTo>
                  <a:pt x="5151" y="2269"/>
                </a:moveTo>
                <a:lnTo>
                  <a:pt x="5154" y="2269"/>
                </a:lnTo>
                <a:lnTo>
                  <a:pt x="5155" y="2267"/>
                </a:lnTo>
                <a:lnTo>
                  <a:pt x="5151" y="2269"/>
                </a:lnTo>
                <a:close/>
                <a:moveTo>
                  <a:pt x="5121" y="1663"/>
                </a:moveTo>
                <a:lnTo>
                  <a:pt x="5121" y="1663"/>
                </a:lnTo>
                <a:lnTo>
                  <a:pt x="5121" y="1665"/>
                </a:lnTo>
                <a:lnTo>
                  <a:pt x="5122" y="1667"/>
                </a:lnTo>
                <a:lnTo>
                  <a:pt x="5122" y="1667"/>
                </a:lnTo>
                <a:lnTo>
                  <a:pt x="5122" y="1665"/>
                </a:lnTo>
                <a:lnTo>
                  <a:pt x="5121" y="1664"/>
                </a:lnTo>
                <a:lnTo>
                  <a:pt x="5121" y="1663"/>
                </a:lnTo>
                <a:close/>
                <a:moveTo>
                  <a:pt x="5129" y="2236"/>
                </a:moveTo>
                <a:lnTo>
                  <a:pt x="5129" y="2236"/>
                </a:lnTo>
                <a:lnTo>
                  <a:pt x="5129" y="2236"/>
                </a:lnTo>
                <a:lnTo>
                  <a:pt x="5129" y="2236"/>
                </a:lnTo>
                <a:lnTo>
                  <a:pt x="5129" y="2236"/>
                </a:lnTo>
                <a:close/>
                <a:moveTo>
                  <a:pt x="5189" y="841"/>
                </a:moveTo>
                <a:lnTo>
                  <a:pt x="5190" y="841"/>
                </a:lnTo>
                <a:lnTo>
                  <a:pt x="5191" y="840"/>
                </a:lnTo>
                <a:lnTo>
                  <a:pt x="5193" y="840"/>
                </a:lnTo>
                <a:lnTo>
                  <a:pt x="5193" y="836"/>
                </a:lnTo>
                <a:lnTo>
                  <a:pt x="5192" y="836"/>
                </a:lnTo>
                <a:lnTo>
                  <a:pt x="5190" y="838"/>
                </a:lnTo>
                <a:lnTo>
                  <a:pt x="5188" y="840"/>
                </a:lnTo>
                <a:lnTo>
                  <a:pt x="5188" y="841"/>
                </a:lnTo>
                <a:lnTo>
                  <a:pt x="5189" y="841"/>
                </a:lnTo>
                <a:close/>
                <a:moveTo>
                  <a:pt x="5159" y="2262"/>
                </a:moveTo>
                <a:lnTo>
                  <a:pt x="5159" y="2258"/>
                </a:lnTo>
                <a:lnTo>
                  <a:pt x="5158" y="2257"/>
                </a:lnTo>
                <a:lnTo>
                  <a:pt x="5156" y="2256"/>
                </a:lnTo>
                <a:lnTo>
                  <a:pt x="5156" y="2256"/>
                </a:lnTo>
                <a:lnTo>
                  <a:pt x="5156" y="2259"/>
                </a:lnTo>
                <a:lnTo>
                  <a:pt x="5158" y="2260"/>
                </a:lnTo>
                <a:lnTo>
                  <a:pt x="5159" y="2262"/>
                </a:lnTo>
                <a:lnTo>
                  <a:pt x="5159" y="2262"/>
                </a:lnTo>
                <a:close/>
                <a:moveTo>
                  <a:pt x="5221" y="838"/>
                </a:moveTo>
                <a:lnTo>
                  <a:pt x="5222" y="839"/>
                </a:lnTo>
                <a:lnTo>
                  <a:pt x="5222" y="840"/>
                </a:lnTo>
                <a:lnTo>
                  <a:pt x="5223" y="839"/>
                </a:lnTo>
                <a:lnTo>
                  <a:pt x="5224" y="838"/>
                </a:lnTo>
                <a:lnTo>
                  <a:pt x="5222" y="838"/>
                </a:lnTo>
                <a:lnTo>
                  <a:pt x="5221" y="838"/>
                </a:lnTo>
                <a:close/>
                <a:moveTo>
                  <a:pt x="5205" y="1960"/>
                </a:moveTo>
                <a:lnTo>
                  <a:pt x="5200" y="1953"/>
                </a:lnTo>
                <a:lnTo>
                  <a:pt x="5195" y="1955"/>
                </a:lnTo>
                <a:lnTo>
                  <a:pt x="5190" y="1957"/>
                </a:lnTo>
                <a:lnTo>
                  <a:pt x="5189" y="1959"/>
                </a:lnTo>
                <a:lnTo>
                  <a:pt x="5188" y="1960"/>
                </a:lnTo>
                <a:lnTo>
                  <a:pt x="5188" y="1961"/>
                </a:lnTo>
                <a:lnTo>
                  <a:pt x="5186" y="1962"/>
                </a:lnTo>
                <a:lnTo>
                  <a:pt x="5185" y="1964"/>
                </a:lnTo>
                <a:lnTo>
                  <a:pt x="5187" y="1967"/>
                </a:lnTo>
                <a:lnTo>
                  <a:pt x="5191" y="1968"/>
                </a:lnTo>
                <a:lnTo>
                  <a:pt x="5194" y="1969"/>
                </a:lnTo>
                <a:lnTo>
                  <a:pt x="5200" y="1969"/>
                </a:lnTo>
                <a:lnTo>
                  <a:pt x="5204" y="1967"/>
                </a:lnTo>
                <a:lnTo>
                  <a:pt x="5208" y="1965"/>
                </a:lnTo>
                <a:lnTo>
                  <a:pt x="5206" y="1963"/>
                </a:lnTo>
                <a:lnTo>
                  <a:pt x="5205" y="1960"/>
                </a:lnTo>
                <a:close/>
                <a:moveTo>
                  <a:pt x="5196" y="1982"/>
                </a:moveTo>
                <a:lnTo>
                  <a:pt x="5197" y="1982"/>
                </a:lnTo>
                <a:lnTo>
                  <a:pt x="5200" y="1981"/>
                </a:lnTo>
                <a:lnTo>
                  <a:pt x="5204" y="1979"/>
                </a:lnTo>
                <a:lnTo>
                  <a:pt x="5201" y="1979"/>
                </a:lnTo>
                <a:lnTo>
                  <a:pt x="5196" y="1982"/>
                </a:lnTo>
                <a:close/>
                <a:moveTo>
                  <a:pt x="5122" y="1676"/>
                </a:moveTo>
                <a:lnTo>
                  <a:pt x="5122" y="1678"/>
                </a:lnTo>
                <a:lnTo>
                  <a:pt x="5122" y="1679"/>
                </a:lnTo>
                <a:lnTo>
                  <a:pt x="5125" y="1678"/>
                </a:lnTo>
                <a:lnTo>
                  <a:pt x="5122" y="1676"/>
                </a:lnTo>
                <a:lnTo>
                  <a:pt x="5122" y="1676"/>
                </a:lnTo>
                <a:close/>
                <a:moveTo>
                  <a:pt x="4939" y="657"/>
                </a:moveTo>
                <a:lnTo>
                  <a:pt x="4939" y="657"/>
                </a:lnTo>
                <a:lnTo>
                  <a:pt x="4939" y="657"/>
                </a:lnTo>
                <a:lnTo>
                  <a:pt x="4939" y="657"/>
                </a:lnTo>
                <a:lnTo>
                  <a:pt x="4939" y="657"/>
                </a:lnTo>
                <a:close/>
                <a:moveTo>
                  <a:pt x="4887" y="861"/>
                </a:moveTo>
                <a:lnTo>
                  <a:pt x="4887" y="861"/>
                </a:lnTo>
                <a:lnTo>
                  <a:pt x="4887" y="861"/>
                </a:lnTo>
                <a:lnTo>
                  <a:pt x="4887" y="861"/>
                </a:lnTo>
                <a:close/>
                <a:moveTo>
                  <a:pt x="5204" y="565"/>
                </a:moveTo>
                <a:lnTo>
                  <a:pt x="5204" y="565"/>
                </a:lnTo>
                <a:lnTo>
                  <a:pt x="5205" y="564"/>
                </a:lnTo>
                <a:lnTo>
                  <a:pt x="5204" y="565"/>
                </a:lnTo>
                <a:lnTo>
                  <a:pt x="5204" y="565"/>
                </a:lnTo>
                <a:close/>
                <a:moveTo>
                  <a:pt x="4887" y="861"/>
                </a:moveTo>
                <a:lnTo>
                  <a:pt x="4887" y="860"/>
                </a:lnTo>
                <a:lnTo>
                  <a:pt x="4887" y="860"/>
                </a:lnTo>
                <a:lnTo>
                  <a:pt x="4886" y="861"/>
                </a:lnTo>
                <a:lnTo>
                  <a:pt x="4887" y="861"/>
                </a:lnTo>
                <a:close/>
                <a:moveTo>
                  <a:pt x="4613" y="804"/>
                </a:moveTo>
                <a:lnTo>
                  <a:pt x="4611" y="803"/>
                </a:lnTo>
                <a:lnTo>
                  <a:pt x="4610" y="802"/>
                </a:lnTo>
                <a:lnTo>
                  <a:pt x="4609" y="804"/>
                </a:lnTo>
                <a:lnTo>
                  <a:pt x="4610" y="804"/>
                </a:lnTo>
                <a:lnTo>
                  <a:pt x="4613" y="804"/>
                </a:lnTo>
                <a:close/>
                <a:moveTo>
                  <a:pt x="4625" y="795"/>
                </a:moveTo>
                <a:lnTo>
                  <a:pt x="4624" y="796"/>
                </a:lnTo>
                <a:lnTo>
                  <a:pt x="4626" y="796"/>
                </a:lnTo>
                <a:lnTo>
                  <a:pt x="4626" y="795"/>
                </a:lnTo>
                <a:lnTo>
                  <a:pt x="4626" y="795"/>
                </a:lnTo>
                <a:lnTo>
                  <a:pt x="4626" y="795"/>
                </a:lnTo>
                <a:lnTo>
                  <a:pt x="4625" y="795"/>
                </a:lnTo>
                <a:close/>
                <a:moveTo>
                  <a:pt x="4682" y="806"/>
                </a:moveTo>
                <a:lnTo>
                  <a:pt x="4682" y="806"/>
                </a:lnTo>
                <a:lnTo>
                  <a:pt x="4682" y="806"/>
                </a:lnTo>
                <a:lnTo>
                  <a:pt x="4682" y="806"/>
                </a:lnTo>
                <a:lnTo>
                  <a:pt x="4682" y="806"/>
                </a:lnTo>
                <a:lnTo>
                  <a:pt x="4682" y="806"/>
                </a:lnTo>
                <a:close/>
                <a:moveTo>
                  <a:pt x="4676" y="808"/>
                </a:moveTo>
                <a:lnTo>
                  <a:pt x="4674" y="808"/>
                </a:lnTo>
                <a:lnTo>
                  <a:pt x="4674" y="810"/>
                </a:lnTo>
                <a:lnTo>
                  <a:pt x="4676" y="808"/>
                </a:lnTo>
                <a:lnTo>
                  <a:pt x="4676" y="808"/>
                </a:lnTo>
                <a:close/>
                <a:moveTo>
                  <a:pt x="4624" y="800"/>
                </a:moveTo>
                <a:lnTo>
                  <a:pt x="4624" y="800"/>
                </a:lnTo>
                <a:lnTo>
                  <a:pt x="4622" y="800"/>
                </a:lnTo>
                <a:lnTo>
                  <a:pt x="4622" y="801"/>
                </a:lnTo>
                <a:lnTo>
                  <a:pt x="4623" y="801"/>
                </a:lnTo>
                <a:lnTo>
                  <a:pt x="4624" y="800"/>
                </a:lnTo>
                <a:close/>
                <a:moveTo>
                  <a:pt x="5208" y="587"/>
                </a:moveTo>
                <a:lnTo>
                  <a:pt x="5208" y="587"/>
                </a:lnTo>
                <a:lnTo>
                  <a:pt x="5208" y="588"/>
                </a:lnTo>
                <a:lnTo>
                  <a:pt x="5208" y="588"/>
                </a:lnTo>
                <a:lnTo>
                  <a:pt x="5208" y="587"/>
                </a:lnTo>
                <a:close/>
                <a:moveTo>
                  <a:pt x="5208" y="588"/>
                </a:moveTo>
                <a:lnTo>
                  <a:pt x="5208" y="588"/>
                </a:lnTo>
                <a:lnTo>
                  <a:pt x="5208" y="591"/>
                </a:lnTo>
                <a:lnTo>
                  <a:pt x="5208" y="589"/>
                </a:lnTo>
                <a:lnTo>
                  <a:pt x="5208" y="588"/>
                </a:lnTo>
                <a:close/>
                <a:moveTo>
                  <a:pt x="5174" y="561"/>
                </a:moveTo>
                <a:lnTo>
                  <a:pt x="5174" y="561"/>
                </a:lnTo>
                <a:lnTo>
                  <a:pt x="5174" y="561"/>
                </a:lnTo>
                <a:lnTo>
                  <a:pt x="5174" y="561"/>
                </a:lnTo>
                <a:close/>
                <a:moveTo>
                  <a:pt x="4935" y="816"/>
                </a:moveTo>
                <a:lnTo>
                  <a:pt x="4935" y="816"/>
                </a:lnTo>
                <a:lnTo>
                  <a:pt x="4935" y="816"/>
                </a:lnTo>
                <a:lnTo>
                  <a:pt x="4935" y="816"/>
                </a:lnTo>
                <a:close/>
                <a:moveTo>
                  <a:pt x="5211" y="595"/>
                </a:moveTo>
                <a:lnTo>
                  <a:pt x="5211" y="595"/>
                </a:lnTo>
                <a:lnTo>
                  <a:pt x="5210" y="594"/>
                </a:lnTo>
                <a:lnTo>
                  <a:pt x="5211" y="595"/>
                </a:lnTo>
                <a:lnTo>
                  <a:pt x="5211" y="595"/>
                </a:lnTo>
                <a:close/>
                <a:moveTo>
                  <a:pt x="4981" y="740"/>
                </a:moveTo>
                <a:lnTo>
                  <a:pt x="4981" y="740"/>
                </a:lnTo>
                <a:lnTo>
                  <a:pt x="4981" y="740"/>
                </a:lnTo>
                <a:lnTo>
                  <a:pt x="4981" y="740"/>
                </a:lnTo>
                <a:lnTo>
                  <a:pt x="4981" y="740"/>
                </a:lnTo>
                <a:close/>
                <a:moveTo>
                  <a:pt x="5024" y="676"/>
                </a:moveTo>
                <a:lnTo>
                  <a:pt x="5024" y="676"/>
                </a:lnTo>
                <a:lnTo>
                  <a:pt x="5024" y="676"/>
                </a:lnTo>
                <a:lnTo>
                  <a:pt x="5024" y="676"/>
                </a:lnTo>
                <a:lnTo>
                  <a:pt x="5024" y="676"/>
                </a:lnTo>
                <a:close/>
                <a:moveTo>
                  <a:pt x="5111" y="652"/>
                </a:moveTo>
                <a:lnTo>
                  <a:pt x="5111" y="652"/>
                </a:lnTo>
                <a:lnTo>
                  <a:pt x="5111" y="652"/>
                </a:lnTo>
                <a:lnTo>
                  <a:pt x="5111" y="652"/>
                </a:lnTo>
                <a:lnTo>
                  <a:pt x="5111" y="652"/>
                </a:lnTo>
                <a:close/>
                <a:moveTo>
                  <a:pt x="5136" y="2340"/>
                </a:moveTo>
                <a:lnTo>
                  <a:pt x="5137" y="2339"/>
                </a:lnTo>
                <a:lnTo>
                  <a:pt x="5136" y="2339"/>
                </a:lnTo>
                <a:lnTo>
                  <a:pt x="5136" y="2339"/>
                </a:lnTo>
                <a:lnTo>
                  <a:pt x="5136" y="2340"/>
                </a:lnTo>
                <a:close/>
                <a:moveTo>
                  <a:pt x="5036" y="2420"/>
                </a:moveTo>
                <a:lnTo>
                  <a:pt x="5036" y="2417"/>
                </a:lnTo>
                <a:lnTo>
                  <a:pt x="5033" y="2419"/>
                </a:lnTo>
                <a:lnTo>
                  <a:pt x="5036" y="2420"/>
                </a:lnTo>
                <a:close/>
                <a:moveTo>
                  <a:pt x="5067" y="2560"/>
                </a:moveTo>
                <a:lnTo>
                  <a:pt x="5067" y="2557"/>
                </a:lnTo>
                <a:lnTo>
                  <a:pt x="5067" y="2557"/>
                </a:lnTo>
                <a:lnTo>
                  <a:pt x="5065" y="2560"/>
                </a:lnTo>
                <a:lnTo>
                  <a:pt x="5067" y="2560"/>
                </a:lnTo>
                <a:close/>
                <a:moveTo>
                  <a:pt x="5055" y="2443"/>
                </a:moveTo>
                <a:lnTo>
                  <a:pt x="5056" y="2444"/>
                </a:lnTo>
                <a:lnTo>
                  <a:pt x="5056" y="2445"/>
                </a:lnTo>
                <a:lnTo>
                  <a:pt x="5056" y="2443"/>
                </a:lnTo>
                <a:lnTo>
                  <a:pt x="5055" y="2443"/>
                </a:lnTo>
                <a:close/>
                <a:moveTo>
                  <a:pt x="5134" y="2343"/>
                </a:moveTo>
                <a:lnTo>
                  <a:pt x="5134" y="2343"/>
                </a:lnTo>
                <a:lnTo>
                  <a:pt x="5134" y="2343"/>
                </a:lnTo>
                <a:lnTo>
                  <a:pt x="5134" y="2343"/>
                </a:lnTo>
                <a:lnTo>
                  <a:pt x="5132" y="2343"/>
                </a:lnTo>
                <a:lnTo>
                  <a:pt x="5132" y="2344"/>
                </a:lnTo>
                <a:lnTo>
                  <a:pt x="5134" y="2343"/>
                </a:lnTo>
                <a:lnTo>
                  <a:pt x="5134" y="2343"/>
                </a:lnTo>
                <a:close/>
                <a:moveTo>
                  <a:pt x="5136" y="2340"/>
                </a:moveTo>
                <a:lnTo>
                  <a:pt x="5136" y="2341"/>
                </a:lnTo>
                <a:lnTo>
                  <a:pt x="5136" y="2339"/>
                </a:lnTo>
                <a:lnTo>
                  <a:pt x="5136" y="2339"/>
                </a:lnTo>
                <a:lnTo>
                  <a:pt x="5136" y="2339"/>
                </a:lnTo>
                <a:lnTo>
                  <a:pt x="5136" y="2339"/>
                </a:lnTo>
                <a:lnTo>
                  <a:pt x="5137" y="2335"/>
                </a:lnTo>
                <a:lnTo>
                  <a:pt x="5137" y="2335"/>
                </a:lnTo>
                <a:lnTo>
                  <a:pt x="5137" y="2335"/>
                </a:lnTo>
                <a:lnTo>
                  <a:pt x="5132" y="2339"/>
                </a:lnTo>
                <a:lnTo>
                  <a:pt x="5132" y="2343"/>
                </a:lnTo>
                <a:lnTo>
                  <a:pt x="5134" y="2343"/>
                </a:lnTo>
                <a:lnTo>
                  <a:pt x="5136" y="2343"/>
                </a:lnTo>
                <a:lnTo>
                  <a:pt x="5136" y="2340"/>
                </a:lnTo>
                <a:close/>
                <a:moveTo>
                  <a:pt x="5047" y="2447"/>
                </a:moveTo>
                <a:lnTo>
                  <a:pt x="5048" y="2449"/>
                </a:lnTo>
                <a:lnTo>
                  <a:pt x="5044" y="2459"/>
                </a:lnTo>
                <a:lnTo>
                  <a:pt x="5045" y="2459"/>
                </a:lnTo>
                <a:lnTo>
                  <a:pt x="5046" y="2456"/>
                </a:lnTo>
                <a:lnTo>
                  <a:pt x="5047" y="2454"/>
                </a:lnTo>
                <a:lnTo>
                  <a:pt x="5048" y="2456"/>
                </a:lnTo>
                <a:lnTo>
                  <a:pt x="5052" y="2453"/>
                </a:lnTo>
                <a:lnTo>
                  <a:pt x="5052" y="2451"/>
                </a:lnTo>
                <a:lnTo>
                  <a:pt x="5052" y="2451"/>
                </a:lnTo>
                <a:lnTo>
                  <a:pt x="5052" y="2450"/>
                </a:lnTo>
                <a:lnTo>
                  <a:pt x="5053" y="2449"/>
                </a:lnTo>
                <a:lnTo>
                  <a:pt x="5051" y="2447"/>
                </a:lnTo>
                <a:lnTo>
                  <a:pt x="5047" y="2447"/>
                </a:lnTo>
                <a:close/>
                <a:moveTo>
                  <a:pt x="5036" y="2417"/>
                </a:moveTo>
                <a:lnTo>
                  <a:pt x="5036" y="2417"/>
                </a:lnTo>
                <a:lnTo>
                  <a:pt x="5036" y="2417"/>
                </a:lnTo>
                <a:lnTo>
                  <a:pt x="5036" y="2417"/>
                </a:lnTo>
                <a:close/>
                <a:moveTo>
                  <a:pt x="4697" y="897"/>
                </a:moveTo>
                <a:lnTo>
                  <a:pt x="4690" y="897"/>
                </a:lnTo>
                <a:lnTo>
                  <a:pt x="4690" y="897"/>
                </a:lnTo>
                <a:lnTo>
                  <a:pt x="4697" y="897"/>
                </a:lnTo>
                <a:close/>
                <a:moveTo>
                  <a:pt x="5056" y="2445"/>
                </a:moveTo>
                <a:lnTo>
                  <a:pt x="5056" y="2445"/>
                </a:lnTo>
                <a:lnTo>
                  <a:pt x="5056" y="2445"/>
                </a:lnTo>
                <a:lnTo>
                  <a:pt x="5056" y="2445"/>
                </a:lnTo>
                <a:lnTo>
                  <a:pt x="5056" y="2445"/>
                </a:lnTo>
                <a:close/>
                <a:moveTo>
                  <a:pt x="5020" y="1857"/>
                </a:moveTo>
                <a:lnTo>
                  <a:pt x="5025" y="1853"/>
                </a:lnTo>
                <a:lnTo>
                  <a:pt x="5018" y="1856"/>
                </a:lnTo>
                <a:lnTo>
                  <a:pt x="5020" y="1857"/>
                </a:lnTo>
                <a:close/>
                <a:moveTo>
                  <a:pt x="5031" y="2008"/>
                </a:moveTo>
                <a:lnTo>
                  <a:pt x="5032" y="2006"/>
                </a:lnTo>
                <a:lnTo>
                  <a:pt x="5032" y="2003"/>
                </a:lnTo>
                <a:lnTo>
                  <a:pt x="5032" y="2003"/>
                </a:lnTo>
                <a:lnTo>
                  <a:pt x="5031" y="2006"/>
                </a:lnTo>
                <a:lnTo>
                  <a:pt x="5030" y="2009"/>
                </a:lnTo>
                <a:lnTo>
                  <a:pt x="5031" y="2008"/>
                </a:lnTo>
                <a:close/>
                <a:moveTo>
                  <a:pt x="5024" y="776"/>
                </a:moveTo>
                <a:lnTo>
                  <a:pt x="5024" y="776"/>
                </a:lnTo>
                <a:lnTo>
                  <a:pt x="5021" y="776"/>
                </a:lnTo>
                <a:lnTo>
                  <a:pt x="5027" y="785"/>
                </a:lnTo>
                <a:lnTo>
                  <a:pt x="5029" y="785"/>
                </a:lnTo>
                <a:lnTo>
                  <a:pt x="5032" y="786"/>
                </a:lnTo>
                <a:lnTo>
                  <a:pt x="5032" y="783"/>
                </a:lnTo>
                <a:lnTo>
                  <a:pt x="5028" y="779"/>
                </a:lnTo>
                <a:lnTo>
                  <a:pt x="5024" y="776"/>
                </a:lnTo>
                <a:close/>
                <a:moveTo>
                  <a:pt x="5041" y="1929"/>
                </a:moveTo>
                <a:lnTo>
                  <a:pt x="5038" y="1929"/>
                </a:lnTo>
                <a:lnTo>
                  <a:pt x="5041" y="1930"/>
                </a:lnTo>
                <a:lnTo>
                  <a:pt x="5041" y="1929"/>
                </a:lnTo>
                <a:close/>
                <a:moveTo>
                  <a:pt x="5048" y="2457"/>
                </a:moveTo>
                <a:lnTo>
                  <a:pt x="5048" y="2457"/>
                </a:lnTo>
                <a:lnTo>
                  <a:pt x="5048" y="2457"/>
                </a:lnTo>
                <a:lnTo>
                  <a:pt x="5048" y="2457"/>
                </a:lnTo>
                <a:close/>
                <a:moveTo>
                  <a:pt x="5026" y="2519"/>
                </a:moveTo>
                <a:lnTo>
                  <a:pt x="5023" y="2519"/>
                </a:lnTo>
                <a:lnTo>
                  <a:pt x="5023" y="2521"/>
                </a:lnTo>
                <a:lnTo>
                  <a:pt x="5020" y="2525"/>
                </a:lnTo>
                <a:lnTo>
                  <a:pt x="5025" y="2526"/>
                </a:lnTo>
                <a:lnTo>
                  <a:pt x="5023" y="2522"/>
                </a:lnTo>
                <a:lnTo>
                  <a:pt x="5024" y="2521"/>
                </a:lnTo>
                <a:lnTo>
                  <a:pt x="5026" y="2519"/>
                </a:lnTo>
                <a:close/>
                <a:moveTo>
                  <a:pt x="5048" y="2457"/>
                </a:moveTo>
                <a:lnTo>
                  <a:pt x="5048" y="2456"/>
                </a:lnTo>
                <a:lnTo>
                  <a:pt x="5047" y="2457"/>
                </a:lnTo>
                <a:lnTo>
                  <a:pt x="5048" y="2457"/>
                </a:lnTo>
                <a:close/>
                <a:moveTo>
                  <a:pt x="5047" y="2459"/>
                </a:moveTo>
                <a:lnTo>
                  <a:pt x="5045" y="2459"/>
                </a:lnTo>
                <a:lnTo>
                  <a:pt x="5045" y="2459"/>
                </a:lnTo>
                <a:lnTo>
                  <a:pt x="5047" y="2459"/>
                </a:lnTo>
                <a:close/>
                <a:moveTo>
                  <a:pt x="5137" y="831"/>
                </a:moveTo>
                <a:lnTo>
                  <a:pt x="5137" y="827"/>
                </a:lnTo>
                <a:lnTo>
                  <a:pt x="5132" y="830"/>
                </a:lnTo>
                <a:lnTo>
                  <a:pt x="5136" y="831"/>
                </a:lnTo>
                <a:lnTo>
                  <a:pt x="5137" y="831"/>
                </a:lnTo>
                <a:close/>
                <a:moveTo>
                  <a:pt x="5080" y="1999"/>
                </a:moveTo>
                <a:lnTo>
                  <a:pt x="5078" y="1998"/>
                </a:lnTo>
                <a:lnTo>
                  <a:pt x="5078" y="1998"/>
                </a:lnTo>
                <a:lnTo>
                  <a:pt x="5079" y="1999"/>
                </a:lnTo>
                <a:lnTo>
                  <a:pt x="5080" y="1999"/>
                </a:lnTo>
                <a:close/>
                <a:moveTo>
                  <a:pt x="5124" y="2239"/>
                </a:moveTo>
                <a:lnTo>
                  <a:pt x="5124" y="2239"/>
                </a:lnTo>
                <a:lnTo>
                  <a:pt x="5124" y="2238"/>
                </a:lnTo>
                <a:lnTo>
                  <a:pt x="5124" y="2239"/>
                </a:lnTo>
                <a:close/>
                <a:moveTo>
                  <a:pt x="5120" y="2231"/>
                </a:moveTo>
                <a:lnTo>
                  <a:pt x="5120" y="2230"/>
                </a:lnTo>
                <a:lnTo>
                  <a:pt x="5118" y="2230"/>
                </a:lnTo>
                <a:lnTo>
                  <a:pt x="5124" y="2238"/>
                </a:lnTo>
                <a:lnTo>
                  <a:pt x="5124" y="2236"/>
                </a:lnTo>
                <a:lnTo>
                  <a:pt x="5120" y="2231"/>
                </a:lnTo>
                <a:close/>
                <a:moveTo>
                  <a:pt x="5144" y="2274"/>
                </a:moveTo>
                <a:lnTo>
                  <a:pt x="5144" y="2275"/>
                </a:lnTo>
                <a:lnTo>
                  <a:pt x="5145" y="2275"/>
                </a:lnTo>
                <a:lnTo>
                  <a:pt x="5145" y="2274"/>
                </a:lnTo>
                <a:lnTo>
                  <a:pt x="5144" y="2274"/>
                </a:lnTo>
                <a:close/>
                <a:moveTo>
                  <a:pt x="5139" y="2242"/>
                </a:moveTo>
                <a:lnTo>
                  <a:pt x="5138" y="2242"/>
                </a:lnTo>
                <a:lnTo>
                  <a:pt x="5140" y="2242"/>
                </a:lnTo>
                <a:lnTo>
                  <a:pt x="5139" y="2242"/>
                </a:lnTo>
                <a:close/>
                <a:moveTo>
                  <a:pt x="5136" y="2343"/>
                </a:moveTo>
                <a:lnTo>
                  <a:pt x="5136" y="2343"/>
                </a:lnTo>
                <a:lnTo>
                  <a:pt x="5136" y="2343"/>
                </a:lnTo>
                <a:lnTo>
                  <a:pt x="5136" y="2343"/>
                </a:lnTo>
                <a:close/>
                <a:moveTo>
                  <a:pt x="5129" y="820"/>
                </a:moveTo>
                <a:lnTo>
                  <a:pt x="5124" y="820"/>
                </a:lnTo>
                <a:lnTo>
                  <a:pt x="5124" y="822"/>
                </a:lnTo>
                <a:lnTo>
                  <a:pt x="5125" y="824"/>
                </a:lnTo>
                <a:lnTo>
                  <a:pt x="5133" y="820"/>
                </a:lnTo>
                <a:lnTo>
                  <a:pt x="5131" y="820"/>
                </a:lnTo>
                <a:lnTo>
                  <a:pt x="5129" y="820"/>
                </a:lnTo>
                <a:close/>
                <a:moveTo>
                  <a:pt x="5201" y="2283"/>
                </a:moveTo>
                <a:lnTo>
                  <a:pt x="5202" y="2285"/>
                </a:lnTo>
                <a:lnTo>
                  <a:pt x="5199" y="2287"/>
                </a:lnTo>
                <a:lnTo>
                  <a:pt x="5196" y="2290"/>
                </a:lnTo>
                <a:lnTo>
                  <a:pt x="5196" y="2298"/>
                </a:lnTo>
                <a:lnTo>
                  <a:pt x="5196" y="2300"/>
                </a:lnTo>
                <a:lnTo>
                  <a:pt x="5196" y="2302"/>
                </a:lnTo>
                <a:lnTo>
                  <a:pt x="5195" y="2302"/>
                </a:lnTo>
                <a:lnTo>
                  <a:pt x="5194" y="2306"/>
                </a:lnTo>
                <a:lnTo>
                  <a:pt x="5193" y="2310"/>
                </a:lnTo>
                <a:lnTo>
                  <a:pt x="5192" y="2310"/>
                </a:lnTo>
                <a:lnTo>
                  <a:pt x="5190" y="2310"/>
                </a:lnTo>
                <a:lnTo>
                  <a:pt x="5182" y="2310"/>
                </a:lnTo>
                <a:lnTo>
                  <a:pt x="5180" y="2312"/>
                </a:lnTo>
                <a:lnTo>
                  <a:pt x="5178" y="2317"/>
                </a:lnTo>
                <a:lnTo>
                  <a:pt x="5180" y="2319"/>
                </a:lnTo>
                <a:lnTo>
                  <a:pt x="5181" y="2323"/>
                </a:lnTo>
                <a:lnTo>
                  <a:pt x="5182" y="2323"/>
                </a:lnTo>
                <a:lnTo>
                  <a:pt x="5177" y="2330"/>
                </a:lnTo>
                <a:lnTo>
                  <a:pt x="5174" y="2333"/>
                </a:lnTo>
                <a:lnTo>
                  <a:pt x="5170" y="2337"/>
                </a:lnTo>
                <a:lnTo>
                  <a:pt x="5167" y="2347"/>
                </a:lnTo>
                <a:lnTo>
                  <a:pt x="5155" y="2355"/>
                </a:lnTo>
                <a:lnTo>
                  <a:pt x="5155" y="2355"/>
                </a:lnTo>
                <a:lnTo>
                  <a:pt x="5152" y="2355"/>
                </a:lnTo>
                <a:lnTo>
                  <a:pt x="5152" y="2351"/>
                </a:lnTo>
                <a:lnTo>
                  <a:pt x="5149" y="2351"/>
                </a:lnTo>
                <a:lnTo>
                  <a:pt x="5148" y="2351"/>
                </a:lnTo>
                <a:lnTo>
                  <a:pt x="5145" y="2351"/>
                </a:lnTo>
                <a:lnTo>
                  <a:pt x="5148" y="2347"/>
                </a:lnTo>
                <a:lnTo>
                  <a:pt x="5148" y="2346"/>
                </a:lnTo>
                <a:lnTo>
                  <a:pt x="5148" y="2347"/>
                </a:lnTo>
                <a:lnTo>
                  <a:pt x="5154" y="2338"/>
                </a:lnTo>
                <a:lnTo>
                  <a:pt x="5155" y="2331"/>
                </a:lnTo>
                <a:lnTo>
                  <a:pt x="5154" y="2327"/>
                </a:lnTo>
                <a:lnTo>
                  <a:pt x="5152" y="2325"/>
                </a:lnTo>
                <a:lnTo>
                  <a:pt x="5150" y="2324"/>
                </a:lnTo>
                <a:lnTo>
                  <a:pt x="5148" y="2323"/>
                </a:lnTo>
                <a:lnTo>
                  <a:pt x="5145" y="2322"/>
                </a:lnTo>
                <a:lnTo>
                  <a:pt x="5144" y="2321"/>
                </a:lnTo>
                <a:lnTo>
                  <a:pt x="5142" y="2320"/>
                </a:lnTo>
                <a:lnTo>
                  <a:pt x="5136" y="2317"/>
                </a:lnTo>
                <a:lnTo>
                  <a:pt x="5132" y="2311"/>
                </a:lnTo>
                <a:lnTo>
                  <a:pt x="5132" y="2309"/>
                </a:lnTo>
                <a:lnTo>
                  <a:pt x="5142" y="2308"/>
                </a:lnTo>
                <a:lnTo>
                  <a:pt x="5144" y="2306"/>
                </a:lnTo>
                <a:lnTo>
                  <a:pt x="5145" y="2304"/>
                </a:lnTo>
                <a:lnTo>
                  <a:pt x="5148" y="2294"/>
                </a:lnTo>
                <a:lnTo>
                  <a:pt x="5148" y="2294"/>
                </a:lnTo>
                <a:lnTo>
                  <a:pt x="5148" y="2288"/>
                </a:lnTo>
                <a:lnTo>
                  <a:pt x="5148" y="2286"/>
                </a:lnTo>
                <a:lnTo>
                  <a:pt x="5151" y="2286"/>
                </a:lnTo>
                <a:lnTo>
                  <a:pt x="5151" y="2286"/>
                </a:lnTo>
                <a:lnTo>
                  <a:pt x="5149" y="2282"/>
                </a:lnTo>
                <a:lnTo>
                  <a:pt x="5148" y="2279"/>
                </a:lnTo>
                <a:lnTo>
                  <a:pt x="5145" y="2275"/>
                </a:lnTo>
                <a:lnTo>
                  <a:pt x="5147" y="2274"/>
                </a:lnTo>
                <a:lnTo>
                  <a:pt x="5151" y="2274"/>
                </a:lnTo>
                <a:lnTo>
                  <a:pt x="5150" y="2272"/>
                </a:lnTo>
                <a:lnTo>
                  <a:pt x="5149" y="2270"/>
                </a:lnTo>
                <a:lnTo>
                  <a:pt x="5146" y="2272"/>
                </a:lnTo>
                <a:lnTo>
                  <a:pt x="5144" y="2274"/>
                </a:lnTo>
                <a:lnTo>
                  <a:pt x="5142" y="2270"/>
                </a:lnTo>
                <a:lnTo>
                  <a:pt x="5140" y="2267"/>
                </a:lnTo>
                <a:lnTo>
                  <a:pt x="5140" y="2267"/>
                </a:lnTo>
                <a:lnTo>
                  <a:pt x="5140" y="2262"/>
                </a:lnTo>
                <a:lnTo>
                  <a:pt x="5137" y="2263"/>
                </a:lnTo>
                <a:lnTo>
                  <a:pt x="5128" y="2247"/>
                </a:lnTo>
                <a:lnTo>
                  <a:pt x="5128" y="2247"/>
                </a:lnTo>
                <a:lnTo>
                  <a:pt x="5128" y="2247"/>
                </a:lnTo>
                <a:lnTo>
                  <a:pt x="5126" y="2245"/>
                </a:lnTo>
                <a:lnTo>
                  <a:pt x="5125" y="2242"/>
                </a:lnTo>
                <a:lnTo>
                  <a:pt x="5126" y="2242"/>
                </a:lnTo>
                <a:lnTo>
                  <a:pt x="5125" y="2241"/>
                </a:lnTo>
                <a:lnTo>
                  <a:pt x="5125" y="2240"/>
                </a:lnTo>
                <a:lnTo>
                  <a:pt x="5124" y="2239"/>
                </a:lnTo>
                <a:lnTo>
                  <a:pt x="5128" y="2236"/>
                </a:lnTo>
                <a:lnTo>
                  <a:pt x="5129" y="2237"/>
                </a:lnTo>
                <a:lnTo>
                  <a:pt x="5129" y="2239"/>
                </a:lnTo>
                <a:lnTo>
                  <a:pt x="5130" y="2242"/>
                </a:lnTo>
                <a:lnTo>
                  <a:pt x="5131" y="2242"/>
                </a:lnTo>
                <a:lnTo>
                  <a:pt x="5138" y="2242"/>
                </a:lnTo>
                <a:lnTo>
                  <a:pt x="5137" y="2243"/>
                </a:lnTo>
                <a:lnTo>
                  <a:pt x="5139" y="2244"/>
                </a:lnTo>
                <a:lnTo>
                  <a:pt x="5140" y="2245"/>
                </a:lnTo>
                <a:lnTo>
                  <a:pt x="5142" y="2244"/>
                </a:lnTo>
                <a:lnTo>
                  <a:pt x="5144" y="2243"/>
                </a:lnTo>
                <a:lnTo>
                  <a:pt x="5144" y="2243"/>
                </a:lnTo>
                <a:lnTo>
                  <a:pt x="5144" y="2243"/>
                </a:lnTo>
                <a:lnTo>
                  <a:pt x="5144" y="2245"/>
                </a:lnTo>
                <a:lnTo>
                  <a:pt x="5145" y="2247"/>
                </a:lnTo>
                <a:lnTo>
                  <a:pt x="5144" y="2249"/>
                </a:lnTo>
                <a:lnTo>
                  <a:pt x="5144" y="2251"/>
                </a:lnTo>
                <a:lnTo>
                  <a:pt x="5144" y="2252"/>
                </a:lnTo>
                <a:lnTo>
                  <a:pt x="5145" y="2254"/>
                </a:lnTo>
                <a:lnTo>
                  <a:pt x="5145" y="2254"/>
                </a:lnTo>
                <a:lnTo>
                  <a:pt x="5144" y="2255"/>
                </a:lnTo>
                <a:lnTo>
                  <a:pt x="5144" y="2256"/>
                </a:lnTo>
                <a:lnTo>
                  <a:pt x="5146" y="2257"/>
                </a:lnTo>
                <a:lnTo>
                  <a:pt x="5149" y="2259"/>
                </a:lnTo>
                <a:lnTo>
                  <a:pt x="5148" y="2264"/>
                </a:lnTo>
                <a:lnTo>
                  <a:pt x="5148" y="2269"/>
                </a:lnTo>
                <a:lnTo>
                  <a:pt x="5155" y="2273"/>
                </a:lnTo>
                <a:lnTo>
                  <a:pt x="5155" y="2275"/>
                </a:lnTo>
                <a:lnTo>
                  <a:pt x="5156" y="2276"/>
                </a:lnTo>
                <a:lnTo>
                  <a:pt x="5156" y="2273"/>
                </a:lnTo>
                <a:lnTo>
                  <a:pt x="5156" y="2272"/>
                </a:lnTo>
                <a:lnTo>
                  <a:pt x="5156" y="2270"/>
                </a:lnTo>
                <a:lnTo>
                  <a:pt x="5156" y="2267"/>
                </a:lnTo>
                <a:lnTo>
                  <a:pt x="5156" y="2266"/>
                </a:lnTo>
                <a:lnTo>
                  <a:pt x="5159" y="2266"/>
                </a:lnTo>
                <a:lnTo>
                  <a:pt x="5160" y="2268"/>
                </a:lnTo>
                <a:lnTo>
                  <a:pt x="5162" y="2270"/>
                </a:lnTo>
                <a:lnTo>
                  <a:pt x="5164" y="2270"/>
                </a:lnTo>
                <a:lnTo>
                  <a:pt x="5164" y="2277"/>
                </a:lnTo>
                <a:lnTo>
                  <a:pt x="5166" y="2281"/>
                </a:lnTo>
                <a:lnTo>
                  <a:pt x="5169" y="2286"/>
                </a:lnTo>
                <a:lnTo>
                  <a:pt x="5169" y="2286"/>
                </a:lnTo>
                <a:lnTo>
                  <a:pt x="5169" y="2286"/>
                </a:lnTo>
                <a:lnTo>
                  <a:pt x="5174" y="2287"/>
                </a:lnTo>
                <a:lnTo>
                  <a:pt x="5184" y="2290"/>
                </a:lnTo>
                <a:lnTo>
                  <a:pt x="5188" y="2288"/>
                </a:lnTo>
                <a:lnTo>
                  <a:pt x="5190" y="2286"/>
                </a:lnTo>
                <a:lnTo>
                  <a:pt x="5191" y="2285"/>
                </a:lnTo>
                <a:lnTo>
                  <a:pt x="5193" y="2283"/>
                </a:lnTo>
                <a:lnTo>
                  <a:pt x="5195" y="2282"/>
                </a:lnTo>
                <a:lnTo>
                  <a:pt x="5200" y="2282"/>
                </a:lnTo>
                <a:lnTo>
                  <a:pt x="5201" y="2283"/>
                </a:lnTo>
                <a:close/>
                <a:moveTo>
                  <a:pt x="5132" y="2245"/>
                </a:moveTo>
                <a:lnTo>
                  <a:pt x="5132" y="2244"/>
                </a:lnTo>
                <a:lnTo>
                  <a:pt x="5131" y="2243"/>
                </a:lnTo>
                <a:lnTo>
                  <a:pt x="5131" y="2245"/>
                </a:lnTo>
                <a:lnTo>
                  <a:pt x="5130" y="2245"/>
                </a:lnTo>
                <a:lnTo>
                  <a:pt x="5129" y="2247"/>
                </a:lnTo>
                <a:lnTo>
                  <a:pt x="5130" y="2246"/>
                </a:lnTo>
                <a:lnTo>
                  <a:pt x="5132" y="2245"/>
                </a:lnTo>
                <a:close/>
                <a:moveTo>
                  <a:pt x="5140" y="2254"/>
                </a:moveTo>
                <a:lnTo>
                  <a:pt x="5145" y="2254"/>
                </a:lnTo>
                <a:lnTo>
                  <a:pt x="5142" y="2253"/>
                </a:lnTo>
                <a:lnTo>
                  <a:pt x="5140" y="2251"/>
                </a:lnTo>
                <a:lnTo>
                  <a:pt x="5140" y="2254"/>
                </a:lnTo>
                <a:close/>
                <a:moveTo>
                  <a:pt x="5144" y="2258"/>
                </a:moveTo>
                <a:lnTo>
                  <a:pt x="5143" y="2259"/>
                </a:lnTo>
                <a:lnTo>
                  <a:pt x="5141" y="2259"/>
                </a:lnTo>
                <a:lnTo>
                  <a:pt x="5137" y="2258"/>
                </a:lnTo>
                <a:lnTo>
                  <a:pt x="5141" y="2262"/>
                </a:lnTo>
                <a:lnTo>
                  <a:pt x="5142" y="2261"/>
                </a:lnTo>
                <a:lnTo>
                  <a:pt x="5143" y="2260"/>
                </a:lnTo>
                <a:lnTo>
                  <a:pt x="5144" y="2259"/>
                </a:lnTo>
                <a:lnTo>
                  <a:pt x="5144" y="2258"/>
                </a:lnTo>
                <a:close/>
                <a:moveTo>
                  <a:pt x="5169" y="2286"/>
                </a:moveTo>
                <a:lnTo>
                  <a:pt x="5164" y="2282"/>
                </a:lnTo>
                <a:lnTo>
                  <a:pt x="5164" y="2284"/>
                </a:lnTo>
                <a:lnTo>
                  <a:pt x="5169" y="2286"/>
                </a:lnTo>
                <a:close/>
                <a:moveTo>
                  <a:pt x="5130" y="2236"/>
                </a:moveTo>
                <a:lnTo>
                  <a:pt x="5130" y="2235"/>
                </a:lnTo>
                <a:lnTo>
                  <a:pt x="5130" y="2235"/>
                </a:lnTo>
                <a:lnTo>
                  <a:pt x="5129" y="2235"/>
                </a:lnTo>
                <a:lnTo>
                  <a:pt x="5129" y="2236"/>
                </a:lnTo>
                <a:lnTo>
                  <a:pt x="5130" y="2236"/>
                </a:lnTo>
                <a:close/>
                <a:moveTo>
                  <a:pt x="5071" y="1987"/>
                </a:moveTo>
                <a:lnTo>
                  <a:pt x="5072" y="1989"/>
                </a:lnTo>
                <a:lnTo>
                  <a:pt x="5072" y="1990"/>
                </a:lnTo>
                <a:lnTo>
                  <a:pt x="5074" y="1987"/>
                </a:lnTo>
                <a:lnTo>
                  <a:pt x="5072" y="1986"/>
                </a:lnTo>
                <a:lnTo>
                  <a:pt x="5071" y="1986"/>
                </a:lnTo>
                <a:lnTo>
                  <a:pt x="5071" y="1987"/>
                </a:lnTo>
                <a:close/>
                <a:moveTo>
                  <a:pt x="5139" y="2347"/>
                </a:moveTo>
                <a:lnTo>
                  <a:pt x="5140" y="2347"/>
                </a:lnTo>
                <a:lnTo>
                  <a:pt x="5140" y="2347"/>
                </a:lnTo>
                <a:lnTo>
                  <a:pt x="5139" y="2347"/>
                </a:lnTo>
                <a:close/>
                <a:moveTo>
                  <a:pt x="5035" y="2428"/>
                </a:moveTo>
                <a:lnTo>
                  <a:pt x="5034" y="2428"/>
                </a:lnTo>
                <a:lnTo>
                  <a:pt x="5032" y="2427"/>
                </a:lnTo>
                <a:lnTo>
                  <a:pt x="5032" y="2429"/>
                </a:lnTo>
                <a:lnTo>
                  <a:pt x="5035" y="2428"/>
                </a:lnTo>
                <a:lnTo>
                  <a:pt x="5035" y="2428"/>
                </a:lnTo>
                <a:close/>
                <a:moveTo>
                  <a:pt x="5134" y="2348"/>
                </a:moveTo>
                <a:lnTo>
                  <a:pt x="5136" y="2343"/>
                </a:lnTo>
                <a:lnTo>
                  <a:pt x="5135" y="2343"/>
                </a:lnTo>
                <a:lnTo>
                  <a:pt x="5132" y="2345"/>
                </a:lnTo>
                <a:lnTo>
                  <a:pt x="5132" y="2344"/>
                </a:lnTo>
                <a:lnTo>
                  <a:pt x="5130" y="2345"/>
                </a:lnTo>
                <a:lnTo>
                  <a:pt x="5125" y="2349"/>
                </a:lnTo>
                <a:lnTo>
                  <a:pt x="5123" y="2339"/>
                </a:lnTo>
                <a:lnTo>
                  <a:pt x="5122" y="2339"/>
                </a:lnTo>
                <a:lnTo>
                  <a:pt x="5121" y="2340"/>
                </a:lnTo>
                <a:lnTo>
                  <a:pt x="5119" y="2338"/>
                </a:lnTo>
                <a:lnTo>
                  <a:pt x="5116" y="2337"/>
                </a:lnTo>
                <a:lnTo>
                  <a:pt x="5116" y="2335"/>
                </a:lnTo>
                <a:lnTo>
                  <a:pt x="5110" y="2340"/>
                </a:lnTo>
                <a:lnTo>
                  <a:pt x="5110" y="2345"/>
                </a:lnTo>
                <a:lnTo>
                  <a:pt x="5109" y="2350"/>
                </a:lnTo>
                <a:lnTo>
                  <a:pt x="5108" y="2353"/>
                </a:lnTo>
                <a:lnTo>
                  <a:pt x="5106" y="2355"/>
                </a:lnTo>
                <a:lnTo>
                  <a:pt x="5101" y="2357"/>
                </a:lnTo>
                <a:lnTo>
                  <a:pt x="5099" y="2364"/>
                </a:lnTo>
                <a:lnTo>
                  <a:pt x="5096" y="2371"/>
                </a:lnTo>
                <a:lnTo>
                  <a:pt x="5092" y="2377"/>
                </a:lnTo>
                <a:lnTo>
                  <a:pt x="5088" y="2379"/>
                </a:lnTo>
                <a:lnTo>
                  <a:pt x="5084" y="2381"/>
                </a:lnTo>
                <a:lnTo>
                  <a:pt x="5080" y="2385"/>
                </a:lnTo>
                <a:lnTo>
                  <a:pt x="5076" y="2389"/>
                </a:lnTo>
                <a:lnTo>
                  <a:pt x="5067" y="2392"/>
                </a:lnTo>
                <a:lnTo>
                  <a:pt x="5063" y="2396"/>
                </a:lnTo>
                <a:lnTo>
                  <a:pt x="5056" y="2397"/>
                </a:lnTo>
                <a:lnTo>
                  <a:pt x="5055" y="2400"/>
                </a:lnTo>
                <a:lnTo>
                  <a:pt x="5053" y="2402"/>
                </a:lnTo>
                <a:lnTo>
                  <a:pt x="5048" y="2407"/>
                </a:lnTo>
                <a:lnTo>
                  <a:pt x="5043" y="2411"/>
                </a:lnTo>
                <a:lnTo>
                  <a:pt x="5043" y="2413"/>
                </a:lnTo>
                <a:lnTo>
                  <a:pt x="5044" y="2415"/>
                </a:lnTo>
                <a:lnTo>
                  <a:pt x="5042" y="2413"/>
                </a:lnTo>
                <a:lnTo>
                  <a:pt x="5040" y="2412"/>
                </a:lnTo>
                <a:lnTo>
                  <a:pt x="5036" y="2417"/>
                </a:lnTo>
                <a:lnTo>
                  <a:pt x="5036" y="2417"/>
                </a:lnTo>
                <a:lnTo>
                  <a:pt x="5037" y="2418"/>
                </a:lnTo>
                <a:lnTo>
                  <a:pt x="5037" y="2420"/>
                </a:lnTo>
                <a:lnTo>
                  <a:pt x="5039" y="2423"/>
                </a:lnTo>
                <a:lnTo>
                  <a:pt x="5036" y="2421"/>
                </a:lnTo>
                <a:lnTo>
                  <a:pt x="5034" y="2419"/>
                </a:lnTo>
                <a:lnTo>
                  <a:pt x="5033" y="2419"/>
                </a:lnTo>
                <a:lnTo>
                  <a:pt x="5033" y="2419"/>
                </a:lnTo>
                <a:lnTo>
                  <a:pt x="5033" y="2422"/>
                </a:lnTo>
                <a:lnTo>
                  <a:pt x="5033" y="2425"/>
                </a:lnTo>
                <a:lnTo>
                  <a:pt x="5037" y="2425"/>
                </a:lnTo>
                <a:lnTo>
                  <a:pt x="5035" y="2428"/>
                </a:lnTo>
                <a:lnTo>
                  <a:pt x="5036" y="2428"/>
                </a:lnTo>
                <a:lnTo>
                  <a:pt x="5035" y="2428"/>
                </a:lnTo>
                <a:lnTo>
                  <a:pt x="5033" y="2431"/>
                </a:lnTo>
                <a:lnTo>
                  <a:pt x="5032" y="2431"/>
                </a:lnTo>
                <a:lnTo>
                  <a:pt x="5032" y="2429"/>
                </a:lnTo>
                <a:lnTo>
                  <a:pt x="5028" y="2430"/>
                </a:lnTo>
                <a:lnTo>
                  <a:pt x="5028" y="2433"/>
                </a:lnTo>
                <a:lnTo>
                  <a:pt x="5028" y="2435"/>
                </a:lnTo>
                <a:lnTo>
                  <a:pt x="5031" y="2435"/>
                </a:lnTo>
                <a:lnTo>
                  <a:pt x="5031" y="2435"/>
                </a:lnTo>
                <a:lnTo>
                  <a:pt x="5036" y="2432"/>
                </a:lnTo>
                <a:lnTo>
                  <a:pt x="5032" y="2439"/>
                </a:lnTo>
                <a:lnTo>
                  <a:pt x="5033" y="2439"/>
                </a:lnTo>
                <a:lnTo>
                  <a:pt x="5036" y="2438"/>
                </a:lnTo>
                <a:lnTo>
                  <a:pt x="5040" y="2438"/>
                </a:lnTo>
                <a:lnTo>
                  <a:pt x="5042" y="2439"/>
                </a:lnTo>
                <a:lnTo>
                  <a:pt x="5044" y="2439"/>
                </a:lnTo>
                <a:lnTo>
                  <a:pt x="5047" y="2439"/>
                </a:lnTo>
                <a:lnTo>
                  <a:pt x="5048" y="2443"/>
                </a:lnTo>
                <a:lnTo>
                  <a:pt x="5053" y="2440"/>
                </a:lnTo>
                <a:lnTo>
                  <a:pt x="5055" y="2441"/>
                </a:lnTo>
                <a:lnTo>
                  <a:pt x="5056" y="2441"/>
                </a:lnTo>
                <a:lnTo>
                  <a:pt x="5056" y="2442"/>
                </a:lnTo>
                <a:lnTo>
                  <a:pt x="5057" y="2445"/>
                </a:lnTo>
                <a:lnTo>
                  <a:pt x="5060" y="2442"/>
                </a:lnTo>
                <a:lnTo>
                  <a:pt x="5060" y="2447"/>
                </a:lnTo>
                <a:lnTo>
                  <a:pt x="5065" y="2447"/>
                </a:lnTo>
                <a:lnTo>
                  <a:pt x="5069" y="2446"/>
                </a:lnTo>
                <a:lnTo>
                  <a:pt x="5072" y="2445"/>
                </a:lnTo>
                <a:lnTo>
                  <a:pt x="5076" y="2441"/>
                </a:lnTo>
                <a:lnTo>
                  <a:pt x="5076" y="2440"/>
                </a:lnTo>
                <a:lnTo>
                  <a:pt x="5083" y="2437"/>
                </a:lnTo>
                <a:lnTo>
                  <a:pt x="5084" y="2435"/>
                </a:lnTo>
                <a:lnTo>
                  <a:pt x="5085" y="2434"/>
                </a:lnTo>
                <a:lnTo>
                  <a:pt x="5091" y="2431"/>
                </a:lnTo>
                <a:lnTo>
                  <a:pt x="5090" y="2428"/>
                </a:lnTo>
                <a:lnTo>
                  <a:pt x="5091" y="2423"/>
                </a:lnTo>
                <a:lnTo>
                  <a:pt x="5092" y="2421"/>
                </a:lnTo>
                <a:lnTo>
                  <a:pt x="5092" y="2419"/>
                </a:lnTo>
                <a:lnTo>
                  <a:pt x="5094" y="2416"/>
                </a:lnTo>
                <a:lnTo>
                  <a:pt x="5096" y="2414"/>
                </a:lnTo>
                <a:lnTo>
                  <a:pt x="5098" y="2403"/>
                </a:lnTo>
                <a:lnTo>
                  <a:pt x="5100" y="2402"/>
                </a:lnTo>
                <a:lnTo>
                  <a:pt x="5101" y="2400"/>
                </a:lnTo>
                <a:lnTo>
                  <a:pt x="5114" y="2394"/>
                </a:lnTo>
                <a:lnTo>
                  <a:pt x="5114" y="2391"/>
                </a:lnTo>
                <a:lnTo>
                  <a:pt x="5120" y="2394"/>
                </a:lnTo>
                <a:lnTo>
                  <a:pt x="5120" y="2392"/>
                </a:lnTo>
                <a:lnTo>
                  <a:pt x="5121" y="2393"/>
                </a:lnTo>
                <a:lnTo>
                  <a:pt x="5123" y="2395"/>
                </a:lnTo>
                <a:lnTo>
                  <a:pt x="5125" y="2395"/>
                </a:lnTo>
                <a:lnTo>
                  <a:pt x="5123" y="2392"/>
                </a:lnTo>
                <a:lnTo>
                  <a:pt x="5121" y="2390"/>
                </a:lnTo>
                <a:lnTo>
                  <a:pt x="5120" y="2389"/>
                </a:lnTo>
                <a:lnTo>
                  <a:pt x="5120" y="2382"/>
                </a:lnTo>
                <a:lnTo>
                  <a:pt x="5125" y="2378"/>
                </a:lnTo>
                <a:lnTo>
                  <a:pt x="5128" y="2374"/>
                </a:lnTo>
                <a:lnTo>
                  <a:pt x="5131" y="2370"/>
                </a:lnTo>
                <a:lnTo>
                  <a:pt x="5136" y="2364"/>
                </a:lnTo>
                <a:lnTo>
                  <a:pt x="5141" y="2358"/>
                </a:lnTo>
                <a:lnTo>
                  <a:pt x="5143" y="2357"/>
                </a:lnTo>
                <a:lnTo>
                  <a:pt x="5136" y="2350"/>
                </a:lnTo>
                <a:lnTo>
                  <a:pt x="5139" y="2347"/>
                </a:lnTo>
                <a:lnTo>
                  <a:pt x="5137" y="2348"/>
                </a:lnTo>
                <a:lnTo>
                  <a:pt x="5134" y="2348"/>
                </a:lnTo>
                <a:close/>
                <a:moveTo>
                  <a:pt x="5068" y="1975"/>
                </a:moveTo>
                <a:lnTo>
                  <a:pt x="5067" y="1976"/>
                </a:lnTo>
                <a:lnTo>
                  <a:pt x="5067" y="1978"/>
                </a:lnTo>
                <a:lnTo>
                  <a:pt x="5071" y="1979"/>
                </a:lnTo>
                <a:lnTo>
                  <a:pt x="5071" y="1978"/>
                </a:lnTo>
                <a:lnTo>
                  <a:pt x="5069" y="1975"/>
                </a:lnTo>
                <a:lnTo>
                  <a:pt x="5068" y="1975"/>
                </a:lnTo>
                <a:close/>
                <a:moveTo>
                  <a:pt x="5143" y="2347"/>
                </a:moveTo>
                <a:lnTo>
                  <a:pt x="5140" y="2347"/>
                </a:lnTo>
                <a:lnTo>
                  <a:pt x="5140" y="2347"/>
                </a:lnTo>
                <a:lnTo>
                  <a:pt x="5140" y="2348"/>
                </a:lnTo>
                <a:lnTo>
                  <a:pt x="5143" y="2347"/>
                </a:lnTo>
                <a:close/>
                <a:moveTo>
                  <a:pt x="5140" y="2345"/>
                </a:moveTo>
                <a:lnTo>
                  <a:pt x="5140" y="2347"/>
                </a:lnTo>
                <a:lnTo>
                  <a:pt x="5140" y="2346"/>
                </a:lnTo>
                <a:lnTo>
                  <a:pt x="5140" y="2345"/>
                </a:lnTo>
                <a:close/>
                <a:moveTo>
                  <a:pt x="5224" y="1941"/>
                </a:moveTo>
                <a:lnTo>
                  <a:pt x="5224" y="1941"/>
                </a:lnTo>
                <a:lnTo>
                  <a:pt x="5224" y="1941"/>
                </a:lnTo>
                <a:lnTo>
                  <a:pt x="5224" y="1941"/>
                </a:lnTo>
                <a:lnTo>
                  <a:pt x="5224" y="1941"/>
                </a:lnTo>
                <a:close/>
                <a:moveTo>
                  <a:pt x="3360" y="1322"/>
                </a:moveTo>
                <a:lnTo>
                  <a:pt x="3360" y="1322"/>
                </a:lnTo>
                <a:lnTo>
                  <a:pt x="3360" y="1321"/>
                </a:lnTo>
                <a:lnTo>
                  <a:pt x="3360" y="1322"/>
                </a:lnTo>
                <a:lnTo>
                  <a:pt x="3360" y="1322"/>
                </a:lnTo>
                <a:close/>
                <a:moveTo>
                  <a:pt x="3218" y="1716"/>
                </a:moveTo>
                <a:lnTo>
                  <a:pt x="3219" y="1716"/>
                </a:lnTo>
                <a:lnTo>
                  <a:pt x="3218" y="1715"/>
                </a:lnTo>
                <a:lnTo>
                  <a:pt x="3218" y="1716"/>
                </a:lnTo>
                <a:lnTo>
                  <a:pt x="3218" y="1716"/>
                </a:lnTo>
                <a:close/>
                <a:moveTo>
                  <a:pt x="3988" y="1450"/>
                </a:moveTo>
                <a:lnTo>
                  <a:pt x="3988" y="1450"/>
                </a:lnTo>
                <a:lnTo>
                  <a:pt x="3988" y="1449"/>
                </a:lnTo>
                <a:lnTo>
                  <a:pt x="3988" y="1450"/>
                </a:lnTo>
                <a:lnTo>
                  <a:pt x="3988" y="1450"/>
                </a:lnTo>
                <a:close/>
                <a:moveTo>
                  <a:pt x="2365" y="1381"/>
                </a:moveTo>
                <a:lnTo>
                  <a:pt x="2367" y="1375"/>
                </a:lnTo>
                <a:lnTo>
                  <a:pt x="2367" y="1375"/>
                </a:lnTo>
                <a:lnTo>
                  <a:pt x="2367" y="1374"/>
                </a:lnTo>
                <a:lnTo>
                  <a:pt x="2365" y="1381"/>
                </a:lnTo>
                <a:close/>
                <a:moveTo>
                  <a:pt x="2743" y="1720"/>
                </a:moveTo>
                <a:lnTo>
                  <a:pt x="2745" y="1720"/>
                </a:lnTo>
                <a:lnTo>
                  <a:pt x="2743" y="1718"/>
                </a:lnTo>
                <a:lnTo>
                  <a:pt x="2743" y="1720"/>
                </a:lnTo>
                <a:close/>
                <a:moveTo>
                  <a:pt x="2369" y="1382"/>
                </a:moveTo>
                <a:lnTo>
                  <a:pt x="2370" y="1382"/>
                </a:lnTo>
                <a:lnTo>
                  <a:pt x="2369" y="1381"/>
                </a:lnTo>
                <a:lnTo>
                  <a:pt x="2369" y="1382"/>
                </a:lnTo>
                <a:close/>
                <a:moveTo>
                  <a:pt x="2423" y="1581"/>
                </a:moveTo>
                <a:lnTo>
                  <a:pt x="2430" y="1581"/>
                </a:lnTo>
                <a:lnTo>
                  <a:pt x="2430" y="1579"/>
                </a:lnTo>
                <a:lnTo>
                  <a:pt x="2430" y="1579"/>
                </a:lnTo>
                <a:lnTo>
                  <a:pt x="2426" y="1579"/>
                </a:lnTo>
                <a:lnTo>
                  <a:pt x="2423" y="1581"/>
                </a:lnTo>
                <a:close/>
                <a:moveTo>
                  <a:pt x="2430" y="1579"/>
                </a:moveTo>
                <a:lnTo>
                  <a:pt x="2430" y="1579"/>
                </a:lnTo>
                <a:lnTo>
                  <a:pt x="2430" y="1579"/>
                </a:lnTo>
                <a:lnTo>
                  <a:pt x="2430" y="1579"/>
                </a:lnTo>
                <a:close/>
                <a:moveTo>
                  <a:pt x="3156" y="1375"/>
                </a:moveTo>
                <a:lnTo>
                  <a:pt x="3156" y="1375"/>
                </a:lnTo>
                <a:lnTo>
                  <a:pt x="3156" y="1375"/>
                </a:lnTo>
                <a:lnTo>
                  <a:pt x="3156" y="1375"/>
                </a:lnTo>
                <a:close/>
                <a:moveTo>
                  <a:pt x="3891" y="1367"/>
                </a:moveTo>
                <a:lnTo>
                  <a:pt x="3893" y="1367"/>
                </a:lnTo>
                <a:lnTo>
                  <a:pt x="3894" y="1367"/>
                </a:lnTo>
                <a:lnTo>
                  <a:pt x="3893" y="1365"/>
                </a:lnTo>
                <a:lnTo>
                  <a:pt x="3891" y="1362"/>
                </a:lnTo>
                <a:lnTo>
                  <a:pt x="3891" y="1367"/>
                </a:lnTo>
                <a:close/>
                <a:moveTo>
                  <a:pt x="3936" y="1358"/>
                </a:moveTo>
                <a:lnTo>
                  <a:pt x="3937" y="1356"/>
                </a:lnTo>
                <a:lnTo>
                  <a:pt x="3936" y="1351"/>
                </a:lnTo>
                <a:lnTo>
                  <a:pt x="3936" y="1351"/>
                </a:lnTo>
                <a:lnTo>
                  <a:pt x="3936" y="1358"/>
                </a:lnTo>
                <a:close/>
                <a:moveTo>
                  <a:pt x="3963" y="1391"/>
                </a:moveTo>
                <a:lnTo>
                  <a:pt x="3963" y="1391"/>
                </a:lnTo>
                <a:lnTo>
                  <a:pt x="3963" y="1391"/>
                </a:lnTo>
                <a:lnTo>
                  <a:pt x="3963" y="1391"/>
                </a:lnTo>
                <a:close/>
                <a:moveTo>
                  <a:pt x="3868" y="1391"/>
                </a:moveTo>
                <a:lnTo>
                  <a:pt x="3867" y="1390"/>
                </a:lnTo>
                <a:lnTo>
                  <a:pt x="3867" y="1391"/>
                </a:lnTo>
                <a:lnTo>
                  <a:pt x="3868" y="1391"/>
                </a:lnTo>
                <a:close/>
                <a:moveTo>
                  <a:pt x="3340" y="1286"/>
                </a:moveTo>
                <a:lnTo>
                  <a:pt x="3341" y="1286"/>
                </a:lnTo>
                <a:lnTo>
                  <a:pt x="3340" y="1286"/>
                </a:lnTo>
                <a:lnTo>
                  <a:pt x="3340" y="1286"/>
                </a:lnTo>
                <a:lnTo>
                  <a:pt x="3340" y="1286"/>
                </a:lnTo>
                <a:close/>
                <a:moveTo>
                  <a:pt x="3490" y="1308"/>
                </a:moveTo>
                <a:lnTo>
                  <a:pt x="3490" y="1308"/>
                </a:lnTo>
                <a:lnTo>
                  <a:pt x="3490" y="1308"/>
                </a:lnTo>
                <a:lnTo>
                  <a:pt x="3490" y="1308"/>
                </a:lnTo>
                <a:lnTo>
                  <a:pt x="3490" y="1308"/>
                </a:lnTo>
                <a:close/>
                <a:moveTo>
                  <a:pt x="3844" y="1407"/>
                </a:moveTo>
                <a:lnTo>
                  <a:pt x="3843" y="1407"/>
                </a:lnTo>
                <a:lnTo>
                  <a:pt x="3843" y="1407"/>
                </a:lnTo>
                <a:lnTo>
                  <a:pt x="3844" y="1407"/>
                </a:lnTo>
                <a:close/>
                <a:moveTo>
                  <a:pt x="3853" y="1395"/>
                </a:moveTo>
                <a:lnTo>
                  <a:pt x="3851" y="1395"/>
                </a:lnTo>
                <a:lnTo>
                  <a:pt x="3851" y="1397"/>
                </a:lnTo>
                <a:lnTo>
                  <a:pt x="3853" y="1395"/>
                </a:lnTo>
                <a:lnTo>
                  <a:pt x="3853" y="1395"/>
                </a:lnTo>
                <a:close/>
                <a:moveTo>
                  <a:pt x="3358" y="1535"/>
                </a:moveTo>
                <a:lnTo>
                  <a:pt x="3357" y="1533"/>
                </a:lnTo>
                <a:lnTo>
                  <a:pt x="3357" y="1533"/>
                </a:lnTo>
                <a:lnTo>
                  <a:pt x="3357" y="1535"/>
                </a:lnTo>
                <a:lnTo>
                  <a:pt x="3358" y="1535"/>
                </a:lnTo>
                <a:close/>
                <a:moveTo>
                  <a:pt x="2687" y="676"/>
                </a:moveTo>
                <a:lnTo>
                  <a:pt x="2686" y="675"/>
                </a:lnTo>
                <a:lnTo>
                  <a:pt x="2683" y="677"/>
                </a:lnTo>
                <a:lnTo>
                  <a:pt x="2686" y="681"/>
                </a:lnTo>
                <a:lnTo>
                  <a:pt x="2686" y="680"/>
                </a:lnTo>
                <a:lnTo>
                  <a:pt x="2686" y="678"/>
                </a:lnTo>
                <a:lnTo>
                  <a:pt x="2687" y="678"/>
                </a:lnTo>
                <a:lnTo>
                  <a:pt x="2690" y="678"/>
                </a:lnTo>
                <a:lnTo>
                  <a:pt x="2691" y="675"/>
                </a:lnTo>
                <a:lnTo>
                  <a:pt x="2687" y="674"/>
                </a:lnTo>
                <a:lnTo>
                  <a:pt x="2687" y="676"/>
                </a:lnTo>
                <a:close/>
                <a:moveTo>
                  <a:pt x="2692" y="688"/>
                </a:moveTo>
                <a:lnTo>
                  <a:pt x="2692" y="688"/>
                </a:lnTo>
                <a:lnTo>
                  <a:pt x="2692" y="688"/>
                </a:lnTo>
                <a:lnTo>
                  <a:pt x="2692" y="688"/>
                </a:lnTo>
                <a:close/>
                <a:moveTo>
                  <a:pt x="2935" y="539"/>
                </a:moveTo>
                <a:lnTo>
                  <a:pt x="2935" y="539"/>
                </a:lnTo>
                <a:lnTo>
                  <a:pt x="2935" y="539"/>
                </a:lnTo>
                <a:lnTo>
                  <a:pt x="2935" y="539"/>
                </a:lnTo>
                <a:lnTo>
                  <a:pt x="2935" y="539"/>
                </a:lnTo>
                <a:close/>
                <a:moveTo>
                  <a:pt x="2680" y="646"/>
                </a:moveTo>
                <a:lnTo>
                  <a:pt x="2680" y="649"/>
                </a:lnTo>
                <a:lnTo>
                  <a:pt x="2681" y="647"/>
                </a:lnTo>
                <a:lnTo>
                  <a:pt x="2681" y="646"/>
                </a:lnTo>
                <a:lnTo>
                  <a:pt x="2681" y="646"/>
                </a:lnTo>
                <a:lnTo>
                  <a:pt x="2680" y="646"/>
                </a:lnTo>
                <a:close/>
                <a:moveTo>
                  <a:pt x="2377" y="1332"/>
                </a:moveTo>
                <a:lnTo>
                  <a:pt x="2381" y="1329"/>
                </a:lnTo>
                <a:lnTo>
                  <a:pt x="2381" y="1329"/>
                </a:lnTo>
                <a:lnTo>
                  <a:pt x="2377" y="1332"/>
                </a:lnTo>
                <a:close/>
                <a:moveTo>
                  <a:pt x="2683" y="624"/>
                </a:moveTo>
                <a:lnTo>
                  <a:pt x="2687" y="626"/>
                </a:lnTo>
                <a:lnTo>
                  <a:pt x="2686" y="624"/>
                </a:lnTo>
                <a:lnTo>
                  <a:pt x="2683" y="624"/>
                </a:lnTo>
                <a:close/>
                <a:moveTo>
                  <a:pt x="2818" y="503"/>
                </a:moveTo>
                <a:lnTo>
                  <a:pt x="2819" y="500"/>
                </a:lnTo>
                <a:lnTo>
                  <a:pt x="2814" y="503"/>
                </a:lnTo>
                <a:lnTo>
                  <a:pt x="2818" y="504"/>
                </a:lnTo>
                <a:lnTo>
                  <a:pt x="2818" y="503"/>
                </a:lnTo>
                <a:lnTo>
                  <a:pt x="2817" y="503"/>
                </a:lnTo>
                <a:lnTo>
                  <a:pt x="2818" y="503"/>
                </a:lnTo>
                <a:close/>
                <a:moveTo>
                  <a:pt x="2799" y="515"/>
                </a:moveTo>
                <a:lnTo>
                  <a:pt x="2800" y="515"/>
                </a:lnTo>
                <a:lnTo>
                  <a:pt x="2799" y="515"/>
                </a:lnTo>
                <a:lnTo>
                  <a:pt x="2799" y="515"/>
                </a:lnTo>
                <a:close/>
                <a:moveTo>
                  <a:pt x="2887" y="787"/>
                </a:moveTo>
                <a:lnTo>
                  <a:pt x="2885" y="787"/>
                </a:lnTo>
                <a:lnTo>
                  <a:pt x="2886" y="787"/>
                </a:lnTo>
                <a:lnTo>
                  <a:pt x="2887" y="787"/>
                </a:lnTo>
                <a:close/>
                <a:moveTo>
                  <a:pt x="2666" y="850"/>
                </a:moveTo>
                <a:lnTo>
                  <a:pt x="2673" y="851"/>
                </a:lnTo>
                <a:lnTo>
                  <a:pt x="2671" y="848"/>
                </a:lnTo>
                <a:lnTo>
                  <a:pt x="2666" y="850"/>
                </a:lnTo>
                <a:close/>
                <a:moveTo>
                  <a:pt x="2808" y="796"/>
                </a:moveTo>
                <a:lnTo>
                  <a:pt x="2808" y="795"/>
                </a:lnTo>
                <a:lnTo>
                  <a:pt x="2809" y="792"/>
                </a:lnTo>
                <a:lnTo>
                  <a:pt x="2810" y="792"/>
                </a:lnTo>
                <a:lnTo>
                  <a:pt x="2809" y="791"/>
                </a:lnTo>
                <a:lnTo>
                  <a:pt x="2811" y="788"/>
                </a:lnTo>
                <a:lnTo>
                  <a:pt x="2808" y="788"/>
                </a:lnTo>
                <a:lnTo>
                  <a:pt x="2809" y="790"/>
                </a:lnTo>
                <a:lnTo>
                  <a:pt x="2805" y="787"/>
                </a:lnTo>
                <a:lnTo>
                  <a:pt x="2807" y="790"/>
                </a:lnTo>
                <a:lnTo>
                  <a:pt x="2804" y="792"/>
                </a:lnTo>
                <a:lnTo>
                  <a:pt x="2808" y="795"/>
                </a:lnTo>
                <a:lnTo>
                  <a:pt x="2807" y="796"/>
                </a:lnTo>
                <a:lnTo>
                  <a:pt x="2807" y="796"/>
                </a:lnTo>
                <a:lnTo>
                  <a:pt x="2808" y="796"/>
                </a:lnTo>
                <a:close/>
                <a:moveTo>
                  <a:pt x="2739" y="776"/>
                </a:moveTo>
                <a:lnTo>
                  <a:pt x="2737" y="776"/>
                </a:lnTo>
                <a:lnTo>
                  <a:pt x="2737" y="777"/>
                </a:lnTo>
                <a:lnTo>
                  <a:pt x="2737" y="779"/>
                </a:lnTo>
                <a:lnTo>
                  <a:pt x="2739" y="778"/>
                </a:lnTo>
                <a:lnTo>
                  <a:pt x="2739" y="777"/>
                </a:lnTo>
                <a:lnTo>
                  <a:pt x="2739" y="776"/>
                </a:lnTo>
                <a:close/>
                <a:moveTo>
                  <a:pt x="2484" y="1021"/>
                </a:moveTo>
                <a:lnTo>
                  <a:pt x="2484" y="1021"/>
                </a:lnTo>
                <a:lnTo>
                  <a:pt x="2484" y="1021"/>
                </a:lnTo>
                <a:lnTo>
                  <a:pt x="2484" y="1021"/>
                </a:lnTo>
                <a:close/>
                <a:moveTo>
                  <a:pt x="2811" y="792"/>
                </a:moveTo>
                <a:lnTo>
                  <a:pt x="2810" y="792"/>
                </a:lnTo>
                <a:lnTo>
                  <a:pt x="2812" y="795"/>
                </a:lnTo>
                <a:lnTo>
                  <a:pt x="2811" y="792"/>
                </a:lnTo>
                <a:close/>
                <a:moveTo>
                  <a:pt x="2746" y="736"/>
                </a:moveTo>
                <a:lnTo>
                  <a:pt x="2746" y="736"/>
                </a:lnTo>
                <a:lnTo>
                  <a:pt x="2746" y="736"/>
                </a:lnTo>
                <a:lnTo>
                  <a:pt x="2746" y="736"/>
                </a:lnTo>
                <a:close/>
                <a:moveTo>
                  <a:pt x="2737" y="772"/>
                </a:moveTo>
                <a:lnTo>
                  <a:pt x="2737" y="772"/>
                </a:lnTo>
                <a:lnTo>
                  <a:pt x="2737" y="772"/>
                </a:lnTo>
                <a:lnTo>
                  <a:pt x="2737" y="772"/>
                </a:lnTo>
                <a:lnTo>
                  <a:pt x="2737" y="772"/>
                </a:lnTo>
                <a:close/>
                <a:moveTo>
                  <a:pt x="4349" y="1308"/>
                </a:moveTo>
                <a:lnTo>
                  <a:pt x="4349" y="1307"/>
                </a:lnTo>
                <a:lnTo>
                  <a:pt x="4350" y="1307"/>
                </a:lnTo>
                <a:lnTo>
                  <a:pt x="4349" y="1306"/>
                </a:lnTo>
                <a:lnTo>
                  <a:pt x="4348" y="1306"/>
                </a:lnTo>
                <a:lnTo>
                  <a:pt x="4349" y="1308"/>
                </a:lnTo>
                <a:close/>
                <a:moveTo>
                  <a:pt x="4373" y="1073"/>
                </a:moveTo>
                <a:lnTo>
                  <a:pt x="4375" y="1072"/>
                </a:lnTo>
                <a:lnTo>
                  <a:pt x="4373" y="1071"/>
                </a:lnTo>
                <a:lnTo>
                  <a:pt x="4373" y="1073"/>
                </a:lnTo>
                <a:close/>
                <a:moveTo>
                  <a:pt x="4442" y="1106"/>
                </a:moveTo>
                <a:lnTo>
                  <a:pt x="4441" y="1104"/>
                </a:lnTo>
                <a:lnTo>
                  <a:pt x="4441" y="1106"/>
                </a:lnTo>
                <a:lnTo>
                  <a:pt x="4442" y="1106"/>
                </a:lnTo>
                <a:close/>
                <a:moveTo>
                  <a:pt x="3989" y="1449"/>
                </a:moveTo>
                <a:lnTo>
                  <a:pt x="3989" y="1449"/>
                </a:lnTo>
                <a:lnTo>
                  <a:pt x="3988" y="1449"/>
                </a:lnTo>
                <a:lnTo>
                  <a:pt x="3989" y="1449"/>
                </a:lnTo>
                <a:close/>
                <a:moveTo>
                  <a:pt x="4449" y="1153"/>
                </a:moveTo>
                <a:lnTo>
                  <a:pt x="4449" y="1153"/>
                </a:lnTo>
                <a:lnTo>
                  <a:pt x="4449" y="1153"/>
                </a:lnTo>
                <a:lnTo>
                  <a:pt x="4450" y="1157"/>
                </a:lnTo>
                <a:lnTo>
                  <a:pt x="4451" y="1157"/>
                </a:lnTo>
                <a:lnTo>
                  <a:pt x="4449" y="1153"/>
                </a:lnTo>
                <a:close/>
                <a:moveTo>
                  <a:pt x="4446" y="1106"/>
                </a:moveTo>
                <a:lnTo>
                  <a:pt x="4445" y="1105"/>
                </a:lnTo>
                <a:lnTo>
                  <a:pt x="4445" y="1106"/>
                </a:lnTo>
                <a:lnTo>
                  <a:pt x="4446" y="1106"/>
                </a:lnTo>
                <a:close/>
                <a:moveTo>
                  <a:pt x="4384" y="1237"/>
                </a:moveTo>
                <a:lnTo>
                  <a:pt x="4385" y="1237"/>
                </a:lnTo>
                <a:lnTo>
                  <a:pt x="4387" y="1237"/>
                </a:lnTo>
                <a:lnTo>
                  <a:pt x="4385" y="1236"/>
                </a:lnTo>
                <a:lnTo>
                  <a:pt x="4385" y="1236"/>
                </a:lnTo>
                <a:lnTo>
                  <a:pt x="4384" y="1237"/>
                </a:lnTo>
                <a:lnTo>
                  <a:pt x="4384" y="1237"/>
                </a:lnTo>
                <a:close/>
                <a:moveTo>
                  <a:pt x="4382" y="1246"/>
                </a:moveTo>
                <a:lnTo>
                  <a:pt x="4381" y="1246"/>
                </a:lnTo>
                <a:lnTo>
                  <a:pt x="4381" y="1246"/>
                </a:lnTo>
                <a:lnTo>
                  <a:pt x="4382" y="1246"/>
                </a:lnTo>
                <a:close/>
                <a:moveTo>
                  <a:pt x="4350" y="1292"/>
                </a:moveTo>
                <a:lnTo>
                  <a:pt x="4350" y="1293"/>
                </a:lnTo>
                <a:lnTo>
                  <a:pt x="4352" y="1294"/>
                </a:lnTo>
                <a:lnTo>
                  <a:pt x="4353" y="1294"/>
                </a:lnTo>
                <a:lnTo>
                  <a:pt x="4352" y="1292"/>
                </a:lnTo>
                <a:lnTo>
                  <a:pt x="4350" y="1290"/>
                </a:lnTo>
                <a:lnTo>
                  <a:pt x="4350" y="1292"/>
                </a:lnTo>
                <a:lnTo>
                  <a:pt x="4350" y="1292"/>
                </a:lnTo>
                <a:close/>
                <a:moveTo>
                  <a:pt x="4383" y="1246"/>
                </a:moveTo>
                <a:lnTo>
                  <a:pt x="4383" y="1248"/>
                </a:lnTo>
                <a:lnTo>
                  <a:pt x="4383" y="1248"/>
                </a:lnTo>
                <a:lnTo>
                  <a:pt x="4383" y="1247"/>
                </a:lnTo>
                <a:lnTo>
                  <a:pt x="4383" y="1246"/>
                </a:lnTo>
                <a:lnTo>
                  <a:pt x="4383" y="1246"/>
                </a:lnTo>
                <a:lnTo>
                  <a:pt x="4383" y="1245"/>
                </a:lnTo>
                <a:lnTo>
                  <a:pt x="4383" y="1246"/>
                </a:lnTo>
                <a:lnTo>
                  <a:pt x="4383" y="1246"/>
                </a:lnTo>
                <a:close/>
                <a:moveTo>
                  <a:pt x="4517" y="1021"/>
                </a:moveTo>
                <a:lnTo>
                  <a:pt x="4518" y="1021"/>
                </a:lnTo>
                <a:lnTo>
                  <a:pt x="4517" y="1019"/>
                </a:lnTo>
                <a:lnTo>
                  <a:pt x="4517" y="1018"/>
                </a:lnTo>
                <a:lnTo>
                  <a:pt x="4514" y="1017"/>
                </a:lnTo>
                <a:lnTo>
                  <a:pt x="4514" y="1021"/>
                </a:lnTo>
                <a:lnTo>
                  <a:pt x="4517" y="1021"/>
                </a:lnTo>
                <a:close/>
                <a:moveTo>
                  <a:pt x="4452" y="1159"/>
                </a:moveTo>
                <a:lnTo>
                  <a:pt x="4452" y="1159"/>
                </a:lnTo>
                <a:lnTo>
                  <a:pt x="4452" y="1159"/>
                </a:lnTo>
                <a:lnTo>
                  <a:pt x="4452" y="1159"/>
                </a:lnTo>
                <a:close/>
                <a:moveTo>
                  <a:pt x="4530" y="1008"/>
                </a:moveTo>
                <a:lnTo>
                  <a:pt x="4530" y="1007"/>
                </a:lnTo>
                <a:lnTo>
                  <a:pt x="4530" y="1006"/>
                </a:lnTo>
                <a:lnTo>
                  <a:pt x="4530" y="1008"/>
                </a:lnTo>
                <a:close/>
                <a:moveTo>
                  <a:pt x="4528" y="1013"/>
                </a:moveTo>
                <a:lnTo>
                  <a:pt x="4530" y="1008"/>
                </a:lnTo>
                <a:lnTo>
                  <a:pt x="4527" y="1013"/>
                </a:lnTo>
                <a:lnTo>
                  <a:pt x="4528" y="1013"/>
                </a:lnTo>
                <a:close/>
                <a:moveTo>
                  <a:pt x="4508" y="1025"/>
                </a:moveTo>
                <a:lnTo>
                  <a:pt x="4508" y="1025"/>
                </a:lnTo>
                <a:lnTo>
                  <a:pt x="4508" y="1025"/>
                </a:lnTo>
                <a:lnTo>
                  <a:pt x="4508" y="1025"/>
                </a:lnTo>
                <a:lnTo>
                  <a:pt x="4508" y="1025"/>
                </a:lnTo>
                <a:close/>
                <a:moveTo>
                  <a:pt x="4457" y="1158"/>
                </a:moveTo>
                <a:lnTo>
                  <a:pt x="4457" y="1158"/>
                </a:lnTo>
                <a:lnTo>
                  <a:pt x="4457" y="1158"/>
                </a:lnTo>
                <a:lnTo>
                  <a:pt x="4457" y="1158"/>
                </a:lnTo>
                <a:close/>
                <a:moveTo>
                  <a:pt x="4478" y="1150"/>
                </a:moveTo>
                <a:lnTo>
                  <a:pt x="4480" y="1150"/>
                </a:lnTo>
                <a:lnTo>
                  <a:pt x="4481" y="1150"/>
                </a:lnTo>
                <a:lnTo>
                  <a:pt x="4479" y="1150"/>
                </a:lnTo>
                <a:lnTo>
                  <a:pt x="4478" y="1149"/>
                </a:lnTo>
                <a:lnTo>
                  <a:pt x="4478" y="1150"/>
                </a:lnTo>
                <a:lnTo>
                  <a:pt x="4478" y="1150"/>
                </a:lnTo>
                <a:close/>
                <a:moveTo>
                  <a:pt x="4458" y="1158"/>
                </a:moveTo>
                <a:lnTo>
                  <a:pt x="4457" y="1158"/>
                </a:lnTo>
                <a:lnTo>
                  <a:pt x="4457" y="1158"/>
                </a:lnTo>
                <a:lnTo>
                  <a:pt x="4458" y="1158"/>
                </a:lnTo>
                <a:close/>
                <a:moveTo>
                  <a:pt x="4373" y="1073"/>
                </a:moveTo>
                <a:lnTo>
                  <a:pt x="4373" y="1073"/>
                </a:lnTo>
                <a:lnTo>
                  <a:pt x="4372" y="1073"/>
                </a:lnTo>
                <a:lnTo>
                  <a:pt x="4373" y="1073"/>
                </a:lnTo>
                <a:close/>
                <a:moveTo>
                  <a:pt x="4126" y="1682"/>
                </a:moveTo>
                <a:lnTo>
                  <a:pt x="4127" y="1682"/>
                </a:lnTo>
                <a:lnTo>
                  <a:pt x="4127" y="1680"/>
                </a:lnTo>
                <a:lnTo>
                  <a:pt x="4127" y="1680"/>
                </a:lnTo>
                <a:lnTo>
                  <a:pt x="4127" y="1681"/>
                </a:lnTo>
                <a:lnTo>
                  <a:pt x="4126" y="1682"/>
                </a:lnTo>
                <a:close/>
                <a:moveTo>
                  <a:pt x="4122" y="1676"/>
                </a:moveTo>
                <a:lnTo>
                  <a:pt x="4120" y="1674"/>
                </a:lnTo>
                <a:lnTo>
                  <a:pt x="4120" y="1676"/>
                </a:lnTo>
                <a:lnTo>
                  <a:pt x="4122" y="1676"/>
                </a:lnTo>
                <a:close/>
                <a:moveTo>
                  <a:pt x="4666" y="837"/>
                </a:moveTo>
                <a:lnTo>
                  <a:pt x="4666" y="841"/>
                </a:lnTo>
                <a:lnTo>
                  <a:pt x="4674" y="850"/>
                </a:lnTo>
                <a:lnTo>
                  <a:pt x="4675" y="854"/>
                </a:lnTo>
                <a:lnTo>
                  <a:pt x="4676" y="857"/>
                </a:lnTo>
                <a:lnTo>
                  <a:pt x="4675" y="864"/>
                </a:lnTo>
                <a:lnTo>
                  <a:pt x="4673" y="870"/>
                </a:lnTo>
                <a:lnTo>
                  <a:pt x="4674" y="873"/>
                </a:lnTo>
                <a:lnTo>
                  <a:pt x="4674" y="887"/>
                </a:lnTo>
                <a:lnTo>
                  <a:pt x="4673" y="900"/>
                </a:lnTo>
                <a:lnTo>
                  <a:pt x="4672" y="902"/>
                </a:lnTo>
                <a:lnTo>
                  <a:pt x="4672" y="905"/>
                </a:lnTo>
                <a:lnTo>
                  <a:pt x="4673" y="907"/>
                </a:lnTo>
                <a:lnTo>
                  <a:pt x="4674" y="909"/>
                </a:lnTo>
                <a:lnTo>
                  <a:pt x="4676" y="913"/>
                </a:lnTo>
                <a:lnTo>
                  <a:pt x="4676" y="916"/>
                </a:lnTo>
                <a:lnTo>
                  <a:pt x="4677" y="919"/>
                </a:lnTo>
                <a:lnTo>
                  <a:pt x="4673" y="922"/>
                </a:lnTo>
                <a:lnTo>
                  <a:pt x="4670" y="926"/>
                </a:lnTo>
                <a:lnTo>
                  <a:pt x="4670" y="936"/>
                </a:lnTo>
                <a:lnTo>
                  <a:pt x="4669" y="946"/>
                </a:lnTo>
                <a:lnTo>
                  <a:pt x="4670" y="951"/>
                </a:lnTo>
                <a:lnTo>
                  <a:pt x="4671" y="956"/>
                </a:lnTo>
                <a:lnTo>
                  <a:pt x="4673" y="956"/>
                </a:lnTo>
                <a:lnTo>
                  <a:pt x="4675" y="957"/>
                </a:lnTo>
                <a:lnTo>
                  <a:pt x="4680" y="946"/>
                </a:lnTo>
                <a:lnTo>
                  <a:pt x="4682" y="944"/>
                </a:lnTo>
                <a:lnTo>
                  <a:pt x="4683" y="943"/>
                </a:lnTo>
                <a:lnTo>
                  <a:pt x="4684" y="949"/>
                </a:lnTo>
                <a:lnTo>
                  <a:pt x="4694" y="949"/>
                </a:lnTo>
                <a:lnTo>
                  <a:pt x="4694" y="952"/>
                </a:lnTo>
                <a:lnTo>
                  <a:pt x="4694" y="956"/>
                </a:lnTo>
                <a:lnTo>
                  <a:pt x="4694" y="956"/>
                </a:lnTo>
                <a:lnTo>
                  <a:pt x="4694" y="956"/>
                </a:lnTo>
                <a:lnTo>
                  <a:pt x="4695" y="949"/>
                </a:lnTo>
                <a:lnTo>
                  <a:pt x="4695" y="941"/>
                </a:lnTo>
                <a:lnTo>
                  <a:pt x="4690" y="941"/>
                </a:lnTo>
                <a:lnTo>
                  <a:pt x="4690" y="942"/>
                </a:lnTo>
                <a:lnTo>
                  <a:pt x="4690" y="942"/>
                </a:lnTo>
                <a:lnTo>
                  <a:pt x="4687" y="932"/>
                </a:lnTo>
                <a:lnTo>
                  <a:pt x="4683" y="926"/>
                </a:lnTo>
                <a:lnTo>
                  <a:pt x="4682" y="924"/>
                </a:lnTo>
                <a:lnTo>
                  <a:pt x="4682" y="923"/>
                </a:lnTo>
                <a:lnTo>
                  <a:pt x="4682" y="918"/>
                </a:lnTo>
                <a:lnTo>
                  <a:pt x="4684" y="910"/>
                </a:lnTo>
                <a:lnTo>
                  <a:pt x="4686" y="902"/>
                </a:lnTo>
                <a:lnTo>
                  <a:pt x="4686" y="898"/>
                </a:lnTo>
                <a:lnTo>
                  <a:pt x="4690" y="897"/>
                </a:lnTo>
                <a:lnTo>
                  <a:pt x="4690" y="897"/>
                </a:lnTo>
                <a:lnTo>
                  <a:pt x="4690" y="891"/>
                </a:lnTo>
                <a:lnTo>
                  <a:pt x="4696" y="893"/>
                </a:lnTo>
                <a:lnTo>
                  <a:pt x="4701" y="895"/>
                </a:lnTo>
                <a:lnTo>
                  <a:pt x="4708" y="899"/>
                </a:lnTo>
                <a:lnTo>
                  <a:pt x="4713" y="905"/>
                </a:lnTo>
                <a:lnTo>
                  <a:pt x="4714" y="905"/>
                </a:lnTo>
                <a:lnTo>
                  <a:pt x="4714" y="905"/>
                </a:lnTo>
                <a:lnTo>
                  <a:pt x="4713" y="903"/>
                </a:lnTo>
                <a:lnTo>
                  <a:pt x="4712" y="901"/>
                </a:lnTo>
                <a:lnTo>
                  <a:pt x="4710" y="900"/>
                </a:lnTo>
                <a:lnTo>
                  <a:pt x="4709" y="898"/>
                </a:lnTo>
                <a:lnTo>
                  <a:pt x="4702" y="880"/>
                </a:lnTo>
                <a:lnTo>
                  <a:pt x="4700" y="876"/>
                </a:lnTo>
                <a:lnTo>
                  <a:pt x="4698" y="873"/>
                </a:lnTo>
                <a:lnTo>
                  <a:pt x="4697" y="865"/>
                </a:lnTo>
                <a:lnTo>
                  <a:pt x="4696" y="856"/>
                </a:lnTo>
                <a:lnTo>
                  <a:pt x="4695" y="857"/>
                </a:lnTo>
                <a:lnTo>
                  <a:pt x="4695" y="857"/>
                </a:lnTo>
                <a:lnTo>
                  <a:pt x="4694" y="852"/>
                </a:lnTo>
                <a:lnTo>
                  <a:pt x="4694" y="848"/>
                </a:lnTo>
                <a:lnTo>
                  <a:pt x="4692" y="848"/>
                </a:lnTo>
                <a:lnTo>
                  <a:pt x="4692" y="846"/>
                </a:lnTo>
                <a:lnTo>
                  <a:pt x="4686" y="840"/>
                </a:lnTo>
                <a:lnTo>
                  <a:pt x="4686" y="832"/>
                </a:lnTo>
                <a:lnTo>
                  <a:pt x="4688" y="830"/>
                </a:lnTo>
                <a:lnTo>
                  <a:pt x="4690" y="828"/>
                </a:lnTo>
                <a:lnTo>
                  <a:pt x="4690" y="822"/>
                </a:lnTo>
                <a:lnTo>
                  <a:pt x="4690" y="817"/>
                </a:lnTo>
                <a:lnTo>
                  <a:pt x="4690" y="813"/>
                </a:lnTo>
                <a:lnTo>
                  <a:pt x="4688" y="813"/>
                </a:lnTo>
                <a:lnTo>
                  <a:pt x="4686" y="812"/>
                </a:lnTo>
                <a:lnTo>
                  <a:pt x="4686" y="808"/>
                </a:lnTo>
                <a:lnTo>
                  <a:pt x="4685" y="804"/>
                </a:lnTo>
                <a:lnTo>
                  <a:pt x="4687" y="800"/>
                </a:lnTo>
                <a:lnTo>
                  <a:pt x="4687" y="798"/>
                </a:lnTo>
                <a:lnTo>
                  <a:pt x="4683" y="792"/>
                </a:lnTo>
                <a:lnTo>
                  <a:pt x="4682" y="792"/>
                </a:lnTo>
                <a:lnTo>
                  <a:pt x="4682" y="796"/>
                </a:lnTo>
                <a:lnTo>
                  <a:pt x="4678" y="796"/>
                </a:lnTo>
                <a:lnTo>
                  <a:pt x="4681" y="798"/>
                </a:lnTo>
                <a:lnTo>
                  <a:pt x="4683" y="801"/>
                </a:lnTo>
                <a:lnTo>
                  <a:pt x="4683" y="803"/>
                </a:lnTo>
                <a:lnTo>
                  <a:pt x="4682" y="806"/>
                </a:lnTo>
                <a:lnTo>
                  <a:pt x="4682" y="807"/>
                </a:lnTo>
                <a:lnTo>
                  <a:pt x="4681" y="806"/>
                </a:lnTo>
                <a:lnTo>
                  <a:pt x="4680" y="807"/>
                </a:lnTo>
                <a:lnTo>
                  <a:pt x="4682" y="812"/>
                </a:lnTo>
                <a:lnTo>
                  <a:pt x="4683" y="812"/>
                </a:lnTo>
                <a:lnTo>
                  <a:pt x="4682" y="814"/>
                </a:lnTo>
                <a:lnTo>
                  <a:pt x="4680" y="816"/>
                </a:lnTo>
                <a:lnTo>
                  <a:pt x="4674" y="816"/>
                </a:lnTo>
                <a:lnTo>
                  <a:pt x="4674" y="810"/>
                </a:lnTo>
                <a:lnTo>
                  <a:pt x="4674" y="810"/>
                </a:lnTo>
                <a:lnTo>
                  <a:pt x="4671" y="812"/>
                </a:lnTo>
                <a:lnTo>
                  <a:pt x="4671" y="815"/>
                </a:lnTo>
                <a:lnTo>
                  <a:pt x="4672" y="818"/>
                </a:lnTo>
                <a:lnTo>
                  <a:pt x="4671" y="823"/>
                </a:lnTo>
                <a:lnTo>
                  <a:pt x="4669" y="828"/>
                </a:lnTo>
                <a:lnTo>
                  <a:pt x="4666" y="833"/>
                </a:lnTo>
                <a:lnTo>
                  <a:pt x="4666" y="834"/>
                </a:lnTo>
                <a:lnTo>
                  <a:pt x="4668" y="835"/>
                </a:lnTo>
                <a:lnTo>
                  <a:pt x="4666" y="837"/>
                </a:lnTo>
                <a:close/>
                <a:moveTo>
                  <a:pt x="4100" y="1512"/>
                </a:moveTo>
                <a:lnTo>
                  <a:pt x="4100" y="1511"/>
                </a:lnTo>
                <a:lnTo>
                  <a:pt x="4099" y="1512"/>
                </a:lnTo>
                <a:lnTo>
                  <a:pt x="4100" y="1512"/>
                </a:lnTo>
                <a:close/>
                <a:moveTo>
                  <a:pt x="4126" y="1680"/>
                </a:moveTo>
                <a:lnTo>
                  <a:pt x="4127" y="1680"/>
                </a:lnTo>
                <a:lnTo>
                  <a:pt x="4123" y="1679"/>
                </a:lnTo>
                <a:lnTo>
                  <a:pt x="4125" y="1680"/>
                </a:lnTo>
                <a:lnTo>
                  <a:pt x="4126" y="1680"/>
                </a:lnTo>
                <a:close/>
                <a:moveTo>
                  <a:pt x="4028" y="1446"/>
                </a:moveTo>
                <a:lnTo>
                  <a:pt x="4029" y="1447"/>
                </a:lnTo>
                <a:lnTo>
                  <a:pt x="4029" y="1446"/>
                </a:lnTo>
                <a:lnTo>
                  <a:pt x="4028" y="1446"/>
                </a:lnTo>
                <a:close/>
                <a:moveTo>
                  <a:pt x="4041" y="1515"/>
                </a:moveTo>
                <a:lnTo>
                  <a:pt x="4040" y="1515"/>
                </a:lnTo>
                <a:lnTo>
                  <a:pt x="4040" y="1515"/>
                </a:lnTo>
                <a:lnTo>
                  <a:pt x="4041" y="1515"/>
                </a:lnTo>
                <a:close/>
                <a:moveTo>
                  <a:pt x="4040" y="1515"/>
                </a:moveTo>
                <a:lnTo>
                  <a:pt x="4037" y="1518"/>
                </a:lnTo>
                <a:lnTo>
                  <a:pt x="4039" y="1518"/>
                </a:lnTo>
                <a:lnTo>
                  <a:pt x="4040" y="1515"/>
                </a:lnTo>
                <a:lnTo>
                  <a:pt x="4040" y="1515"/>
                </a:lnTo>
                <a:lnTo>
                  <a:pt x="4040" y="1515"/>
                </a:lnTo>
                <a:close/>
                <a:moveTo>
                  <a:pt x="4101" y="1513"/>
                </a:moveTo>
                <a:lnTo>
                  <a:pt x="4102" y="1513"/>
                </a:lnTo>
                <a:lnTo>
                  <a:pt x="4100" y="1512"/>
                </a:lnTo>
                <a:lnTo>
                  <a:pt x="4100" y="1512"/>
                </a:lnTo>
                <a:lnTo>
                  <a:pt x="4100" y="1513"/>
                </a:lnTo>
                <a:lnTo>
                  <a:pt x="4101" y="1513"/>
                </a:lnTo>
                <a:close/>
                <a:moveTo>
                  <a:pt x="4253" y="1364"/>
                </a:moveTo>
                <a:lnTo>
                  <a:pt x="4253" y="1363"/>
                </a:lnTo>
                <a:lnTo>
                  <a:pt x="4253" y="1363"/>
                </a:lnTo>
                <a:lnTo>
                  <a:pt x="4253" y="1364"/>
                </a:lnTo>
                <a:close/>
                <a:moveTo>
                  <a:pt x="4161" y="1547"/>
                </a:moveTo>
                <a:lnTo>
                  <a:pt x="4161" y="1547"/>
                </a:lnTo>
                <a:lnTo>
                  <a:pt x="4161" y="1547"/>
                </a:lnTo>
                <a:lnTo>
                  <a:pt x="4160" y="1547"/>
                </a:lnTo>
                <a:lnTo>
                  <a:pt x="4161" y="1547"/>
                </a:lnTo>
                <a:close/>
                <a:moveTo>
                  <a:pt x="4238" y="1369"/>
                </a:moveTo>
                <a:lnTo>
                  <a:pt x="4238" y="1368"/>
                </a:lnTo>
                <a:lnTo>
                  <a:pt x="4239" y="1368"/>
                </a:lnTo>
                <a:lnTo>
                  <a:pt x="4238" y="1368"/>
                </a:lnTo>
                <a:lnTo>
                  <a:pt x="4238" y="1369"/>
                </a:lnTo>
                <a:lnTo>
                  <a:pt x="4238" y="1369"/>
                </a:lnTo>
                <a:close/>
                <a:moveTo>
                  <a:pt x="4333" y="1320"/>
                </a:moveTo>
                <a:lnTo>
                  <a:pt x="4333" y="1320"/>
                </a:lnTo>
                <a:lnTo>
                  <a:pt x="4333" y="1319"/>
                </a:lnTo>
                <a:lnTo>
                  <a:pt x="4333" y="1320"/>
                </a:lnTo>
                <a:lnTo>
                  <a:pt x="4333" y="1320"/>
                </a:lnTo>
                <a:close/>
                <a:moveTo>
                  <a:pt x="4218" y="1375"/>
                </a:moveTo>
                <a:lnTo>
                  <a:pt x="4217" y="1375"/>
                </a:lnTo>
                <a:lnTo>
                  <a:pt x="4217" y="1375"/>
                </a:lnTo>
                <a:lnTo>
                  <a:pt x="4218" y="1375"/>
                </a:lnTo>
                <a:close/>
                <a:moveTo>
                  <a:pt x="4198" y="1515"/>
                </a:moveTo>
                <a:lnTo>
                  <a:pt x="4198" y="1515"/>
                </a:lnTo>
                <a:lnTo>
                  <a:pt x="4198" y="1515"/>
                </a:lnTo>
                <a:lnTo>
                  <a:pt x="4198" y="1515"/>
                </a:lnTo>
                <a:close/>
                <a:moveTo>
                  <a:pt x="4187" y="1367"/>
                </a:moveTo>
                <a:lnTo>
                  <a:pt x="4187" y="1367"/>
                </a:lnTo>
                <a:lnTo>
                  <a:pt x="4187" y="1367"/>
                </a:lnTo>
                <a:lnTo>
                  <a:pt x="4187" y="1367"/>
                </a:lnTo>
                <a:lnTo>
                  <a:pt x="4187" y="1367"/>
                </a:lnTo>
                <a:close/>
                <a:moveTo>
                  <a:pt x="4394" y="1756"/>
                </a:moveTo>
                <a:lnTo>
                  <a:pt x="4393" y="1755"/>
                </a:lnTo>
                <a:lnTo>
                  <a:pt x="4393" y="1756"/>
                </a:lnTo>
                <a:lnTo>
                  <a:pt x="4394" y="1756"/>
                </a:lnTo>
                <a:lnTo>
                  <a:pt x="4394" y="1756"/>
                </a:lnTo>
                <a:close/>
                <a:moveTo>
                  <a:pt x="4766" y="2331"/>
                </a:moveTo>
                <a:lnTo>
                  <a:pt x="4763" y="2331"/>
                </a:lnTo>
                <a:lnTo>
                  <a:pt x="4760" y="2332"/>
                </a:lnTo>
                <a:lnTo>
                  <a:pt x="4761" y="2334"/>
                </a:lnTo>
                <a:lnTo>
                  <a:pt x="4763" y="2333"/>
                </a:lnTo>
                <a:lnTo>
                  <a:pt x="4764" y="2332"/>
                </a:lnTo>
                <a:lnTo>
                  <a:pt x="4766" y="2334"/>
                </a:lnTo>
                <a:lnTo>
                  <a:pt x="4767" y="2333"/>
                </a:lnTo>
                <a:lnTo>
                  <a:pt x="4768" y="2332"/>
                </a:lnTo>
                <a:lnTo>
                  <a:pt x="4767" y="2331"/>
                </a:lnTo>
                <a:lnTo>
                  <a:pt x="4766" y="2331"/>
                </a:lnTo>
                <a:close/>
                <a:moveTo>
                  <a:pt x="4715" y="2338"/>
                </a:moveTo>
                <a:lnTo>
                  <a:pt x="4715" y="2337"/>
                </a:lnTo>
                <a:lnTo>
                  <a:pt x="4715" y="2335"/>
                </a:lnTo>
                <a:lnTo>
                  <a:pt x="4715" y="2335"/>
                </a:lnTo>
                <a:lnTo>
                  <a:pt x="4715" y="2337"/>
                </a:lnTo>
                <a:lnTo>
                  <a:pt x="4714" y="2339"/>
                </a:lnTo>
                <a:lnTo>
                  <a:pt x="4715" y="2338"/>
                </a:lnTo>
                <a:close/>
                <a:moveTo>
                  <a:pt x="4326" y="2242"/>
                </a:moveTo>
                <a:lnTo>
                  <a:pt x="4326" y="2241"/>
                </a:lnTo>
                <a:lnTo>
                  <a:pt x="4325" y="2240"/>
                </a:lnTo>
                <a:lnTo>
                  <a:pt x="4325" y="2240"/>
                </a:lnTo>
                <a:lnTo>
                  <a:pt x="4323" y="2242"/>
                </a:lnTo>
                <a:lnTo>
                  <a:pt x="4326" y="2242"/>
                </a:lnTo>
                <a:close/>
                <a:moveTo>
                  <a:pt x="4715" y="2332"/>
                </a:moveTo>
                <a:lnTo>
                  <a:pt x="4714" y="2332"/>
                </a:lnTo>
                <a:lnTo>
                  <a:pt x="4714" y="2334"/>
                </a:lnTo>
                <a:lnTo>
                  <a:pt x="4714" y="2334"/>
                </a:lnTo>
                <a:lnTo>
                  <a:pt x="4715" y="2333"/>
                </a:lnTo>
                <a:lnTo>
                  <a:pt x="4715" y="2332"/>
                </a:lnTo>
                <a:close/>
                <a:moveTo>
                  <a:pt x="4762" y="2334"/>
                </a:moveTo>
                <a:lnTo>
                  <a:pt x="4762" y="2334"/>
                </a:lnTo>
                <a:lnTo>
                  <a:pt x="4762" y="2334"/>
                </a:lnTo>
                <a:lnTo>
                  <a:pt x="4761" y="2335"/>
                </a:lnTo>
                <a:lnTo>
                  <a:pt x="4762" y="2335"/>
                </a:lnTo>
                <a:lnTo>
                  <a:pt x="4762" y="2334"/>
                </a:lnTo>
                <a:close/>
                <a:moveTo>
                  <a:pt x="4585" y="2238"/>
                </a:moveTo>
                <a:lnTo>
                  <a:pt x="4586" y="2238"/>
                </a:lnTo>
                <a:lnTo>
                  <a:pt x="4584" y="2237"/>
                </a:lnTo>
                <a:lnTo>
                  <a:pt x="4584" y="2238"/>
                </a:lnTo>
                <a:lnTo>
                  <a:pt x="4585" y="2238"/>
                </a:lnTo>
                <a:close/>
                <a:moveTo>
                  <a:pt x="4815" y="2057"/>
                </a:moveTo>
                <a:lnTo>
                  <a:pt x="4813" y="2057"/>
                </a:lnTo>
                <a:lnTo>
                  <a:pt x="4814" y="2058"/>
                </a:lnTo>
                <a:lnTo>
                  <a:pt x="4815" y="2057"/>
                </a:lnTo>
                <a:lnTo>
                  <a:pt x="4815" y="2057"/>
                </a:lnTo>
                <a:close/>
                <a:moveTo>
                  <a:pt x="4716" y="2298"/>
                </a:moveTo>
                <a:lnTo>
                  <a:pt x="4716" y="2298"/>
                </a:lnTo>
                <a:lnTo>
                  <a:pt x="4716" y="2298"/>
                </a:lnTo>
                <a:lnTo>
                  <a:pt x="4716" y="2298"/>
                </a:lnTo>
                <a:close/>
                <a:moveTo>
                  <a:pt x="4698" y="2321"/>
                </a:moveTo>
                <a:lnTo>
                  <a:pt x="4698" y="2327"/>
                </a:lnTo>
                <a:lnTo>
                  <a:pt x="4700" y="2327"/>
                </a:lnTo>
                <a:lnTo>
                  <a:pt x="4700" y="2327"/>
                </a:lnTo>
                <a:lnTo>
                  <a:pt x="4701" y="2325"/>
                </a:lnTo>
                <a:lnTo>
                  <a:pt x="4702" y="2323"/>
                </a:lnTo>
                <a:lnTo>
                  <a:pt x="4702" y="2320"/>
                </a:lnTo>
                <a:lnTo>
                  <a:pt x="4701" y="2317"/>
                </a:lnTo>
                <a:lnTo>
                  <a:pt x="4700" y="2319"/>
                </a:lnTo>
                <a:lnTo>
                  <a:pt x="4698" y="2321"/>
                </a:lnTo>
                <a:close/>
                <a:moveTo>
                  <a:pt x="4763" y="2342"/>
                </a:moveTo>
                <a:lnTo>
                  <a:pt x="4762" y="2340"/>
                </a:lnTo>
                <a:lnTo>
                  <a:pt x="4760" y="2340"/>
                </a:lnTo>
                <a:lnTo>
                  <a:pt x="4758" y="2343"/>
                </a:lnTo>
                <a:lnTo>
                  <a:pt x="4754" y="2343"/>
                </a:lnTo>
                <a:lnTo>
                  <a:pt x="4751" y="2345"/>
                </a:lnTo>
                <a:lnTo>
                  <a:pt x="4746" y="2343"/>
                </a:lnTo>
                <a:lnTo>
                  <a:pt x="4743" y="2344"/>
                </a:lnTo>
                <a:lnTo>
                  <a:pt x="4746" y="2345"/>
                </a:lnTo>
                <a:lnTo>
                  <a:pt x="4744" y="2344"/>
                </a:lnTo>
                <a:lnTo>
                  <a:pt x="4742" y="2343"/>
                </a:lnTo>
                <a:lnTo>
                  <a:pt x="4740" y="2346"/>
                </a:lnTo>
                <a:lnTo>
                  <a:pt x="4737" y="2346"/>
                </a:lnTo>
                <a:lnTo>
                  <a:pt x="4734" y="2345"/>
                </a:lnTo>
                <a:lnTo>
                  <a:pt x="4727" y="2342"/>
                </a:lnTo>
                <a:lnTo>
                  <a:pt x="4720" y="2339"/>
                </a:lnTo>
                <a:lnTo>
                  <a:pt x="4714" y="2339"/>
                </a:lnTo>
                <a:lnTo>
                  <a:pt x="4710" y="2339"/>
                </a:lnTo>
                <a:lnTo>
                  <a:pt x="4710" y="2342"/>
                </a:lnTo>
                <a:lnTo>
                  <a:pt x="4710" y="2346"/>
                </a:lnTo>
                <a:lnTo>
                  <a:pt x="4715" y="2354"/>
                </a:lnTo>
                <a:lnTo>
                  <a:pt x="4720" y="2362"/>
                </a:lnTo>
                <a:lnTo>
                  <a:pt x="4723" y="2366"/>
                </a:lnTo>
                <a:lnTo>
                  <a:pt x="4722" y="2370"/>
                </a:lnTo>
                <a:lnTo>
                  <a:pt x="4722" y="2368"/>
                </a:lnTo>
                <a:lnTo>
                  <a:pt x="4721" y="2368"/>
                </a:lnTo>
                <a:lnTo>
                  <a:pt x="4720" y="2367"/>
                </a:lnTo>
                <a:lnTo>
                  <a:pt x="4719" y="2367"/>
                </a:lnTo>
                <a:lnTo>
                  <a:pt x="4719" y="2367"/>
                </a:lnTo>
                <a:lnTo>
                  <a:pt x="4720" y="2369"/>
                </a:lnTo>
                <a:lnTo>
                  <a:pt x="4720" y="2371"/>
                </a:lnTo>
                <a:lnTo>
                  <a:pt x="4723" y="2378"/>
                </a:lnTo>
                <a:lnTo>
                  <a:pt x="4725" y="2382"/>
                </a:lnTo>
                <a:lnTo>
                  <a:pt x="4728" y="2387"/>
                </a:lnTo>
                <a:lnTo>
                  <a:pt x="4731" y="2387"/>
                </a:lnTo>
                <a:lnTo>
                  <a:pt x="4731" y="2388"/>
                </a:lnTo>
                <a:lnTo>
                  <a:pt x="4733" y="2388"/>
                </a:lnTo>
                <a:lnTo>
                  <a:pt x="4739" y="2389"/>
                </a:lnTo>
                <a:lnTo>
                  <a:pt x="4746" y="2389"/>
                </a:lnTo>
                <a:lnTo>
                  <a:pt x="4746" y="2387"/>
                </a:lnTo>
                <a:lnTo>
                  <a:pt x="4747" y="2384"/>
                </a:lnTo>
                <a:lnTo>
                  <a:pt x="4746" y="2383"/>
                </a:lnTo>
                <a:lnTo>
                  <a:pt x="4745" y="2381"/>
                </a:lnTo>
                <a:lnTo>
                  <a:pt x="4747" y="2382"/>
                </a:lnTo>
                <a:lnTo>
                  <a:pt x="4747" y="2383"/>
                </a:lnTo>
                <a:lnTo>
                  <a:pt x="4749" y="2383"/>
                </a:lnTo>
                <a:lnTo>
                  <a:pt x="4749" y="2383"/>
                </a:lnTo>
                <a:lnTo>
                  <a:pt x="4747" y="2381"/>
                </a:lnTo>
                <a:lnTo>
                  <a:pt x="4747" y="2381"/>
                </a:lnTo>
                <a:lnTo>
                  <a:pt x="4750" y="2379"/>
                </a:lnTo>
                <a:lnTo>
                  <a:pt x="4750" y="2379"/>
                </a:lnTo>
                <a:lnTo>
                  <a:pt x="4751" y="2378"/>
                </a:lnTo>
                <a:lnTo>
                  <a:pt x="4751" y="2378"/>
                </a:lnTo>
                <a:lnTo>
                  <a:pt x="4751" y="2377"/>
                </a:lnTo>
                <a:lnTo>
                  <a:pt x="4757" y="2377"/>
                </a:lnTo>
                <a:lnTo>
                  <a:pt x="4758" y="2378"/>
                </a:lnTo>
                <a:lnTo>
                  <a:pt x="4760" y="2369"/>
                </a:lnTo>
                <a:lnTo>
                  <a:pt x="4762" y="2360"/>
                </a:lnTo>
                <a:lnTo>
                  <a:pt x="4763" y="2362"/>
                </a:lnTo>
                <a:lnTo>
                  <a:pt x="4763" y="2367"/>
                </a:lnTo>
                <a:lnTo>
                  <a:pt x="4766" y="2367"/>
                </a:lnTo>
                <a:lnTo>
                  <a:pt x="4763" y="2357"/>
                </a:lnTo>
                <a:lnTo>
                  <a:pt x="4763" y="2342"/>
                </a:lnTo>
                <a:close/>
                <a:moveTo>
                  <a:pt x="4756" y="2378"/>
                </a:moveTo>
                <a:lnTo>
                  <a:pt x="4756" y="2378"/>
                </a:lnTo>
                <a:lnTo>
                  <a:pt x="4755" y="2379"/>
                </a:lnTo>
                <a:lnTo>
                  <a:pt x="4754" y="2379"/>
                </a:lnTo>
                <a:lnTo>
                  <a:pt x="4756" y="2381"/>
                </a:lnTo>
                <a:lnTo>
                  <a:pt x="4758" y="2382"/>
                </a:lnTo>
                <a:lnTo>
                  <a:pt x="4758" y="2382"/>
                </a:lnTo>
                <a:lnTo>
                  <a:pt x="4758" y="2381"/>
                </a:lnTo>
                <a:lnTo>
                  <a:pt x="4760" y="2382"/>
                </a:lnTo>
                <a:lnTo>
                  <a:pt x="4760" y="2379"/>
                </a:lnTo>
                <a:lnTo>
                  <a:pt x="4756" y="2379"/>
                </a:lnTo>
                <a:lnTo>
                  <a:pt x="4756" y="2378"/>
                </a:lnTo>
                <a:close/>
                <a:moveTo>
                  <a:pt x="4701" y="2317"/>
                </a:moveTo>
                <a:lnTo>
                  <a:pt x="4702" y="2316"/>
                </a:lnTo>
                <a:lnTo>
                  <a:pt x="4702" y="2315"/>
                </a:lnTo>
                <a:lnTo>
                  <a:pt x="4701" y="2315"/>
                </a:lnTo>
                <a:lnTo>
                  <a:pt x="4701" y="2317"/>
                </a:lnTo>
                <a:close/>
                <a:moveTo>
                  <a:pt x="4759" y="2379"/>
                </a:moveTo>
                <a:lnTo>
                  <a:pt x="4760" y="2379"/>
                </a:lnTo>
                <a:lnTo>
                  <a:pt x="4758" y="2378"/>
                </a:lnTo>
                <a:lnTo>
                  <a:pt x="4758" y="2379"/>
                </a:lnTo>
                <a:lnTo>
                  <a:pt x="4759" y="2379"/>
                </a:lnTo>
                <a:close/>
                <a:moveTo>
                  <a:pt x="4761" y="2374"/>
                </a:moveTo>
                <a:lnTo>
                  <a:pt x="4761" y="2374"/>
                </a:lnTo>
                <a:lnTo>
                  <a:pt x="4762" y="2373"/>
                </a:lnTo>
                <a:lnTo>
                  <a:pt x="4762" y="2373"/>
                </a:lnTo>
                <a:lnTo>
                  <a:pt x="4762" y="2371"/>
                </a:lnTo>
                <a:lnTo>
                  <a:pt x="4761" y="2371"/>
                </a:lnTo>
                <a:lnTo>
                  <a:pt x="4761" y="2374"/>
                </a:lnTo>
                <a:close/>
                <a:moveTo>
                  <a:pt x="4429" y="1673"/>
                </a:moveTo>
                <a:lnTo>
                  <a:pt x="4430" y="1670"/>
                </a:lnTo>
                <a:lnTo>
                  <a:pt x="4429" y="1671"/>
                </a:lnTo>
                <a:lnTo>
                  <a:pt x="4429" y="1676"/>
                </a:lnTo>
                <a:lnTo>
                  <a:pt x="4429" y="1673"/>
                </a:lnTo>
                <a:close/>
                <a:moveTo>
                  <a:pt x="4750" y="2383"/>
                </a:moveTo>
                <a:lnTo>
                  <a:pt x="4750" y="2383"/>
                </a:lnTo>
                <a:lnTo>
                  <a:pt x="4750" y="2383"/>
                </a:lnTo>
                <a:lnTo>
                  <a:pt x="4750" y="2383"/>
                </a:lnTo>
                <a:close/>
                <a:moveTo>
                  <a:pt x="4750" y="2382"/>
                </a:moveTo>
                <a:lnTo>
                  <a:pt x="4749" y="2383"/>
                </a:lnTo>
                <a:lnTo>
                  <a:pt x="4750" y="2383"/>
                </a:lnTo>
                <a:lnTo>
                  <a:pt x="4750" y="2382"/>
                </a:lnTo>
                <a:close/>
                <a:moveTo>
                  <a:pt x="4763" y="2331"/>
                </a:moveTo>
                <a:lnTo>
                  <a:pt x="4763" y="2328"/>
                </a:lnTo>
                <a:lnTo>
                  <a:pt x="4763" y="2323"/>
                </a:lnTo>
                <a:lnTo>
                  <a:pt x="4762" y="2323"/>
                </a:lnTo>
                <a:lnTo>
                  <a:pt x="4760" y="2323"/>
                </a:lnTo>
                <a:lnTo>
                  <a:pt x="4758" y="2323"/>
                </a:lnTo>
                <a:lnTo>
                  <a:pt x="4756" y="2325"/>
                </a:lnTo>
                <a:lnTo>
                  <a:pt x="4759" y="2328"/>
                </a:lnTo>
                <a:lnTo>
                  <a:pt x="4762" y="2331"/>
                </a:lnTo>
                <a:lnTo>
                  <a:pt x="4762" y="2331"/>
                </a:lnTo>
                <a:lnTo>
                  <a:pt x="4763" y="2331"/>
                </a:lnTo>
                <a:close/>
                <a:moveTo>
                  <a:pt x="4554" y="1869"/>
                </a:moveTo>
                <a:lnTo>
                  <a:pt x="4554" y="1870"/>
                </a:lnTo>
                <a:lnTo>
                  <a:pt x="4556" y="1869"/>
                </a:lnTo>
                <a:lnTo>
                  <a:pt x="4554" y="1869"/>
                </a:lnTo>
                <a:close/>
                <a:moveTo>
                  <a:pt x="4586" y="1875"/>
                </a:moveTo>
                <a:lnTo>
                  <a:pt x="4586" y="1875"/>
                </a:lnTo>
                <a:lnTo>
                  <a:pt x="4586" y="1875"/>
                </a:lnTo>
                <a:lnTo>
                  <a:pt x="4586" y="1875"/>
                </a:lnTo>
                <a:lnTo>
                  <a:pt x="4586" y="1875"/>
                </a:lnTo>
                <a:close/>
                <a:moveTo>
                  <a:pt x="4594" y="1873"/>
                </a:moveTo>
                <a:lnTo>
                  <a:pt x="4594" y="1874"/>
                </a:lnTo>
                <a:lnTo>
                  <a:pt x="4595" y="1873"/>
                </a:lnTo>
                <a:lnTo>
                  <a:pt x="4594" y="1873"/>
                </a:lnTo>
                <a:close/>
                <a:moveTo>
                  <a:pt x="4447" y="1902"/>
                </a:moveTo>
                <a:lnTo>
                  <a:pt x="4448" y="1901"/>
                </a:lnTo>
                <a:lnTo>
                  <a:pt x="4447" y="1901"/>
                </a:lnTo>
                <a:lnTo>
                  <a:pt x="4445" y="1901"/>
                </a:lnTo>
                <a:lnTo>
                  <a:pt x="4445" y="1904"/>
                </a:lnTo>
                <a:lnTo>
                  <a:pt x="4446" y="1905"/>
                </a:lnTo>
                <a:lnTo>
                  <a:pt x="4447" y="1903"/>
                </a:lnTo>
                <a:lnTo>
                  <a:pt x="4447" y="1902"/>
                </a:lnTo>
                <a:close/>
                <a:moveTo>
                  <a:pt x="4475" y="1917"/>
                </a:moveTo>
                <a:lnTo>
                  <a:pt x="4473" y="1917"/>
                </a:lnTo>
                <a:lnTo>
                  <a:pt x="4473" y="1919"/>
                </a:lnTo>
                <a:lnTo>
                  <a:pt x="4475" y="1917"/>
                </a:lnTo>
                <a:lnTo>
                  <a:pt x="4475" y="1917"/>
                </a:lnTo>
                <a:close/>
                <a:moveTo>
                  <a:pt x="4790" y="2029"/>
                </a:moveTo>
                <a:lnTo>
                  <a:pt x="4790" y="2029"/>
                </a:lnTo>
                <a:lnTo>
                  <a:pt x="4790" y="2029"/>
                </a:lnTo>
                <a:lnTo>
                  <a:pt x="4790" y="2029"/>
                </a:lnTo>
                <a:lnTo>
                  <a:pt x="4790" y="2029"/>
                </a:lnTo>
                <a:close/>
                <a:moveTo>
                  <a:pt x="4672" y="1873"/>
                </a:moveTo>
                <a:lnTo>
                  <a:pt x="4672" y="1873"/>
                </a:lnTo>
                <a:lnTo>
                  <a:pt x="4672" y="1873"/>
                </a:lnTo>
                <a:lnTo>
                  <a:pt x="4672" y="1873"/>
                </a:lnTo>
                <a:lnTo>
                  <a:pt x="4672" y="1873"/>
                </a:lnTo>
                <a:lnTo>
                  <a:pt x="4672" y="1872"/>
                </a:lnTo>
                <a:lnTo>
                  <a:pt x="4672" y="1873"/>
                </a:lnTo>
                <a:close/>
                <a:moveTo>
                  <a:pt x="4681" y="1856"/>
                </a:moveTo>
                <a:lnTo>
                  <a:pt x="4681" y="1856"/>
                </a:lnTo>
                <a:lnTo>
                  <a:pt x="4681" y="1856"/>
                </a:lnTo>
                <a:lnTo>
                  <a:pt x="4681" y="1856"/>
                </a:lnTo>
                <a:lnTo>
                  <a:pt x="4681" y="1856"/>
                </a:lnTo>
                <a:close/>
                <a:moveTo>
                  <a:pt x="4264" y="2094"/>
                </a:moveTo>
                <a:lnTo>
                  <a:pt x="4264" y="2094"/>
                </a:lnTo>
                <a:lnTo>
                  <a:pt x="4264" y="2094"/>
                </a:lnTo>
                <a:lnTo>
                  <a:pt x="4264" y="2094"/>
                </a:lnTo>
                <a:close/>
                <a:moveTo>
                  <a:pt x="4257" y="2090"/>
                </a:moveTo>
                <a:lnTo>
                  <a:pt x="4257" y="2094"/>
                </a:lnTo>
                <a:lnTo>
                  <a:pt x="4259" y="2090"/>
                </a:lnTo>
                <a:lnTo>
                  <a:pt x="4257" y="2090"/>
                </a:lnTo>
                <a:close/>
                <a:moveTo>
                  <a:pt x="4427" y="1917"/>
                </a:moveTo>
                <a:lnTo>
                  <a:pt x="4428" y="1918"/>
                </a:lnTo>
                <a:lnTo>
                  <a:pt x="4429" y="1917"/>
                </a:lnTo>
                <a:lnTo>
                  <a:pt x="4427" y="1917"/>
                </a:lnTo>
                <a:close/>
                <a:moveTo>
                  <a:pt x="4257" y="2095"/>
                </a:moveTo>
                <a:lnTo>
                  <a:pt x="4257" y="2095"/>
                </a:lnTo>
                <a:lnTo>
                  <a:pt x="4257" y="2095"/>
                </a:lnTo>
                <a:lnTo>
                  <a:pt x="4257" y="2095"/>
                </a:lnTo>
                <a:close/>
                <a:moveTo>
                  <a:pt x="4264" y="2094"/>
                </a:moveTo>
                <a:lnTo>
                  <a:pt x="4264" y="2094"/>
                </a:lnTo>
                <a:lnTo>
                  <a:pt x="4264" y="2094"/>
                </a:lnTo>
                <a:lnTo>
                  <a:pt x="4264" y="2094"/>
                </a:lnTo>
                <a:lnTo>
                  <a:pt x="4264" y="2094"/>
                </a:lnTo>
                <a:close/>
                <a:moveTo>
                  <a:pt x="4257" y="2094"/>
                </a:moveTo>
                <a:lnTo>
                  <a:pt x="4257" y="2095"/>
                </a:lnTo>
                <a:lnTo>
                  <a:pt x="4257" y="2094"/>
                </a:lnTo>
                <a:lnTo>
                  <a:pt x="4257" y="2094"/>
                </a:lnTo>
                <a:close/>
                <a:moveTo>
                  <a:pt x="4419" y="1933"/>
                </a:moveTo>
                <a:lnTo>
                  <a:pt x="4419" y="1933"/>
                </a:lnTo>
                <a:lnTo>
                  <a:pt x="4419" y="1933"/>
                </a:lnTo>
                <a:lnTo>
                  <a:pt x="4419" y="1933"/>
                </a:lnTo>
                <a:lnTo>
                  <a:pt x="4419" y="1933"/>
                </a:lnTo>
                <a:close/>
                <a:moveTo>
                  <a:pt x="4264" y="2094"/>
                </a:moveTo>
                <a:lnTo>
                  <a:pt x="4264" y="2094"/>
                </a:lnTo>
                <a:lnTo>
                  <a:pt x="4264" y="2094"/>
                </a:lnTo>
                <a:lnTo>
                  <a:pt x="4264" y="2094"/>
                </a:lnTo>
                <a:lnTo>
                  <a:pt x="4264" y="2094"/>
                </a:lnTo>
                <a:close/>
                <a:moveTo>
                  <a:pt x="4281" y="2213"/>
                </a:moveTo>
                <a:lnTo>
                  <a:pt x="4281" y="2213"/>
                </a:lnTo>
                <a:lnTo>
                  <a:pt x="4281" y="2213"/>
                </a:lnTo>
                <a:lnTo>
                  <a:pt x="4281" y="2213"/>
                </a:lnTo>
                <a:lnTo>
                  <a:pt x="4281" y="2213"/>
                </a:lnTo>
                <a:close/>
                <a:moveTo>
                  <a:pt x="4719" y="2300"/>
                </a:moveTo>
                <a:lnTo>
                  <a:pt x="4720" y="2300"/>
                </a:lnTo>
                <a:lnTo>
                  <a:pt x="4718" y="2298"/>
                </a:lnTo>
                <a:lnTo>
                  <a:pt x="4718" y="2299"/>
                </a:lnTo>
                <a:lnTo>
                  <a:pt x="4719" y="2300"/>
                </a:lnTo>
                <a:close/>
                <a:moveTo>
                  <a:pt x="4315" y="1587"/>
                </a:moveTo>
                <a:lnTo>
                  <a:pt x="4316" y="1585"/>
                </a:lnTo>
                <a:lnTo>
                  <a:pt x="4318" y="1584"/>
                </a:lnTo>
                <a:lnTo>
                  <a:pt x="4318" y="1583"/>
                </a:lnTo>
                <a:lnTo>
                  <a:pt x="4317" y="1583"/>
                </a:lnTo>
                <a:lnTo>
                  <a:pt x="4316" y="1585"/>
                </a:lnTo>
                <a:lnTo>
                  <a:pt x="4315" y="1587"/>
                </a:lnTo>
                <a:close/>
                <a:moveTo>
                  <a:pt x="4322" y="1592"/>
                </a:moveTo>
                <a:lnTo>
                  <a:pt x="4322" y="1592"/>
                </a:lnTo>
                <a:lnTo>
                  <a:pt x="4320" y="1592"/>
                </a:lnTo>
                <a:lnTo>
                  <a:pt x="4319" y="1592"/>
                </a:lnTo>
                <a:lnTo>
                  <a:pt x="4322" y="1592"/>
                </a:lnTo>
                <a:close/>
                <a:moveTo>
                  <a:pt x="4311" y="1338"/>
                </a:moveTo>
                <a:lnTo>
                  <a:pt x="4314" y="1338"/>
                </a:lnTo>
                <a:lnTo>
                  <a:pt x="4314" y="1337"/>
                </a:lnTo>
                <a:lnTo>
                  <a:pt x="4313" y="1338"/>
                </a:lnTo>
                <a:lnTo>
                  <a:pt x="4311" y="1338"/>
                </a:lnTo>
                <a:close/>
                <a:moveTo>
                  <a:pt x="4320" y="1645"/>
                </a:moveTo>
                <a:lnTo>
                  <a:pt x="4320" y="1645"/>
                </a:lnTo>
                <a:lnTo>
                  <a:pt x="4321" y="1643"/>
                </a:lnTo>
                <a:lnTo>
                  <a:pt x="4320" y="1641"/>
                </a:lnTo>
                <a:lnTo>
                  <a:pt x="4320" y="1641"/>
                </a:lnTo>
                <a:lnTo>
                  <a:pt x="4320" y="1645"/>
                </a:lnTo>
                <a:close/>
                <a:moveTo>
                  <a:pt x="4325" y="1634"/>
                </a:moveTo>
                <a:lnTo>
                  <a:pt x="4325" y="1632"/>
                </a:lnTo>
                <a:lnTo>
                  <a:pt x="4321" y="1632"/>
                </a:lnTo>
                <a:lnTo>
                  <a:pt x="4325" y="1634"/>
                </a:lnTo>
                <a:close/>
                <a:moveTo>
                  <a:pt x="4379" y="1702"/>
                </a:moveTo>
                <a:lnTo>
                  <a:pt x="4380" y="1701"/>
                </a:lnTo>
                <a:lnTo>
                  <a:pt x="4381" y="1699"/>
                </a:lnTo>
                <a:lnTo>
                  <a:pt x="4381" y="1699"/>
                </a:lnTo>
                <a:lnTo>
                  <a:pt x="4380" y="1698"/>
                </a:lnTo>
                <a:lnTo>
                  <a:pt x="4379" y="1702"/>
                </a:lnTo>
                <a:close/>
                <a:moveTo>
                  <a:pt x="4309" y="1570"/>
                </a:moveTo>
                <a:lnTo>
                  <a:pt x="4308" y="1570"/>
                </a:lnTo>
                <a:lnTo>
                  <a:pt x="4308" y="1572"/>
                </a:lnTo>
                <a:lnTo>
                  <a:pt x="4309" y="1574"/>
                </a:lnTo>
                <a:lnTo>
                  <a:pt x="4310" y="1574"/>
                </a:lnTo>
                <a:lnTo>
                  <a:pt x="4312" y="1573"/>
                </a:lnTo>
                <a:lnTo>
                  <a:pt x="4310" y="1572"/>
                </a:lnTo>
                <a:lnTo>
                  <a:pt x="4309" y="1570"/>
                </a:lnTo>
                <a:close/>
                <a:moveTo>
                  <a:pt x="4326" y="1631"/>
                </a:moveTo>
                <a:lnTo>
                  <a:pt x="4324" y="1631"/>
                </a:lnTo>
                <a:lnTo>
                  <a:pt x="4324" y="1631"/>
                </a:lnTo>
                <a:lnTo>
                  <a:pt x="4328" y="1631"/>
                </a:lnTo>
                <a:lnTo>
                  <a:pt x="4326" y="1631"/>
                </a:lnTo>
                <a:close/>
                <a:moveTo>
                  <a:pt x="4333" y="1587"/>
                </a:moveTo>
                <a:lnTo>
                  <a:pt x="4333" y="1586"/>
                </a:lnTo>
                <a:lnTo>
                  <a:pt x="4332" y="1586"/>
                </a:lnTo>
                <a:lnTo>
                  <a:pt x="4331" y="1587"/>
                </a:lnTo>
                <a:lnTo>
                  <a:pt x="4333" y="1587"/>
                </a:lnTo>
                <a:close/>
                <a:moveTo>
                  <a:pt x="2825" y="488"/>
                </a:moveTo>
                <a:lnTo>
                  <a:pt x="2828" y="487"/>
                </a:lnTo>
                <a:lnTo>
                  <a:pt x="2825" y="487"/>
                </a:lnTo>
                <a:lnTo>
                  <a:pt x="2825" y="488"/>
                </a:lnTo>
                <a:close/>
                <a:moveTo>
                  <a:pt x="4401" y="1708"/>
                </a:moveTo>
                <a:lnTo>
                  <a:pt x="4401" y="1708"/>
                </a:lnTo>
                <a:lnTo>
                  <a:pt x="4401" y="1708"/>
                </a:lnTo>
                <a:lnTo>
                  <a:pt x="4402" y="1706"/>
                </a:lnTo>
                <a:lnTo>
                  <a:pt x="4403" y="1705"/>
                </a:lnTo>
                <a:lnTo>
                  <a:pt x="4403" y="1704"/>
                </a:lnTo>
                <a:lnTo>
                  <a:pt x="4402" y="1704"/>
                </a:lnTo>
                <a:lnTo>
                  <a:pt x="4399" y="1704"/>
                </a:lnTo>
                <a:lnTo>
                  <a:pt x="4397" y="1704"/>
                </a:lnTo>
                <a:lnTo>
                  <a:pt x="4396" y="1708"/>
                </a:lnTo>
                <a:lnTo>
                  <a:pt x="4400" y="1708"/>
                </a:lnTo>
                <a:lnTo>
                  <a:pt x="4401" y="1708"/>
                </a:lnTo>
                <a:close/>
                <a:moveTo>
                  <a:pt x="4429" y="1676"/>
                </a:moveTo>
                <a:lnTo>
                  <a:pt x="4429" y="1676"/>
                </a:lnTo>
                <a:lnTo>
                  <a:pt x="4429" y="1676"/>
                </a:lnTo>
                <a:lnTo>
                  <a:pt x="4429" y="1676"/>
                </a:lnTo>
                <a:close/>
                <a:moveTo>
                  <a:pt x="4393" y="1752"/>
                </a:moveTo>
                <a:lnTo>
                  <a:pt x="4393" y="1752"/>
                </a:lnTo>
                <a:lnTo>
                  <a:pt x="4393" y="1753"/>
                </a:lnTo>
                <a:lnTo>
                  <a:pt x="4393" y="1752"/>
                </a:lnTo>
                <a:lnTo>
                  <a:pt x="4393" y="1752"/>
                </a:lnTo>
                <a:close/>
                <a:moveTo>
                  <a:pt x="4393" y="1753"/>
                </a:moveTo>
                <a:lnTo>
                  <a:pt x="4394" y="1754"/>
                </a:lnTo>
                <a:lnTo>
                  <a:pt x="4394" y="1756"/>
                </a:lnTo>
                <a:lnTo>
                  <a:pt x="4396" y="1756"/>
                </a:lnTo>
                <a:lnTo>
                  <a:pt x="4393" y="1753"/>
                </a:lnTo>
                <a:close/>
                <a:moveTo>
                  <a:pt x="4349" y="1694"/>
                </a:moveTo>
                <a:lnTo>
                  <a:pt x="4349" y="1696"/>
                </a:lnTo>
                <a:lnTo>
                  <a:pt x="4349" y="1696"/>
                </a:lnTo>
                <a:lnTo>
                  <a:pt x="4349" y="1699"/>
                </a:lnTo>
                <a:lnTo>
                  <a:pt x="4351" y="1702"/>
                </a:lnTo>
                <a:lnTo>
                  <a:pt x="4352" y="1705"/>
                </a:lnTo>
                <a:lnTo>
                  <a:pt x="4349" y="1703"/>
                </a:lnTo>
                <a:lnTo>
                  <a:pt x="4348" y="1704"/>
                </a:lnTo>
                <a:lnTo>
                  <a:pt x="4348" y="1706"/>
                </a:lnTo>
                <a:lnTo>
                  <a:pt x="4347" y="1708"/>
                </a:lnTo>
                <a:lnTo>
                  <a:pt x="4345" y="1711"/>
                </a:lnTo>
                <a:lnTo>
                  <a:pt x="4345" y="1721"/>
                </a:lnTo>
                <a:lnTo>
                  <a:pt x="4345" y="1722"/>
                </a:lnTo>
                <a:lnTo>
                  <a:pt x="4344" y="1722"/>
                </a:lnTo>
                <a:lnTo>
                  <a:pt x="4343" y="1725"/>
                </a:lnTo>
                <a:lnTo>
                  <a:pt x="4341" y="1729"/>
                </a:lnTo>
                <a:lnTo>
                  <a:pt x="4340" y="1731"/>
                </a:lnTo>
                <a:lnTo>
                  <a:pt x="4339" y="1733"/>
                </a:lnTo>
                <a:lnTo>
                  <a:pt x="4337" y="1732"/>
                </a:lnTo>
                <a:lnTo>
                  <a:pt x="4336" y="1732"/>
                </a:lnTo>
                <a:lnTo>
                  <a:pt x="4333" y="1732"/>
                </a:lnTo>
                <a:lnTo>
                  <a:pt x="4333" y="1733"/>
                </a:lnTo>
                <a:lnTo>
                  <a:pt x="4333" y="1740"/>
                </a:lnTo>
                <a:lnTo>
                  <a:pt x="4339" y="1740"/>
                </a:lnTo>
                <a:lnTo>
                  <a:pt x="4337" y="1743"/>
                </a:lnTo>
                <a:lnTo>
                  <a:pt x="4339" y="1745"/>
                </a:lnTo>
                <a:lnTo>
                  <a:pt x="4342" y="1744"/>
                </a:lnTo>
                <a:lnTo>
                  <a:pt x="4345" y="1744"/>
                </a:lnTo>
                <a:lnTo>
                  <a:pt x="4347" y="1744"/>
                </a:lnTo>
                <a:lnTo>
                  <a:pt x="4348" y="1745"/>
                </a:lnTo>
                <a:lnTo>
                  <a:pt x="4348" y="1746"/>
                </a:lnTo>
                <a:lnTo>
                  <a:pt x="4347" y="1747"/>
                </a:lnTo>
                <a:lnTo>
                  <a:pt x="4346" y="1749"/>
                </a:lnTo>
                <a:lnTo>
                  <a:pt x="4345" y="1751"/>
                </a:lnTo>
                <a:lnTo>
                  <a:pt x="4345" y="1756"/>
                </a:lnTo>
                <a:lnTo>
                  <a:pt x="4345" y="1765"/>
                </a:lnTo>
                <a:lnTo>
                  <a:pt x="4344" y="1774"/>
                </a:lnTo>
                <a:lnTo>
                  <a:pt x="4349" y="1780"/>
                </a:lnTo>
                <a:lnTo>
                  <a:pt x="4352" y="1780"/>
                </a:lnTo>
                <a:lnTo>
                  <a:pt x="4352" y="1777"/>
                </a:lnTo>
                <a:lnTo>
                  <a:pt x="4353" y="1775"/>
                </a:lnTo>
                <a:lnTo>
                  <a:pt x="4354" y="1775"/>
                </a:lnTo>
                <a:lnTo>
                  <a:pt x="4356" y="1775"/>
                </a:lnTo>
                <a:lnTo>
                  <a:pt x="4360" y="1774"/>
                </a:lnTo>
                <a:lnTo>
                  <a:pt x="4360" y="1775"/>
                </a:lnTo>
                <a:lnTo>
                  <a:pt x="4360" y="1775"/>
                </a:lnTo>
                <a:lnTo>
                  <a:pt x="4359" y="1768"/>
                </a:lnTo>
                <a:lnTo>
                  <a:pt x="4361" y="1762"/>
                </a:lnTo>
                <a:lnTo>
                  <a:pt x="4360" y="1757"/>
                </a:lnTo>
                <a:lnTo>
                  <a:pt x="4360" y="1752"/>
                </a:lnTo>
                <a:lnTo>
                  <a:pt x="4358" y="1750"/>
                </a:lnTo>
                <a:lnTo>
                  <a:pt x="4357" y="1747"/>
                </a:lnTo>
                <a:lnTo>
                  <a:pt x="4357" y="1740"/>
                </a:lnTo>
                <a:lnTo>
                  <a:pt x="4357" y="1737"/>
                </a:lnTo>
                <a:lnTo>
                  <a:pt x="4365" y="1731"/>
                </a:lnTo>
                <a:lnTo>
                  <a:pt x="4367" y="1732"/>
                </a:lnTo>
                <a:lnTo>
                  <a:pt x="4369" y="1732"/>
                </a:lnTo>
                <a:lnTo>
                  <a:pt x="4369" y="1733"/>
                </a:lnTo>
                <a:lnTo>
                  <a:pt x="4369" y="1733"/>
                </a:lnTo>
                <a:lnTo>
                  <a:pt x="4369" y="1740"/>
                </a:lnTo>
                <a:lnTo>
                  <a:pt x="4367" y="1741"/>
                </a:lnTo>
                <a:lnTo>
                  <a:pt x="4365" y="1741"/>
                </a:lnTo>
                <a:lnTo>
                  <a:pt x="4365" y="1745"/>
                </a:lnTo>
                <a:lnTo>
                  <a:pt x="4369" y="1748"/>
                </a:lnTo>
                <a:lnTo>
                  <a:pt x="4373" y="1751"/>
                </a:lnTo>
                <a:lnTo>
                  <a:pt x="4376" y="1752"/>
                </a:lnTo>
                <a:lnTo>
                  <a:pt x="4378" y="1752"/>
                </a:lnTo>
                <a:lnTo>
                  <a:pt x="4375" y="1762"/>
                </a:lnTo>
                <a:lnTo>
                  <a:pt x="4379" y="1764"/>
                </a:lnTo>
                <a:lnTo>
                  <a:pt x="4382" y="1764"/>
                </a:lnTo>
                <a:lnTo>
                  <a:pt x="4384" y="1763"/>
                </a:lnTo>
                <a:lnTo>
                  <a:pt x="4385" y="1763"/>
                </a:lnTo>
                <a:lnTo>
                  <a:pt x="4384" y="1762"/>
                </a:lnTo>
                <a:lnTo>
                  <a:pt x="4382" y="1762"/>
                </a:lnTo>
                <a:lnTo>
                  <a:pt x="4384" y="1761"/>
                </a:lnTo>
                <a:lnTo>
                  <a:pt x="4385" y="1761"/>
                </a:lnTo>
                <a:lnTo>
                  <a:pt x="4391" y="1760"/>
                </a:lnTo>
                <a:lnTo>
                  <a:pt x="4393" y="1760"/>
                </a:lnTo>
                <a:lnTo>
                  <a:pt x="4393" y="1756"/>
                </a:lnTo>
                <a:lnTo>
                  <a:pt x="4389" y="1756"/>
                </a:lnTo>
                <a:lnTo>
                  <a:pt x="4389" y="1751"/>
                </a:lnTo>
                <a:lnTo>
                  <a:pt x="4387" y="1749"/>
                </a:lnTo>
                <a:lnTo>
                  <a:pt x="4385" y="1747"/>
                </a:lnTo>
                <a:lnTo>
                  <a:pt x="4385" y="1741"/>
                </a:lnTo>
                <a:lnTo>
                  <a:pt x="4387" y="1740"/>
                </a:lnTo>
                <a:lnTo>
                  <a:pt x="4389" y="1739"/>
                </a:lnTo>
                <a:lnTo>
                  <a:pt x="4387" y="1738"/>
                </a:lnTo>
                <a:lnTo>
                  <a:pt x="4385" y="1737"/>
                </a:lnTo>
                <a:lnTo>
                  <a:pt x="4385" y="1736"/>
                </a:lnTo>
                <a:lnTo>
                  <a:pt x="4381" y="1732"/>
                </a:lnTo>
                <a:lnTo>
                  <a:pt x="4381" y="1730"/>
                </a:lnTo>
                <a:lnTo>
                  <a:pt x="4381" y="1728"/>
                </a:lnTo>
                <a:lnTo>
                  <a:pt x="4379" y="1726"/>
                </a:lnTo>
                <a:lnTo>
                  <a:pt x="4377" y="1726"/>
                </a:lnTo>
                <a:lnTo>
                  <a:pt x="4375" y="1724"/>
                </a:lnTo>
                <a:lnTo>
                  <a:pt x="4373" y="1724"/>
                </a:lnTo>
                <a:lnTo>
                  <a:pt x="4373" y="1719"/>
                </a:lnTo>
                <a:lnTo>
                  <a:pt x="4376" y="1720"/>
                </a:lnTo>
                <a:lnTo>
                  <a:pt x="4378" y="1721"/>
                </a:lnTo>
                <a:lnTo>
                  <a:pt x="4380" y="1719"/>
                </a:lnTo>
                <a:lnTo>
                  <a:pt x="4381" y="1717"/>
                </a:lnTo>
                <a:lnTo>
                  <a:pt x="4389" y="1715"/>
                </a:lnTo>
                <a:lnTo>
                  <a:pt x="4396" y="1708"/>
                </a:lnTo>
                <a:lnTo>
                  <a:pt x="4386" y="1708"/>
                </a:lnTo>
                <a:lnTo>
                  <a:pt x="4386" y="1708"/>
                </a:lnTo>
                <a:lnTo>
                  <a:pt x="4385" y="1708"/>
                </a:lnTo>
                <a:lnTo>
                  <a:pt x="4381" y="1708"/>
                </a:lnTo>
                <a:lnTo>
                  <a:pt x="4377" y="1708"/>
                </a:lnTo>
                <a:lnTo>
                  <a:pt x="4377" y="1705"/>
                </a:lnTo>
                <a:lnTo>
                  <a:pt x="4374" y="1706"/>
                </a:lnTo>
                <a:lnTo>
                  <a:pt x="4372" y="1710"/>
                </a:lnTo>
                <a:lnTo>
                  <a:pt x="4370" y="1716"/>
                </a:lnTo>
                <a:lnTo>
                  <a:pt x="4366" y="1716"/>
                </a:lnTo>
                <a:lnTo>
                  <a:pt x="4363" y="1716"/>
                </a:lnTo>
                <a:lnTo>
                  <a:pt x="4363" y="1712"/>
                </a:lnTo>
                <a:lnTo>
                  <a:pt x="4362" y="1708"/>
                </a:lnTo>
                <a:lnTo>
                  <a:pt x="4359" y="1706"/>
                </a:lnTo>
                <a:lnTo>
                  <a:pt x="4357" y="1704"/>
                </a:lnTo>
                <a:lnTo>
                  <a:pt x="4356" y="1702"/>
                </a:lnTo>
                <a:lnTo>
                  <a:pt x="4355" y="1699"/>
                </a:lnTo>
                <a:lnTo>
                  <a:pt x="4355" y="1695"/>
                </a:lnTo>
                <a:lnTo>
                  <a:pt x="4355" y="1693"/>
                </a:lnTo>
                <a:lnTo>
                  <a:pt x="4356" y="1692"/>
                </a:lnTo>
                <a:lnTo>
                  <a:pt x="4360" y="1688"/>
                </a:lnTo>
                <a:lnTo>
                  <a:pt x="4362" y="1688"/>
                </a:lnTo>
                <a:lnTo>
                  <a:pt x="4370" y="1688"/>
                </a:lnTo>
                <a:lnTo>
                  <a:pt x="4373" y="1687"/>
                </a:lnTo>
                <a:lnTo>
                  <a:pt x="4377" y="1685"/>
                </a:lnTo>
                <a:lnTo>
                  <a:pt x="4380" y="1687"/>
                </a:lnTo>
                <a:lnTo>
                  <a:pt x="4390" y="1686"/>
                </a:lnTo>
                <a:lnTo>
                  <a:pt x="4399" y="1685"/>
                </a:lnTo>
                <a:lnTo>
                  <a:pt x="4401" y="1686"/>
                </a:lnTo>
                <a:lnTo>
                  <a:pt x="4402" y="1688"/>
                </a:lnTo>
                <a:lnTo>
                  <a:pt x="4407" y="1688"/>
                </a:lnTo>
                <a:lnTo>
                  <a:pt x="4411" y="1687"/>
                </a:lnTo>
                <a:lnTo>
                  <a:pt x="4416" y="1687"/>
                </a:lnTo>
                <a:lnTo>
                  <a:pt x="4420" y="1683"/>
                </a:lnTo>
                <a:lnTo>
                  <a:pt x="4424" y="1679"/>
                </a:lnTo>
                <a:lnTo>
                  <a:pt x="4426" y="1676"/>
                </a:lnTo>
                <a:lnTo>
                  <a:pt x="4427" y="1673"/>
                </a:lnTo>
                <a:lnTo>
                  <a:pt x="4429" y="1671"/>
                </a:lnTo>
                <a:lnTo>
                  <a:pt x="4429" y="1671"/>
                </a:lnTo>
                <a:lnTo>
                  <a:pt x="4429" y="1668"/>
                </a:lnTo>
                <a:lnTo>
                  <a:pt x="4429" y="1668"/>
                </a:lnTo>
                <a:lnTo>
                  <a:pt x="4425" y="1668"/>
                </a:lnTo>
                <a:lnTo>
                  <a:pt x="4423" y="1668"/>
                </a:lnTo>
                <a:lnTo>
                  <a:pt x="4421" y="1669"/>
                </a:lnTo>
                <a:lnTo>
                  <a:pt x="4421" y="1670"/>
                </a:lnTo>
                <a:lnTo>
                  <a:pt x="4420" y="1671"/>
                </a:lnTo>
                <a:lnTo>
                  <a:pt x="4419" y="1673"/>
                </a:lnTo>
                <a:lnTo>
                  <a:pt x="4421" y="1676"/>
                </a:lnTo>
                <a:lnTo>
                  <a:pt x="4418" y="1676"/>
                </a:lnTo>
                <a:lnTo>
                  <a:pt x="4416" y="1677"/>
                </a:lnTo>
                <a:lnTo>
                  <a:pt x="4413" y="1678"/>
                </a:lnTo>
                <a:lnTo>
                  <a:pt x="4411" y="1680"/>
                </a:lnTo>
                <a:lnTo>
                  <a:pt x="4406" y="1680"/>
                </a:lnTo>
                <a:lnTo>
                  <a:pt x="4400" y="1680"/>
                </a:lnTo>
                <a:lnTo>
                  <a:pt x="4397" y="1680"/>
                </a:lnTo>
                <a:lnTo>
                  <a:pt x="4396" y="1681"/>
                </a:lnTo>
                <a:lnTo>
                  <a:pt x="4389" y="1679"/>
                </a:lnTo>
                <a:lnTo>
                  <a:pt x="4386" y="1680"/>
                </a:lnTo>
                <a:lnTo>
                  <a:pt x="4382" y="1680"/>
                </a:lnTo>
                <a:lnTo>
                  <a:pt x="4381" y="1680"/>
                </a:lnTo>
                <a:lnTo>
                  <a:pt x="4377" y="1680"/>
                </a:lnTo>
                <a:lnTo>
                  <a:pt x="4375" y="1676"/>
                </a:lnTo>
                <a:lnTo>
                  <a:pt x="4365" y="1676"/>
                </a:lnTo>
                <a:lnTo>
                  <a:pt x="4365" y="1676"/>
                </a:lnTo>
                <a:lnTo>
                  <a:pt x="4362" y="1682"/>
                </a:lnTo>
                <a:lnTo>
                  <a:pt x="4359" y="1681"/>
                </a:lnTo>
                <a:lnTo>
                  <a:pt x="4358" y="1680"/>
                </a:lnTo>
                <a:lnTo>
                  <a:pt x="4353" y="1682"/>
                </a:lnTo>
                <a:lnTo>
                  <a:pt x="4353" y="1688"/>
                </a:lnTo>
                <a:lnTo>
                  <a:pt x="4353" y="1688"/>
                </a:lnTo>
                <a:lnTo>
                  <a:pt x="4352" y="1689"/>
                </a:lnTo>
                <a:lnTo>
                  <a:pt x="4352" y="1691"/>
                </a:lnTo>
                <a:lnTo>
                  <a:pt x="4352" y="1691"/>
                </a:lnTo>
                <a:lnTo>
                  <a:pt x="4353" y="1692"/>
                </a:lnTo>
                <a:lnTo>
                  <a:pt x="4352" y="1694"/>
                </a:lnTo>
                <a:lnTo>
                  <a:pt x="4352" y="1695"/>
                </a:lnTo>
                <a:lnTo>
                  <a:pt x="4349" y="1693"/>
                </a:lnTo>
                <a:lnTo>
                  <a:pt x="4349" y="1692"/>
                </a:lnTo>
                <a:lnTo>
                  <a:pt x="4349" y="1692"/>
                </a:lnTo>
                <a:lnTo>
                  <a:pt x="4349" y="1694"/>
                </a:lnTo>
                <a:close/>
                <a:moveTo>
                  <a:pt x="4361" y="1776"/>
                </a:moveTo>
                <a:lnTo>
                  <a:pt x="4361" y="1775"/>
                </a:lnTo>
                <a:lnTo>
                  <a:pt x="4360" y="1775"/>
                </a:lnTo>
                <a:lnTo>
                  <a:pt x="4361" y="1776"/>
                </a:lnTo>
                <a:lnTo>
                  <a:pt x="4361" y="1776"/>
                </a:lnTo>
                <a:close/>
                <a:moveTo>
                  <a:pt x="4382" y="1697"/>
                </a:moveTo>
                <a:lnTo>
                  <a:pt x="4381" y="1698"/>
                </a:lnTo>
                <a:lnTo>
                  <a:pt x="4385" y="1698"/>
                </a:lnTo>
                <a:lnTo>
                  <a:pt x="4384" y="1697"/>
                </a:lnTo>
                <a:lnTo>
                  <a:pt x="4382" y="1696"/>
                </a:lnTo>
                <a:lnTo>
                  <a:pt x="4382" y="1697"/>
                </a:lnTo>
                <a:close/>
                <a:moveTo>
                  <a:pt x="4202" y="1711"/>
                </a:moveTo>
                <a:lnTo>
                  <a:pt x="4205" y="1710"/>
                </a:lnTo>
                <a:lnTo>
                  <a:pt x="4207" y="1710"/>
                </a:lnTo>
                <a:lnTo>
                  <a:pt x="4207" y="1708"/>
                </a:lnTo>
                <a:lnTo>
                  <a:pt x="4202" y="1708"/>
                </a:lnTo>
                <a:lnTo>
                  <a:pt x="4202" y="1711"/>
                </a:lnTo>
                <a:close/>
                <a:moveTo>
                  <a:pt x="4285" y="1821"/>
                </a:moveTo>
                <a:lnTo>
                  <a:pt x="4285" y="1823"/>
                </a:lnTo>
                <a:lnTo>
                  <a:pt x="4286" y="1823"/>
                </a:lnTo>
                <a:lnTo>
                  <a:pt x="4285" y="1821"/>
                </a:lnTo>
                <a:lnTo>
                  <a:pt x="4285" y="1821"/>
                </a:lnTo>
                <a:close/>
                <a:moveTo>
                  <a:pt x="4261" y="2093"/>
                </a:moveTo>
                <a:lnTo>
                  <a:pt x="4261" y="2092"/>
                </a:lnTo>
                <a:lnTo>
                  <a:pt x="4261" y="2094"/>
                </a:lnTo>
                <a:lnTo>
                  <a:pt x="4261" y="2093"/>
                </a:lnTo>
                <a:close/>
                <a:moveTo>
                  <a:pt x="4260" y="2082"/>
                </a:moveTo>
                <a:lnTo>
                  <a:pt x="4260" y="2082"/>
                </a:lnTo>
                <a:lnTo>
                  <a:pt x="4260" y="2083"/>
                </a:lnTo>
                <a:lnTo>
                  <a:pt x="4260" y="2082"/>
                </a:lnTo>
                <a:lnTo>
                  <a:pt x="4260" y="2082"/>
                </a:lnTo>
                <a:close/>
                <a:moveTo>
                  <a:pt x="4293" y="1824"/>
                </a:moveTo>
                <a:lnTo>
                  <a:pt x="4297" y="1824"/>
                </a:lnTo>
                <a:lnTo>
                  <a:pt x="4293" y="1823"/>
                </a:lnTo>
                <a:lnTo>
                  <a:pt x="4293" y="1824"/>
                </a:lnTo>
                <a:close/>
                <a:moveTo>
                  <a:pt x="4292" y="1823"/>
                </a:moveTo>
                <a:lnTo>
                  <a:pt x="4292" y="1821"/>
                </a:lnTo>
                <a:lnTo>
                  <a:pt x="4290" y="1821"/>
                </a:lnTo>
                <a:lnTo>
                  <a:pt x="4292" y="1823"/>
                </a:lnTo>
                <a:lnTo>
                  <a:pt x="4292" y="1823"/>
                </a:lnTo>
                <a:close/>
                <a:moveTo>
                  <a:pt x="4609" y="2251"/>
                </a:moveTo>
                <a:lnTo>
                  <a:pt x="4608" y="2250"/>
                </a:lnTo>
                <a:lnTo>
                  <a:pt x="4608" y="2249"/>
                </a:lnTo>
                <a:lnTo>
                  <a:pt x="4605" y="2247"/>
                </a:lnTo>
                <a:lnTo>
                  <a:pt x="4600" y="2249"/>
                </a:lnTo>
                <a:lnTo>
                  <a:pt x="4594" y="2250"/>
                </a:lnTo>
                <a:lnTo>
                  <a:pt x="4594" y="2252"/>
                </a:lnTo>
                <a:lnTo>
                  <a:pt x="4594" y="2254"/>
                </a:lnTo>
                <a:lnTo>
                  <a:pt x="4595" y="2254"/>
                </a:lnTo>
                <a:lnTo>
                  <a:pt x="4597" y="2255"/>
                </a:lnTo>
                <a:lnTo>
                  <a:pt x="4601" y="2254"/>
                </a:lnTo>
                <a:lnTo>
                  <a:pt x="4605" y="2254"/>
                </a:lnTo>
                <a:lnTo>
                  <a:pt x="4608" y="2258"/>
                </a:lnTo>
                <a:lnTo>
                  <a:pt x="4611" y="2253"/>
                </a:lnTo>
                <a:lnTo>
                  <a:pt x="4611" y="2252"/>
                </a:lnTo>
                <a:lnTo>
                  <a:pt x="4609" y="2251"/>
                </a:lnTo>
                <a:close/>
                <a:moveTo>
                  <a:pt x="4259" y="2086"/>
                </a:moveTo>
                <a:lnTo>
                  <a:pt x="4260" y="2089"/>
                </a:lnTo>
                <a:lnTo>
                  <a:pt x="4260" y="2091"/>
                </a:lnTo>
                <a:lnTo>
                  <a:pt x="4261" y="2092"/>
                </a:lnTo>
                <a:lnTo>
                  <a:pt x="4261" y="2089"/>
                </a:lnTo>
                <a:lnTo>
                  <a:pt x="4261" y="2086"/>
                </a:lnTo>
                <a:lnTo>
                  <a:pt x="4260" y="2083"/>
                </a:lnTo>
                <a:lnTo>
                  <a:pt x="4260" y="2084"/>
                </a:lnTo>
                <a:lnTo>
                  <a:pt x="4259" y="2086"/>
                </a:lnTo>
                <a:close/>
                <a:moveTo>
                  <a:pt x="4253" y="2082"/>
                </a:moveTo>
                <a:lnTo>
                  <a:pt x="4252" y="2082"/>
                </a:lnTo>
                <a:lnTo>
                  <a:pt x="4249" y="2082"/>
                </a:lnTo>
                <a:lnTo>
                  <a:pt x="4249" y="2086"/>
                </a:lnTo>
                <a:lnTo>
                  <a:pt x="4253" y="2090"/>
                </a:lnTo>
                <a:lnTo>
                  <a:pt x="4257" y="2094"/>
                </a:lnTo>
                <a:lnTo>
                  <a:pt x="4255" y="2088"/>
                </a:lnTo>
                <a:lnTo>
                  <a:pt x="4253" y="2082"/>
                </a:lnTo>
                <a:close/>
                <a:moveTo>
                  <a:pt x="4290" y="2005"/>
                </a:moveTo>
                <a:lnTo>
                  <a:pt x="4288" y="2007"/>
                </a:lnTo>
                <a:lnTo>
                  <a:pt x="4286" y="2009"/>
                </a:lnTo>
                <a:lnTo>
                  <a:pt x="4288" y="2009"/>
                </a:lnTo>
                <a:lnTo>
                  <a:pt x="4290" y="2005"/>
                </a:lnTo>
                <a:close/>
                <a:moveTo>
                  <a:pt x="4286" y="1796"/>
                </a:moveTo>
                <a:lnTo>
                  <a:pt x="4288" y="1796"/>
                </a:lnTo>
                <a:lnTo>
                  <a:pt x="4292" y="1796"/>
                </a:lnTo>
                <a:lnTo>
                  <a:pt x="4286" y="1793"/>
                </a:lnTo>
                <a:lnTo>
                  <a:pt x="4285" y="1796"/>
                </a:lnTo>
                <a:lnTo>
                  <a:pt x="4286" y="1796"/>
                </a:lnTo>
                <a:close/>
                <a:moveTo>
                  <a:pt x="4305" y="1829"/>
                </a:moveTo>
                <a:lnTo>
                  <a:pt x="4305" y="1823"/>
                </a:lnTo>
                <a:lnTo>
                  <a:pt x="4307" y="1816"/>
                </a:lnTo>
                <a:lnTo>
                  <a:pt x="4303" y="1813"/>
                </a:lnTo>
                <a:lnTo>
                  <a:pt x="4297" y="1816"/>
                </a:lnTo>
                <a:lnTo>
                  <a:pt x="4297" y="1824"/>
                </a:lnTo>
                <a:lnTo>
                  <a:pt x="4297" y="1824"/>
                </a:lnTo>
                <a:lnTo>
                  <a:pt x="4299" y="1826"/>
                </a:lnTo>
                <a:lnTo>
                  <a:pt x="4300" y="1824"/>
                </a:lnTo>
                <a:lnTo>
                  <a:pt x="4301" y="1823"/>
                </a:lnTo>
                <a:lnTo>
                  <a:pt x="4301" y="1829"/>
                </a:lnTo>
                <a:lnTo>
                  <a:pt x="4305" y="1829"/>
                </a:lnTo>
                <a:close/>
                <a:moveTo>
                  <a:pt x="4272" y="1798"/>
                </a:moveTo>
                <a:lnTo>
                  <a:pt x="4274" y="1798"/>
                </a:lnTo>
                <a:lnTo>
                  <a:pt x="4272" y="1797"/>
                </a:lnTo>
                <a:lnTo>
                  <a:pt x="4272" y="1798"/>
                </a:lnTo>
                <a:close/>
                <a:moveTo>
                  <a:pt x="4250" y="1779"/>
                </a:moveTo>
                <a:lnTo>
                  <a:pt x="4250" y="1778"/>
                </a:lnTo>
                <a:lnTo>
                  <a:pt x="4250" y="1778"/>
                </a:lnTo>
                <a:lnTo>
                  <a:pt x="4250" y="1779"/>
                </a:lnTo>
                <a:lnTo>
                  <a:pt x="4249" y="1779"/>
                </a:lnTo>
                <a:lnTo>
                  <a:pt x="4250" y="1779"/>
                </a:lnTo>
                <a:close/>
                <a:moveTo>
                  <a:pt x="4194" y="1717"/>
                </a:moveTo>
                <a:lnTo>
                  <a:pt x="4196" y="1716"/>
                </a:lnTo>
                <a:lnTo>
                  <a:pt x="4192" y="1716"/>
                </a:lnTo>
                <a:lnTo>
                  <a:pt x="4194" y="1717"/>
                </a:lnTo>
                <a:close/>
                <a:moveTo>
                  <a:pt x="4194" y="1650"/>
                </a:moveTo>
                <a:lnTo>
                  <a:pt x="4194" y="1647"/>
                </a:lnTo>
                <a:lnTo>
                  <a:pt x="4194" y="1647"/>
                </a:lnTo>
                <a:lnTo>
                  <a:pt x="4192" y="1650"/>
                </a:lnTo>
                <a:lnTo>
                  <a:pt x="4194" y="1650"/>
                </a:lnTo>
                <a:close/>
                <a:moveTo>
                  <a:pt x="4615" y="2254"/>
                </a:moveTo>
                <a:lnTo>
                  <a:pt x="4614" y="2253"/>
                </a:lnTo>
                <a:lnTo>
                  <a:pt x="4612" y="2252"/>
                </a:lnTo>
                <a:lnTo>
                  <a:pt x="4611" y="2253"/>
                </a:lnTo>
                <a:lnTo>
                  <a:pt x="4613" y="2254"/>
                </a:lnTo>
                <a:lnTo>
                  <a:pt x="4614" y="2254"/>
                </a:lnTo>
                <a:lnTo>
                  <a:pt x="4615" y="2254"/>
                </a:lnTo>
                <a:lnTo>
                  <a:pt x="4616" y="2253"/>
                </a:lnTo>
                <a:lnTo>
                  <a:pt x="4616" y="2253"/>
                </a:lnTo>
                <a:lnTo>
                  <a:pt x="4616" y="2253"/>
                </a:lnTo>
                <a:lnTo>
                  <a:pt x="4615" y="2254"/>
                </a:lnTo>
                <a:close/>
                <a:moveTo>
                  <a:pt x="5032" y="1915"/>
                </a:moveTo>
                <a:lnTo>
                  <a:pt x="5030" y="1914"/>
                </a:lnTo>
                <a:lnTo>
                  <a:pt x="5032" y="1925"/>
                </a:lnTo>
                <a:lnTo>
                  <a:pt x="5033" y="1929"/>
                </a:lnTo>
                <a:lnTo>
                  <a:pt x="5037" y="1928"/>
                </a:lnTo>
                <a:lnTo>
                  <a:pt x="5039" y="1927"/>
                </a:lnTo>
                <a:lnTo>
                  <a:pt x="5040" y="1928"/>
                </a:lnTo>
                <a:lnTo>
                  <a:pt x="5040" y="1926"/>
                </a:lnTo>
                <a:lnTo>
                  <a:pt x="5038" y="1921"/>
                </a:lnTo>
                <a:lnTo>
                  <a:pt x="5037" y="1919"/>
                </a:lnTo>
                <a:lnTo>
                  <a:pt x="5037" y="1917"/>
                </a:lnTo>
                <a:lnTo>
                  <a:pt x="5036" y="1917"/>
                </a:lnTo>
                <a:lnTo>
                  <a:pt x="5036" y="1921"/>
                </a:lnTo>
                <a:lnTo>
                  <a:pt x="5032" y="1921"/>
                </a:lnTo>
                <a:lnTo>
                  <a:pt x="5032" y="1915"/>
                </a:lnTo>
                <a:close/>
                <a:moveTo>
                  <a:pt x="4949" y="1823"/>
                </a:moveTo>
                <a:lnTo>
                  <a:pt x="4947" y="1827"/>
                </a:lnTo>
                <a:lnTo>
                  <a:pt x="4948" y="1827"/>
                </a:lnTo>
                <a:lnTo>
                  <a:pt x="4950" y="1828"/>
                </a:lnTo>
                <a:lnTo>
                  <a:pt x="4952" y="1831"/>
                </a:lnTo>
                <a:lnTo>
                  <a:pt x="4952" y="1833"/>
                </a:lnTo>
                <a:lnTo>
                  <a:pt x="4953" y="1833"/>
                </a:lnTo>
                <a:lnTo>
                  <a:pt x="4953" y="1833"/>
                </a:lnTo>
                <a:lnTo>
                  <a:pt x="4954" y="1836"/>
                </a:lnTo>
                <a:lnTo>
                  <a:pt x="4955" y="1838"/>
                </a:lnTo>
                <a:lnTo>
                  <a:pt x="4955" y="1840"/>
                </a:lnTo>
                <a:lnTo>
                  <a:pt x="4954" y="1840"/>
                </a:lnTo>
                <a:lnTo>
                  <a:pt x="4951" y="1839"/>
                </a:lnTo>
                <a:lnTo>
                  <a:pt x="4951" y="1838"/>
                </a:lnTo>
                <a:lnTo>
                  <a:pt x="4951" y="1837"/>
                </a:lnTo>
                <a:lnTo>
                  <a:pt x="4951" y="1835"/>
                </a:lnTo>
                <a:lnTo>
                  <a:pt x="4945" y="1830"/>
                </a:lnTo>
                <a:lnTo>
                  <a:pt x="4943" y="1823"/>
                </a:lnTo>
                <a:lnTo>
                  <a:pt x="4943" y="1821"/>
                </a:lnTo>
                <a:lnTo>
                  <a:pt x="4943" y="1820"/>
                </a:lnTo>
                <a:lnTo>
                  <a:pt x="4943" y="1820"/>
                </a:lnTo>
                <a:lnTo>
                  <a:pt x="4946" y="1820"/>
                </a:lnTo>
                <a:lnTo>
                  <a:pt x="4949" y="1823"/>
                </a:lnTo>
                <a:close/>
                <a:moveTo>
                  <a:pt x="4951" y="1837"/>
                </a:moveTo>
                <a:lnTo>
                  <a:pt x="4953" y="1837"/>
                </a:lnTo>
                <a:lnTo>
                  <a:pt x="4954" y="1837"/>
                </a:lnTo>
                <a:lnTo>
                  <a:pt x="4952" y="1835"/>
                </a:lnTo>
                <a:lnTo>
                  <a:pt x="4951" y="1837"/>
                </a:lnTo>
                <a:close/>
                <a:moveTo>
                  <a:pt x="4939" y="1831"/>
                </a:moveTo>
                <a:lnTo>
                  <a:pt x="4939" y="1831"/>
                </a:lnTo>
                <a:lnTo>
                  <a:pt x="4938" y="1830"/>
                </a:lnTo>
                <a:lnTo>
                  <a:pt x="4934" y="1830"/>
                </a:lnTo>
                <a:lnTo>
                  <a:pt x="4936" y="1831"/>
                </a:lnTo>
                <a:lnTo>
                  <a:pt x="4938" y="1831"/>
                </a:lnTo>
                <a:lnTo>
                  <a:pt x="4939" y="1831"/>
                </a:lnTo>
                <a:close/>
                <a:moveTo>
                  <a:pt x="4957" y="1841"/>
                </a:moveTo>
                <a:lnTo>
                  <a:pt x="4957" y="1841"/>
                </a:lnTo>
                <a:lnTo>
                  <a:pt x="4955" y="1840"/>
                </a:lnTo>
                <a:lnTo>
                  <a:pt x="4955" y="1841"/>
                </a:lnTo>
                <a:lnTo>
                  <a:pt x="4957" y="1841"/>
                </a:lnTo>
                <a:close/>
                <a:moveTo>
                  <a:pt x="4932" y="1837"/>
                </a:moveTo>
                <a:lnTo>
                  <a:pt x="4930" y="1834"/>
                </a:lnTo>
                <a:lnTo>
                  <a:pt x="4927" y="1834"/>
                </a:lnTo>
                <a:lnTo>
                  <a:pt x="4927" y="1838"/>
                </a:lnTo>
                <a:lnTo>
                  <a:pt x="4929" y="1840"/>
                </a:lnTo>
                <a:lnTo>
                  <a:pt x="4931" y="1841"/>
                </a:lnTo>
                <a:lnTo>
                  <a:pt x="4938" y="1841"/>
                </a:lnTo>
                <a:lnTo>
                  <a:pt x="4941" y="1842"/>
                </a:lnTo>
                <a:lnTo>
                  <a:pt x="4944" y="1843"/>
                </a:lnTo>
                <a:lnTo>
                  <a:pt x="4946" y="1842"/>
                </a:lnTo>
                <a:lnTo>
                  <a:pt x="4939" y="1837"/>
                </a:lnTo>
                <a:lnTo>
                  <a:pt x="4932" y="1837"/>
                </a:lnTo>
                <a:close/>
                <a:moveTo>
                  <a:pt x="4932" y="1868"/>
                </a:moveTo>
                <a:lnTo>
                  <a:pt x="4936" y="1870"/>
                </a:lnTo>
                <a:lnTo>
                  <a:pt x="4939" y="1871"/>
                </a:lnTo>
                <a:lnTo>
                  <a:pt x="4939" y="1869"/>
                </a:lnTo>
                <a:lnTo>
                  <a:pt x="4936" y="1868"/>
                </a:lnTo>
                <a:lnTo>
                  <a:pt x="4932" y="1868"/>
                </a:lnTo>
                <a:close/>
                <a:moveTo>
                  <a:pt x="4979" y="1615"/>
                </a:moveTo>
                <a:lnTo>
                  <a:pt x="4980" y="1616"/>
                </a:lnTo>
                <a:lnTo>
                  <a:pt x="4980" y="1616"/>
                </a:lnTo>
                <a:lnTo>
                  <a:pt x="4980" y="1613"/>
                </a:lnTo>
                <a:lnTo>
                  <a:pt x="4978" y="1613"/>
                </a:lnTo>
                <a:lnTo>
                  <a:pt x="4979" y="1615"/>
                </a:lnTo>
                <a:close/>
                <a:moveTo>
                  <a:pt x="4960" y="1853"/>
                </a:moveTo>
                <a:lnTo>
                  <a:pt x="4952" y="1848"/>
                </a:lnTo>
                <a:lnTo>
                  <a:pt x="4952" y="1847"/>
                </a:lnTo>
                <a:lnTo>
                  <a:pt x="4951" y="1847"/>
                </a:lnTo>
                <a:lnTo>
                  <a:pt x="4951" y="1853"/>
                </a:lnTo>
                <a:lnTo>
                  <a:pt x="4954" y="1853"/>
                </a:lnTo>
                <a:lnTo>
                  <a:pt x="4956" y="1853"/>
                </a:lnTo>
                <a:lnTo>
                  <a:pt x="4957" y="1853"/>
                </a:lnTo>
                <a:lnTo>
                  <a:pt x="4960" y="1854"/>
                </a:lnTo>
                <a:lnTo>
                  <a:pt x="4966" y="1857"/>
                </a:lnTo>
                <a:lnTo>
                  <a:pt x="4965" y="1853"/>
                </a:lnTo>
                <a:lnTo>
                  <a:pt x="4960" y="1853"/>
                </a:lnTo>
                <a:close/>
                <a:moveTo>
                  <a:pt x="4966" y="1856"/>
                </a:moveTo>
                <a:lnTo>
                  <a:pt x="4966" y="1856"/>
                </a:lnTo>
                <a:lnTo>
                  <a:pt x="4967" y="1857"/>
                </a:lnTo>
                <a:lnTo>
                  <a:pt x="4968" y="1857"/>
                </a:lnTo>
                <a:lnTo>
                  <a:pt x="4966" y="1856"/>
                </a:lnTo>
                <a:lnTo>
                  <a:pt x="4966" y="1856"/>
                </a:lnTo>
                <a:close/>
                <a:moveTo>
                  <a:pt x="4916" y="2603"/>
                </a:moveTo>
                <a:lnTo>
                  <a:pt x="4916" y="2604"/>
                </a:lnTo>
                <a:lnTo>
                  <a:pt x="4916" y="2604"/>
                </a:lnTo>
                <a:lnTo>
                  <a:pt x="4918" y="2602"/>
                </a:lnTo>
                <a:lnTo>
                  <a:pt x="4919" y="2599"/>
                </a:lnTo>
                <a:lnTo>
                  <a:pt x="4918" y="2601"/>
                </a:lnTo>
                <a:lnTo>
                  <a:pt x="4916" y="2603"/>
                </a:lnTo>
                <a:close/>
                <a:moveTo>
                  <a:pt x="5000" y="696"/>
                </a:moveTo>
                <a:lnTo>
                  <a:pt x="5004" y="695"/>
                </a:lnTo>
                <a:lnTo>
                  <a:pt x="5004" y="691"/>
                </a:lnTo>
                <a:lnTo>
                  <a:pt x="5003" y="690"/>
                </a:lnTo>
                <a:lnTo>
                  <a:pt x="5001" y="689"/>
                </a:lnTo>
                <a:lnTo>
                  <a:pt x="4995" y="690"/>
                </a:lnTo>
                <a:lnTo>
                  <a:pt x="4989" y="691"/>
                </a:lnTo>
                <a:lnTo>
                  <a:pt x="4991" y="693"/>
                </a:lnTo>
                <a:lnTo>
                  <a:pt x="4993" y="694"/>
                </a:lnTo>
                <a:lnTo>
                  <a:pt x="4991" y="696"/>
                </a:lnTo>
                <a:lnTo>
                  <a:pt x="4989" y="699"/>
                </a:lnTo>
                <a:lnTo>
                  <a:pt x="4984" y="703"/>
                </a:lnTo>
                <a:lnTo>
                  <a:pt x="4985" y="705"/>
                </a:lnTo>
                <a:lnTo>
                  <a:pt x="4991" y="701"/>
                </a:lnTo>
                <a:lnTo>
                  <a:pt x="4995" y="697"/>
                </a:lnTo>
                <a:lnTo>
                  <a:pt x="5000" y="696"/>
                </a:lnTo>
                <a:close/>
                <a:moveTo>
                  <a:pt x="4911" y="1590"/>
                </a:moveTo>
                <a:lnTo>
                  <a:pt x="4909" y="1590"/>
                </a:lnTo>
                <a:lnTo>
                  <a:pt x="4908" y="1591"/>
                </a:lnTo>
                <a:lnTo>
                  <a:pt x="4909" y="1592"/>
                </a:lnTo>
                <a:lnTo>
                  <a:pt x="4911" y="1593"/>
                </a:lnTo>
                <a:lnTo>
                  <a:pt x="4911" y="1592"/>
                </a:lnTo>
                <a:lnTo>
                  <a:pt x="4912" y="1591"/>
                </a:lnTo>
                <a:lnTo>
                  <a:pt x="4911" y="1590"/>
                </a:lnTo>
                <a:lnTo>
                  <a:pt x="4911" y="1590"/>
                </a:lnTo>
                <a:close/>
                <a:moveTo>
                  <a:pt x="4908" y="1824"/>
                </a:moveTo>
                <a:lnTo>
                  <a:pt x="4908" y="1827"/>
                </a:lnTo>
                <a:lnTo>
                  <a:pt x="4909" y="1827"/>
                </a:lnTo>
                <a:lnTo>
                  <a:pt x="4908" y="1824"/>
                </a:lnTo>
                <a:lnTo>
                  <a:pt x="4908" y="1824"/>
                </a:lnTo>
                <a:close/>
                <a:moveTo>
                  <a:pt x="4920" y="1831"/>
                </a:moveTo>
                <a:lnTo>
                  <a:pt x="4920" y="1831"/>
                </a:lnTo>
                <a:lnTo>
                  <a:pt x="4921" y="1830"/>
                </a:lnTo>
                <a:lnTo>
                  <a:pt x="4920" y="1830"/>
                </a:lnTo>
                <a:lnTo>
                  <a:pt x="4920" y="1831"/>
                </a:lnTo>
                <a:close/>
                <a:moveTo>
                  <a:pt x="4912" y="1807"/>
                </a:moveTo>
                <a:lnTo>
                  <a:pt x="4915" y="1809"/>
                </a:lnTo>
                <a:lnTo>
                  <a:pt x="4917" y="1812"/>
                </a:lnTo>
                <a:lnTo>
                  <a:pt x="4918" y="1812"/>
                </a:lnTo>
                <a:lnTo>
                  <a:pt x="4915" y="1809"/>
                </a:lnTo>
                <a:lnTo>
                  <a:pt x="4912" y="1807"/>
                </a:lnTo>
                <a:close/>
                <a:moveTo>
                  <a:pt x="4932" y="1822"/>
                </a:moveTo>
                <a:lnTo>
                  <a:pt x="4932" y="1823"/>
                </a:lnTo>
                <a:lnTo>
                  <a:pt x="4932" y="1821"/>
                </a:lnTo>
                <a:lnTo>
                  <a:pt x="4931" y="1819"/>
                </a:lnTo>
                <a:lnTo>
                  <a:pt x="4928" y="1817"/>
                </a:lnTo>
                <a:lnTo>
                  <a:pt x="4925" y="1816"/>
                </a:lnTo>
                <a:lnTo>
                  <a:pt x="4923" y="1816"/>
                </a:lnTo>
                <a:lnTo>
                  <a:pt x="4931" y="1821"/>
                </a:lnTo>
                <a:lnTo>
                  <a:pt x="4932" y="1822"/>
                </a:lnTo>
                <a:close/>
                <a:moveTo>
                  <a:pt x="4920" y="1816"/>
                </a:moveTo>
                <a:lnTo>
                  <a:pt x="4923" y="1816"/>
                </a:lnTo>
                <a:lnTo>
                  <a:pt x="4918" y="1812"/>
                </a:lnTo>
                <a:lnTo>
                  <a:pt x="4920" y="1816"/>
                </a:lnTo>
                <a:close/>
                <a:moveTo>
                  <a:pt x="4931" y="1823"/>
                </a:moveTo>
                <a:lnTo>
                  <a:pt x="4928" y="1819"/>
                </a:lnTo>
                <a:lnTo>
                  <a:pt x="4927" y="1820"/>
                </a:lnTo>
                <a:lnTo>
                  <a:pt x="4927" y="1821"/>
                </a:lnTo>
                <a:lnTo>
                  <a:pt x="4929" y="1822"/>
                </a:lnTo>
                <a:lnTo>
                  <a:pt x="4931" y="1823"/>
                </a:lnTo>
                <a:close/>
                <a:moveTo>
                  <a:pt x="5053" y="1929"/>
                </a:moveTo>
                <a:lnTo>
                  <a:pt x="5054" y="1931"/>
                </a:lnTo>
                <a:lnTo>
                  <a:pt x="5055" y="1933"/>
                </a:lnTo>
                <a:lnTo>
                  <a:pt x="5056" y="1933"/>
                </a:lnTo>
                <a:lnTo>
                  <a:pt x="5056" y="1932"/>
                </a:lnTo>
                <a:lnTo>
                  <a:pt x="5056" y="1929"/>
                </a:lnTo>
                <a:lnTo>
                  <a:pt x="5055" y="1926"/>
                </a:lnTo>
                <a:lnTo>
                  <a:pt x="5054" y="1928"/>
                </a:lnTo>
                <a:lnTo>
                  <a:pt x="5053" y="1929"/>
                </a:lnTo>
                <a:close/>
                <a:moveTo>
                  <a:pt x="5053" y="1917"/>
                </a:moveTo>
                <a:lnTo>
                  <a:pt x="5053" y="1917"/>
                </a:lnTo>
                <a:lnTo>
                  <a:pt x="5053" y="1917"/>
                </a:lnTo>
                <a:lnTo>
                  <a:pt x="5053" y="1919"/>
                </a:lnTo>
                <a:lnTo>
                  <a:pt x="5052" y="1922"/>
                </a:lnTo>
                <a:lnTo>
                  <a:pt x="5052" y="1925"/>
                </a:lnTo>
                <a:lnTo>
                  <a:pt x="5055" y="1925"/>
                </a:lnTo>
                <a:lnTo>
                  <a:pt x="5055" y="1925"/>
                </a:lnTo>
                <a:lnTo>
                  <a:pt x="5054" y="1921"/>
                </a:lnTo>
                <a:lnTo>
                  <a:pt x="5053" y="1917"/>
                </a:lnTo>
                <a:close/>
                <a:moveTo>
                  <a:pt x="4905" y="1820"/>
                </a:moveTo>
                <a:lnTo>
                  <a:pt x="4903" y="1820"/>
                </a:lnTo>
                <a:lnTo>
                  <a:pt x="4903" y="1820"/>
                </a:lnTo>
                <a:lnTo>
                  <a:pt x="4905" y="1821"/>
                </a:lnTo>
                <a:lnTo>
                  <a:pt x="4906" y="1820"/>
                </a:lnTo>
                <a:lnTo>
                  <a:pt x="4905" y="1820"/>
                </a:lnTo>
                <a:close/>
                <a:moveTo>
                  <a:pt x="5053" y="1939"/>
                </a:moveTo>
                <a:lnTo>
                  <a:pt x="5055" y="1941"/>
                </a:lnTo>
                <a:lnTo>
                  <a:pt x="5056" y="1939"/>
                </a:lnTo>
                <a:lnTo>
                  <a:pt x="5056" y="1938"/>
                </a:lnTo>
                <a:lnTo>
                  <a:pt x="5056" y="1937"/>
                </a:lnTo>
                <a:lnTo>
                  <a:pt x="5055" y="1936"/>
                </a:lnTo>
                <a:lnTo>
                  <a:pt x="5053" y="1936"/>
                </a:lnTo>
                <a:lnTo>
                  <a:pt x="5051" y="1937"/>
                </a:lnTo>
                <a:lnTo>
                  <a:pt x="5053" y="1939"/>
                </a:lnTo>
                <a:close/>
                <a:moveTo>
                  <a:pt x="5056" y="1959"/>
                </a:moveTo>
                <a:lnTo>
                  <a:pt x="5056" y="1959"/>
                </a:lnTo>
                <a:lnTo>
                  <a:pt x="5055" y="1960"/>
                </a:lnTo>
                <a:lnTo>
                  <a:pt x="5056" y="1960"/>
                </a:lnTo>
                <a:lnTo>
                  <a:pt x="5057" y="1960"/>
                </a:lnTo>
                <a:lnTo>
                  <a:pt x="5057" y="1961"/>
                </a:lnTo>
                <a:lnTo>
                  <a:pt x="5060" y="1961"/>
                </a:lnTo>
                <a:lnTo>
                  <a:pt x="5061" y="1960"/>
                </a:lnTo>
                <a:lnTo>
                  <a:pt x="5059" y="1959"/>
                </a:lnTo>
                <a:lnTo>
                  <a:pt x="5057" y="1959"/>
                </a:lnTo>
                <a:lnTo>
                  <a:pt x="5056" y="1959"/>
                </a:lnTo>
                <a:close/>
                <a:moveTo>
                  <a:pt x="5048" y="1925"/>
                </a:moveTo>
                <a:lnTo>
                  <a:pt x="5046" y="1925"/>
                </a:lnTo>
                <a:lnTo>
                  <a:pt x="5048" y="1926"/>
                </a:lnTo>
                <a:lnTo>
                  <a:pt x="5049" y="1926"/>
                </a:lnTo>
                <a:lnTo>
                  <a:pt x="5051" y="1925"/>
                </a:lnTo>
                <a:lnTo>
                  <a:pt x="5049" y="1925"/>
                </a:lnTo>
                <a:lnTo>
                  <a:pt x="5048" y="1925"/>
                </a:lnTo>
                <a:close/>
                <a:moveTo>
                  <a:pt x="5049" y="2018"/>
                </a:moveTo>
                <a:lnTo>
                  <a:pt x="5052" y="2023"/>
                </a:lnTo>
                <a:lnTo>
                  <a:pt x="5052" y="2022"/>
                </a:lnTo>
                <a:lnTo>
                  <a:pt x="5053" y="2022"/>
                </a:lnTo>
                <a:lnTo>
                  <a:pt x="5053" y="2021"/>
                </a:lnTo>
                <a:lnTo>
                  <a:pt x="5051" y="2019"/>
                </a:lnTo>
                <a:lnTo>
                  <a:pt x="5049" y="2018"/>
                </a:lnTo>
                <a:close/>
                <a:moveTo>
                  <a:pt x="5040" y="1933"/>
                </a:moveTo>
                <a:lnTo>
                  <a:pt x="5040" y="1936"/>
                </a:lnTo>
                <a:lnTo>
                  <a:pt x="5040" y="1936"/>
                </a:lnTo>
                <a:lnTo>
                  <a:pt x="5040" y="1937"/>
                </a:lnTo>
                <a:lnTo>
                  <a:pt x="5040" y="1942"/>
                </a:lnTo>
                <a:lnTo>
                  <a:pt x="5043" y="1944"/>
                </a:lnTo>
                <a:lnTo>
                  <a:pt x="5049" y="1942"/>
                </a:lnTo>
                <a:lnTo>
                  <a:pt x="5045" y="1937"/>
                </a:lnTo>
                <a:lnTo>
                  <a:pt x="5041" y="1933"/>
                </a:lnTo>
                <a:lnTo>
                  <a:pt x="5040" y="1933"/>
                </a:lnTo>
                <a:close/>
                <a:moveTo>
                  <a:pt x="5055" y="1944"/>
                </a:moveTo>
                <a:lnTo>
                  <a:pt x="5055" y="1944"/>
                </a:lnTo>
                <a:lnTo>
                  <a:pt x="5055" y="1947"/>
                </a:lnTo>
                <a:lnTo>
                  <a:pt x="5060" y="1947"/>
                </a:lnTo>
                <a:lnTo>
                  <a:pt x="5058" y="1945"/>
                </a:lnTo>
                <a:lnTo>
                  <a:pt x="5055" y="1944"/>
                </a:lnTo>
                <a:close/>
                <a:moveTo>
                  <a:pt x="5044" y="1905"/>
                </a:moveTo>
                <a:lnTo>
                  <a:pt x="5044" y="1909"/>
                </a:lnTo>
                <a:lnTo>
                  <a:pt x="5045" y="1909"/>
                </a:lnTo>
                <a:lnTo>
                  <a:pt x="5045" y="1908"/>
                </a:lnTo>
                <a:lnTo>
                  <a:pt x="5046" y="1907"/>
                </a:lnTo>
                <a:lnTo>
                  <a:pt x="5045" y="1906"/>
                </a:lnTo>
                <a:lnTo>
                  <a:pt x="5044" y="1905"/>
                </a:lnTo>
                <a:lnTo>
                  <a:pt x="5044" y="1905"/>
                </a:lnTo>
                <a:close/>
                <a:moveTo>
                  <a:pt x="5041" y="1929"/>
                </a:moveTo>
                <a:lnTo>
                  <a:pt x="5040" y="1928"/>
                </a:lnTo>
                <a:lnTo>
                  <a:pt x="5040" y="1929"/>
                </a:lnTo>
                <a:lnTo>
                  <a:pt x="5041" y="1929"/>
                </a:lnTo>
                <a:close/>
                <a:moveTo>
                  <a:pt x="5028" y="2032"/>
                </a:moveTo>
                <a:lnTo>
                  <a:pt x="5028" y="2033"/>
                </a:lnTo>
                <a:lnTo>
                  <a:pt x="5029" y="2033"/>
                </a:lnTo>
                <a:lnTo>
                  <a:pt x="5029" y="2033"/>
                </a:lnTo>
                <a:lnTo>
                  <a:pt x="5030" y="2032"/>
                </a:lnTo>
                <a:lnTo>
                  <a:pt x="5032" y="2035"/>
                </a:lnTo>
                <a:lnTo>
                  <a:pt x="5032" y="2035"/>
                </a:lnTo>
                <a:lnTo>
                  <a:pt x="5032" y="2033"/>
                </a:lnTo>
                <a:lnTo>
                  <a:pt x="5034" y="2033"/>
                </a:lnTo>
                <a:lnTo>
                  <a:pt x="5035" y="2033"/>
                </a:lnTo>
                <a:lnTo>
                  <a:pt x="5036" y="2033"/>
                </a:lnTo>
                <a:lnTo>
                  <a:pt x="5036" y="2029"/>
                </a:lnTo>
                <a:lnTo>
                  <a:pt x="5029" y="2024"/>
                </a:lnTo>
                <a:lnTo>
                  <a:pt x="5022" y="2018"/>
                </a:lnTo>
                <a:lnTo>
                  <a:pt x="5017" y="2017"/>
                </a:lnTo>
                <a:lnTo>
                  <a:pt x="5013" y="2013"/>
                </a:lnTo>
                <a:lnTo>
                  <a:pt x="5010" y="2009"/>
                </a:lnTo>
                <a:lnTo>
                  <a:pt x="5008" y="2008"/>
                </a:lnTo>
                <a:lnTo>
                  <a:pt x="5006" y="2006"/>
                </a:lnTo>
                <a:lnTo>
                  <a:pt x="5003" y="2004"/>
                </a:lnTo>
                <a:lnTo>
                  <a:pt x="5000" y="2002"/>
                </a:lnTo>
                <a:lnTo>
                  <a:pt x="4997" y="2001"/>
                </a:lnTo>
                <a:lnTo>
                  <a:pt x="4996" y="2001"/>
                </a:lnTo>
                <a:lnTo>
                  <a:pt x="4996" y="2002"/>
                </a:lnTo>
                <a:lnTo>
                  <a:pt x="4992" y="1997"/>
                </a:lnTo>
                <a:lnTo>
                  <a:pt x="4992" y="1997"/>
                </a:lnTo>
                <a:lnTo>
                  <a:pt x="4992" y="1997"/>
                </a:lnTo>
                <a:lnTo>
                  <a:pt x="4997" y="2008"/>
                </a:lnTo>
                <a:lnTo>
                  <a:pt x="5008" y="2021"/>
                </a:lnTo>
                <a:lnTo>
                  <a:pt x="5020" y="2027"/>
                </a:lnTo>
                <a:lnTo>
                  <a:pt x="5020" y="2029"/>
                </a:lnTo>
                <a:lnTo>
                  <a:pt x="5028" y="2032"/>
                </a:lnTo>
                <a:close/>
                <a:moveTo>
                  <a:pt x="5034" y="2037"/>
                </a:moveTo>
                <a:lnTo>
                  <a:pt x="5032" y="2035"/>
                </a:lnTo>
                <a:lnTo>
                  <a:pt x="5032" y="2037"/>
                </a:lnTo>
                <a:lnTo>
                  <a:pt x="5034" y="2037"/>
                </a:lnTo>
                <a:close/>
                <a:moveTo>
                  <a:pt x="4995" y="672"/>
                </a:moveTo>
                <a:lnTo>
                  <a:pt x="4995" y="672"/>
                </a:lnTo>
                <a:lnTo>
                  <a:pt x="4993" y="673"/>
                </a:lnTo>
                <a:lnTo>
                  <a:pt x="4995" y="673"/>
                </a:lnTo>
                <a:lnTo>
                  <a:pt x="4995" y="672"/>
                </a:lnTo>
                <a:close/>
                <a:moveTo>
                  <a:pt x="5045" y="1899"/>
                </a:moveTo>
                <a:lnTo>
                  <a:pt x="5045" y="1899"/>
                </a:lnTo>
                <a:lnTo>
                  <a:pt x="5044" y="1902"/>
                </a:lnTo>
                <a:lnTo>
                  <a:pt x="5044" y="1903"/>
                </a:lnTo>
                <a:lnTo>
                  <a:pt x="5044" y="1903"/>
                </a:lnTo>
                <a:lnTo>
                  <a:pt x="5045" y="1902"/>
                </a:lnTo>
                <a:lnTo>
                  <a:pt x="5045" y="1899"/>
                </a:lnTo>
                <a:close/>
                <a:moveTo>
                  <a:pt x="5043" y="2015"/>
                </a:moveTo>
                <a:lnTo>
                  <a:pt x="5043" y="2015"/>
                </a:lnTo>
                <a:lnTo>
                  <a:pt x="5043" y="2013"/>
                </a:lnTo>
                <a:lnTo>
                  <a:pt x="5041" y="2010"/>
                </a:lnTo>
                <a:lnTo>
                  <a:pt x="5041" y="2009"/>
                </a:lnTo>
                <a:lnTo>
                  <a:pt x="5037" y="2009"/>
                </a:lnTo>
                <a:lnTo>
                  <a:pt x="5040" y="2010"/>
                </a:lnTo>
                <a:lnTo>
                  <a:pt x="5037" y="2011"/>
                </a:lnTo>
                <a:lnTo>
                  <a:pt x="5043" y="2015"/>
                </a:lnTo>
                <a:close/>
                <a:moveTo>
                  <a:pt x="5036" y="1869"/>
                </a:moveTo>
                <a:lnTo>
                  <a:pt x="5034" y="1868"/>
                </a:lnTo>
                <a:lnTo>
                  <a:pt x="5032" y="1868"/>
                </a:lnTo>
                <a:lnTo>
                  <a:pt x="5033" y="1868"/>
                </a:lnTo>
                <a:lnTo>
                  <a:pt x="5033" y="1869"/>
                </a:lnTo>
                <a:lnTo>
                  <a:pt x="5036" y="1869"/>
                </a:lnTo>
                <a:close/>
                <a:moveTo>
                  <a:pt x="4878" y="865"/>
                </a:moveTo>
                <a:lnTo>
                  <a:pt x="4878" y="865"/>
                </a:lnTo>
                <a:lnTo>
                  <a:pt x="4879" y="865"/>
                </a:lnTo>
                <a:lnTo>
                  <a:pt x="4878" y="865"/>
                </a:lnTo>
                <a:close/>
                <a:moveTo>
                  <a:pt x="4835" y="1862"/>
                </a:moveTo>
                <a:lnTo>
                  <a:pt x="4838" y="1866"/>
                </a:lnTo>
                <a:lnTo>
                  <a:pt x="4841" y="1869"/>
                </a:lnTo>
                <a:lnTo>
                  <a:pt x="4844" y="1869"/>
                </a:lnTo>
                <a:lnTo>
                  <a:pt x="4840" y="1865"/>
                </a:lnTo>
                <a:lnTo>
                  <a:pt x="4835" y="1862"/>
                </a:lnTo>
                <a:close/>
                <a:moveTo>
                  <a:pt x="4837" y="917"/>
                </a:moveTo>
                <a:lnTo>
                  <a:pt x="4836" y="917"/>
                </a:lnTo>
                <a:lnTo>
                  <a:pt x="4837" y="918"/>
                </a:lnTo>
                <a:lnTo>
                  <a:pt x="4837" y="918"/>
                </a:lnTo>
                <a:lnTo>
                  <a:pt x="4837" y="917"/>
                </a:lnTo>
                <a:close/>
                <a:moveTo>
                  <a:pt x="4842" y="1753"/>
                </a:moveTo>
                <a:lnTo>
                  <a:pt x="4842" y="1754"/>
                </a:lnTo>
                <a:lnTo>
                  <a:pt x="4841" y="1755"/>
                </a:lnTo>
                <a:lnTo>
                  <a:pt x="4842" y="1755"/>
                </a:lnTo>
                <a:lnTo>
                  <a:pt x="4842" y="1753"/>
                </a:lnTo>
                <a:lnTo>
                  <a:pt x="4842" y="1753"/>
                </a:lnTo>
                <a:close/>
                <a:moveTo>
                  <a:pt x="4903" y="1822"/>
                </a:moveTo>
                <a:lnTo>
                  <a:pt x="4904" y="1821"/>
                </a:lnTo>
                <a:lnTo>
                  <a:pt x="4904" y="1821"/>
                </a:lnTo>
                <a:lnTo>
                  <a:pt x="4903" y="1822"/>
                </a:lnTo>
                <a:lnTo>
                  <a:pt x="4903" y="1822"/>
                </a:lnTo>
                <a:close/>
                <a:moveTo>
                  <a:pt x="4839" y="2106"/>
                </a:moveTo>
                <a:lnTo>
                  <a:pt x="4839" y="2106"/>
                </a:lnTo>
                <a:lnTo>
                  <a:pt x="4837" y="2108"/>
                </a:lnTo>
                <a:lnTo>
                  <a:pt x="4839" y="2113"/>
                </a:lnTo>
                <a:lnTo>
                  <a:pt x="4839" y="2113"/>
                </a:lnTo>
                <a:lnTo>
                  <a:pt x="4839" y="2106"/>
                </a:lnTo>
                <a:close/>
                <a:moveTo>
                  <a:pt x="4855" y="898"/>
                </a:moveTo>
                <a:lnTo>
                  <a:pt x="4855" y="896"/>
                </a:lnTo>
                <a:lnTo>
                  <a:pt x="4854" y="896"/>
                </a:lnTo>
                <a:lnTo>
                  <a:pt x="4855" y="898"/>
                </a:lnTo>
                <a:lnTo>
                  <a:pt x="4855" y="898"/>
                </a:lnTo>
                <a:close/>
                <a:moveTo>
                  <a:pt x="4847" y="1862"/>
                </a:moveTo>
                <a:lnTo>
                  <a:pt x="4849" y="1863"/>
                </a:lnTo>
                <a:lnTo>
                  <a:pt x="4853" y="1863"/>
                </a:lnTo>
                <a:lnTo>
                  <a:pt x="4851" y="1862"/>
                </a:lnTo>
                <a:lnTo>
                  <a:pt x="4847" y="1862"/>
                </a:lnTo>
                <a:close/>
                <a:moveTo>
                  <a:pt x="4849" y="902"/>
                </a:moveTo>
                <a:lnTo>
                  <a:pt x="4848" y="905"/>
                </a:lnTo>
                <a:lnTo>
                  <a:pt x="4851" y="902"/>
                </a:lnTo>
                <a:lnTo>
                  <a:pt x="4849" y="902"/>
                </a:lnTo>
                <a:close/>
                <a:moveTo>
                  <a:pt x="4587" y="1901"/>
                </a:moveTo>
                <a:lnTo>
                  <a:pt x="4589" y="1901"/>
                </a:lnTo>
                <a:lnTo>
                  <a:pt x="4590" y="1900"/>
                </a:lnTo>
                <a:lnTo>
                  <a:pt x="4591" y="1899"/>
                </a:lnTo>
                <a:lnTo>
                  <a:pt x="4589" y="1899"/>
                </a:lnTo>
                <a:lnTo>
                  <a:pt x="4587" y="1901"/>
                </a:lnTo>
                <a:close/>
                <a:moveTo>
                  <a:pt x="4630" y="2250"/>
                </a:moveTo>
                <a:lnTo>
                  <a:pt x="4638" y="2259"/>
                </a:lnTo>
                <a:lnTo>
                  <a:pt x="4638" y="2258"/>
                </a:lnTo>
                <a:lnTo>
                  <a:pt x="4638" y="2258"/>
                </a:lnTo>
                <a:lnTo>
                  <a:pt x="4639" y="2258"/>
                </a:lnTo>
                <a:lnTo>
                  <a:pt x="4634" y="2252"/>
                </a:lnTo>
                <a:lnTo>
                  <a:pt x="4630" y="2250"/>
                </a:lnTo>
                <a:close/>
                <a:moveTo>
                  <a:pt x="4512" y="1879"/>
                </a:moveTo>
                <a:lnTo>
                  <a:pt x="4512" y="1879"/>
                </a:lnTo>
                <a:lnTo>
                  <a:pt x="4512" y="1880"/>
                </a:lnTo>
                <a:lnTo>
                  <a:pt x="4512" y="1879"/>
                </a:lnTo>
                <a:lnTo>
                  <a:pt x="4512" y="1879"/>
                </a:lnTo>
                <a:close/>
                <a:moveTo>
                  <a:pt x="4639" y="2258"/>
                </a:moveTo>
                <a:lnTo>
                  <a:pt x="4639" y="2258"/>
                </a:lnTo>
                <a:lnTo>
                  <a:pt x="4639" y="2258"/>
                </a:lnTo>
                <a:lnTo>
                  <a:pt x="4639" y="2258"/>
                </a:lnTo>
                <a:close/>
                <a:moveTo>
                  <a:pt x="4538" y="1869"/>
                </a:moveTo>
                <a:lnTo>
                  <a:pt x="4538" y="1869"/>
                </a:lnTo>
                <a:lnTo>
                  <a:pt x="4538" y="1869"/>
                </a:lnTo>
                <a:lnTo>
                  <a:pt x="4538" y="1869"/>
                </a:lnTo>
                <a:lnTo>
                  <a:pt x="4538" y="1869"/>
                </a:lnTo>
                <a:close/>
                <a:moveTo>
                  <a:pt x="4839" y="2118"/>
                </a:moveTo>
                <a:lnTo>
                  <a:pt x="4839" y="2118"/>
                </a:lnTo>
                <a:lnTo>
                  <a:pt x="4840" y="2115"/>
                </a:lnTo>
                <a:lnTo>
                  <a:pt x="4841" y="2113"/>
                </a:lnTo>
                <a:lnTo>
                  <a:pt x="4839" y="2113"/>
                </a:lnTo>
                <a:lnTo>
                  <a:pt x="4839" y="2118"/>
                </a:lnTo>
                <a:close/>
                <a:moveTo>
                  <a:pt x="4722" y="2296"/>
                </a:moveTo>
                <a:lnTo>
                  <a:pt x="4718" y="2297"/>
                </a:lnTo>
                <a:lnTo>
                  <a:pt x="4716" y="2298"/>
                </a:lnTo>
                <a:lnTo>
                  <a:pt x="4717" y="2298"/>
                </a:lnTo>
                <a:lnTo>
                  <a:pt x="4718" y="2298"/>
                </a:lnTo>
                <a:lnTo>
                  <a:pt x="4718" y="2298"/>
                </a:lnTo>
                <a:lnTo>
                  <a:pt x="4722" y="2298"/>
                </a:lnTo>
                <a:lnTo>
                  <a:pt x="4721" y="2298"/>
                </a:lnTo>
                <a:lnTo>
                  <a:pt x="4722" y="2296"/>
                </a:lnTo>
                <a:close/>
                <a:moveTo>
                  <a:pt x="4857" y="1773"/>
                </a:moveTo>
                <a:lnTo>
                  <a:pt x="4858" y="1772"/>
                </a:lnTo>
                <a:lnTo>
                  <a:pt x="4857" y="1770"/>
                </a:lnTo>
                <a:lnTo>
                  <a:pt x="4856" y="1769"/>
                </a:lnTo>
                <a:lnTo>
                  <a:pt x="4854" y="1770"/>
                </a:lnTo>
                <a:lnTo>
                  <a:pt x="4856" y="1775"/>
                </a:lnTo>
                <a:lnTo>
                  <a:pt x="4857" y="1773"/>
                </a:lnTo>
                <a:close/>
                <a:moveTo>
                  <a:pt x="4834" y="2114"/>
                </a:moveTo>
                <a:lnTo>
                  <a:pt x="4839" y="2128"/>
                </a:lnTo>
                <a:lnTo>
                  <a:pt x="4839" y="2136"/>
                </a:lnTo>
                <a:lnTo>
                  <a:pt x="4838" y="2140"/>
                </a:lnTo>
                <a:lnTo>
                  <a:pt x="4837" y="2143"/>
                </a:lnTo>
                <a:lnTo>
                  <a:pt x="4836" y="2149"/>
                </a:lnTo>
                <a:lnTo>
                  <a:pt x="4835" y="2154"/>
                </a:lnTo>
                <a:lnTo>
                  <a:pt x="4834" y="2159"/>
                </a:lnTo>
                <a:lnTo>
                  <a:pt x="4832" y="2163"/>
                </a:lnTo>
                <a:lnTo>
                  <a:pt x="4834" y="2170"/>
                </a:lnTo>
                <a:lnTo>
                  <a:pt x="4830" y="2181"/>
                </a:lnTo>
                <a:lnTo>
                  <a:pt x="4827" y="2186"/>
                </a:lnTo>
                <a:lnTo>
                  <a:pt x="4823" y="2190"/>
                </a:lnTo>
                <a:lnTo>
                  <a:pt x="4823" y="2195"/>
                </a:lnTo>
                <a:lnTo>
                  <a:pt x="4819" y="2201"/>
                </a:lnTo>
                <a:lnTo>
                  <a:pt x="4819" y="2201"/>
                </a:lnTo>
                <a:lnTo>
                  <a:pt x="4815" y="2204"/>
                </a:lnTo>
                <a:lnTo>
                  <a:pt x="4812" y="2210"/>
                </a:lnTo>
                <a:lnTo>
                  <a:pt x="4807" y="2210"/>
                </a:lnTo>
                <a:lnTo>
                  <a:pt x="4807" y="2211"/>
                </a:lnTo>
                <a:lnTo>
                  <a:pt x="4808" y="2213"/>
                </a:lnTo>
                <a:lnTo>
                  <a:pt x="4809" y="2216"/>
                </a:lnTo>
                <a:lnTo>
                  <a:pt x="4808" y="2222"/>
                </a:lnTo>
                <a:lnTo>
                  <a:pt x="4806" y="2222"/>
                </a:lnTo>
                <a:lnTo>
                  <a:pt x="4808" y="2224"/>
                </a:lnTo>
                <a:lnTo>
                  <a:pt x="4805" y="2225"/>
                </a:lnTo>
                <a:lnTo>
                  <a:pt x="4802" y="2226"/>
                </a:lnTo>
                <a:lnTo>
                  <a:pt x="4802" y="2231"/>
                </a:lnTo>
                <a:lnTo>
                  <a:pt x="4801" y="2236"/>
                </a:lnTo>
                <a:lnTo>
                  <a:pt x="4799" y="2237"/>
                </a:lnTo>
                <a:lnTo>
                  <a:pt x="4801" y="2242"/>
                </a:lnTo>
                <a:lnTo>
                  <a:pt x="4799" y="2242"/>
                </a:lnTo>
                <a:lnTo>
                  <a:pt x="4799" y="2240"/>
                </a:lnTo>
                <a:lnTo>
                  <a:pt x="4798" y="2241"/>
                </a:lnTo>
                <a:lnTo>
                  <a:pt x="4797" y="2242"/>
                </a:lnTo>
                <a:lnTo>
                  <a:pt x="4794" y="2248"/>
                </a:lnTo>
                <a:lnTo>
                  <a:pt x="4791" y="2254"/>
                </a:lnTo>
                <a:lnTo>
                  <a:pt x="4791" y="2260"/>
                </a:lnTo>
                <a:lnTo>
                  <a:pt x="4787" y="2270"/>
                </a:lnTo>
                <a:lnTo>
                  <a:pt x="4789" y="2275"/>
                </a:lnTo>
                <a:lnTo>
                  <a:pt x="4787" y="2277"/>
                </a:lnTo>
                <a:lnTo>
                  <a:pt x="4787" y="2280"/>
                </a:lnTo>
                <a:lnTo>
                  <a:pt x="4782" y="2285"/>
                </a:lnTo>
                <a:lnTo>
                  <a:pt x="4764" y="2286"/>
                </a:lnTo>
                <a:lnTo>
                  <a:pt x="4760" y="2287"/>
                </a:lnTo>
                <a:lnTo>
                  <a:pt x="4756" y="2288"/>
                </a:lnTo>
                <a:lnTo>
                  <a:pt x="4750" y="2294"/>
                </a:lnTo>
                <a:lnTo>
                  <a:pt x="4743" y="2299"/>
                </a:lnTo>
                <a:lnTo>
                  <a:pt x="4734" y="2300"/>
                </a:lnTo>
                <a:lnTo>
                  <a:pt x="4735" y="2302"/>
                </a:lnTo>
                <a:lnTo>
                  <a:pt x="4735" y="2304"/>
                </a:lnTo>
                <a:lnTo>
                  <a:pt x="4739" y="2303"/>
                </a:lnTo>
                <a:lnTo>
                  <a:pt x="4739" y="2308"/>
                </a:lnTo>
                <a:lnTo>
                  <a:pt x="4737" y="2309"/>
                </a:lnTo>
                <a:lnTo>
                  <a:pt x="4735" y="2306"/>
                </a:lnTo>
                <a:lnTo>
                  <a:pt x="4734" y="2303"/>
                </a:lnTo>
                <a:lnTo>
                  <a:pt x="4726" y="2304"/>
                </a:lnTo>
                <a:lnTo>
                  <a:pt x="4726" y="2299"/>
                </a:lnTo>
                <a:lnTo>
                  <a:pt x="4725" y="2300"/>
                </a:lnTo>
                <a:lnTo>
                  <a:pt x="4724" y="2299"/>
                </a:lnTo>
                <a:lnTo>
                  <a:pt x="4722" y="2298"/>
                </a:lnTo>
                <a:lnTo>
                  <a:pt x="4723" y="2298"/>
                </a:lnTo>
                <a:lnTo>
                  <a:pt x="4722" y="2294"/>
                </a:lnTo>
                <a:lnTo>
                  <a:pt x="4720" y="2294"/>
                </a:lnTo>
                <a:lnTo>
                  <a:pt x="4716" y="2298"/>
                </a:lnTo>
                <a:lnTo>
                  <a:pt x="4715" y="2298"/>
                </a:lnTo>
                <a:lnTo>
                  <a:pt x="4717" y="2294"/>
                </a:lnTo>
                <a:lnTo>
                  <a:pt x="4715" y="2287"/>
                </a:lnTo>
                <a:lnTo>
                  <a:pt x="4706" y="2294"/>
                </a:lnTo>
                <a:lnTo>
                  <a:pt x="4710" y="2294"/>
                </a:lnTo>
                <a:lnTo>
                  <a:pt x="4710" y="2298"/>
                </a:lnTo>
                <a:lnTo>
                  <a:pt x="4706" y="2298"/>
                </a:lnTo>
                <a:lnTo>
                  <a:pt x="4694" y="2305"/>
                </a:lnTo>
                <a:lnTo>
                  <a:pt x="4678" y="2296"/>
                </a:lnTo>
                <a:lnTo>
                  <a:pt x="4676" y="2296"/>
                </a:lnTo>
                <a:lnTo>
                  <a:pt x="4674" y="2297"/>
                </a:lnTo>
                <a:lnTo>
                  <a:pt x="4671" y="2293"/>
                </a:lnTo>
                <a:lnTo>
                  <a:pt x="4669" y="2295"/>
                </a:lnTo>
                <a:lnTo>
                  <a:pt x="4667" y="2297"/>
                </a:lnTo>
                <a:lnTo>
                  <a:pt x="4660" y="2292"/>
                </a:lnTo>
                <a:lnTo>
                  <a:pt x="4652" y="2289"/>
                </a:lnTo>
                <a:lnTo>
                  <a:pt x="4638" y="2275"/>
                </a:lnTo>
                <a:lnTo>
                  <a:pt x="4638" y="2270"/>
                </a:lnTo>
                <a:lnTo>
                  <a:pt x="4638" y="2269"/>
                </a:lnTo>
                <a:lnTo>
                  <a:pt x="4638" y="2263"/>
                </a:lnTo>
                <a:lnTo>
                  <a:pt x="4639" y="2258"/>
                </a:lnTo>
                <a:lnTo>
                  <a:pt x="4639" y="2259"/>
                </a:lnTo>
                <a:lnTo>
                  <a:pt x="4639" y="2257"/>
                </a:lnTo>
                <a:lnTo>
                  <a:pt x="4638" y="2255"/>
                </a:lnTo>
                <a:lnTo>
                  <a:pt x="4634" y="2252"/>
                </a:lnTo>
                <a:lnTo>
                  <a:pt x="4630" y="2249"/>
                </a:lnTo>
                <a:lnTo>
                  <a:pt x="4630" y="2247"/>
                </a:lnTo>
                <a:lnTo>
                  <a:pt x="4628" y="2249"/>
                </a:lnTo>
                <a:lnTo>
                  <a:pt x="4630" y="2250"/>
                </a:lnTo>
                <a:lnTo>
                  <a:pt x="4630" y="2250"/>
                </a:lnTo>
                <a:lnTo>
                  <a:pt x="4630" y="2250"/>
                </a:lnTo>
                <a:lnTo>
                  <a:pt x="4630" y="2250"/>
                </a:lnTo>
                <a:lnTo>
                  <a:pt x="4626" y="2250"/>
                </a:lnTo>
                <a:lnTo>
                  <a:pt x="4622" y="2250"/>
                </a:lnTo>
                <a:lnTo>
                  <a:pt x="4615" y="2250"/>
                </a:lnTo>
                <a:lnTo>
                  <a:pt x="4619" y="2247"/>
                </a:lnTo>
                <a:lnTo>
                  <a:pt x="4622" y="2243"/>
                </a:lnTo>
                <a:lnTo>
                  <a:pt x="4622" y="2239"/>
                </a:lnTo>
                <a:lnTo>
                  <a:pt x="4622" y="2232"/>
                </a:lnTo>
                <a:lnTo>
                  <a:pt x="4619" y="2228"/>
                </a:lnTo>
                <a:lnTo>
                  <a:pt x="4615" y="2223"/>
                </a:lnTo>
                <a:lnTo>
                  <a:pt x="4615" y="2226"/>
                </a:lnTo>
                <a:lnTo>
                  <a:pt x="4614" y="2229"/>
                </a:lnTo>
                <a:lnTo>
                  <a:pt x="4612" y="2240"/>
                </a:lnTo>
                <a:lnTo>
                  <a:pt x="4608" y="2239"/>
                </a:lnTo>
                <a:lnTo>
                  <a:pt x="4598" y="2242"/>
                </a:lnTo>
                <a:lnTo>
                  <a:pt x="4601" y="2236"/>
                </a:lnTo>
                <a:lnTo>
                  <a:pt x="4603" y="2237"/>
                </a:lnTo>
                <a:lnTo>
                  <a:pt x="4605" y="2238"/>
                </a:lnTo>
                <a:lnTo>
                  <a:pt x="4606" y="2235"/>
                </a:lnTo>
                <a:lnTo>
                  <a:pt x="4606" y="2232"/>
                </a:lnTo>
                <a:lnTo>
                  <a:pt x="4606" y="2224"/>
                </a:lnTo>
                <a:lnTo>
                  <a:pt x="4607" y="2222"/>
                </a:lnTo>
                <a:lnTo>
                  <a:pt x="4609" y="2220"/>
                </a:lnTo>
                <a:lnTo>
                  <a:pt x="4612" y="2217"/>
                </a:lnTo>
                <a:lnTo>
                  <a:pt x="4614" y="2215"/>
                </a:lnTo>
                <a:lnTo>
                  <a:pt x="4613" y="2209"/>
                </a:lnTo>
                <a:lnTo>
                  <a:pt x="4614" y="2207"/>
                </a:lnTo>
                <a:lnTo>
                  <a:pt x="4615" y="2205"/>
                </a:lnTo>
                <a:lnTo>
                  <a:pt x="4614" y="2201"/>
                </a:lnTo>
                <a:lnTo>
                  <a:pt x="4612" y="2197"/>
                </a:lnTo>
                <a:lnTo>
                  <a:pt x="4613" y="2205"/>
                </a:lnTo>
                <a:lnTo>
                  <a:pt x="4608" y="2206"/>
                </a:lnTo>
                <a:lnTo>
                  <a:pt x="4603" y="2218"/>
                </a:lnTo>
                <a:lnTo>
                  <a:pt x="4600" y="2218"/>
                </a:lnTo>
                <a:lnTo>
                  <a:pt x="4598" y="2219"/>
                </a:lnTo>
                <a:lnTo>
                  <a:pt x="4595" y="2219"/>
                </a:lnTo>
                <a:lnTo>
                  <a:pt x="4593" y="2221"/>
                </a:lnTo>
                <a:lnTo>
                  <a:pt x="4586" y="2232"/>
                </a:lnTo>
                <a:lnTo>
                  <a:pt x="4585" y="2234"/>
                </a:lnTo>
                <a:lnTo>
                  <a:pt x="4584" y="2237"/>
                </a:lnTo>
                <a:lnTo>
                  <a:pt x="4584" y="2237"/>
                </a:lnTo>
                <a:lnTo>
                  <a:pt x="4582" y="2236"/>
                </a:lnTo>
                <a:lnTo>
                  <a:pt x="4582" y="2237"/>
                </a:lnTo>
                <a:lnTo>
                  <a:pt x="4582" y="2238"/>
                </a:lnTo>
                <a:lnTo>
                  <a:pt x="4582" y="2238"/>
                </a:lnTo>
                <a:lnTo>
                  <a:pt x="4582" y="2238"/>
                </a:lnTo>
                <a:lnTo>
                  <a:pt x="4579" y="2236"/>
                </a:lnTo>
                <a:lnTo>
                  <a:pt x="4575" y="2234"/>
                </a:lnTo>
                <a:lnTo>
                  <a:pt x="4573" y="2234"/>
                </a:lnTo>
                <a:lnTo>
                  <a:pt x="4574" y="2228"/>
                </a:lnTo>
                <a:lnTo>
                  <a:pt x="4574" y="2227"/>
                </a:lnTo>
                <a:lnTo>
                  <a:pt x="4576" y="2230"/>
                </a:lnTo>
                <a:lnTo>
                  <a:pt x="4578" y="2232"/>
                </a:lnTo>
                <a:lnTo>
                  <a:pt x="4577" y="2227"/>
                </a:lnTo>
                <a:lnTo>
                  <a:pt x="4575" y="2221"/>
                </a:lnTo>
                <a:lnTo>
                  <a:pt x="4570" y="2215"/>
                </a:lnTo>
                <a:lnTo>
                  <a:pt x="4570" y="2213"/>
                </a:lnTo>
                <a:lnTo>
                  <a:pt x="4567" y="2208"/>
                </a:lnTo>
                <a:lnTo>
                  <a:pt x="4561" y="2206"/>
                </a:lnTo>
                <a:lnTo>
                  <a:pt x="4559" y="2202"/>
                </a:lnTo>
                <a:lnTo>
                  <a:pt x="4558" y="2202"/>
                </a:lnTo>
                <a:lnTo>
                  <a:pt x="4558" y="2201"/>
                </a:lnTo>
                <a:lnTo>
                  <a:pt x="4559" y="2201"/>
                </a:lnTo>
                <a:lnTo>
                  <a:pt x="4560" y="2202"/>
                </a:lnTo>
                <a:lnTo>
                  <a:pt x="4561" y="2201"/>
                </a:lnTo>
                <a:lnTo>
                  <a:pt x="4561" y="2201"/>
                </a:lnTo>
                <a:lnTo>
                  <a:pt x="4561" y="2199"/>
                </a:lnTo>
                <a:lnTo>
                  <a:pt x="4560" y="2198"/>
                </a:lnTo>
                <a:lnTo>
                  <a:pt x="4555" y="2198"/>
                </a:lnTo>
                <a:lnTo>
                  <a:pt x="4556" y="2197"/>
                </a:lnTo>
                <a:lnTo>
                  <a:pt x="4556" y="2195"/>
                </a:lnTo>
                <a:lnTo>
                  <a:pt x="4555" y="2193"/>
                </a:lnTo>
                <a:lnTo>
                  <a:pt x="4553" y="2191"/>
                </a:lnTo>
                <a:lnTo>
                  <a:pt x="4549" y="2194"/>
                </a:lnTo>
                <a:lnTo>
                  <a:pt x="4545" y="2194"/>
                </a:lnTo>
                <a:lnTo>
                  <a:pt x="4542" y="2190"/>
                </a:lnTo>
                <a:lnTo>
                  <a:pt x="4539" y="2186"/>
                </a:lnTo>
                <a:lnTo>
                  <a:pt x="4532" y="2188"/>
                </a:lnTo>
                <a:lnTo>
                  <a:pt x="4529" y="2185"/>
                </a:lnTo>
                <a:lnTo>
                  <a:pt x="4526" y="2183"/>
                </a:lnTo>
                <a:lnTo>
                  <a:pt x="4521" y="2181"/>
                </a:lnTo>
                <a:lnTo>
                  <a:pt x="4515" y="2179"/>
                </a:lnTo>
                <a:lnTo>
                  <a:pt x="4512" y="2182"/>
                </a:lnTo>
                <a:lnTo>
                  <a:pt x="4501" y="2182"/>
                </a:lnTo>
                <a:lnTo>
                  <a:pt x="4494" y="2182"/>
                </a:lnTo>
                <a:lnTo>
                  <a:pt x="4486" y="2182"/>
                </a:lnTo>
                <a:lnTo>
                  <a:pt x="4471" y="2190"/>
                </a:lnTo>
                <a:lnTo>
                  <a:pt x="4459" y="2193"/>
                </a:lnTo>
                <a:lnTo>
                  <a:pt x="4440" y="2192"/>
                </a:lnTo>
                <a:lnTo>
                  <a:pt x="4432" y="2198"/>
                </a:lnTo>
                <a:lnTo>
                  <a:pt x="4423" y="2203"/>
                </a:lnTo>
                <a:lnTo>
                  <a:pt x="4416" y="2204"/>
                </a:lnTo>
                <a:lnTo>
                  <a:pt x="4414" y="2205"/>
                </a:lnTo>
                <a:lnTo>
                  <a:pt x="4412" y="2215"/>
                </a:lnTo>
                <a:lnTo>
                  <a:pt x="4410" y="2216"/>
                </a:lnTo>
                <a:lnTo>
                  <a:pt x="4408" y="2218"/>
                </a:lnTo>
                <a:lnTo>
                  <a:pt x="4404" y="2220"/>
                </a:lnTo>
                <a:lnTo>
                  <a:pt x="4400" y="2222"/>
                </a:lnTo>
                <a:lnTo>
                  <a:pt x="4397" y="2222"/>
                </a:lnTo>
                <a:lnTo>
                  <a:pt x="4388" y="2222"/>
                </a:lnTo>
                <a:lnTo>
                  <a:pt x="4386" y="2221"/>
                </a:lnTo>
                <a:lnTo>
                  <a:pt x="4385" y="2221"/>
                </a:lnTo>
                <a:lnTo>
                  <a:pt x="4383" y="2218"/>
                </a:lnTo>
                <a:lnTo>
                  <a:pt x="4380" y="2220"/>
                </a:lnTo>
                <a:lnTo>
                  <a:pt x="4377" y="2219"/>
                </a:lnTo>
                <a:lnTo>
                  <a:pt x="4375" y="2218"/>
                </a:lnTo>
                <a:lnTo>
                  <a:pt x="4371" y="2219"/>
                </a:lnTo>
                <a:lnTo>
                  <a:pt x="4367" y="2220"/>
                </a:lnTo>
                <a:lnTo>
                  <a:pt x="4364" y="2220"/>
                </a:lnTo>
                <a:lnTo>
                  <a:pt x="4360" y="2221"/>
                </a:lnTo>
                <a:lnTo>
                  <a:pt x="4357" y="2220"/>
                </a:lnTo>
                <a:lnTo>
                  <a:pt x="4355" y="2220"/>
                </a:lnTo>
                <a:lnTo>
                  <a:pt x="4348" y="2224"/>
                </a:lnTo>
                <a:lnTo>
                  <a:pt x="4345" y="2230"/>
                </a:lnTo>
                <a:lnTo>
                  <a:pt x="4344" y="2230"/>
                </a:lnTo>
                <a:lnTo>
                  <a:pt x="4338" y="2230"/>
                </a:lnTo>
                <a:lnTo>
                  <a:pt x="4330" y="2237"/>
                </a:lnTo>
                <a:lnTo>
                  <a:pt x="4327" y="2239"/>
                </a:lnTo>
                <a:lnTo>
                  <a:pt x="4325" y="2240"/>
                </a:lnTo>
                <a:lnTo>
                  <a:pt x="4322" y="2239"/>
                </a:lnTo>
                <a:lnTo>
                  <a:pt x="4321" y="2240"/>
                </a:lnTo>
                <a:lnTo>
                  <a:pt x="4319" y="2240"/>
                </a:lnTo>
                <a:lnTo>
                  <a:pt x="4317" y="2238"/>
                </a:lnTo>
                <a:lnTo>
                  <a:pt x="4305" y="2239"/>
                </a:lnTo>
                <a:lnTo>
                  <a:pt x="4301" y="2237"/>
                </a:lnTo>
                <a:lnTo>
                  <a:pt x="4297" y="2235"/>
                </a:lnTo>
                <a:lnTo>
                  <a:pt x="4292" y="2229"/>
                </a:lnTo>
                <a:lnTo>
                  <a:pt x="4289" y="2228"/>
                </a:lnTo>
                <a:lnTo>
                  <a:pt x="4286" y="2226"/>
                </a:lnTo>
                <a:lnTo>
                  <a:pt x="4286" y="2227"/>
                </a:lnTo>
                <a:lnTo>
                  <a:pt x="4285" y="2227"/>
                </a:lnTo>
                <a:lnTo>
                  <a:pt x="4283" y="2226"/>
                </a:lnTo>
                <a:lnTo>
                  <a:pt x="4282" y="2220"/>
                </a:lnTo>
                <a:lnTo>
                  <a:pt x="4281" y="2213"/>
                </a:lnTo>
                <a:lnTo>
                  <a:pt x="4283" y="2215"/>
                </a:lnTo>
                <a:lnTo>
                  <a:pt x="4285" y="2218"/>
                </a:lnTo>
                <a:lnTo>
                  <a:pt x="4288" y="2218"/>
                </a:lnTo>
                <a:lnTo>
                  <a:pt x="4293" y="2211"/>
                </a:lnTo>
                <a:lnTo>
                  <a:pt x="4292" y="2201"/>
                </a:lnTo>
                <a:lnTo>
                  <a:pt x="4292" y="2199"/>
                </a:lnTo>
                <a:lnTo>
                  <a:pt x="4291" y="2199"/>
                </a:lnTo>
                <a:lnTo>
                  <a:pt x="4290" y="2200"/>
                </a:lnTo>
                <a:lnTo>
                  <a:pt x="4289" y="2201"/>
                </a:lnTo>
                <a:lnTo>
                  <a:pt x="4289" y="2198"/>
                </a:lnTo>
                <a:lnTo>
                  <a:pt x="4289" y="2197"/>
                </a:lnTo>
                <a:lnTo>
                  <a:pt x="4289" y="2185"/>
                </a:lnTo>
                <a:lnTo>
                  <a:pt x="4281" y="2163"/>
                </a:lnTo>
                <a:lnTo>
                  <a:pt x="4282" y="2160"/>
                </a:lnTo>
                <a:lnTo>
                  <a:pt x="4281" y="2156"/>
                </a:lnTo>
                <a:lnTo>
                  <a:pt x="4281" y="2147"/>
                </a:lnTo>
                <a:lnTo>
                  <a:pt x="4281" y="2145"/>
                </a:lnTo>
                <a:lnTo>
                  <a:pt x="4280" y="2142"/>
                </a:lnTo>
                <a:lnTo>
                  <a:pt x="4279" y="2139"/>
                </a:lnTo>
                <a:lnTo>
                  <a:pt x="4277" y="2136"/>
                </a:lnTo>
                <a:lnTo>
                  <a:pt x="4274" y="2131"/>
                </a:lnTo>
                <a:lnTo>
                  <a:pt x="4272" y="2128"/>
                </a:lnTo>
                <a:lnTo>
                  <a:pt x="4269" y="2124"/>
                </a:lnTo>
                <a:lnTo>
                  <a:pt x="4269" y="2117"/>
                </a:lnTo>
                <a:lnTo>
                  <a:pt x="4266" y="2109"/>
                </a:lnTo>
                <a:lnTo>
                  <a:pt x="4262" y="2102"/>
                </a:lnTo>
                <a:lnTo>
                  <a:pt x="4257" y="2095"/>
                </a:lnTo>
                <a:lnTo>
                  <a:pt x="4258" y="2094"/>
                </a:lnTo>
                <a:lnTo>
                  <a:pt x="4259" y="2094"/>
                </a:lnTo>
                <a:lnTo>
                  <a:pt x="4260" y="2094"/>
                </a:lnTo>
                <a:lnTo>
                  <a:pt x="4260" y="2095"/>
                </a:lnTo>
                <a:lnTo>
                  <a:pt x="4263" y="2102"/>
                </a:lnTo>
                <a:lnTo>
                  <a:pt x="4265" y="2098"/>
                </a:lnTo>
                <a:lnTo>
                  <a:pt x="4265" y="2095"/>
                </a:lnTo>
                <a:lnTo>
                  <a:pt x="4264" y="2094"/>
                </a:lnTo>
                <a:lnTo>
                  <a:pt x="4264" y="2094"/>
                </a:lnTo>
                <a:lnTo>
                  <a:pt x="4264" y="2094"/>
                </a:lnTo>
                <a:lnTo>
                  <a:pt x="4264" y="2094"/>
                </a:lnTo>
                <a:lnTo>
                  <a:pt x="4264" y="2093"/>
                </a:lnTo>
                <a:lnTo>
                  <a:pt x="4266" y="2090"/>
                </a:lnTo>
                <a:lnTo>
                  <a:pt x="4266" y="2090"/>
                </a:lnTo>
                <a:lnTo>
                  <a:pt x="4266" y="2090"/>
                </a:lnTo>
                <a:lnTo>
                  <a:pt x="4269" y="2097"/>
                </a:lnTo>
                <a:lnTo>
                  <a:pt x="4269" y="2096"/>
                </a:lnTo>
                <a:lnTo>
                  <a:pt x="4269" y="2095"/>
                </a:lnTo>
                <a:lnTo>
                  <a:pt x="4269" y="2094"/>
                </a:lnTo>
                <a:lnTo>
                  <a:pt x="4271" y="2089"/>
                </a:lnTo>
                <a:lnTo>
                  <a:pt x="4264" y="2078"/>
                </a:lnTo>
                <a:lnTo>
                  <a:pt x="4264" y="2074"/>
                </a:lnTo>
                <a:lnTo>
                  <a:pt x="4263" y="2070"/>
                </a:lnTo>
                <a:lnTo>
                  <a:pt x="4261" y="2067"/>
                </a:lnTo>
                <a:lnTo>
                  <a:pt x="4259" y="2065"/>
                </a:lnTo>
                <a:lnTo>
                  <a:pt x="4260" y="2060"/>
                </a:lnTo>
                <a:lnTo>
                  <a:pt x="4260" y="2055"/>
                </a:lnTo>
                <a:lnTo>
                  <a:pt x="4262" y="2053"/>
                </a:lnTo>
                <a:lnTo>
                  <a:pt x="4264" y="2050"/>
                </a:lnTo>
                <a:lnTo>
                  <a:pt x="4265" y="2046"/>
                </a:lnTo>
                <a:lnTo>
                  <a:pt x="4266" y="2042"/>
                </a:lnTo>
                <a:lnTo>
                  <a:pt x="4263" y="2036"/>
                </a:lnTo>
                <a:lnTo>
                  <a:pt x="4265" y="2032"/>
                </a:lnTo>
                <a:lnTo>
                  <a:pt x="4267" y="2027"/>
                </a:lnTo>
                <a:lnTo>
                  <a:pt x="4271" y="2023"/>
                </a:lnTo>
                <a:lnTo>
                  <a:pt x="4270" y="2026"/>
                </a:lnTo>
                <a:lnTo>
                  <a:pt x="4270" y="2028"/>
                </a:lnTo>
                <a:lnTo>
                  <a:pt x="4270" y="2032"/>
                </a:lnTo>
                <a:lnTo>
                  <a:pt x="4271" y="2035"/>
                </a:lnTo>
                <a:lnTo>
                  <a:pt x="4274" y="2033"/>
                </a:lnTo>
                <a:lnTo>
                  <a:pt x="4276" y="2028"/>
                </a:lnTo>
                <a:lnTo>
                  <a:pt x="4278" y="2023"/>
                </a:lnTo>
                <a:lnTo>
                  <a:pt x="4284" y="2021"/>
                </a:lnTo>
                <a:lnTo>
                  <a:pt x="4290" y="2019"/>
                </a:lnTo>
                <a:lnTo>
                  <a:pt x="4297" y="2012"/>
                </a:lnTo>
                <a:lnTo>
                  <a:pt x="4302" y="2009"/>
                </a:lnTo>
                <a:lnTo>
                  <a:pt x="4307" y="2005"/>
                </a:lnTo>
                <a:lnTo>
                  <a:pt x="4308" y="2006"/>
                </a:lnTo>
                <a:lnTo>
                  <a:pt x="4309" y="2007"/>
                </a:lnTo>
                <a:lnTo>
                  <a:pt x="4310" y="2006"/>
                </a:lnTo>
                <a:lnTo>
                  <a:pt x="4312" y="2005"/>
                </a:lnTo>
                <a:lnTo>
                  <a:pt x="4317" y="2007"/>
                </a:lnTo>
                <a:lnTo>
                  <a:pt x="4319" y="2006"/>
                </a:lnTo>
                <a:lnTo>
                  <a:pt x="4322" y="2006"/>
                </a:lnTo>
                <a:lnTo>
                  <a:pt x="4327" y="2001"/>
                </a:lnTo>
                <a:lnTo>
                  <a:pt x="4337" y="2001"/>
                </a:lnTo>
                <a:lnTo>
                  <a:pt x="4339" y="1998"/>
                </a:lnTo>
                <a:lnTo>
                  <a:pt x="4341" y="1995"/>
                </a:lnTo>
                <a:lnTo>
                  <a:pt x="4348" y="1998"/>
                </a:lnTo>
                <a:lnTo>
                  <a:pt x="4359" y="1994"/>
                </a:lnTo>
                <a:lnTo>
                  <a:pt x="4365" y="1992"/>
                </a:lnTo>
                <a:lnTo>
                  <a:pt x="4370" y="1989"/>
                </a:lnTo>
                <a:lnTo>
                  <a:pt x="4375" y="1983"/>
                </a:lnTo>
                <a:lnTo>
                  <a:pt x="4377" y="1978"/>
                </a:lnTo>
                <a:lnTo>
                  <a:pt x="4380" y="1973"/>
                </a:lnTo>
                <a:lnTo>
                  <a:pt x="4383" y="1973"/>
                </a:lnTo>
                <a:lnTo>
                  <a:pt x="4384" y="1970"/>
                </a:lnTo>
                <a:lnTo>
                  <a:pt x="4385" y="1966"/>
                </a:lnTo>
                <a:lnTo>
                  <a:pt x="4385" y="1964"/>
                </a:lnTo>
                <a:lnTo>
                  <a:pt x="4385" y="1963"/>
                </a:lnTo>
                <a:lnTo>
                  <a:pt x="4385" y="1953"/>
                </a:lnTo>
                <a:lnTo>
                  <a:pt x="4387" y="1951"/>
                </a:lnTo>
                <a:lnTo>
                  <a:pt x="4388" y="1949"/>
                </a:lnTo>
                <a:lnTo>
                  <a:pt x="4389" y="1948"/>
                </a:lnTo>
                <a:lnTo>
                  <a:pt x="4389" y="1947"/>
                </a:lnTo>
                <a:lnTo>
                  <a:pt x="4391" y="1946"/>
                </a:lnTo>
                <a:lnTo>
                  <a:pt x="4393" y="1945"/>
                </a:lnTo>
                <a:lnTo>
                  <a:pt x="4393" y="1944"/>
                </a:lnTo>
                <a:lnTo>
                  <a:pt x="4395" y="1942"/>
                </a:lnTo>
                <a:lnTo>
                  <a:pt x="4396" y="1941"/>
                </a:lnTo>
                <a:lnTo>
                  <a:pt x="4399" y="1941"/>
                </a:lnTo>
                <a:lnTo>
                  <a:pt x="4398" y="1942"/>
                </a:lnTo>
                <a:lnTo>
                  <a:pt x="4397" y="1944"/>
                </a:lnTo>
                <a:lnTo>
                  <a:pt x="4404" y="1959"/>
                </a:lnTo>
                <a:lnTo>
                  <a:pt x="4405" y="1949"/>
                </a:lnTo>
                <a:lnTo>
                  <a:pt x="4405" y="1949"/>
                </a:lnTo>
                <a:lnTo>
                  <a:pt x="4405" y="1949"/>
                </a:lnTo>
                <a:lnTo>
                  <a:pt x="4411" y="1953"/>
                </a:lnTo>
                <a:lnTo>
                  <a:pt x="4410" y="1951"/>
                </a:lnTo>
                <a:lnTo>
                  <a:pt x="4408" y="1950"/>
                </a:lnTo>
                <a:lnTo>
                  <a:pt x="4411" y="1949"/>
                </a:lnTo>
                <a:lnTo>
                  <a:pt x="4408" y="1949"/>
                </a:lnTo>
                <a:lnTo>
                  <a:pt x="4407" y="1946"/>
                </a:lnTo>
                <a:lnTo>
                  <a:pt x="4407" y="1944"/>
                </a:lnTo>
                <a:lnTo>
                  <a:pt x="4406" y="1942"/>
                </a:lnTo>
                <a:lnTo>
                  <a:pt x="4404" y="1941"/>
                </a:lnTo>
                <a:lnTo>
                  <a:pt x="4407" y="1941"/>
                </a:lnTo>
                <a:lnTo>
                  <a:pt x="4406" y="1940"/>
                </a:lnTo>
                <a:lnTo>
                  <a:pt x="4405" y="1940"/>
                </a:lnTo>
                <a:lnTo>
                  <a:pt x="4405" y="1938"/>
                </a:lnTo>
                <a:lnTo>
                  <a:pt x="4406" y="1938"/>
                </a:lnTo>
                <a:lnTo>
                  <a:pt x="4408" y="1938"/>
                </a:lnTo>
                <a:lnTo>
                  <a:pt x="4411" y="1941"/>
                </a:lnTo>
                <a:lnTo>
                  <a:pt x="4411" y="1940"/>
                </a:lnTo>
                <a:lnTo>
                  <a:pt x="4412" y="1941"/>
                </a:lnTo>
                <a:lnTo>
                  <a:pt x="4415" y="1941"/>
                </a:lnTo>
                <a:lnTo>
                  <a:pt x="4418" y="1941"/>
                </a:lnTo>
                <a:lnTo>
                  <a:pt x="4425" y="1941"/>
                </a:lnTo>
                <a:lnTo>
                  <a:pt x="4417" y="1938"/>
                </a:lnTo>
                <a:lnTo>
                  <a:pt x="4417" y="1933"/>
                </a:lnTo>
                <a:lnTo>
                  <a:pt x="4418" y="1933"/>
                </a:lnTo>
                <a:lnTo>
                  <a:pt x="4419" y="1935"/>
                </a:lnTo>
                <a:lnTo>
                  <a:pt x="4419" y="1937"/>
                </a:lnTo>
                <a:lnTo>
                  <a:pt x="4420" y="1936"/>
                </a:lnTo>
                <a:lnTo>
                  <a:pt x="4421" y="1935"/>
                </a:lnTo>
                <a:lnTo>
                  <a:pt x="4421" y="1933"/>
                </a:lnTo>
                <a:lnTo>
                  <a:pt x="4423" y="1932"/>
                </a:lnTo>
                <a:lnTo>
                  <a:pt x="4421" y="1930"/>
                </a:lnTo>
                <a:lnTo>
                  <a:pt x="4420" y="1932"/>
                </a:lnTo>
                <a:lnTo>
                  <a:pt x="4419" y="1933"/>
                </a:lnTo>
                <a:lnTo>
                  <a:pt x="4418" y="1933"/>
                </a:lnTo>
                <a:lnTo>
                  <a:pt x="4417" y="1932"/>
                </a:lnTo>
                <a:lnTo>
                  <a:pt x="4417" y="1926"/>
                </a:lnTo>
                <a:lnTo>
                  <a:pt x="4419" y="1928"/>
                </a:lnTo>
                <a:lnTo>
                  <a:pt x="4419" y="1927"/>
                </a:lnTo>
                <a:lnTo>
                  <a:pt x="4418" y="1925"/>
                </a:lnTo>
                <a:lnTo>
                  <a:pt x="4420" y="1923"/>
                </a:lnTo>
                <a:lnTo>
                  <a:pt x="4421" y="1922"/>
                </a:lnTo>
                <a:lnTo>
                  <a:pt x="4421" y="1922"/>
                </a:lnTo>
                <a:lnTo>
                  <a:pt x="4421" y="1922"/>
                </a:lnTo>
                <a:lnTo>
                  <a:pt x="4421" y="1923"/>
                </a:lnTo>
                <a:lnTo>
                  <a:pt x="4422" y="1925"/>
                </a:lnTo>
                <a:lnTo>
                  <a:pt x="4423" y="1921"/>
                </a:lnTo>
                <a:lnTo>
                  <a:pt x="4423" y="1921"/>
                </a:lnTo>
                <a:lnTo>
                  <a:pt x="4423" y="1921"/>
                </a:lnTo>
                <a:lnTo>
                  <a:pt x="4425" y="1922"/>
                </a:lnTo>
                <a:lnTo>
                  <a:pt x="4426" y="1923"/>
                </a:lnTo>
                <a:lnTo>
                  <a:pt x="4427" y="1921"/>
                </a:lnTo>
                <a:lnTo>
                  <a:pt x="4426" y="1921"/>
                </a:lnTo>
                <a:lnTo>
                  <a:pt x="4425" y="1922"/>
                </a:lnTo>
                <a:lnTo>
                  <a:pt x="4425" y="1921"/>
                </a:lnTo>
                <a:lnTo>
                  <a:pt x="4425" y="1919"/>
                </a:lnTo>
                <a:lnTo>
                  <a:pt x="4428" y="1918"/>
                </a:lnTo>
                <a:lnTo>
                  <a:pt x="4428" y="1919"/>
                </a:lnTo>
                <a:lnTo>
                  <a:pt x="4429" y="1922"/>
                </a:lnTo>
                <a:lnTo>
                  <a:pt x="4429" y="1918"/>
                </a:lnTo>
                <a:lnTo>
                  <a:pt x="4429" y="1918"/>
                </a:lnTo>
                <a:lnTo>
                  <a:pt x="4429" y="1918"/>
                </a:lnTo>
                <a:lnTo>
                  <a:pt x="4429" y="1918"/>
                </a:lnTo>
                <a:lnTo>
                  <a:pt x="4430" y="1917"/>
                </a:lnTo>
                <a:lnTo>
                  <a:pt x="4430" y="1915"/>
                </a:lnTo>
                <a:lnTo>
                  <a:pt x="4431" y="1913"/>
                </a:lnTo>
                <a:lnTo>
                  <a:pt x="4433" y="1913"/>
                </a:lnTo>
                <a:lnTo>
                  <a:pt x="4433" y="1909"/>
                </a:lnTo>
                <a:lnTo>
                  <a:pt x="4437" y="1909"/>
                </a:lnTo>
                <a:lnTo>
                  <a:pt x="4437" y="1909"/>
                </a:lnTo>
                <a:lnTo>
                  <a:pt x="4437" y="1909"/>
                </a:lnTo>
                <a:lnTo>
                  <a:pt x="4437" y="1909"/>
                </a:lnTo>
                <a:lnTo>
                  <a:pt x="4437" y="1909"/>
                </a:lnTo>
                <a:lnTo>
                  <a:pt x="4437" y="1910"/>
                </a:lnTo>
                <a:lnTo>
                  <a:pt x="4438" y="1910"/>
                </a:lnTo>
                <a:lnTo>
                  <a:pt x="4438" y="1910"/>
                </a:lnTo>
                <a:lnTo>
                  <a:pt x="4440" y="1914"/>
                </a:lnTo>
                <a:lnTo>
                  <a:pt x="4441" y="1912"/>
                </a:lnTo>
                <a:lnTo>
                  <a:pt x="4443" y="1909"/>
                </a:lnTo>
                <a:lnTo>
                  <a:pt x="4444" y="1906"/>
                </a:lnTo>
                <a:lnTo>
                  <a:pt x="4443" y="1905"/>
                </a:lnTo>
                <a:lnTo>
                  <a:pt x="4441" y="1905"/>
                </a:lnTo>
                <a:lnTo>
                  <a:pt x="4441" y="1905"/>
                </a:lnTo>
                <a:lnTo>
                  <a:pt x="4441" y="1904"/>
                </a:lnTo>
                <a:lnTo>
                  <a:pt x="4443" y="1905"/>
                </a:lnTo>
                <a:lnTo>
                  <a:pt x="4445" y="1906"/>
                </a:lnTo>
                <a:lnTo>
                  <a:pt x="4446" y="1905"/>
                </a:lnTo>
                <a:lnTo>
                  <a:pt x="4446" y="1905"/>
                </a:lnTo>
                <a:lnTo>
                  <a:pt x="4448" y="1906"/>
                </a:lnTo>
                <a:lnTo>
                  <a:pt x="4453" y="1903"/>
                </a:lnTo>
                <a:lnTo>
                  <a:pt x="4452" y="1902"/>
                </a:lnTo>
                <a:lnTo>
                  <a:pt x="4452" y="1901"/>
                </a:lnTo>
                <a:lnTo>
                  <a:pt x="4452" y="1900"/>
                </a:lnTo>
                <a:lnTo>
                  <a:pt x="4453" y="1899"/>
                </a:lnTo>
                <a:lnTo>
                  <a:pt x="4456" y="1901"/>
                </a:lnTo>
                <a:lnTo>
                  <a:pt x="4457" y="1903"/>
                </a:lnTo>
                <a:lnTo>
                  <a:pt x="4458" y="1905"/>
                </a:lnTo>
                <a:lnTo>
                  <a:pt x="4460" y="1905"/>
                </a:lnTo>
                <a:lnTo>
                  <a:pt x="4470" y="1913"/>
                </a:lnTo>
                <a:lnTo>
                  <a:pt x="4472" y="1914"/>
                </a:lnTo>
                <a:lnTo>
                  <a:pt x="4471" y="1920"/>
                </a:lnTo>
                <a:lnTo>
                  <a:pt x="4471" y="1926"/>
                </a:lnTo>
                <a:lnTo>
                  <a:pt x="4471" y="1924"/>
                </a:lnTo>
                <a:lnTo>
                  <a:pt x="4472" y="1922"/>
                </a:lnTo>
                <a:lnTo>
                  <a:pt x="4472" y="1922"/>
                </a:lnTo>
                <a:lnTo>
                  <a:pt x="4472" y="1922"/>
                </a:lnTo>
                <a:lnTo>
                  <a:pt x="4473" y="1924"/>
                </a:lnTo>
                <a:lnTo>
                  <a:pt x="4474" y="1925"/>
                </a:lnTo>
                <a:lnTo>
                  <a:pt x="4473" y="1923"/>
                </a:lnTo>
                <a:lnTo>
                  <a:pt x="4472" y="1921"/>
                </a:lnTo>
                <a:lnTo>
                  <a:pt x="4473" y="1919"/>
                </a:lnTo>
                <a:lnTo>
                  <a:pt x="4473" y="1921"/>
                </a:lnTo>
                <a:lnTo>
                  <a:pt x="4478" y="1921"/>
                </a:lnTo>
                <a:lnTo>
                  <a:pt x="4477" y="1919"/>
                </a:lnTo>
                <a:lnTo>
                  <a:pt x="4475" y="1917"/>
                </a:lnTo>
                <a:lnTo>
                  <a:pt x="4475" y="1917"/>
                </a:lnTo>
                <a:lnTo>
                  <a:pt x="4475" y="1917"/>
                </a:lnTo>
                <a:lnTo>
                  <a:pt x="4479" y="1917"/>
                </a:lnTo>
                <a:lnTo>
                  <a:pt x="4483" y="1917"/>
                </a:lnTo>
                <a:lnTo>
                  <a:pt x="4486" y="1917"/>
                </a:lnTo>
                <a:lnTo>
                  <a:pt x="4486" y="1917"/>
                </a:lnTo>
                <a:lnTo>
                  <a:pt x="4491" y="1917"/>
                </a:lnTo>
                <a:lnTo>
                  <a:pt x="4495" y="1922"/>
                </a:lnTo>
                <a:lnTo>
                  <a:pt x="4494" y="1920"/>
                </a:lnTo>
                <a:lnTo>
                  <a:pt x="4494" y="1918"/>
                </a:lnTo>
                <a:lnTo>
                  <a:pt x="4494" y="1916"/>
                </a:lnTo>
                <a:lnTo>
                  <a:pt x="4494" y="1915"/>
                </a:lnTo>
                <a:lnTo>
                  <a:pt x="4494" y="1915"/>
                </a:lnTo>
                <a:lnTo>
                  <a:pt x="4494" y="1915"/>
                </a:lnTo>
                <a:lnTo>
                  <a:pt x="4494" y="1915"/>
                </a:lnTo>
                <a:lnTo>
                  <a:pt x="4493" y="1912"/>
                </a:lnTo>
                <a:lnTo>
                  <a:pt x="4492" y="1911"/>
                </a:lnTo>
                <a:lnTo>
                  <a:pt x="4490" y="1910"/>
                </a:lnTo>
                <a:lnTo>
                  <a:pt x="4490" y="1909"/>
                </a:lnTo>
                <a:lnTo>
                  <a:pt x="4492" y="1906"/>
                </a:lnTo>
                <a:lnTo>
                  <a:pt x="4495" y="1904"/>
                </a:lnTo>
                <a:lnTo>
                  <a:pt x="4496" y="1900"/>
                </a:lnTo>
                <a:lnTo>
                  <a:pt x="4498" y="1897"/>
                </a:lnTo>
                <a:lnTo>
                  <a:pt x="4500" y="1897"/>
                </a:lnTo>
                <a:lnTo>
                  <a:pt x="4502" y="1895"/>
                </a:lnTo>
                <a:lnTo>
                  <a:pt x="4503" y="1892"/>
                </a:lnTo>
                <a:lnTo>
                  <a:pt x="4501" y="1892"/>
                </a:lnTo>
                <a:lnTo>
                  <a:pt x="4498" y="1891"/>
                </a:lnTo>
                <a:lnTo>
                  <a:pt x="4498" y="1889"/>
                </a:lnTo>
                <a:lnTo>
                  <a:pt x="4502" y="1889"/>
                </a:lnTo>
                <a:lnTo>
                  <a:pt x="4502" y="1885"/>
                </a:lnTo>
                <a:lnTo>
                  <a:pt x="4506" y="1885"/>
                </a:lnTo>
                <a:lnTo>
                  <a:pt x="4507" y="1884"/>
                </a:lnTo>
                <a:lnTo>
                  <a:pt x="4508" y="1884"/>
                </a:lnTo>
                <a:lnTo>
                  <a:pt x="4507" y="1883"/>
                </a:lnTo>
                <a:lnTo>
                  <a:pt x="4506" y="1883"/>
                </a:lnTo>
                <a:lnTo>
                  <a:pt x="4506" y="1881"/>
                </a:lnTo>
                <a:lnTo>
                  <a:pt x="4512" y="1881"/>
                </a:lnTo>
                <a:lnTo>
                  <a:pt x="4512" y="1880"/>
                </a:lnTo>
                <a:lnTo>
                  <a:pt x="4512" y="1881"/>
                </a:lnTo>
                <a:lnTo>
                  <a:pt x="4513" y="1883"/>
                </a:lnTo>
                <a:lnTo>
                  <a:pt x="4515" y="1881"/>
                </a:lnTo>
                <a:lnTo>
                  <a:pt x="4513" y="1880"/>
                </a:lnTo>
                <a:lnTo>
                  <a:pt x="4512" y="1879"/>
                </a:lnTo>
                <a:lnTo>
                  <a:pt x="4512" y="1878"/>
                </a:lnTo>
                <a:lnTo>
                  <a:pt x="4514" y="1879"/>
                </a:lnTo>
                <a:lnTo>
                  <a:pt x="4514" y="1876"/>
                </a:lnTo>
                <a:lnTo>
                  <a:pt x="4517" y="1878"/>
                </a:lnTo>
                <a:lnTo>
                  <a:pt x="4520" y="1881"/>
                </a:lnTo>
                <a:lnTo>
                  <a:pt x="4531" y="1881"/>
                </a:lnTo>
                <a:lnTo>
                  <a:pt x="4534" y="1878"/>
                </a:lnTo>
                <a:lnTo>
                  <a:pt x="4534" y="1877"/>
                </a:lnTo>
                <a:lnTo>
                  <a:pt x="4534" y="1877"/>
                </a:lnTo>
                <a:lnTo>
                  <a:pt x="4534" y="1878"/>
                </a:lnTo>
                <a:lnTo>
                  <a:pt x="4534" y="1879"/>
                </a:lnTo>
                <a:lnTo>
                  <a:pt x="4534" y="1876"/>
                </a:lnTo>
                <a:lnTo>
                  <a:pt x="4538" y="1877"/>
                </a:lnTo>
                <a:lnTo>
                  <a:pt x="4538" y="1869"/>
                </a:lnTo>
                <a:lnTo>
                  <a:pt x="4538" y="1869"/>
                </a:lnTo>
                <a:lnTo>
                  <a:pt x="4538" y="1869"/>
                </a:lnTo>
                <a:lnTo>
                  <a:pt x="4538" y="1867"/>
                </a:lnTo>
                <a:lnTo>
                  <a:pt x="4538" y="1869"/>
                </a:lnTo>
                <a:lnTo>
                  <a:pt x="4536" y="1867"/>
                </a:lnTo>
                <a:lnTo>
                  <a:pt x="4535" y="1865"/>
                </a:lnTo>
                <a:lnTo>
                  <a:pt x="4533" y="1866"/>
                </a:lnTo>
                <a:lnTo>
                  <a:pt x="4531" y="1867"/>
                </a:lnTo>
                <a:lnTo>
                  <a:pt x="4529" y="1866"/>
                </a:lnTo>
                <a:lnTo>
                  <a:pt x="4528" y="1865"/>
                </a:lnTo>
                <a:lnTo>
                  <a:pt x="4526" y="1865"/>
                </a:lnTo>
                <a:lnTo>
                  <a:pt x="4527" y="1863"/>
                </a:lnTo>
                <a:lnTo>
                  <a:pt x="4528" y="1861"/>
                </a:lnTo>
                <a:lnTo>
                  <a:pt x="4528" y="1861"/>
                </a:lnTo>
                <a:lnTo>
                  <a:pt x="4528" y="1861"/>
                </a:lnTo>
                <a:lnTo>
                  <a:pt x="4530" y="1865"/>
                </a:lnTo>
                <a:lnTo>
                  <a:pt x="4530" y="1864"/>
                </a:lnTo>
                <a:lnTo>
                  <a:pt x="4530" y="1862"/>
                </a:lnTo>
                <a:lnTo>
                  <a:pt x="4531" y="1861"/>
                </a:lnTo>
                <a:lnTo>
                  <a:pt x="4534" y="1861"/>
                </a:lnTo>
                <a:lnTo>
                  <a:pt x="4538" y="1867"/>
                </a:lnTo>
                <a:lnTo>
                  <a:pt x="4540" y="1865"/>
                </a:lnTo>
                <a:lnTo>
                  <a:pt x="4541" y="1864"/>
                </a:lnTo>
                <a:lnTo>
                  <a:pt x="4541" y="1864"/>
                </a:lnTo>
                <a:lnTo>
                  <a:pt x="4541" y="1864"/>
                </a:lnTo>
                <a:lnTo>
                  <a:pt x="4546" y="1869"/>
                </a:lnTo>
                <a:lnTo>
                  <a:pt x="4547" y="1868"/>
                </a:lnTo>
                <a:lnTo>
                  <a:pt x="4548" y="1867"/>
                </a:lnTo>
                <a:lnTo>
                  <a:pt x="4550" y="1869"/>
                </a:lnTo>
                <a:lnTo>
                  <a:pt x="4553" y="1871"/>
                </a:lnTo>
                <a:lnTo>
                  <a:pt x="4554" y="1870"/>
                </a:lnTo>
                <a:lnTo>
                  <a:pt x="4554" y="1873"/>
                </a:lnTo>
                <a:lnTo>
                  <a:pt x="4556" y="1873"/>
                </a:lnTo>
                <a:lnTo>
                  <a:pt x="4559" y="1873"/>
                </a:lnTo>
                <a:lnTo>
                  <a:pt x="4560" y="1874"/>
                </a:lnTo>
                <a:lnTo>
                  <a:pt x="4560" y="1875"/>
                </a:lnTo>
                <a:lnTo>
                  <a:pt x="4564" y="1874"/>
                </a:lnTo>
                <a:lnTo>
                  <a:pt x="4568" y="1872"/>
                </a:lnTo>
                <a:lnTo>
                  <a:pt x="4571" y="1876"/>
                </a:lnTo>
                <a:lnTo>
                  <a:pt x="4574" y="1879"/>
                </a:lnTo>
                <a:lnTo>
                  <a:pt x="4575" y="1877"/>
                </a:lnTo>
                <a:lnTo>
                  <a:pt x="4578" y="1877"/>
                </a:lnTo>
                <a:lnTo>
                  <a:pt x="4578" y="1873"/>
                </a:lnTo>
                <a:lnTo>
                  <a:pt x="4582" y="1873"/>
                </a:lnTo>
                <a:lnTo>
                  <a:pt x="4582" y="1875"/>
                </a:lnTo>
                <a:lnTo>
                  <a:pt x="4582" y="1876"/>
                </a:lnTo>
                <a:lnTo>
                  <a:pt x="4581" y="1876"/>
                </a:lnTo>
                <a:lnTo>
                  <a:pt x="4581" y="1877"/>
                </a:lnTo>
                <a:lnTo>
                  <a:pt x="4582" y="1878"/>
                </a:lnTo>
                <a:lnTo>
                  <a:pt x="4586" y="1875"/>
                </a:lnTo>
                <a:lnTo>
                  <a:pt x="4586" y="1876"/>
                </a:lnTo>
                <a:lnTo>
                  <a:pt x="4586" y="1877"/>
                </a:lnTo>
                <a:lnTo>
                  <a:pt x="4587" y="1877"/>
                </a:lnTo>
                <a:lnTo>
                  <a:pt x="4586" y="1878"/>
                </a:lnTo>
                <a:lnTo>
                  <a:pt x="4586" y="1879"/>
                </a:lnTo>
                <a:lnTo>
                  <a:pt x="4586" y="1880"/>
                </a:lnTo>
                <a:lnTo>
                  <a:pt x="4587" y="1881"/>
                </a:lnTo>
                <a:lnTo>
                  <a:pt x="4589" y="1880"/>
                </a:lnTo>
                <a:lnTo>
                  <a:pt x="4591" y="1879"/>
                </a:lnTo>
                <a:lnTo>
                  <a:pt x="4593" y="1877"/>
                </a:lnTo>
                <a:lnTo>
                  <a:pt x="4589" y="1877"/>
                </a:lnTo>
                <a:lnTo>
                  <a:pt x="4592" y="1875"/>
                </a:lnTo>
                <a:lnTo>
                  <a:pt x="4594" y="1874"/>
                </a:lnTo>
                <a:lnTo>
                  <a:pt x="4594" y="1878"/>
                </a:lnTo>
                <a:lnTo>
                  <a:pt x="4596" y="1877"/>
                </a:lnTo>
                <a:lnTo>
                  <a:pt x="4598" y="1876"/>
                </a:lnTo>
                <a:lnTo>
                  <a:pt x="4600" y="1879"/>
                </a:lnTo>
                <a:lnTo>
                  <a:pt x="4599" y="1879"/>
                </a:lnTo>
                <a:lnTo>
                  <a:pt x="4597" y="1880"/>
                </a:lnTo>
                <a:lnTo>
                  <a:pt x="4594" y="1885"/>
                </a:lnTo>
                <a:lnTo>
                  <a:pt x="4594" y="1885"/>
                </a:lnTo>
                <a:lnTo>
                  <a:pt x="4594" y="1885"/>
                </a:lnTo>
                <a:lnTo>
                  <a:pt x="4592" y="1884"/>
                </a:lnTo>
                <a:lnTo>
                  <a:pt x="4590" y="1884"/>
                </a:lnTo>
                <a:lnTo>
                  <a:pt x="4590" y="1889"/>
                </a:lnTo>
                <a:lnTo>
                  <a:pt x="4590" y="1889"/>
                </a:lnTo>
                <a:lnTo>
                  <a:pt x="4589" y="1891"/>
                </a:lnTo>
                <a:lnTo>
                  <a:pt x="4589" y="1892"/>
                </a:lnTo>
                <a:lnTo>
                  <a:pt x="4587" y="1891"/>
                </a:lnTo>
                <a:lnTo>
                  <a:pt x="4586" y="1892"/>
                </a:lnTo>
                <a:lnTo>
                  <a:pt x="4585" y="1892"/>
                </a:lnTo>
                <a:lnTo>
                  <a:pt x="4584" y="1895"/>
                </a:lnTo>
                <a:lnTo>
                  <a:pt x="4582" y="1898"/>
                </a:lnTo>
                <a:lnTo>
                  <a:pt x="4582" y="1901"/>
                </a:lnTo>
                <a:lnTo>
                  <a:pt x="4587" y="1901"/>
                </a:lnTo>
                <a:lnTo>
                  <a:pt x="4584" y="1908"/>
                </a:lnTo>
                <a:lnTo>
                  <a:pt x="4583" y="1909"/>
                </a:lnTo>
                <a:lnTo>
                  <a:pt x="4581" y="1911"/>
                </a:lnTo>
                <a:lnTo>
                  <a:pt x="4580" y="1914"/>
                </a:lnTo>
                <a:lnTo>
                  <a:pt x="4579" y="1917"/>
                </a:lnTo>
                <a:lnTo>
                  <a:pt x="4578" y="1917"/>
                </a:lnTo>
                <a:lnTo>
                  <a:pt x="4583" y="1921"/>
                </a:lnTo>
                <a:lnTo>
                  <a:pt x="4589" y="1926"/>
                </a:lnTo>
                <a:lnTo>
                  <a:pt x="4590" y="1926"/>
                </a:lnTo>
                <a:lnTo>
                  <a:pt x="4591" y="1927"/>
                </a:lnTo>
                <a:lnTo>
                  <a:pt x="4597" y="1933"/>
                </a:lnTo>
                <a:lnTo>
                  <a:pt x="4601" y="1933"/>
                </a:lnTo>
                <a:lnTo>
                  <a:pt x="4612" y="1938"/>
                </a:lnTo>
                <a:lnTo>
                  <a:pt x="4616" y="1945"/>
                </a:lnTo>
                <a:lnTo>
                  <a:pt x="4623" y="1946"/>
                </a:lnTo>
                <a:lnTo>
                  <a:pt x="4630" y="1948"/>
                </a:lnTo>
                <a:lnTo>
                  <a:pt x="4632" y="1952"/>
                </a:lnTo>
                <a:lnTo>
                  <a:pt x="4634" y="1956"/>
                </a:lnTo>
                <a:lnTo>
                  <a:pt x="4645" y="1961"/>
                </a:lnTo>
                <a:lnTo>
                  <a:pt x="4651" y="1961"/>
                </a:lnTo>
                <a:lnTo>
                  <a:pt x="4655" y="1957"/>
                </a:lnTo>
                <a:lnTo>
                  <a:pt x="4657" y="1949"/>
                </a:lnTo>
                <a:lnTo>
                  <a:pt x="4659" y="1946"/>
                </a:lnTo>
                <a:lnTo>
                  <a:pt x="4660" y="1944"/>
                </a:lnTo>
                <a:lnTo>
                  <a:pt x="4662" y="1939"/>
                </a:lnTo>
                <a:lnTo>
                  <a:pt x="4662" y="1935"/>
                </a:lnTo>
                <a:lnTo>
                  <a:pt x="4662" y="1926"/>
                </a:lnTo>
                <a:lnTo>
                  <a:pt x="4665" y="1922"/>
                </a:lnTo>
                <a:lnTo>
                  <a:pt x="4668" y="1918"/>
                </a:lnTo>
                <a:lnTo>
                  <a:pt x="4667" y="1914"/>
                </a:lnTo>
                <a:lnTo>
                  <a:pt x="4666" y="1910"/>
                </a:lnTo>
                <a:lnTo>
                  <a:pt x="4666" y="1905"/>
                </a:lnTo>
                <a:lnTo>
                  <a:pt x="4665" y="1901"/>
                </a:lnTo>
                <a:lnTo>
                  <a:pt x="4666" y="1896"/>
                </a:lnTo>
                <a:lnTo>
                  <a:pt x="4668" y="1892"/>
                </a:lnTo>
                <a:lnTo>
                  <a:pt x="4667" y="1890"/>
                </a:lnTo>
                <a:lnTo>
                  <a:pt x="4667" y="1887"/>
                </a:lnTo>
                <a:lnTo>
                  <a:pt x="4669" y="1886"/>
                </a:lnTo>
                <a:lnTo>
                  <a:pt x="4671" y="1884"/>
                </a:lnTo>
                <a:lnTo>
                  <a:pt x="4671" y="1884"/>
                </a:lnTo>
                <a:lnTo>
                  <a:pt x="4671" y="1884"/>
                </a:lnTo>
                <a:lnTo>
                  <a:pt x="4671" y="1885"/>
                </a:lnTo>
                <a:lnTo>
                  <a:pt x="4672" y="1886"/>
                </a:lnTo>
                <a:lnTo>
                  <a:pt x="4671" y="1884"/>
                </a:lnTo>
                <a:lnTo>
                  <a:pt x="4671" y="1881"/>
                </a:lnTo>
                <a:lnTo>
                  <a:pt x="4669" y="1880"/>
                </a:lnTo>
                <a:lnTo>
                  <a:pt x="4668" y="1879"/>
                </a:lnTo>
                <a:lnTo>
                  <a:pt x="4668" y="1880"/>
                </a:lnTo>
                <a:lnTo>
                  <a:pt x="4668" y="1881"/>
                </a:lnTo>
                <a:lnTo>
                  <a:pt x="4666" y="1881"/>
                </a:lnTo>
                <a:lnTo>
                  <a:pt x="4666" y="1877"/>
                </a:lnTo>
                <a:lnTo>
                  <a:pt x="4668" y="1877"/>
                </a:lnTo>
                <a:lnTo>
                  <a:pt x="4667" y="1878"/>
                </a:lnTo>
                <a:lnTo>
                  <a:pt x="4667" y="1879"/>
                </a:lnTo>
                <a:lnTo>
                  <a:pt x="4670" y="1873"/>
                </a:lnTo>
                <a:lnTo>
                  <a:pt x="4670" y="1877"/>
                </a:lnTo>
                <a:lnTo>
                  <a:pt x="4673" y="1877"/>
                </a:lnTo>
                <a:lnTo>
                  <a:pt x="4672" y="1875"/>
                </a:lnTo>
                <a:lnTo>
                  <a:pt x="4672" y="1873"/>
                </a:lnTo>
                <a:lnTo>
                  <a:pt x="4672" y="1873"/>
                </a:lnTo>
                <a:lnTo>
                  <a:pt x="4673" y="1868"/>
                </a:lnTo>
                <a:lnTo>
                  <a:pt x="4674" y="1864"/>
                </a:lnTo>
                <a:lnTo>
                  <a:pt x="4674" y="1858"/>
                </a:lnTo>
                <a:lnTo>
                  <a:pt x="4676" y="1857"/>
                </a:lnTo>
                <a:lnTo>
                  <a:pt x="4678" y="1856"/>
                </a:lnTo>
                <a:lnTo>
                  <a:pt x="4679" y="1855"/>
                </a:lnTo>
                <a:lnTo>
                  <a:pt x="4679" y="1853"/>
                </a:lnTo>
                <a:lnTo>
                  <a:pt x="4680" y="1854"/>
                </a:lnTo>
                <a:lnTo>
                  <a:pt x="4681" y="1855"/>
                </a:lnTo>
                <a:lnTo>
                  <a:pt x="4680" y="1856"/>
                </a:lnTo>
                <a:lnTo>
                  <a:pt x="4679" y="1858"/>
                </a:lnTo>
                <a:lnTo>
                  <a:pt x="4680" y="1857"/>
                </a:lnTo>
                <a:lnTo>
                  <a:pt x="4681" y="1856"/>
                </a:lnTo>
                <a:lnTo>
                  <a:pt x="4683" y="1858"/>
                </a:lnTo>
                <a:lnTo>
                  <a:pt x="4684" y="1860"/>
                </a:lnTo>
                <a:lnTo>
                  <a:pt x="4686" y="1871"/>
                </a:lnTo>
                <a:lnTo>
                  <a:pt x="4688" y="1872"/>
                </a:lnTo>
                <a:lnTo>
                  <a:pt x="4690" y="1872"/>
                </a:lnTo>
                <a:lnTo>
                  <a:pt x="4689" y="1875"/>
                </a:lnTo>
                <a:lnTo>
                  <a:pt x="4688" y="1878"/>
                </a:lnTo>
                <a:lnTo>
                  <a:pt x="4689" y="1878"/>
                </a:lnTo>
                <a:lnTo>
                  <a:pt x="4690" y="1879"/>
                </a:lnTo>
                <a:lnTo>
                  <a:pt x="4690" y="1881"/>
                </a:lnTo>
                <a:lnTo>
                  <a:pt x="4692" y="1882"/>
                </a:lnTo>
                <a:lnTo>
                  <a:pt x="4693" y="1883"/>
                </a:lnTo>
                <a:lnTo>
                  <a:pt x="4693" y="1886"/>
                </a:lnTo>
                <a:lnTo>
                  <a:pt x="4693" y="1889"/>
                </a:lnTo>
                <a:lnTo>
                  <a:pt x="4694" y="1889"/>
                </a:lnTo>
                <a:lnTo>
                  <a:pt x="4694" y="1895"/>
                </a:lnTo>
                <a:lnTo>
                  <a:pt x="4694" y="1899"/>
                </a:lnTo>
                <a:lnTo>
                  <a:pt x="4696" y="1906"/>
                </a:lnTo>
                <a:lnTo>
                  <a:pt x="4698" y="1913"/>
                </a:lnTo>
                <a:lnTo>
                  <a:pt x="4701" y="1913"/>
                </a:lnTo>
                <a:lnTo>
                  <a:pt x="4709" y="1907"/>
                </a:lnTo>
                <a:lnTo>
                  <a:pt x="4710" y="1909"/>
                </a:lnTo>
                <a:lnTo>
                  <a:pt x="4712" y="1913"/>
                </a:lnTo>
                <a:lnTo>
                  <a:pt x="4714" y="1913"/>
                </a:lnTo>
                <a:lnTo>
                  <a:pt x="4715" y="1914"/>
                </a:lnTo>
                <a:lnTo>
                  <a:pt x="4715" y="1915"/>
                </a:lnTo>
                <a:lnTo>
                  <a:pt x="4720" y="1917"/>
                </a:lnTo>
                <a:lnTo>
                  <a:pt x="4719" y="1919"/>
                </a:lnTo>
                <a:lnTo>
                  <a:pt x="4718" y="1921"/>
                </a:lnTo>
                <a:lnTo>
                  <a:pt x="4718" y="1925"/>
                </a:lnTo>
                <a:lnTo>
                  <a:pt x="4720" y="1930"/>
                </a:lnTo>
                <a:lnTo>
                  <a:pt x="4722" y="1935"/>
                </a:lnTo>
                <a:lnTo>
                  <a:pt x="4722" y="1941"/>
                </a:lnTo>
                <a:lnTo>
                  <a:pt x="4725" y="1945"/>
                </a:lnTo>
                <a:lnTo>
                  <a:pt x="4728" y="1949"/>
                </a:lnTo>
                <a:lnTo>
                  <a:pt x="4731" y="1949"/>
                </a:lnTo>
                <a:lnTo>
                  <a:pt x="4728" y="1950"/>
                </a:lnTo>
                <a:lnTo>
                  <a:pt x="4730" y="1955"/>
                </a:lnTo>
                <a:lnTo>
                  <a:pt x="4733" y="1960"/>
                </a:lnTo>
                <a:lnTo>
                  <a:pt x="4731" y="1964"/>
                </a:lnTo>
                <a:lnTo>
                  <a:pt x="4731" y="1968"/>
                </a:lnTo>
                <a:lnTo>
                  <a:pt x="4733" y="1969"/>
                </a:lnTo>
                <a:lnTo>
                  <a:pt x="4733" y="1969"/>
                </a:lnTo>
                <a:lnTo>
                  <a:pt x="4735" y="1971"/>
                </a:lnTo>
                <a:lnTo>
                  <a:pt x="4737" y="1971"/>
                </a:lnTo>
                <a:lnTo>
                  <a:pt x="4735" y="1972"/>
                </a:lnTo>
                <a:lnTo>
                  <a:pt x="4735" y="1972"/>
                </a:lnTo>
                <a:lnTo>
                  <a:pt x="4735" y="1973"/>
                </a:lnTo>
                <a:lnTo>
                  <a:pt x="4735" y="1972"/>
                </a:lnTo>
                <a:lnTo>
                  <a:pt x="4735" y="1978"/>
                </a:lnTo>
                <a:lnTo>
                  <a:pt x="4739" y="1984"/>
                </a:lnTo>
                <a:lnTo>
                  <a:pt x="4747" y="1988"/>
                </a:lnTo>
                <a:lnTo>
                  <a:pt x="4747" y="1984"/>
                </a:lnTo>
                <a:lnTo>
                  <a:pt x="4749" y="1985"/>
                </a:lnTo>
                <a:lnTo>
                  <a:pt x="4751" y="1986"/>
                </a:lnTo>
                <a:lnTo>
                  <a:pt x="4754" y="1997"/>
                </a:lnTo>
                <a:lnTo>
                  <a:pt x="4755" y="1997"/>
                </a:lnTo>
                <a:lnTo>
                  <a:pt x="4762" y="1997"/>
                </a:lnTo>
                <a:lnTo>
                  <a:pt x="4766" y="2000"/>
                </a:lnTo>
                <a:lnTo>
                  <a:pt x="4766" y="1997"/>
                </a:lnTo>
                <a:lnTo>
                  <a:pt x="4767" y="1995"/>
                </a:lnTo>
                <a:lnTo>
                  <a:pt x="4767" y="1995"/>
                </a:lnTo>
                <a:lnTo>
                  <a:pt x="4767" y="1995"/>
                </a:lnTo>
                <a:lnTo>
                  <a:pt x="4772" y="1999"/>
                </a:lnTo>
                <a:lnTo>
                  <a:pt x="4774" y="2002"/>
                </a:lnTo>
                <a:lnTo>
                  <a:pt x="4775" y="2005"/>
                </a:lnTo>
                <a:lnTo>
                  <a:pt x="4775" y="2005"/>
                </a:lnTo>
                <a:lnTo>
                  <a:pt x="4773" y="2005"/>
                </a:lnTo>
                <a:lnTo>
                  <a:pt x="4773" y="2003"/>
                </a:lnTo>
                <a:lnTo>
                  <a:pt x="4773" y="2002"/>
                </a:lnTo>
                <a:lnTo>
                  <a:pt x="4772" y="2004"/>
                </a:lnTo>
                <a:lnTo>
                  <a:pt x="4771" y="2005"/>
                </a:lnTo>
                <a:lnTo>
                  <a:pt x="4772" y="2007"/>
                </a:lnTo>
                <a:lnTo>
                  <a:pt x="4772" y="2009"/>
                </a:lnTo>
                <a:lnTo>
                  <a:pt x="4779" y="2012"/>
                </a:lnTo>
                <a:lnTo>
                  <a:pt x="4779" y="2016"/>
                </a:lnTo>
                <a:lnTo>
                  <a:pt x="4779" y="2018"/>
                </a:lnTo>
                <a:lnTo>
                  <a:pt x="4779" y="2021"/>
                </a:lnTo>
                <a:lnTo>
                  <a:pt x="4779" y="2028"/>
                </a:lnTo>
                <a:lnTo>
                  <a:pt x="4781" y="2030"/>
                </a:lnTo>
                <a:lnTo>
                  <a:pt x="4783" y="2032"/>
                </a:lnTo>
                <a:lnTo>
                  <a:pt x="4783" y="2035"/>
                </a:lnTo>
                <a:lnTo>
                  <a:pt x="4785" y="2033"/>
                </a:lnTo>
                <a:lnTo>
                  <a:pt x="4787" y="2032"/>
                </a:lnTo>
                <a:lnTo>
                  <a:pt x="4787" y="2032"/>
                </a:lnTo>
                <a:lnTo>
                  <a:pt x="4787" y="2032"/>
                </a:lnTo>
                <a:lnTo>
                  <a:pt x="4790" y="2036"/>
                </a:lnTo>
                <a:lnTo>
                  <a:pt x="4788" y="2032"/>
                </a:lnTo>
                <a:lnTo>
                  <a:pt x="4790" y="2029"/>
                </a:lnTo>
                <a:lnTo>
                  <a:pt x="4791" y="2033"/>
                </a:lnTo>
                <a:lnTo>
                  <a:pt x="4793" y="2034"/>
                </a:lnTo>
                <a:lnTo>
                  <a:pt x="4795" y="2035"/>
                </a:lnTo>
                <a:lnTo>
                  <a:pt x="4795" y="2033"/>
                </a:lnTo>
                <a:lnTo>
                  <a:pt x="4797" y="2033"/>
                </a:lnTo>
                <a:lnTo>
                  <a:pt x="4797" y="2033"/>
                </a:lnTo>
                <a:lnTo>
                  <a:pt x="4798" y="2036"/>
                </a:lnTo>
                <a:lnTo>
                  <a:pt x="4799" y="2039"/>
                </a:lnTo>
                <a:lnTo>
                  <a:pt x="4799" y="2044"/>
                </a:lnTo>
                <a:lnTo>
                  <a:pt x="4801" y="2047"/>
                </a:lnTo>
                <a:lnTo>
                  <a:pt x="4802" y="2050"/>
                </a:lnTo>
                <a:lnTo>
                  <a:pt x="4805" y="2051"/>
                </a:lnTo>
                <a:lnTo>
                  <a:pt x="4805" y="2053"/>
                </a:lnTo>
                <a:lnTo>
                  <a:pt x="4806" y="2055"/>
                </a:lnTo>
                <a:lnTo>
                  <a:pt x="4812" y="2060"/>
                </a:lnTo>
                <a:lnTo>
                  <a:pt x="4814" y="2059"/>
                </a:lnTo>
                <a:lnTo>
                  <a:pt x="4814" y="2058"/>
                </a:lnTo>
                <a:lnTo>
                  <a:pt x="4816" y="2061"/>
                </a:lnTo>
                <a:lnTo>
                  <a:pt x="4818" y="2064"/>
                </a:lnTo>
                <a:lnTo>
                  <a:pt x="4820" y="2067"/>
                </a:lnTo>
                <a:lnTo>
                  <a:pt x="4823" y="2072"/>
                </a:lnTo>
                <a:lnTo>
                  <a:pt x="4825" y="2075"/>
                </a:lnTo>
                <a:lnTo>
                  <a:pt x="4826" y="2079"/>
                </a:lnTo>
                <a:lnTo>
                  <a:pt x="4827" y="2080"/>
                </a:lnTo>
                <a:lnTo>
                  <a:pt x="4827" y="2083"/>
                </a:lnTo>
                <a:lnTo>
                  <a:pt x="4831" y="2079"/>
                </a:lnTo>
                <a:lnTo>
                  <a:pt x="4834" y="2077"/>
                </a:lnTo>
                <a:lnTo>
                  <a:pt x="4835" y="2075"/>
                </a:lnTo>
                <a:lnTo>
                  <a:pt x="4835" y="2073"/>
                </a:lnTo>
                <a:lnTo>
                  <a:pt x="4834" y="2072"/>
                </a:lnTo>
                <a:lnTo>
                  <a:pt x="4835" y="2071"/>
                </a:lnTo>
                <a:lnTo>
                  <a:pt x="4835" y="2070"/>
                </a:lnTo>
                <a:lnTo>
                  <a:pt x="4836" y="2072"/>
                </a:lnTo>
                <a:lnTo>
                  <a:pt x="4837" y="2075"/>
                </a:lnTo>
                <a:lnTo>
                  <a:pt x="4834" y="2086"/>
                </a:lnTo>
                <a:lnTo>
                  <a:pt x="4834" y="2086"/>
                </a:lnTo>
                <a:lnTo>
                  <a:pt x="4834" y="2086"/>
                </a:lnTo>
                <a:lnTo>
                  <a:pt x="4827" y="2083"/>
                </a:lnTo>
                <a:lnTo>
                  <a:pt x="4827" y="2086"/>
                </a:lnTo>
                <a:lnTo>
                  <a:pt x="4831" y="2088"/>
                </a:lnTo>
                <a:lnTo>
                  <a:pt x="4834" y="2090"/>
                </a:lnTo>
                <a:lnTo>
                  <a:pt x="4833" y="2093"/>
                </a:lnTo>
                <a:lnTo>
                  <a:pt x="4831" y="2095"/>
                </a:lnTo>
                <a:lnTo>
                  <a:pt x="4831" y="2108"/>
                </a:lnTo>
                <a:lnTo>
                  <a:pt x="4831" y="2109"/>
                </a:lnTo>
                <a:lnTo>
                  <a:pt x="4831" y="2112"/>
                </a:lnTo>
                <a:lnTo>
                  <a:pt x="4833" y="2113"/>
                </a:lnTo>
                <a:lnTo>
                  <a:pt x="4834" y="2114"/>
                </a:lnTo>
                <a:close/>
                <a:moveTo>
                  <a:pt x="4668" y="1879"/>
                </a:moveTo>
                <a:lnTo>
                  <a:pt x="4667" y="1880"/>
                </a:lnTo>
                <a:lnTo>
                  <a:pt x="4667" y="1881"/>
                </a:lnTo>
                <a:lnTo>
                  <a:pt x="4668" y="1881"/>
                </a:lnTo>
                <a:lnTo>
                  <a:pt x="4668" y="1879"/>
                </a:lnTo>
                <a:lnTo>
                  <a:pt x="4668" y="1879"/>
                </a:lnTo>
                <a:close/>
                <a:moveTo>
                  <a:pt x="4292" y="2198"/>
                </a:moveTo>
                <a:lnTo>
                  <a:pt x="4292" y="2198"/>
                </a:lnTo>
                <a:lnTo>
                  <a:pt x="4292" y="2198"/>
                </a:lnTo>
                <a:lnTo>
                  <a:pt x="4290" y="2198"/>
                </a:lnTo>
                <a:lnTo>
                  <a:pt x="4290" y="2199"/>
                </a:lnTo>
                <a:lnTo>
                  <a:pt x="4292" y="2199"/>
                </a:lnTo>
                <a:lnTo>
                  <a:pt x="4292" y="2199"/>
                </a:lnTo>
                <a:lnTo>
                  <a:pt x="4292" y="2198"/>
                </a:lnTo>
                <a:close/>
                <a:moveTo>
                  <a:pt x="4433" y="1921"/>
                </a:moveTo>
                <a:lnTo>
                  <a:pt x="4430" y="1918"/>
                </a:lnTo>
                <a:lnTo>
                  <a:pt x="4431" y="1921"/>
                </a:lnTo>
                <a:lnTo>
                  <a:pt x="4433" y="1921"/>
                </a:lnTo>
                <a:close/>
                <a:moveTo>
                  <a:pt x="4498" y="1917"/>
                </a:moveTo>
                <a:lnTo>
                  <a:pt x="4497" y="1917"/>
                </a:lnTo>
                <a:lnTo>
                  <a:pt x="4497" y="1917"/>
                </a:lnTo>
                <a:lnTo>
                  <a:pt x="4497" y="1917"/>
                </a:lnTo>
                <a:lnTo>
                  <a:pt x="4498" y="1917"/>
                </a:lnTo>
                <a:close/>
                <a:moveTo>
                  <a:pt x="4634" y="2246"/>
                </a:moveTo>
                <a:lnTo>
                  <a:pt x="4632" y="2246"/>
                </a:lnTo>
                <a:lnTo>
                  <a:pt x="4631" y="2246"/>
                </a:lnTo>
                <a:lnTo>
                  <a:pt x="4632" y="2246"/>
                </a:lnTo>
                <a:lnTo>
                  <a:pt x="4633" y="2248"/>
                </a:lnTo>
                <a:lnTo>
                  <a:pt x="4634" y="2250"/>
                </a:lnTo>
                <a:lnTo>
                  <a:pt x="4634" y="2250"/>
                </a:lnTo>
                <a:lnTo>
                  <a:pt x="4634" y="2246"/>
                </a:lnTo>
                <a:close/>
                <a:moveTo>
                  <a:pt x="4835" y="1859"/>
                </a:moveTo>
                <a:lnTo>
                  <a:pt x="4834" y="1859"/>
                </a:lnTo>
                <a:lnTo>
                  <a:pt x="4835" y="1860"/>
                </a:lnTo>
                <a:lnTo>
                  <a:pt x="4835" y="1862"/>
                </a:lnTo>
                <a:lnTo>
                  <a:pt x="4835" y="1862"/>
                </a:lnTo>
                <a:lnTo>
                  <a:pt x="4835" y="1859"/>
                </a:lnTo>
                <a:close/>
                <a:moveTo>
                  <a:pt x="4884" y="1808"/>
                </a:moveTo>
                <a:lnTo>
                  <a:pt x="4884" y="1808"/>
                </a:lnTo>
                <a:lnTo>
                  <a:pt x="4884" y="1809"/>
                </a:lnTo>
                <a:lnTo>
                  <a:pt x="4885" y="1811"/>
                </a:lnTo>
                <a:lnTo>
                  <a:pt x="4887" y="1812"/>
                </a:lnTo>
                <a:lnTo>
                  <a:pt x="4888" y="1809"/>
                </a:lnTo>
                <a:lnTo>
                  <a:pt x="4886" y="1808"/>
                </a:lnTo>
                <a:lnTo>
                  <a:pt x="4884" y="1808"/>
                </a:lnTo>
                <a:close/>
                <a:moveTo>
                  <a:pt x="4898" y="1824"/>
                </a:moveTo>
                <a:lnTo>
                  <a:pt x="4897" y="1824"/>
                </a:lnTo>
                <a:lnTo>
                  <a:pt x="4899" y="1827"/>
                </a:lnTo>
                <a:lnTo>
                  <a:pt x="4899" y="1826"/>
                </a:lnTo>
                <a:lnTo>
                  <a:pt x="4898" y="1824"/>
                </a:lnTo>
                <a:close/>
                <a:moveTo>
                  <a:pt x="4893" y="1812"/>
                </a:moveTo>
                <a:lnTo>
                  <a:pt x="4892" y="1812"/>
                </a:lnTo>
                <a:lnTo>
                  <a:pt x="4892" y="1811"/>
                </a:lnTo>
                <a:lnTo>
                  <a:pt x="4891" y="1813"/>
                </a:lnTo>
                <a:lnTo>
                  <a:pt x="4891" y="1814"/>
                </a:lnTo>
                <a:lnTo>
                  <a:pt x="4893" y="1815"/>
                </a:lnTo>
                <a:lnTo>
                  <a:pt x="4893" y="1812"/>
                </a:lnTo>
                <a:close/>
                <a:moveTo>
                  <a:pt x="4859" y="891"/>
                </a:moveTo>
                <a:lnTo>
                  <a:pt x="4861" y="886"/>
                </a:lnTo>
                <a:lnTo>
                  <a:pt x="4859" y="887"/>
                </a:lnTo>
                <a:lnTo>
                  <a:pt x="4855" y="894"/>
                </a:lnTo>
                <a:lnTo>
                  <a:pt x="4859" y="894"/>
                </a:lnTo>
                <a:lnTo>
                  <a:pt x="4859" y="891"/>
                </a:lnTo>
                <a:close/>
                <a:moveTo>
                  <a:pt x="4903" y="1822"/>
                </a:moveTo>
                <a:lnTo>
                  <a:pt x="4903" y="1820"/>
                </a:lnTo>
                <a:lnTo>
                  <a:pt x="4903" y="1820"/>
                </a:lnTo>
                <a:lnTo>
                  <a:pt x="4901" y="1820"/>
                </a:lnTo>
                <a:lnTo>
                  <a:pt x="4899" y="1820"/>
                </a:lnTo>
                <a:lnTo>
                  <a:pt x="4899" y="1814"/>
                </a:lnTo>
                <a:lnTo>
                  <a:pt x="4898" y="1812"/>
                </a:lnTo>
                <a:lnTo>
                  <a:pt x="4898" y="1812"/>
                </a:lnTo>
                <a:lnTo>
                  <a:pt x="4897" y="1812"/>
                </a:lnTo>
                <a:lnTo>
                  <a:pt x="4894" y="1815"/>
                </a:lnTo>
                <a:lnTo>
                  <a:pt x="4893" y="1817"/>
                </a:lnTo>
                <a:lnTo>
                  <a:pt x="4893" y="1817"/>
                </a:lnTo>
                <a:lnTo>
                  <a:pt x="4895" y="1818"/>
                </a:lnTo>
                <a:lnTo>
                  <a:pt x="4895" y="1818"/>
                </a:lnTo>
                <a:lnTo>
                  <a:pt x="4895" y="1818"/>
                </a:lnTo>
                <a:lnTo>
                  <a:pt x="4895" y="1820"/>
                </a:lnTo>
                <a:lnTo>
                  <a:pt x="4896" y="1820"/>
                </a:lnTo>
                <a:lnTo>
                  <a:pt x="4895" y="1821"/>
                </a:lnTo>
                <a:lnTo>
                  <a:pt x="4893" y="1823"/>
                </a:lnTo>
                <a:lnTo>
                  <a:pt x="4896" y="1823"/>
                </a:lnTo>
                <a:lnTo>
                  <a:pt x="4899" y="1824"/>
                </a:lnTo>
                <a:lnTo>
                  <a:pt x="4904" y="1824"/>
                </a:lnTo>
                <a:lnTo>
                  <a:pt x="4905" y="1824"/>
                </a:lnTo>
                <a:lnTo>
                  <a:pt x="4905" y="1824"/>
                </a:lnTo>
                <a:lnTo>
                  <a:pt x="4904" y="1824"/>
                </a:lnTo>
                <a:lnTo>
                  <a:pt x="4903" y="1824"/>
                </a:lnTo>
                <a:lnTo>
                  <a:pt x="4903" y="1822"/>
                </a:lnTo>
                <a:lnTo>
                  <a:pt x="4902" y="1823"/>
                </a:lnTo>
                <a:lnTo>
                  <a:pt x="4903" y="1822"/>
                </a:lnTo>
                <a:close/>
                <a:moveTo>
                  <a:pt x="4884" y="863"/>
                </a:moveTo>
                <a:lnTo>
                  <a:pt x="4880" y="864"/>
                </a:lnTo>
                <a:lnTo>
                  <a:pt x="4880" y="867"/>
                </a:lnTo>
                <a:lnTo>
                  <a:pt x="4884" y="867"/>
                </a:lnTo>
                <a:lnTo>
                  <a:pt x="4884" y="863"/>
                </a:lnTo>
                <a:close/>
                <a:moveTo>
                  <a:pt x="4905" y="1821"/>
                </a:moveTo>
                <a:lnTo>
                  <a:pt x="4905" y="1821"/>
                </a:lnTo>
                <a:lnTo>
                  <a:pt x="4904" y="1821"/>
                </a:lnTo>
                <a:lnTo>
                  <a:pt x="4905" y="1821"/>
                </a:lnTo>
                <a:close/>
                <a:moveTo>
                  <a:pt x="4891" y="1816"/>
                </a:moveTo>
                <a:lnTo>
                  <a:pt x="4891" y="1818"/>
                </a:lnTo>
                <a:lnTo>
                  <a:pt x="4893" y="1817"/>
                </a:lnTo>
                <a:lnTo>
                  <a:pt x="4892" y="1816"/>
                </a:lnTo>
                <a:lnTo>
                  <a:pt x="4891" y="1816"/>
                </a:lnTo>
                <a:close/>
                <a:moveTo>
                  <a:pt x="4891" y="1801"/>
                </a:moveTo>
                <a:lnTo>
                  <a:pt x="4894" y="1803"/>
                </a:lnTo>
                <a:lnTo>
                  <a:pt x="4897" y="1805"/>
                </a:lnTo>
                <a:lnTo>
                  <a:pt x="4898" y="1804"/>
                </a:lnTo>
                <a:lnTo>
                  <a:pt x="4898" y="1803"/>
                </a:lnTo>
                <a:lnTo>
                  <a:pt x="4893" y="1801"/>
                </a:lnTo>
                <a:lnTo>
                  <a:pt x="4892" y="1798"/>
                </a:lnTo>
                <a:lnTo>
                  <a:pt x="4892" y="1796"/>
                </a:lnTo>
                <a:lnTo>
                  <a:pt x="4889" y="1796"/>
                </a:lnTo>
                <a:lnTo>
                  <a:pt x="4886" y="1796"/>
                </a:lnTo>
                <a:lnTo>
                  <a:pt x="4882" y="1796"/>
                </a:lnTo>
                <a:lnTo>
                  <a:pt x="4886" y="1798"/>
                </a:lnTo>
                <a:lnTo>
                  <a:pt x="4891" y="1801"/>
                </a:lnTo>
                <a:close/>
                <a:moveTo>
                  <a:pt x="4869" y="1803"/>
                </a:moveTo>
                <a:lnTo>
                  <a:pt x="4869" y="1805"/>
                </a:lnTo>
                <a:lnTo>
                  <a:pt x="4872" y="1805"/>
                </a:lnTo>
                <a:lnTo>
                  <a:pt x="4869" y="1803"/>
                </a:lnTo>
                <a:lnTo>
                  <a:pt x="4869" y="1803"/>
                </a:lnTo>
                <a:close/>
                <a:moveTo>
                  <a:pt x="4871" y="1793"/>
                </a:moveTo>
                <a:lnTo>
                  <a:pt x="4871" y="1791"/>
                </a:lnTo>
                <a:lnTo>
                  <a:pt x="4869" y="1788"/>
                </a:lnTo>
                <a:lnTo>
                  <a:pt x="4867" y="1786"/>
                </a:lnTo>
                <a:lnTo>
                  <a:pt x="4867" y="1783"/>
                </a:lnTo>
                <a:lnTo>
                  <a:pt x="4866" y="1782"/>
                </a:lnTo>
                <a:lnTo>
                  <a:pt x="4865" y="1780"/>
                </a:lnTo>
                <a:lnTo>
                  <a:pt x="4864" y="1780"/>
                </a:lnTo>
                <a:lnTo>
                  <a:pt x="4863" y="1780"/>
                </a:lnTo>
                <a:lnTo>
                  <a:pt x="4855" y="1780"/>
                </a:lnTo>
                <a:lnTo>
                  <a:pt x="4855" y="1783"/>
                </a:lnTo>
                <a:lnTo>
                  <a:pt x="4859" y="1786"/>
                </a:lnTo>
                <a:lnTo>
                  <a:pt x="4861" y="1786"/>
                </a:lnTo>
                <a:lnTo>
                  <a:pt x="4863" y="1787"/>
                </a:lnTo>
                <a:lnTo>
                  <a:pt x="4863" y="1791"/>
                </a:lnTo>
                <a:lnTo>
                  <a:pt x="4864" y="1792"/>
                </a:lnTo>
                <a:lnTo>
                  <a:pt x="4865" y="1793"/>
                </a:lnTo>
                <a:lnTo>
                  <a:pt x="4868" y="1794"/>
                </a:lnTo>
                <a:lnTo>
                  <a:pt x="4870" y="1795"/>
                </a:lnTo>
                <a:lnTo>
                  <a:pt x="4871" y="1793"/>
                </a:lnTo>
                <a:close/>
                <a:moveTo>
                  <a:pt x="4872" y="1799"/>
                </a:moveTo>
                <a:lnTo>
                  <a:pt x="4872" y="1800"/>
                </a:lnTo>
                <a:lnTo>
                  <a:pt x="4872" y="1800"/>
                </a:lnTo>
                <a:lnTo>
                  <a:pt x="4872" y="1801"/>
                </a:lnTo>
                <a:lnTo>
                  <a:pt x="4874" y="1800"/>
                </a:lnTo>
                <a:lnTo>
                  <a:pt x="4872" y="1799"/>
                </a:lnTo>
                <a:lnTo>
                  <a:pt x="4872" y="1799"/>
                </a:lnTo>
                <a:close/>
                <a:moveTo>
                  <a:pt x="4870" y="861"/>
                </a:moveTo>
                <a:lnTo>
                  <a:pt x="4869" y="861"/>
                </a:lnTo>
                <a:lnTo>
                  <a:pt x="4870" y="863"/>
                </a:lnTo>
                <a:lnTo>
                  <a:pt x="4873" y="863"/>
                </a:lnTo>
                <a:lnTo>
                  <a:pt x="4870" y="861"/>
                </a:lnTo>
                <a:close/>
                <a:moveTo>
                  <a:pt x="4876" y="867"/>
                </a:moveTo>
                <a:lnTo>
                  <a:pt x="4873" y="872"/>
                </a:lnTo>
                <a:lnTo>
                  <a:pt x="4868" y="872"/>
                </a:lnTo>
                <a:lnTo>
                  <a:pt x="4863" y="873"/>
                </a:lnTo>
                <a:lnTo>
                  <a:pt x="4863" y="879"/>
                </a:lnTo>
                <a:lnTo>
                  <a:pt x="4869" y="877"/>
                </a:lnTo>
                <a:lnTo>
                  <a:pt x="4875" y="875"/>
                </a:lnTo>
                <a:lnTo>
                  <a:pt x="4880" y="870"/>
                </a:lnTo>
                <a:lnTo>
                  <a:pt x="4878" y="865"/>
                </a:lnTo>
                <a:lnTo>
                  <a:pt x="4876" y="867"/>
                </a:lnTo>
                <a:close/>
                <a:moveTo>
                  <a:pt x="4879" y="865"/>
                </a:moveTo>
                <a:lnTo>
                  <a:pt x="4879" y="865"/>
                </a:lnTo>
                <a:lnTo>
                  <a:pt x="4879" y="865"/>
                </a:lnTo>
                <a:lnTo>
                  <a:pt x="4879" y="865"/>
                </a:lnTo>
                <a:close/>
                <a:moveTo>
                  <a:pt x="4835" y="2070"/>
                </a:moveTo>
                <a:lnTo>
                  <a:pt x="4835" y="2070"/>
                </a:lnTo>
                <a:lnTo>
                  <a:pt x="4835" y="2070"/>
                </a:lnTo>
                <a:lnTo>
                  <a:pt x="4835" y="2070"/>
                </a:lnTo>
                <a:lnTo>
                  <a:pt x="4835" y="2070"/>
                </a:lnTo>
                <a:close/>
                <a:moveTo>
                  <a:pt x="4749" y="2383"/>
                </a:moveTo>
                <a:lnTo>
                  <a:pt x="4748" y="2384"/>
                </a:lnTo>
                <a:lnTo>
                  <a:pt x="4747" y="2385"/>
                </a:lnTo>
                <a:lnTo>
                  <a:pt x="4748" y="2387"/>
                </a:lnTo>
                <a:lnTo>
                  <a:pt x="4750" y="2388"/>
                </a:lnTo>
                <a:lnTo>
                  <a:pt x="4751" y="2385"/>
                </a:lnTo>
                <a:lnTo>
                  <a:pt x="4750" y="2383"/>
                </a:lnTo>
                <a:lnTo>
                  <a:pt x="4750" y="2383"/>
                </a:lnTo>
                <a:lnTo>
                  <a:pt x="4749" y="2383"/>
                </a:lnTo>
                <a:close/>
                <a:moveTo>
                  <a:pt x="4606" y="775"/>
                </a:moveTo>
                <a:lnTo>
                  <a:pt x="4606" y="775"/>
                </a:lnTo>
                <a:lnTo>
                  <a:pt x="4606" y="775"/>
                </a:lnTo>
                <a:lnTo>
                  <a:pt x="4606" y="775"/>
                </a:lnTo>
                <a:close/>
                <a:moveTo>
                  <a:pt x="4608" y="794"/>
                </a:moveTo>
                <a:lnTo>
                  <a:pt x="4612" y="792"/>
                </a:lnTo>
                <a:lnTo>
                  <a:pt x="4612" y="792"/>
                </a:lnTo>
                <a:lnTo>
                  <a:pt x="4611" y="792"/>
                </a:lnTo>
                <a:lnTo>
                  <a:pt x="4607" y="794"/>
                </a:lnTo>
                <a:lnTo>
                  <a:pt x="4604" y="796"/>
                </a:lnTo>
                <a:lnTo>
                  <a:pt x="4604" y="796"/>
                </a:lnTo>
                <a:lnTo>
                  <a:pt x="4608" y="794"/>
                </a:lnTo>
                <a:close/>
                <a:moveTo>
                  <a:pt x="4602" y="796"/>
                </a:moveTo>
                <a:lnTo>
                  <a:pt x="4603" y="797"/>
                </a:lnTo>
                <a:lnTo>
                  <a:pt x="4604" y="796"/>
                </a:lnTo>
                <a:lnTo>
                  <a:pt x="4602" y="796"/>
                </a:lnTo>
                <a:close/>
                <a:moveTo>
                  <a:pt x="4606" y="775"/>
                </a:moveTo>
                <a:lnTo>
                  <a:pt x="4601" y="778"/>
                </a:lnTo>
                <a:lnTo>
                  <a:pt x="4596" y="780"/>
                </a:lnTo>
                <a:lnTo>
                  <a:pt x="4602" y="780"/>
                </a:lnTo>
                <a:lnTo>
                  <a:pt x="4606" y="775"/>
                </a:lnTo>
                <a:close/>
                <a:moveTo>
                  <a:pt x="4610" y="786"/>
                </a:moveTo>
                <a:lnTo>
                  <a:pt x="4610" y="786"/>
                </a:lnTo>
                <a:lnTo>
                  <a:pt x="4609" y="789"/>
                </a:lnTo>
                <a:lnTo>
                  <a:pt x="4610" y="790"/>
                </a:lnTo>
                <a:lnTo>
                  <a:pt x="4610" y="790"/>
                </a:lnTo>
                <a:lnTo>
                  <a:pt x="4610" y="786"/>
                </a:lnTo>
                <a:close/>
                <a:moveTo>
                  <a:pt x="4447" y="1118"/>
                </a:moveTo>
                <a:lnTo>
                  <a:pt x="4447" y="1118"/>
                </a:lnTo>
                <a:lnTo>
                  <a:pt x="4445" y="1118"/>
                </a:lnTo>
                <a:lnTo>
                  <a:pt x="4445" y="1122"/>
                </a:lnTo>
                <a:lnTo>
                  <a:pt x="4446" y="1122"/>
                </a:lnTo>
                <a:lnTo>
                  <a:pt x="4447" y="1120"/>
                </a:lnTo>
                <a:lnTo>
                  <a:pt x="4447" y="1118"/>
                </a:lnTo>
                <a:close/>
                <a:moveTo>
                  <a:pt x="4618" y="778"/>
                </a:moveTo>
                <a:lnTo>
                  <a:pt x="4614" y="776"/>
                </a:lnTo>
                <a:lnTo>
                  <a:pt x="4610" y="774"/>
                </a:lnTo>
                <a:lnTo>
                  <a:pt x="4605" y="784"/>
                </a:lnTo>
                <a:lnTo>
                  <a:pt x="4609" y="780"/>
                </a:lnTo>
                <a:lnTo>
                  <a:pt x="4610" y="783"/>
                </a:lnTo>
                <a:lnTo>
                  <a:pt x="4612" y="786"/>
                </a:lnTo>
                <a:lnTo>
                  <a:pt x="4618" y="778"/>
                </a:lnTo>
                <a:close/>
                <a:moveTo>
                  <a:pt x="4602" y="799"/>
                </a:moveTo>
                <a:lnTo>
                  <a:pt x="4604" y="799"/>
                </a:lnTo>
                <a:lnTo>
                  <a:pt x="4605" y="799"/>
                </a:lnTo>
                <a:lnTo>
                  <a:pt x="4603" y="797"/>
                </a:lnTo>
                <a:lnTo>
                  <a:pt x="4602" y="797"/>
                </a:lnTo>
                <a:lnTo>
                  <a:pt x="4602" y="799"/>
                </a:lnTo>
                <a:close/>
                <a:moveTo>
                  <a:pt x="4506" y="1015"/>
                </a:moveTo>
                <a:lnTo>
                  <a:pt x="4506" y="1015"/>
                </a:lnTo>
                <a:lnTo>
                  <a:pt x="4506" y="1015"/>
                </a:lnTo>
                <a:lnTo>
                  <a:pt x="4506" y="1015"/>
                </a:lnTo>
                <a:close/>
                <a:moveTo>
                  <a:pt x="3385" y="1073"/>
                </a:moveTo>
                <a:lnTo>
                  <a:pt x="3390" y="1073"/>
                </a:lnTo>
                <a:lnTo>
                  <a:pt x="3385" y="1071"/>
                </a:lnTo>
                <a:lnTo>
                  <a:pt x="3385" y="1073"/>
                </a:lnTo>
                <a:close/>
                <a:moveTo>
                  <a:pt x="3303" y="965"/>
                </a:moveTo>
                <a:lnTo>
                  <a:pt x="3303" y="965"/>
                </a:lnTo>
                <a:lnTo>
                  <a:pt x="3303" y="965"/>
                </a:lnTo>
                <a:lnTo>
                  <a:pt x="3303" y="965"/>
                </a:lnTo>
                <a:lnTo>
                  <a:pt x="3303" y="965"/>
                </a:lnTo>
                <a:close/>
                <a:moveTo>
                  <a:pt x="3317" y="957"/>
                </a:moveTo>
                <a:lnTo>
                  <a:pt x="3317" y="957"/>
                </a:lnTo>
                <a:lnTo>
                  <a:pt x="3317" y="957"/>
                </a:lnTo>
                <a:lnTo>
                  <a:pt x="3317" y="957"/>
                </a:lnTo>
                <a:close/>
                <a:moveTo>
                  <a:pt x="3194" y="1809"/>
                </a:moveTo>
                <a:lnTo>
                  <a:pt x="3189" y="1813"/>
                </a:lnTo>
                <a:lnTo>
                  <a:pt x="3193" y="1813"/>
                </a:lnTo>
                <a:lnTo>
                  <a:pt x="3194" y="1809"/>
                </a:lnTo>
                <a:close/>
                <a:moveTo>
                  <a:pt x="5373" y="529"/>
                </a:moveTo>
                <a:lnTo>
                  <a:pt x="5373" y="530"/>
                </a:lnTo>
                <a:lnTo>
                  <a:pt x="5366" y="529"/>
                </a:lnTo>
                <a:lnTo>
                  <a:pt x="5360" y="535"/>
                </a:lnTo>
                <a:lnTo>
                  <a:pt x="5361" y="535"/>
                </a:lnTo>
                <a:lnTo>
                  <a:pt x="5361" y="537"/>
                </a:lnTo>
                <a:lnTo>
                  <a:pt x="5360" y="538"/>
                </a:lnTo>
                <a:lnTo>
                  <a:pt x="5347" y="533"/>
                </a:lnTo>
                <a:lnTo>
                  <a:pt x="5354" y="541"/>
                </a:lnTo>
                <a:lnTo>
                  <a:pt x="5352" y="542"/>
                </a:lnTo>
                <a:lnTo>
                  <a:pt x="5348" y="541"/>
                </a:lnTo>
                <a:lnTo>
                  <a:pt x="5342" y="542"/>
                </a:lnTo>
                <a:lnTo>
                  <a:pt x="5342" y="542"/>
                </a:lnTo>
                <a:lnTo>
                  <a:pt x="5343" y="543"/>
                </a:lnTo>
                <a:lnTo>
                  <a:pt x="5340" y="543"/>
                </a:lnTo>
                <a:lnTo>
                  <a:pt x="5342" y="542"/>
                </a:lnTo>
                <a:lnTo>
                  <a:pt x="5338" y="541"/>
                </a:lnTo>
                <a:lnTo>
                  <a:pt x="5336" y="541"/>
                </a:lnTo>
                <a:lnTo>
                  <a:pt x="5335" y="538"/>
                </a:lnTo>
                <a:lnTo>
                  <a:pt x="5329" y="537"/>
                </a:lnTo>
                <a:lnTo>
                  <a:pt x="5331" y="539"/>
                </a:lnTo>
                <a:lnTo>
                  <a:pt x="5333" y="542"/>
                </a:lnTo>
                <a:lnTo>
                  <a:pt x="5334" y="544"/>
                </a:lnTo>
                <a:lnTo>
                  <a:pt x="5335" y="547"/>
                </a:lnTo>
                <a:lnTo>
                  <a:pt x="5337" y="547"/>
                </a:lnTo>
                <a:lnTo>
                  <a:pt x="5336" y="550"/>
                </a:lnTo>
                <a:lnTo>
                  <a:pt x="5337" y="552"/>
                </a:lnTo>
                <a:lnTo>
                  <a:pt x="5335" y="554"/>
                </a:lnTo>
                <a:lnTo>
                  <a:pt x="5333" y="556"/>
                </a:lnTo>
                <a:lnTo>
                  <a:pt x="5329" y="558"/>
                </a:lnTo>
                <a:lnTo>
                  <a:pt x="5327" y="558"/>
                </a:lnTo>
                <a:lnTo>
                  <a:pt x="5329" y="560"/>
                </a:lnTo>
                <a:lnTo>
                  <a:pt x="5326" y="560"/>
                </a:lnTo>
                <a:lnTo>
                  <a:pt x="5324" y="561"/>
                </a:lnTo>
                <a:lnTo>
                  <a:pt x="5333" y="565"/>
                </a:lnTo>
                <a:lnTo>
                  <a:pt x="5334" y="566"/>
                </a:lnTo>
                <a:lnTo>
                  <a:pt x="5335" y="567"/>
                </a:lnTo>
                <a:lnTo>
                  <a:pt x="5332" y="569"/>
                </a:lnTo>
                <a:lnTo>
                  <a:pt x="5328" y="565"/>
                </a:lnTo>
                <a:lnTo>
                  <a:pt x="5327" y="566"/>
                </a:lnTo>
                <a:lnTo>
                  <a:pt x="5325" y="567"/>
                </a:lnTo>
                <a:lnTo>
                  <a:pt x="5325" y="568"/>
                </a:lnTo>
                <a:lnTo>
                  <a:pt x="5325" y="569"/>
                </a:lnTo>
                <a:lnTo>
                  <a:pt x="5325" y="569"/>
                </a:lnTo>
                <a:lnTo>
                  <a:pt x="5323" y="570"/>
                </a:lnTo>
                <a:lnTo>
                  <a:pt x="5322" y="571"/>
                </a:lnTo>
                <a:lnTo>
                  <a:pt x="5320" y="570"/>
                </a:lnTo>
                <a:lnTo>
                  <a:pt x="5319" y="569"/>
                </a:lnTo>
                <a:lnTo>
                  <a:pt x="5320" y="568"/>
                </a:lnTo>
                <a:lnTo>
                  <a:pt x="5322" y="567"/>
                </a:lnTo>
                <a:lnTo>
                  <a:pt x="5320" y="565"/>
                </a:lnTo>
                <a:lnTo>
                  <a:pt x="5319" y="564"/>
                </a:lnTo>
                <a:lnTo>
                  <a:pt x="5321" y="567"/>
                </a:lnTo>
                <a:lnTo>
                  <a:pt x="5315" y="570"/>
                </a:lnTo>
                <a:lnTo>
                  <a:pt x="5313" y="569"/>
                </a:lnTo>
                <a:lnTo>
                  <a:pt x="5310" y="569"/>
                </a:lnTo>
                <a:lnTo>
                  <a:pt x="5310" y="567"/>
                </a:lnTo>
                <a:lnTo>
                  <a:pt x="5309" y="565"/>
                </a:lnTo>
                <a:lnTo>
                  <a:pt x="5304" y="564"/>
                </a:lnTo>
                <a:lnTo>
                  <a:pt x="5299" y="563"/>
                </a:lnTo>
                <a:lnTo>
                  <a:pt x="5289" y="563"/>
                </a:lnTo>
                <a:lnTo>
                  <a:pt x="5289" y="558"/>
                </a:lnTo>
                <a:lnTo>
                  <a:pt x="5283" y="553"/>
                </a:lnTo>
                <a:lnTo>
                  <a:pt x="5285" y="550"/>
                </a:lnTo>
                <a:lnTo>
                  <a:pt x="5284" y="545"/>
                </a:lnTo>
                <a:lnTo>
                  <a:pt x="5281" y="542"/>
                </a:lnTo>
                <a:lnTo>
                  <a:pt x="5266" y="538"/>
                </a:lnTo>
                <a:lnTo>
                  <a:pt x="5263" y="541"/>
                </a:lnTo>
                <a:lnTo>
                  <a:pt x="5260" y="543"/>
                </a:lnTo>
                <a:lnTo>
                  <a:pt x="5247" y="543"/>
                </a:lnTo>
                <a:lnTo>
                  <a:pt x="5247" y="540"/>
                </a:lnTo>
                <a:lnTo>
                  <a:pt x="5248" y="537"/>
                </a:lnTo>
                <a:lnTo>
                  <a:pt x="5243" y="535"/>
                </a:lnTo>
                <a:lnTo>
                  <a:pt x="5241" y="533"/>
                </a:lnTo>
                <a:lnTo>
                  <a:pt x="5240" y="530"/>
                </a:lnTo>
                <a:lnTo>
                  <a:pt x="5241" y="529"/>
                </a:lnTo>
                <a:lnTo>
                  <a:pt x="5245" y="526"/>
                </a:lnTo>
                <a:lnTo>
                  <a:pt x="5245" y="519"/>
                </a:lnTo>
                <a:lnTo>
                  <a:pt x="5240" y="527"/>
                </a:lnTo>
                <a:lnTo>
                  <a:pt x="5236" y="527"/>
                </a:lnTo>
                <a:lnTo>
                  <a:pt x="5234" y="523"/>
                </a:lnTo>
                <a:lnTo>
                  <a:pt x="5232" y="519"/>
                </a:lnTo>
                <a:lnTo>
                  <a:pt x="5232" y="522"/>
                </a:lnTo>
                <a:lnTo>
                  <a:pt x="5230" y="522"/>
                </a:lnTo>
                <a:lnTo>
                  <a:pt x="5235" y="527"/>
                </a:lnTo>
                <a:lnTo>
                  <a:pt x="5234" y="527"/>
                </a:lnTo>
                <a:lnTo>
                  <a:pt x="5228" y="527"/>
                </a:lnTo>
                <a:lnTo>
                  <a:pt x="5228" y="526"/>
                </a:lnTo>
                <a:lnTo>
                  <a:pt x="5227" y="526"/>
                </a:lnTo>
                <a:lnTo>
                  <a:pt x="5224" y="532"/>
                </a:lnTo>
                <a:lnTo>
                  <a:pt x="5228" y="535"/>
                </a:lnTo>
                <a:lnTo>
                  <a:pt x="5232" y="538"/>
                </a:lnTo>
                <a:lnTo>
                  <a:pt x="5232" y="541"/>
                </a:lnTo>
                <a:lnTo>
                  <a:pt x="5228" y="544"/>
                </a:lnTo>
                <a:lnTo>
                  <a:pt x="5228" y="549"/>
                </a:lnTo>
                <a:lnTo>
                  <a:pt x="5228" y="549"/>
                </a:lnTo>
                <a:lnTo>
                  <a:pt x="5228" y="550"/>
                </a:lnTo>
                <a:lnTo>
                  <a:pt x="5224" y="552"/>
                </a:lnTo>
                <a:lnTo>
                  <a:pt x="5218" y="558"/>
                </a:lnTo>
                <a:lnTo>
                  <a:pt x="5205" y="564"/>
                </a:lnTo>
                <a:lnTo>
                  <a:pt x="5206" y="564"/>
                </a:lnTo>
                <a:lnTo>
                  <a:pt x="5208" y="563"/>
                </a:lnTo>
                <a:lnTo>
                  <a:pt x="5190" y="563"/>
                </a:lnTo>
                <a:lnTo>
                  <a:pt x="5189" y="557"/>
                </a:lnTo>
                <a:lnTo>
                  <a:pt x="5183" y="554"/>
                </a:lnTo>
                <a:lnTo>
                  <a:pt x="5182" y="554"/>
                </a:lnTo>
                <a:lnTo>
                  <a:pt x="5184" y="556"/>
                </a:lnTo>
                <a:lnTo>
                  <a:pt x="5187" y="558"/>
                </a:lnTo>
                <a:lnTo>
                  <a:pt x="5182" y="560"/>
                </a:lnTo>
                <a:lnTo>
                  <a:pt x="5177" y="556"/>
                </a:lnTo>
                <a:lnTo>
                  <a:pt x="5174" y="558"/>
                </a:lnTo>
                <a:lnTo>
                  <a:pt x="5171" y="557"/>
                </a:lnTo>
                <a:lnTo>
                  <a:pt x="5169" y="555"/>
                </a:lnTo>
                <a:lnTo>
                  <a:pt x="5167" y="557"/>
                </a:lnTo>
                <a:lnTo>
                  <a:pt x="5166" y="558"/>
                </a:lnTo>
                <a:lnTo>
                  <a:pt x="5167" y="557"/>
                </a:lnTo>
                <a:lnTo>
                  <a:pt x="5169" y="556"/>
                </a:lnTo>
                <a:lnTo>
                  <a:pt x="5171" y="558"/>
                </a:lnTo>
                <a:lnTo>
                  <a:pt x="5174" y="559"/>
                </a:lnTo>
                <a:lnTo>
                  <a:pt x="5174" y="559"/>
                </a:lnTo>
                <a:lnTo>
                  <a:pt x="5171" y="561"/>
                </a:lnTo>
                <a:lnTo>
                  <a:pt x="5168" y="564"/>
                </a:lnTo>
                <a:lnTo>
                  <a:pt x="5168" y="565"/>
                </a:lnTo>
                <a:lnTo>
                  <a:pt x="5171" y="563"/>
                </a:lnTo>
                <a:lnTo>
                  <a:pt x="5174" y="561"/>
                </a:lnTo>
                <a:lnTo>
                  <a:pt x="5178" y="565"/>
                </a:lnTo>
                <a:lnTo>
                  <a:pt x="5182" y="561"/>
                </a:lnTo>
                <a:lnTo>
                  <a:pt x="5189" y="560"/>
                </a:lnTo>
                <a:lnTo>
                  <a:pt x="5187" y="565"/>
                </a:lnTo>
                <a:lnTo>
                  <a:pt x="5190" y="569"/>
                </a:lnTo>
                <a:lnTo>
                  <a:pt x="5197" y="572"/>
                </a:lnTo>
                <a:lnTo>
                  <a:pt x="5200" y="569"/>
                </a:lnTo>
                <a:lnTo>
                  <a:pt x="5200" y="569"/>
                </a:lnTo>
                <a:lnTo>
                  <a:pt x="5200" y="569"/>
                </a:lnTo>
                <a:lnTo>
                  <a:pt x="5201" y="571"/>
                </a:lnTo>
                <a:lnTo>
                  <a:pt x="5204" y="576"/>
                </a:lnTo>
                <a:lnTo>
                  <a:pt x="5202" y="579"/>
                </a:lnTo>
                <a:lnTo>
                  <a:pt x="5205" y="579"/>
                </a:lnTo>
                <a:lnTo>
                  <a:pt x="5206" y="583"/>
                </a:lnTo>
                <a:lnTo>
                  <a:pt x="5208" y="587"/>
                </a:lnTo>
                <a:lnTo>
                  <a:pt x="5205" y="587"/>
                </a:lnTo>
                <a:lnTo>
                  <a:pt x="5201" y="591"/>
                </a:lnTo>
                <a:lnTo>
                  <a:pt x="5208" y="591"/>
                </a:lnTo>
                <a:lnTo>
                  <a:pt x="5208" y="591"/>
                </a:lnTo>
                <a:lnTo>
                  <a:pt x="5208" y="591"/>
                </a:lnTo>
                <a:lnTo>
                  <a:pt x="5206" y="592"/>
                </a:lnTo>
                <a:lnTo>
                  <a:pt x="5205" y="592"/>
                </a:lnTo>
                <a:lnTo>
                  <a:pt x="5209" y="591"/>
                </a:lnTo>
                <a:lnTo>
                  <a:pt x="5208" y="589"/>
                </a:lnTo>
                <a:lnTo>
                  <a:pt x="5208" y="588"/>
                </a:lnTo>
                <a:lnTo>
                  <a:pt x="5209" y="591"/>
                </a:lnTo>
                <a:lnTo>
                  <a:pt x="5210" y="594"/>
                </a:lnTo>
                <a:lnTo>
                  <a:pt x="5208" y="592"/>
                </a:lnTo>
                <a:lnTo>
                  <a:pt x="5208" y="594"/>
                </a:lnTo>
                <a:lnTo>
                  <a:pt x="5216" y="598"/>
                </a:lnTo>
                <a:lnTo>
                  <a:pt x="5216" y="602"/>
                </a:lnTo>
                <a:lnTo>
                  <a:pt x="5212" y="604"/>
                </a:lnTo>
                <a:lnTo>
                  <a:pt x="5216" y="607"/>
                </a:lnTo>
                <a:lnTo>
                  <a:pt x="5216" y="611"/>
                </a:lnTo>
                <a:lnTo>
                  <a:pt x="5214" y="613"/>
                </a:lnTo>
                <a:lnTo>
                  <a:pt x="5211" y="615"/>
                </a:lnTo>
                <a:lnTo>
                  <a:pt x="5212" y="617"/>
                </a:lnTo>
                <a:lnTo>
                  <a:pt x="5213" y="618"/>
                </a:lnTo>
                <a:lnTo>
                  <a:pt x="5212" y="619"/>
                </a:lnTo>
                <a:lnTo>
                  <a:pt x="5211" y="620"/>
                </a:lnTo>
                <a:lnTo>
                  <a:pt x="5204" y="617"/>
                </a:lnTo>
                <a:lnTo>
                  <a:pt x="5196" y="613"/>
                </a:lnTo>
                <a:lnTo>
                  <a:pt x="5187" y="611"/>
                </a:lnTo>
                <a:lnTo>
                  <a:pt x="5177" y="613"/>
                </a:lnTo>
                <a:lnTo>
                  <a:pt x="5171" y="618"/>
                </a:lnTo>
                <a:lnTo>
                  <a:pt x="5160" y="623"/>
                </a:lnTo>
                <a:lnTo>
                  <a:pt x="5150" y="628"/>
                </a:lnTo>
                <a:lnTo>
                  <a:pt x="5146" y="627"/>
                </a:lnTo>
                <a:lnTo>
                  <a:pt x="5147" y="627"/>
                </a:lnTo>
                <a:lnTo>
                  <a:pt x="5149" y="628"/>
                </a:lnTo>
                <a:lnTo>
                  <a:pt x="5147" y="630"/>
                </a:lnTo>
                <a:lnTo>
                  <a:pt x="5146" y="632"/>
                </a:lnTo>
                <a:lnTo>
                  <a:pt x="5140" y="632"/>
                </a:lnTo>
                <a:lnTo>
                  <a:pt x="5138" y="633"/>
                </a:lnTo>
                <a:lnTo>
                  <a:pt x="5137" y="633"/>
                </a:lnTo>
                <a:lnTo>
                  <a:pt x="5135" y="634"/>
                </a:lnTo>
                <a:lnTo>
                  <a:pt x="5132" y="633"/>
                </a:lnTo>
                <a:lnTo>
                  <a:pt x="5131" y="640"/>
                </a:lnTo>
                <a:lnTo>
                  <a:pt x="5130" y="640"/>
                </a:lnTo>
                <a:lnTo>
                  <a:pt x="5126" y="641"/>
                </a:lnTo>
                <a:lnTo>
                  <a:pt x="5123" y="639"/>
                </a:lnTo>
                <a:lnTo>
                  <a:pt x="5119" y="641"/>
                </a:lnTo>
                <a:lnTo>
                  <a:pt x="5123" y="644"/>
                </a:lnTo>
                <a:lnTo>
                  <a:pt x="5119" y="644"/>
                </a:lnTo>
                <a:lnTo>
                  <a:pt x="5121" y="644"/>
                </a:lnTo>
                <a:lnTo>
                  <a:pt x="5117" y="645"/>
                </a:lnTo>
                <a:lnTo>
                  <a:pt x="5112" y="643"/>
                </a:lnTo>
                <a:lnTo>
                  <a:pt x="5112" y="646"/>
                </a:lnTo>
                <a:lnTo>
                  <a:pt x="5116" y="652"/>
                </a:lnTo>
                <a:lnTo>
                  <a:pt x="5112" y="652"/>
                </a:lnTo>
                <a:lnTo>
                  <a:pt x="5111" y="649"/>
                </a:lnTo>
                <a:lnTo>
                  <a:pt x="5111" y="652"/>
                </a:lnTo>
                <a:lnTo>
                  <a:pt x="5108" y="649"/>
                </a:lnTo>
                <a:lnTo>
                  <a:pt x="5108" y="656"/>
                </a:lnTo>
                <a:lnTo>
                  <a:pt x="5100" y="656"/>
                </a:lnTo>
                <a:lnTo>
                  <a:pt x="5100" y="657"/>
                </a:lnTo>
                <a:lnTo>
                  <a:pt x="5094" y="659"/>
                </a:lnTo>
                <a:lnTo>
                  <a:pt x="5088" y="662"/>
                </a:lnTo>
                <a:lnTo>
                  <a:pt x="5088" y="665"/>
                </a:lnTo>
                <a:lnTo>
                  <a:pt x="5088" y="666"/>
                </a:lnTo>
                <a:lnTo>
                  <a:pt x="5089" y="667"/>
                </a:lnTo>
                <a:lnTo>
                  <a:pt x="5087" y="671"/>
                </a:lnTo>
                <a:lnTo>
                  <a:pt x="5086" y="676"/>
                </a:lnTo>
                <a:lnTo>
                  <a:pt x="5085" y="676"/>
                </a:lnTo>
                <a:lnTo>
                  <a:pt x="5078" y="670"/>
                </a:lnTo>
                <a:lnTo>
                  <a:pt x="5075" y="662"/>
                </a:lnTo>
                <a:lnTo>
                  <a:pt x="5064" y="657"/>
                </a:lnTo>
                <a:lnTo>
                  <a:pt x="5064" y="660"/>
                </a:lnTo>
                <a:lnTo>
                  <a:pt x="5053" y="657"/>
                </a:lnTo>
                <a:lnTo>
                  <a:pt x="5038" y="665"/>
                </a:lnTo>
                <a:lnTo>
                  <a:pt x="5031" y="670"/>
                </a:lnTo>
                <a:lnTo>
                  <a:pt x="5024" y="676"/>
                </a:lnTo>
                <a:lnTo>
                  <a:pt x="5026" y="664"/>
                </a:lnTo>
                <a:lnTo>
                  <a:pt x="5023" y="664"/>
                </a:lnTo>
                <a:lnTo>
                  <a:pt x="5012" y="670"/>
                </a:lnTo>
                <a:lnTo>
                  <a:pt x="5012" y="671"/>
                </a:lnTo>
                <a:lnTo>
                  <a:pt x="5010" y="674"/>
                </a:lnTo>
                <a:lnTo>
                  <a:pt x="5008" y="676"/>
                </a:lnTo>
                <a:lnTo>
                  <a:pt x="5008" y="676"/>
                </a:lnTo>
                <a:lnTo>
                  <a:pt x="5008" y="676"/>
                </a:lnTo>
                <a:lnTo>
                  <a:pt x="5006" y="675"/>
                </a:lnTo>
                <a:lnTo>
                  <a:pt x="5004" y="674"/>
                </a:lnTo>
                <a:lnTo>
                  <a:pt x="5000" y="672"/>
                </a:lnTo>
                <a:lnTo>
                  <a:pt x="4996" y="672"/>
                </a:lnTo>
                <a:lnTo>
                  <a:pt x="4996" y="671"/>
                </a:lnTo>
                <a:lnTo>
                  <a:pt x="4994" y="673"/>
                </a:lnTo>
                <a:lnTo>
                  <a:pt x="4993" y="672"/>
                </a:lnTo>
                <a:lnTo>
                  <a:pt x="4989" y="672"/>
                </a:lnTo>
                <a:lnTo>
                  <a:pt x="4990" y="673"/>
                </a:lnTo>
                <a:lnTo>
                  <a:pt x="4987" y="673"/>
                </a:lnTo>
                <a:lnTo>
                  <a:pt x="4983" y="676"/>
                </a:lnTo>
                <a:lnTo>
                  <a:pt x="4983" y="679"/>
                </a:lnTo>
                <a:lnTo>
                  <a:pt x="4980" y="680"/>
                </a:lnTo>
                <a:lnTo>
                  <a:pt x="4984" y="685"/>
                </a:lnTo>
                <a:lnTo>
                  <a:pt x="4981" y="688"/>
                </a:lnTo>
                <a:lnTo>
                  <a:pt x="4978" y="688"/>
                </a:lnTo>
                <a:lnTo>
                  <a:pt x="4981" y="692"/>
                </a:lnTo>
                <a:lnTo>
                  <a:pt x="4978" y="692"/>
                </a:lnTo>
                <a:lnTo>
                  <a:pt x="4977" y="692"/>
                </a:lnTo>
                <a:lnTo>
                  <a:pt x="4978" y="695"/>
                </a:lnTo>
                <a:lnTo>
                  <a:pt x="4970" y="700"/>
                </a:lnTo>
                <a:lnTo>
                  <a:pt x="4966" y="706"/>
                </a:lnTo>
                <a:lnTo>
                  <a:pt x="4964" y="709"/>
                </a:lnTo>
                <a:lnTo>
                  <a:pt x="4963" y="713"/>
                </a:lnTo>
                <a:lnTo>
                  <a:pt x="4964" y="716"/>
                </a:lnTo>
                <a:lnTo>
                  <a:pt x="4965" y="718"/>
                </a:lnTo>
                <a:lnTo>
                  <a:pt x="4967" y="721"/>
                </a:lnTo>
                <a:lnTo>
                  <a:pt x="4967" y="722"/>
                </a:lnTo>
                <a:lnTo>
                  <a:pt x="4970" y="717"/>
                </a:lnTo>
                <a:lnTo>
                  <a:pt x="4979" y="718"/>
                </a:lnTo>
                <a:lnTo>
                  <a:pt x="4979" y="721"/>
                </a:lnTo>
                <a:lnTo>
                  <a:pt x="4979" y="725"/>
                </a:lnTo>
                <a:lnTo>
                  <a:pt x="4973" y="728"/>
                </a:lnTo>
                <a:lnTo>
                  <a:pt x="4975" y="734"/>
                </a:lnTo>
                <a:lnTo>
                  <a:pt x="4975" y="741"/>
                </a:lnTo>
                <a:lnTo>
                  <a:pt x="4977" y="743"/>
                </a:lnTo>
                <a:lnTo>
                  <a:pt x="4981" y="740"/>
                </a:lnTo>
                <a:lnTo>
                  <a:pt x="4983" y="752"/>
                </a:lnTo>
                <a:lnTo>
                  <a:pt x="4977" y="757"/>
                </a:lnTo>
                <a:lnTo>
                  <a:pt x="4971" y="755"/>
                </a:lnTo>
                <a:lnTo>
                  <a:pt x="4971" y="753"/>
                </a:lnTo>
                <a:lnTo>
                  <a:pt x="4969" y="754"/>
                </a:lnTo>
                <a:lnTo>
                  <a:pt x="4965" y="756"/>
                </a:lnTo>
                <a:lnTo>
                  <a:pt x="4959" y="767"/>
                </a:lnTo>
                <a:lnTo>
                  <a:pt x="4960" y="776"/>
                </a:lnTo>
                <a:lnTo>
                  <a:pt x="4962" y="778"/>
                </a:lnTo>
                <a:lnTo>
                  <a:pt x="4963" y="780"/>
                </a:lnTo>
                <a:lnTo>
                  <a:pt x="4963" y="784"/>
                </a:lnTo>
                <a:lnTo>
                  <a:pt x="4961" y="788"/>
                </a:lnTo>
                <a:lnTo>
                  <a:pt x="4959" y="792"/>
                </a:lnTo>
                <a:lnTo>
                  <a:pt x="4953" y="792"/>
                </a:lnTo>
                <a:lnTo>
                  <a:pt x="4952" y="788"/>
                </a:lnTo>
                <a:lnTo>
                  <a:pt x="4948" y="788"/>
                </a:lnTo>
                <a:lnTo>
                  <a:pt x="4945" y="789"/>
                </a:lnTo>
                <a:lnTo>
                  <a:pt x="4935" y="797"/>
                </a:lnTo>
                <a:lnTo>
                  <a:pt x="4934" y="801"/>
                </a:lnTo>
                <a:lnTo>
                  <a:pt x="4932" y="805"/>
                </a:lnTo>
                <a:lnTo>
                  <a:pt x="4932" y="806"/>
                </a:lnTo>
                <a:lnTo>
                  <a:pt x="4931" y="806"/>
                </a:lnTo>
                <a:lnTo>
                  <a:pt x="4931" y="808"/>
                </a:lnTo>
                <a:lnTo>
                  <a:pt x="4933" y="808"/>
                </a:lnTo>
                <a:lnTo>
                  <a:pt x="4934" y="808"/>
                </a:lnTo>
                <a:lnTo>
                  <a:pt x="4934" y="808"/>
                </a:lnTo>
                <a:lnTo>
                  <a:pt x="4934" y="808"/>
                </a:lnTo>
                <a:lnTo>
                  <a:pt x="4935" y="813"/>
                </a:lnTo>
                <a:lnTo>
                  <a:pt x="4935" y="816"/>
                </a:lnTo>
                <a:lnTo>
                  <a:pt x="4932" y="815"/>
                </a:lnTo>
                <a:lnTo>
                  <a:pt x="4929" y="813"/>
                </a:lnTo>
                <a:lnTo>
                  <a:pt x="4922" y="818"/>
                </a:lnTo>
                <a:lnTo>
                  <a:pt x="4919" y="822"/>
                </a:lnTo>
                <a:lnTo>
                  <a:pt x="4919" y="822"/>
                </a:lnTo>
                <a:lnTo>
                  <a:pt x="4919" y="822"/>
                </a:lnTo>
                <a:lnTo>
                  <a:pt x="4917" y="821"/>
                </a:lnTo>
                <a:lnTo>
                  <a:pt x="4914" y="820"/>
                </a:lnTo>
                <a:lnTo>
                  <a:pt x="4911" y="820"/>
                </a:lnTo>
                <a:lnTo>
                  <a:pt x="4911" y="824"/>
                </a:lnTo>
                <a:lnTo>
                  <a:pt x="4914" y="824"/>
                </a:lnTo>
                <a:lnTo>
                  <a:pt x="4914" y="826"/>
                </a:lnTo>
                <a:lnTo>
                  <a:pt x="4913" y="828"/>
                </a:lnTo>
                <a:lnTo>
                  <a:pt x="4912" y="828"/>
                </a:lnTo>
                <a:lnTo>
                  <a:pt x="4911" y="828"/>
                </a:lnTo>
                <a:lnTo>
                  <a:pt x="4911" y="828"/>
                </a:lnTo>
                <a:lnTo>
                  <a:pt x="4911" y="833"/>
                </a:lnTo>
                <a:lnTo>
                  <a:pt x="4909" y="834"/>
                </a:lnTo>
                <a:lnTo>
                  <a:pt x="4907" y="836"/>
                </a:lnTo>
                <a:lnTo>
                  <a:pt x="4907" y="841"/>
                </a:lnTo>
                <a:lnTo>
                  <a:pt x="4887" y="860"/>
                </a:lnTo>
                <a:lnTo>
                  <a:pt x="4887" y="859"/>
                </a:lnTo>
                <a:lnTo>
                  <a:pt x="4885" y="856"/>
                </a:lnTo>
                <a:lnTo>
                  <a:pt x="4883" y="853"/>
                </a:lnTo>
                <a:lnTo>
                  <a:pt x="4883" y="841"/>
                </a:lnTo>
                <a:lnTo>
                  <a:pt x="4880" y="829"/>
                </a:lnTo>
                <a:lnTo>
                  <a:pt x="4880" y="828"/>
                </a:lnTo>
                <a:lnTo>
                  <a:pt x="4878" y="824"/>
                </a:lnTo>
                <a:lnTo>
                  <a:pt x="4874" y="798"/>
                </a:lnTo>
                <a:lnTo>
                  <a:pt x="4870" y="772"/>
                </a:lnTo>
                <a:lnTo>
                  <a:pt x="4871" y="766"/>
                </a:lnTo>
                <a:lnTo>
                  <a:pt x="4873" y="760"/>
                </a:lnTo>
                <a:lnTo>
                  <a:pt x="4876" y="744"/>
                </a:lnTo>
                <a:lnTo>
                  <a:pt x="4884" y="738"/>
                </a:lnTo>
                <a:lnTo>
                  <a:pt x="4884" y="737"/>
                </a:lnTo>
                <a:lnTo>
                  <a:pt x="4885" y="736"/>
                </a:lnTo>
                <a:lnTo>
                  <a:pt x="4887" y="736"/>
                </a:lnTo>
                <a:lnTo>
                  <a:pt x="4889" y="732"/>
                </a:lnTo>
                <a:lnTo>
                  <a:pt x="4891" y="728"/>
                </a:lnTo>
                <a:lnTo>
                  <a:pt x="4891" y="723"/>
                </a:lnTo>
                <a:lnTo>
                  <a:pt x="4887" y="722"/>
                </a:lnTo>
                <a:lnTo>
                  <a:pt x="4892" y="719"/>
                </a:lnTo>
                <a:lnTo>
                  <a:pt x="4893" y="721"/>
                </a:lnTo>
                <a:lnTo>
                  <a:pt x="4894" y="724"/>
                </a:lnTo>
                <a:lnTo>
                  <a:pt x="4898" y="724"/>
                </a:lnTo>
                <a:lnTo>
                  <a:pt x="4900" y="716"/>
                </a:lnTo>
                <a:lnTo>
                  <a:pt x="4911" y="716"/>
                </a:lnTo>
                <a:lnTo>
                  <a:pt x="4932" y="697"/>
                </a:lnTo>
                <a:lnTo>
                  <a:pt x="4932" y="694"/>
                </a:lnTo>
                <a:lnTo>
                  <a:pt x="4933" y="691"/>
                </a:lnTo>
                <a:lnTo>
                  <a:pt x="4940" y="685"/>
                </a:lnTo>
                <a:lnTo>
                  <a:pt x="4942" y="680"/>
                </a:lnTo>
                <a:lnTo>
                  <a:pt x="4944" y="679"/>
                </a:lnTo>
                <a:lnTo>
                  <a:pt x="4947" y="679"/>
                </a:lnTo>
                <a:lnTo>
                  <a:pt x="4956" y="668"/>
                </a:lnTo>
                <a:lnTo>
                  <a:pt x="4958" y="668"/>
                </a:lnTo>
                <a:lnTo>
                  <a:pt x="4959" y="668"/>
                </a:lnTo>
                <a:lnTo>
                  <a:pt x="4959" y="666"/>
                </a:lnTo>
                <a:lnTo>
                  <a:pt x="4959" y="661"/>
                </a:lnTo>
                <a:lnTo>
                  <a:pt x="4968" y="658"/>
                </a:lnTo>
                <a:lnTo>
                  <a:pt x="4976" y="656"/>
                </a:lnTo>
                <a:lnTo>
                  <a:pt x="4977" y="654"/>
                </a:lnTo>
                <a:lnTo>
                  <a:pt x="4987" y="650"/>
                </a:lnTo>
                <a:lnTo>
                  <a:pt x="4987" y="649"/>
                </a:lnTo>
                <a:lnTo>
                  <a:pt x="4986" y="649"/>
                </a:lnTo>
                <a:lnTo>
                  <a:pt x="4984" y="648"/>
                </a:lnTo>
                <a:lnTo>
                  <a:pt x="4992" y="641"/>
                </a:lnTo>
                <a:lnTo>
                  <a:pt x="4992" y="639"/>
                </a:lnTo>
                <a:lnTo>
                  <a:pt x="4991" y="638"/>
                </a:lnTo>
                <a:lnTo>
                  <a:pt x="4991" y="638"/>
                </a:lnTo>
                <a:lnTo>
                  <a:pt x="4993" y="634"/>
                </a:lnTo>
                <a:lnTo>
                  <a:pt x="4993" y="634"/>
                </a:lnTo>
                <a:lnTo>
                  <a:pt x="4993" y="633"/>
                </a:lnTo>
                <a:lnTo>
                  <a:pt x="4995" y="620"/>
                </a:lnTo>
                <a:lnTo>
                  <a:pt x="5001" y="615"/>
                </a:lnTo>
                <a:lnTo>
                  <a:pt x="5011" y="616"/>
                </a:lnTo>
                <a:lnTo>
                  <a:pt x="5013" y="618"/>
                </a:lnTo>
                <a:lnTo>
                  <a:pt x="5011" y="616"/>
                </a:lnTo>
                <a:lnTo>
                  <a:pt x="5018" y="616"/>
                </a:lnTo>
                <a:lnTo>
                  <a:pt x="5013" y="615"/>
                </a:lnTo>
                <a:lnTo>
                  <a:pt x="5008" y="613"/>
                </a:lnTo>
                <a:lnTo>
                  <a:pt x="5003" y="612"/>
                </a:lnTo>
                <a:lnTo>
                  <a:pt x="4999" y="610"/>
                </a:lnTo>
                <a:lnTo>
                  <a:pt x="4991" y="612"/>
                </a:lnTo>
                <a:lnTo>
                  <a:pt x="4981" y="613"/>
                </a:lnTo>
                <a:lnTo>
                  <a:pt x="4980" y="615"/>
                </a:lnTo>
                <a:lnTo>
                  <a:pt x="4983" y="618"/>
                </a:lnTo>
                <a:lnTo>
                  <a:pt x="4979" y="620"/>
                </a:lnTo>
                <a:lnTo>
                  <a:pt x="4979" y="626"/>
                </a:lnTo>
                <a:lnTo>
                  <a:pt x="4977" y="629"/>
                </a:lnTo>
                <a:lnTo>
                  <a:pt x="4984" y="631"/>
                </a:lnTo>
                <a:lnTo>
                  <a:pt x="4981" y="633"/>
                </a:lnTo>
                <a:lnTo>
                  <a:pt x="4979" y="637"/>
                </a:lnTo>
                <a:lnTo>
                  <a:pt x="4979" y="637"/>
                </a:lnTo>
                <a:lnTo>
                  <a:pt x="4979" y="637"/>
                </a:lnTo>
                <a:lnTo>
                  <a:pt x="4976" y="636"/>
                </a:lnTo>
                <a:lnTo>
                  <a:pt x="4973" y="636"/>
                </a:lnTo>
                <a:lnTo>
                  <a:pt x="4975" y="635"/>
                </a:lnTo>
                <a:lnTo>
                  <a:pt x="4975" y="634"/>
                </a:lnTo>
                <a:lnTo>
                  <a:pt x="4976" y="634"/>
                </a:lnTo>
                <a:lnTo>
                  <a:pt x="4970" y="633"/>
                </a:lnTo>
                <a:lnTo>
                  <a:pt x="4959" y="642"/>
                </a:lnTo>
                <a:lnTo>
                  <a:pt x="4948" y="651"/>
                </a:lnTo>
                <a:lnTo>
                  <a:pt x="4947" y="653"/>
                </a:lnTo>
                <a:lnTo>
                  <a:pt x="4947" y="656"/>
                </a:lnTo>
                <a:lnTo>
                  <a:pt x="4940" y="656"/>
                </a:lnTo>
                <a:lnTo>
                  <a:pt x="4940" y="657"/>
                </a:lnTo>
                <a:lnTo>
                  <a:pt x="4939" y="657"/>
                </a:lnTo>
                <a:lnTo>
                  <a:pt x="4940" y="655"/>
                </a:lnTo>
                <a:lnTo>
                  <a:pt x="4937" y="654"/>
                </a:lnTo>
                <a:lnTo>
                  <a:pt x="4939" y="653"/>
                </a:lnTo>
                <a:lnTo>
                  <a:pt x="4940" y="652"/>
                </a:lnTo>
                <a:lnTo>
                  <a:pt x="4937" y="652"/>
                </a:lnTo>
                <a:lnTo>
                  <a:pt x="4935" y="651"/>
                </a:lnTo>
                <a:lnTo>
                  <a:pt x="4932" y="649"/>
                </a:lnTo>
                <a:lnTo>
                  <a:pt x="4932" y="648"/>
                </a:lnTo>
                <a:lnTo>
                  <a:pt x="4931" y="646"/>
                </a:lnTo>
                <a:lnTo>
                  <a:pt x="4931" y="644"/>
                </a:lnTo>
                <a:lnTo>
                  <a:pt x="4933" y="644"/>
                </a:lnTo>
                <a:lnTo>
                  <a:pt x="4939" y="631"/>
                </a:lnTo>
                <a:lnTo>
                  <a:pt x="4939" y="627"/>
                </a:lnTo>
                <a:lnTo>
                  <a:pt x="4933" y="630"/>
                </a:lnTo>
                <a:lnTo>
                  <a:pt x="4928" y="633"/>
                </a:lnTo>
                <a:lnTo>
                  <a:pt x="4926" y="628"/>
                </a:lnTo>
                <a:lnTo>
                  <a:pt x="4925" y="628"/>
                </a:lnTo>
                <a:lnTo>
                  <a:pt x="4916" y="630"/>
                </a:lnTo>
                <a:lnTo>
                  <a:pt x="4907" y="631"/>
                </a:lnTo>
                <a:lnTo>
                  <a:pt x="4899" y="629"/>
                </a:lnTo>
                <a:lnTo>
                  <a:pt x="4894" y="633"/>
                </a:lnTo>
                <a:lnTo>
                  <a:pt x="4888" y="637"/>
                </a:lnTo>
                <a:lnTo>
                  <a:pt x="4887" y="641"/>
                </a:lnTo>
                <a:lnTo>
                  <a:pt x="4887" y="645"/>
                </a:lnTo>
                <a:lnTo>
                  <a:pt x="4883" y="647"/>
                </a:lnTo>
                <a:lnTo>
                  <a:pt x="4878" y="648"/>
                </a:lnTo>
                <a:lnTo>
                  <a:pt x="4876" y="650"/>
                </a:lnTo>
                <a:lnTo>
                  <a:pt x="4876" y="652"/>
                </a:lnTo>
                <a:lnTo>
                  <a:pt x="4875" y="654"/>
                </a:lnTo>
                <a:lnTo>
                  <a:pt x="4862" y="662"/>
                </a:lnTo>
                <a:lnTo>
                  <a:pt x="4858" y="668"/>
                </a:lnTo>
                <a:lnTo>
                  <a:pt x="4854" y="672"/>
                </a:lnTo>
                <a:lnTo>
                  <a:pt x="4853" y="673"/>
                </a:lnTo>
                <a:lnTo>
                  <a:pt x="4851" y="673"/>
                </a:lnTo>
                <a:lnTo>
                  <a:pt x="4852" y="679"/>
                </a:lnTo>
                <a:lnTo>
                  <a:pt x="4847" y="683"/>
                </a:lnTo>
                <a:lnTo>
                  <a:pt x="4847" y="684"/>
                </a:lnTo>
                <a:lnTo>
                  <a:pt x="4855" y="684"/>
                </a:lnTo>
                <a:lnTo>
                  <a:pt x="4855" y="682"/>
                </a:lnTo>
                <a:lnTo>
                  <a:pt x="4854" y="680"/>
                </a:lnTo>
                <a:lnTo>
                  <a:pt x="4862" y="683"/>
                </a:lnTo>
                <a:lnTo>
                  <a:pt x="4866" y="685"/>
                </a:lnTo>
                <a:lnTo>
                  <a:pt x="4865" y="687"/>
                </a:lnTo>
                <a:lnTo>
                  <a:pt x="4865" y="689"/>
                </a:lnTo>
                <a:lnTo>
                  <a:pt x="4859" y="691"/>
                </a:lnTo>
                <a:lnTo>
                  <a:pt x="4857" y="691"/>
                </a:lnTo>
                <a:lnTo>
                  <a:pt x="4854" y="692"/>
                </a:lnTo>
                <a:lnTo>
                  <a:pt x="4854" y="692"/>
                </a:lnTo>
                <a:lnTo>
                  <a:pt x="4852" y="692"/>
                </a:lnTo>
                <a:lnTo>
                  <a:pt x="4848" y="692"/>
                </a:lnTo>
                <a:lnTo>
                  <a:pt x="4846" y="690"/>
                </a:lnTo>
                <a:lnTo>
                  <a:pt x="4845" y="688"/>
                </a:lnTo>
                <a:lnTo>
                  <a:pt x="4839" y="687"/>
                </a:lnTo>
                <a:lnTo>
                  <a:pt x="4836" y="690"/>
                </a:lnTo>
                <a:lnTo>
                  <a:pt x="4834" y="691"/>
                </a:lnTo>
                <a:lnTo>
                  <a:pt x="4833" y="695"/>
                </a:lnTo>
                <a:lnTo>
                  <a:pt x="4828" y="693"/>
                </a:lnTo>
                <a:lnTo>
                  <a:pt x="4824" y="691"/>
                </a:lnTo>
                <a:lnTo>
                  <a:pt x="4823" y="693"/>
                </a:lnTo>
                <a:lnTo>
                  <a:pt x="4821" y="694"/>
                </a:lnTo>
                <a:lnTo>
                  <a:pt x="4821" y="695"/>
                </a:lnTo>
                <a:lnTo>
                  <a:pt x="4820" y="695"/>
                </a:lnTo>
                <a:lnTo>
                  <a:pt x="4815" y="696"/>
                </a:lnTo>
                <a:lnTo>
                  <a:pt x="4810" y="697"/>
                </a:lnTo>
                <a:lnTo>
                  <a:pt x="4806" y="690"/>
                </a:lnTo>
                <a:lnTo>
                  <a:pt x="4814" y="689"/>
                </a:lnTo>
                <a:lnTo>
                  <a:pt x="4822" y="688"/>
                </a:lnTo>
                <a:lnTo>
                  <a:pt x="4816" y="688"/>
                </a:lnTo>
                <a:lnTo>
                  <a:pt x="4815" y="685"/>
                </a:lnTo>
                <a:lnTo>
                  <a:pt x="4814" y="683"/>
                </a:lnTo>
                <a:lnTo>
                  <a:pt x="4810" y="680"/>
                </a:lnTo>
                <a:lnTo>
                  <a:pt x="4803" y="680"/>
                </a:lnTo>
                <a:lnTo>
                  <a:pt x="4803" y="683"/>
                </a:lnTo>
                <a:lnTo>
                  <a:pt x="4801" y="683"/>
                </a:lnTo>
                <a:lnTo>
                  <a:pt x="4799" y="684"/>
                </a:lnTo>
                <a:lnTo>
                  <a:pt x="4799" y="684"/>
                </a:lnTo>
                <a:lnTo>
                  <a:pt x="4796" y="684"/>
                </a:lnTo>
                <a:lnTo>
                  <a:pt x="4800" y="681"/>
                </a:lnTo>
                <a:lnTo>
                  <a:pt x="4792" y="678"/>
                </a:lnTo>
                <a:lnTo>
                  <a:pt x="4784" y="676"/>
                </a:lnTo>
                <a:lnTo>
                  <a:pt x="4776" y="679"/>
                </a:lnTo>
                <a:lnTo>
                  <a:pt x="4777" y="681"/>
                </a:lnTo>
                <a:lnTo>
                  <a:pt x="4777" y="684"/>
                </a:lnTo>
                <a:lnTo>
                  <a:pt x="4775" y="684"/>
                </a:lnTo>
                <a:lnTo>
                  <a:pt x="4774" y="682"/>
                </a:lnTo>
                <a:lnTo>
                  <a:pt x="4773" y="680"/>
                </a:lnTo>
                <a:lnTo>
                  <a:pt x="4772" y="681"/>
                </a:lnTo>
                <a:lnTo>
                  <a:pt x="4771" y="683"/>
                </a:lnTo>
                <a:lnTo>
                  <a:pt x="4771" y="688"/>
                </a:lnTo>
                <a:lnTo>
                  <a:pt x="4763" y="688"/>
                </a:lnTo>
                <a:lnTo>
                  <a:pt x="4763" y="684"/>
                </a:lnTo>
                <a:lnTo>
                  <a:pt x="4759" y="686"/>
                </a:lnTo>
                <a:lnTo>
                  <a:pt x="4755" y="688"/>
                </a:lnTo>
                <a:lnTo>
                  <a:pt x="4747" y="686"/>
                </a:lnTo>
                <a:lnTo>
                  <a:pt x="4740" y="684"/>
                </a:lnTo>
                <a:lnTo>
                  <a:pt x="4735" y="684"/>
                </a:lnTo>
                <a:lnTo>
                  <a:pt x="4735" y="688"/>
                </a:lnTo>
                <a:lnTo>
                  <a:pt x="4733" y="689"/>
                </a:lnTo>
                <a:lnTo>
                  <a:pt x="4731" y="690"/>
                </a:lnTo>
                <a:lnTo>
                  <a:pt x="4729" y="689"/>
                </a:lnTo>
                <a:lnTo>
                  <a:pt x="4728" y="688"/>
                </a:lnTo>
                <a:lnTo>
                  <a:pt x="4728" y="686"/>
                </a:lnTo>
                <a:lnTo>
                  <a:pt x="4729" y="684"/>
                </a:lnTo>
                <a:lnTo>
                  <a:pt x="4701" y="684"/>
                </a:lnTo>
                <a:lnTo>
                  <a:pt x="4696" y="684"/>
                </a:lnTo>
                <a:lnTo>
                  <a:pt x="4691" y="685"/>
                </a:lnTo>
                <a:lnTo>
                  <a:pt x="4683" y="688"/>
                </a:lnTo>
                <a:lnTo>
                  <a:pt x="4676" y="691"/>
                </a:lnTo>
                <a:lnTo>
                  <a:pt x="4669" y="700"/>
                </a:lnTo>
                <a:lnTo>
                  <a:pt x="4655" y="710"/>
                </a:lnTo>
                <a:lnTo>
                  <a:pt x="4651" y="718"/>
                </a:lnTo>
                <a:lnTo>
                  <a:pt x="4645" y="722"/>
                </a:lnTo>
                <a:lnTo>
                  <a:pt x="4637" y="730"/>
                </a:lnTo>
                <a:lnTo>
                  <a:pt x="4632" y="733"/>
                </a:lnTo>
                <a:lnTo>
                  <a:pt x="4630" y="736"/>
                </a:lnTo>
                <a:lnTo>
                  <a:pt x="4629" y="740"/>
                </a:lnTo>
                <a:lnTo>
                  <a:pt x="4624" y="740"/>
                </a:lnTo>
                <a:lnTo>
                  <a:pt x="4619" y="743"/>
                </a:lnTo>
                <a:lnTo>
                  <a:pt x="4614" y="746"/>
                </a:lnTo>
                <a:lnTo>
                  <a:pt x="4614" y="748"/>
                </a:lnTo>
                <a:lnTo>
                  <a:pt x="4610" y="755"/>
                </a:lnTo>
                <a:lnTo>
                  <a:pt x="4602" y="761"/>
                </a:lnTo>
                <a:lnTo>
                  <a:pt x="4593" y="767"/>
                </a:lnTo>
                <a:lnTo>
                  <a:pt x="4591" y="770"/>
                </a:lnTo>
                <a:lnTo>
                  <a:pt x="4590" y="772"/>
                </a:lnTo>
                <a:lnTo>
                  <a:pt x="4585" y="774"/>
                </a:lnTo>
                <a:lnTo>
                  <a:pt x="4579" y="776"/>
                </a:lnTo>
                <a:lnTo>
                  <a:pt x="4576" y="780"/>
                </a:lnTo>
                <a:lnTo>
                  <a:pt x="4576" y="782"/>
                </a:lnTo>
                <a:lnTo>
                  <a:pt x="4577" y="784"/>
                </a:lnTo>
                <a:lnTo>
                  <a:pt x="4580" y="785"/>
                </a:lnTo>
                <a:lnTo>
                  <a:pt x="4583" y="786"/>
                </a:lnTo>
                <a:lnTo>
                  <a:pt x="4598" y="785"/>
                </a:lnTo>
                <a:lnTo>
                  <a:pt x="4598" y="786"/>
                </a:lnTo>
                <a:lnTo>
                  <a:pt x="4597" y="790"/>
                </a:lnTo>
                <a:lnTo>
                  <a:pt x="4598" y="795"/>
                </a:lnTo>
                <a:lnTo>
                  <a:pt x="4596" y="801"/>
                </a:lnTo>
                <a:lnTo>
                  <a:pt x="4597" y="804"/>
                </a:lnTo>
                <a:lnTo>
                  <a:pt x="4604" y="802"/>
                </a:lnTo>
                <a:lnTo>
                  <a:pt x="4605" y="800"/>
                </a:lnTo>
                <a:lnTo>
                  <a:pt x="4607" y="801"/>
                </a:lnTo>
                <a:lnTo>
                  <a:pt x="4609" y="804"/>
                </a:lnTo>
                <a:lnTo>
                  <a:pt x="4609" y="804"/>
                </a:lnTo>
                <a:lnTo>
                  <a:pt x="4609" y="806"/>
                </a:lnTo>
                <a:lnTo>
                  <a:pt x="4604" y="808"/>
                </a:lnTo>
                <a:lnTo>
                  <a:pt x="4605" y="812"/>
                </a:lnTo>
                <a:lnTo>
                  <a:pt x="4616" y="812"/>
                </a:lnTo>
                <a:lnTo>
                  <a:pt x="4619" y="807"/>
                </a:lnTo>
                <a:lnTo>
                  <a:pt x="4621" y="802"/>
                </a:lnTo>
                <a:lnTo>
                  <a:pt x="4622" y="801"/>
                </a:lnTo>
                <a:lnTo>
                  <a:pt x="4622" y="804"/>
                </a:lnTo>
                <a:lnTo>
                  <a:pt x="4621" y="808"/>
                </a:lnTo>
                <a:lnTo>
                  <a:pt x="4619" y="812"/>
                </a:lnTo>
                <a:lnTo>
                  <a:pt x="4623" y="812"/>
                </a:lnTo>
                <a:lnTo>
                  <a:pt x="4624" y="809"/>
                </a:lnTo>
                <a:lnTo>
                  <a:pt x="4624" y="806"/>
                </a:lnTo>
                <a:lnTo>
                  <a:pt x="4628" y="799"/>
                </a:lnTo>
                <a:lnTo>
                  <a:pt x="4626" y="795"/>
                </a:lnTo>
                <a:lnTo>
                  <a:pt x="4633" y="795"/>
                </a:lnTo>
                <a:lnTo>
                  <a:pt x="4635" y="795"/>
                </a:lnTo>
                <a:lnTo>
                  <a:pt x="4638" y="791"/>
                </a:lnTo>
                <a:lnTo>
                  <a:pt x="4646" y="799"/>
                </a:lnTo>
                <a:lnTo>
                  <a:pt x="4646" y="802"/>
                </a:lnTo>
                <a:lnTo>
                  <a:pt x="4651" y="806"/>
                </a:lnTo>
                <a:lnTo>
                  <a:pt x="4660" y="808"/>
                </a:lnTo>
                <a:lnTo>
                  <a:pt x="4658" y="809"/>
                </a:lnTo>
                <a:lnTo>
                  <a:pt x="4657" y="810"/>
                </a:lnTo>
                <a:lnTo>
                  <a:pt x="4660" y="812"/>
                </a:lnTo>
                <a:lnTo>
                  <a:pt x="4662" y="813"/>
                </a:lnTo>
                <a:lnTo>
                  <a:pt x="4662" y="817"/>
                </a:lnTo>
                <a:lnTo>
                  <a:pt x="4662" y="818"/>
                </a:lnTo>
                <a:lnTo>
                  <a:pt x="4662" y="820"/>
                </a:lnTo>
                <a:lnTo>
                  <a:pt x="4654" y="817"/>
                </a:lnTo>
                <a:lnTo>
                  <a:pt x="4662" y="824"/>
                </a:lnTo>
                <a:lnTo>
                  <a:pt x="4664" y="826"/>
                </a:lnTo>
                <a:lnTo>
                  <a:pt x="4661" y="832"/>
                </a:lnTo>
                <a:lnTo>
                  <a:pt x="4666" y="834"/>
                </a:lnTo>
                <a:lnTo>
                  <a:pt x="4666" y="837"/>
                </a:lnTo>
                <a:lnTo>
                  <a:pt x="4664" y="840"/>
                </a:lnTo>
                <a:lnTo>
                  <a:pt x="4664" y="841"/>
                </a:lnTo>
                <a:lnTo>
                  <a:pt x="4660" y="843"/>
                </a:lnTo>
                <a:lnTo>
                  <a:pt x="4654" y="847"/>
                </a:lnTo>
                <a:lnTo>
                  <a:pt x="4654" y="850"/>
                </a:lnTo>
                <a:lnTo>
                  <a:pt x="4655" y="852"/>
                </a:lnTo>
                <a:lnTo>
                  <a:pt x="4657" y="853"/>
                </a:lnTo>
                <a:lnTo>
                  <a:pt x="4654" y="853"/>
                </a:lnTo>
                <a:lnTo>
                  <a:pt x="4654" y="855"/>
                </a:lnTo>
                <a:lnTo>
                  <a:pt x="4654" y="862"/>
                </a:lnTo>
                <a:lnTo>
                  <a:pt x="4652" y="864"/>
                </a:lnTo>
                <a:lnTo>
                  <a:pt x="4650" y="864"/>
                </a:lnTo>
                <a:lnTo>
                  <a:pt x="4650" y="876"/>
                </a:lnTo>
                <a:lnTo>
                  <a:pt x="4653" y="881"/>
                </a:lnTo>
                <a:lnTo>
                  <a:pt x="4655" y="881"/>
                </a:lnTo>
                <a:lnTo>
                  <a:pt x="4652" y="881"/>
                </a:lnTo>
                <a:lnTo>
                  <a:pt x="4650" y="882"/>
                </a:lnTo>
                <a:lnTo>
                  <a:pt x="4651" y="884"/>
                </a:lnTo>
                <a:lnTo>
                  <a:pt x="4652" y="887"/>
                </a:lnTo>
                <a:lnTo>
                  <a:pt x="4649" y="891"/>
                </a:lnTo>
                <a:lnTo>
                  <a:pt x="4646" y="895"/>
                </a:lnTo>
                <a:lnTo>
                  <a:pt x="4646" y="900"/>
                </a:lnTo>
                <a:lnTo>
                  <a:pt x="4647" y="901"/>
                </a:lnTo>
                <a:lnTo>
                  <a:pt x="4649" y="903"/>
                </a:lnTo>
                <a:lnTo>
                  <a:pt x="4647" y="909"/>
                </a:lnTo>
                <a:lnTo>
                  <a:pt x="4641" y="916"/>
                </a:lnTo>
                <a:lnTo>
                  <a:pt x="4635" y="923"/>
                </a:lnTo>
                <a:lnTo>
                  <a:pt x="4631" y="929"/>
                </a:lnTo>
                <a:lnTo>
                  <a:pt x="4627" y="932"/>
                </a:lnTo>
                <a:lnTo>
                  <a:pt x="4624" y="936"/>
                </a:lnTo>
                <a:lnTo>
                  <a:pt x="4623" y="941"/>
                </a:lnTo>
                <a:lnTo>
                  <a:pt x="4621" y="945"/>
                </a:lnTo>
                <a:lnTo>
                  <a:pt x="4619" y="949"/>
                </a:lnTo>
                <a:lnTo>
                  <a:pt x="4617" y="952"/>
                </a:lnTo>
                <a:lnTo>
                  <a:pt x="4593" y="979"/>
                </a:lnTo>
                <a:lnTo>
                  <a:pt x="4591" y="981"/>
                </a:lnTo>
                <a:lnTo>
                  <a:pt x="4590" y="983"/>
                </a:lnTo>
                <a:lnTo>
                  <a:pt x="4584" y="986"/>
                </a:lnTo>
                <a:lnTo>
                  <a:pt x="4582" y="991"/>
                </a:lnTo>
                <a:lnTo>
                  <a:pt x="4578" y="993"/>
                </a:lnTo>
                <a:lnTo>
                  <a:pt x="4578" y="994"/>
                </a:lnTo>
                <a:lnTo>
                  <a:pt x="4578" y="995"/>
                </a:lnTo>
                <a:lnTo>
                  <a:pt x="4578" y="997"/>
                </a:lnTo>
                <a:lnTo>
                  <a:pt x="4575" y="999"/>
                </a:lnTo>
                <a:lnTo>
                  <a:pt x="4573" y="1002"/>
                </a:lnTo>
                <a:lnTo>
                  <a:pt x="4567" y="1005"/>
                </a:lnTo>
                <a:lnTo>
                  <a:pt x="4560" y="1009"/>
                </a:lnTo>
                <a:lnTo>
                  <a:pt x="4557" y="1013"/>
                </a:lnTo>
                <a:lnTo>
                  <a:pt x="4551" y="1015"/>
                </a:lnTo>
                <a:lnTo>
                  <a:pt x="4546" y="1017"/>
                </a:lnTo>
                <a:lnTo>
                  <a:pt x="4542" y="1017"/>
                </a:lnTo>
                <a:lnTo>
                  <a:pt x="4542" y="1014"/>
                </a:lnTo>
                <a:lnTo>
                  <a:pt x="4542" y="1017"/>
                </a:lnTo>
                <a:lnTo>
                  <a:pt x="4541" y="1017"/>
                </a:lnTo>
                <a:lnTo>
                  <a:pt x="4541" y="1017"/>
                </a:lnTo>
                <a:lnTo>
                  <a:pt x="4539" y="1014"/>
                </a:lnTo>
                <a:lnTo>
                  <a:pt x="4537" y="1014"/>
                </a:lnTo>
                <a:lnTo>
                  <a:pt x="4534" y="1013"/>
                </a:lnTo>
                <a:lnTo>
                  <a:pt x="4530" y="1014"/>
                </a:lnTo>
                <a:lnTo>
                  <a:pt x="4530" y="1007"/>
                </a:lnTo>
                <a:lnTo>
                  <a:pt x="4531" y="1005"/>
                </a:lnTo>
                <a:lnTo>
                  <a:pt x="4526" y="1005"/>
                </a:lnTo>
                <a:lnTo>
                  <a:pt x="4519" y="1013"/>
                </a:lnTo>
                <a:lnTo>
                  <a:pt x="4514" y="1014"/>
                </a:lnTo>
                <a:lnTo>
                  <a:pt x="4514" y="1017"/>
                </a:lnTo>
                <a:lnTo>
                  <a:pt x="4513" y="1017"/>
                </a:lnTo>
                <a:lnTo>
                  <a:pt x="4510" y="1016"/>
                </a:lnTo>
                <a:lnTo>
                  <a:pt x="4511" y="1018"/>
                </a:lnTo>
                <a:lnTo>
                  <a:pt x="4513" y="1020"/>
                </a:lnTo>
                <a:lnTo>
                  <a:pt x="4511" y="1022"/>
                </a:lnTo>
                <a:lnTo>
                  <a:pt x="4510" y="1025"/>
                </a:lnTo>
                <a:lnTo>
                  <a:pt x="4510" y="1025"/>
                </a:lnTo>
                <a:lnTo>
                  <a:pt x="4510" y="1025"/>
                </a:lnTo>
                <a:lnTo>
                  <a:pt x="4506" y="1020"/>
                </a:lnTo>
                <a:lnTo>
                  <a:pt x="4506" y="1021"/>
                </a:lnTo>
                <a:lnTo>
                  <a:pt x="4507" y="1023"/>
                </a:lnTo>
                <a:lnTo>
                  <a:pt x="4508" y="1025"/>
                </a:lnTo>
                <a:lnTo>
                  <a:pt x="4505" y="1023"/>
                </a:lnTo>
                <a:lnTo>
                  <a:pt x="4500" y="1029"/>
                </a:lnTo>
                <a:lnTo>
                  <a:pt x="4494" y="1036"/>
                </a:lnTo>
                <a:lnTo>
                  <a:pt x="4494" y="1040"/>
                </a:lnTo>
                <a:lnTo>
                  <a:pt x="4495" y="1040"/>
                </a:lnTo>
                <a:lnTo>
                  <a:pt x="4497" y="1041"/>
                </a:lnTo>
                <a:lnTo>
                  <a:pt x="4496" y="1046"/>
                </a:lnTo>
                <a:lnTo>
                  <a:pt x="4495" y="1051"/>
                </a:lnTo>
                <a:lnTo>
                  <a:pt x="4492" y="1052"/>
                </a:lnTo>
                <a:lnTo>
                  <a:pt x="4489" y="1052"/>
                </a:lnTo>
                <a:lnTo>
                  <a:pt x="4486" y="1056"/>
                </a:lnTo>
                <a:lnTo>
                  <a:pt x="4478" y="1060"/>
                </a:lnTo>
                <a:lnTo>
                  <a:pt x="4478" y="1062"/>
                </a:lnTo>
                <a:lnTo>
                  <a:pt x="4477" y="1065"/>
                </a:lnTo>
                <a:lnTo>
                  <a:pt x="4471" y="1065"/>
                </a:lnTo>
                <a:lnTo>
                  <a:pt x="4470" y="1066"/>
                </a:lnTo>
                <a:lnTo>
                  <a:pt x="4470" y="1067"/>
                </a:lnTo>
                <a:lnTo>
                  <a:pt x="4464" y="1069"/>
                </a:lnTo>
                <a:lnTo>
                  <a:pt x="4465" y="1073"/>
                </a:lnTo>
                <a:lnTo>
                  <a:pt x="4465" y="1077"/>
                </a:lnTo>
                <a:lnTo>
                  <a:pt x="4465" y="1077"/>
                </a:lnTo>
                <a:lnTo>
                  <a:pt x="4465" y="1077"/>
                </a:lnTo>
                <a:lnTo>
                  <a:pt x="4465" y="1077"/>
                </a:lnTo>
                <a:lnTo>
                  <a:pt x="4464" y="1077"/>
                </a:lnTo>
                <a:lnTo>
                  <a:pt x="4461" y="1077"/>
                </a:lnTo>
                <a:lnTo>
                  <a:pt x="4461" y="1079"/>
                </a:lnTo>
                <a:lnTo>
                  <a:pt x="4468" y="1081"/>
                </a:lnTo>
                <a:lnTo>
                  <a:pt x="4472" y="1085"/>
                </a:lnTo>
                <a:lnTo>
                  <a:pt x="4477" y="1089"/>
                </a:lnTo>
                <a:lnTo>
                  <a:pt x="4478" y="1089"/>
                </a:lnTo>
                <a:lnTo>
                  <a:pt x="4478" y="1089"/>
                </a:lnTo>
                <a:lnTo>
                  <a:pt x="4478" y="1089"/>
                </a:lnTo>
                <a:lnTo>
                  <a:pt x="4481" y="1097"/>
                </a:lnTo>
                <a:lnTo>
                  <a:pt x="4485" y="1100"/>
                </a:lnTo>
                <a:lnTo>
                  <a:pt x="4488" y="1104"/>
                </a:lnTo>
                <a:lnTo>
                  <a:pt x="4494" y="1116"/>
                </a:lnTo>
                <a:lnTo>
                  <a:pt x="4494" y="1120"/>
                </a:lnTo>
                <a:lnTo>
                  <a:pt x="4491" y="1131"/>
                </a:lnTo>
                <a:lnTo>
                  <a:pt x="4494" y="1133"/>
                </a:lnTo>
                <a:lnTo>
                  <a:pt x="4494" y="1131"/>
                </a:lnTo>
                <a:lnTo>
                  <a:pt x="4494" y="1139"/>
                </a:lnTo>
                <a:lnTo>
                  <a:pt x="4492" y="1144"/>
                </a:lnTo>
                <a:lnTo>
                  <a:pt x="4489" y="1150"/>
                </a:lnTo>
                <a:lnTo>
                  <a:pt x="4484" y="1150"/>
                </a:lnTo>
                <a:lnTo>
                  <a:pt x="4483" y="1148"/>
                </a:lnTo>
                <a:lnTo>
                  <a:pt x="4481" y="1146"/>
                </a:lnTo>
                <a:lnTo>
                  <a:pt x="4478" y="1149"/>
                </a:lnTo>
                <a:lnTo>
                  <a:pt x="4478" y="1149"/>
                </a:lnTo>
                <a:lnTo>
                  <a:pt x="4477" y="1150"/>
                </a:lnTo>
                <a:lnTo>
                  <a:pt x="4477" y="1150"/>
                </a:lnTo>
                <a:lnTo>
                  <a:pt x="4474" y="1150"/>
                </a:lnTo>
                <a:lnTo>
                  <a:pt x="4473" y="1149"/>
                </a:lnTo>
                <a:lnTo>
                  <a:pt x="4469" y="1150"/>
                </a:lnTo>
                <a:lnTo>
                  <a:pt x="4466" y="1150"/>
                </a:lnTo>
                <a:lnTo>
                  <a:pt x="4466" y="1150"/>
                </a:lnTo>
                <a:lnTo>
                  <a:pt x="4465" y="1150"/>
                </a:lnTo>
                <a:lnTo>
                  <a:pt x="4465" y="1150"/>
                </a:lnTo>
                <a:lnTo>
                  <a:pt x="4465" y="1152"/>
                </a:lnTo>
                <a:lnTo>
                  <a:pt x="4465" y="1152"/>
                </a:lnTo>
                <a:lnTo>
                  <a:pt x="4465" y="1153"/>
                </a:lnTo>
                <a:lnTo>
                  <a:pt x="4465" y="1153"/>
                </a:lnTo>
                <a:lnTo>
                  <a:pt x="4465" y="1155"/>
                </a:lnTo>
                <a:lnTo>
                  <a:pt x="4465" y="1156"/>
                </a:lnTo>
                <a:lnTo>
                  <a:pt x="4464" y="1157"/>
                </a:lnTo>
                <a:lnTo>
                  <a:pt x="4463" y="1158"/>
                </a:lnTo>
                <a:lnTo>
                  <a:pt x="4461" y="1158"/>
                </a:lnTo>
                <a:lnTo>
                  <a:pt x="4461" y="1158"/>
                </a:lnTo>
                <a:lnTo>
                  <a:pt x="4460" y="1158"/>
                </a:lnTo>
                <a:lnTo>
                  <a:pt x="4461" y="1158"/>
                </a:lnTo>
                <a:lnTo>
                  <a:pt x="4460" y="1158"/>
                </a:lnTo>
                <a:lnTo>
                  <a:pt x="4461" y="1157"/>
                </a:lnTo>
                <a:lnTo>
                  <a:pt x="4461" y="1156"/>
                </a:lnTo>
                <a:lnTo>
                  <a:pt x="4461" y="1153"/>
                </a:lnTo>
                <a:lnTo>
                  <a:pt x="4457" y="1156"/>
                </a:lnTo>
                <a:lnTo>
                  <a:pt x="4458" y="1157"/>
                </a:lnTo>
                <a:lnTo>
                  <a:pt x="4457" y="1158"/>
                </a:lnTo>
                <a:lnTo>
                  <a:pt x="4457" y="1157"/>
                </a:lnTo>
                <a:lnTo>
                  <a:pt x="4456" y="1156"/>
                </a:lnTo>
                <a:lnTo>
                  <a:pt x="4453" y="1158"/>
                </a:lnTo>
                <a:lnTo>
                  <a:pt x="4453" y="1158"/>
                </a:lnTo>
                <a:lnTo>
                  <a:pt x="4453" y="1158"/>
                </a:lnTo>
                <a:lnTo>
                  <a:pt x="4452" y="1159"/>
                </a:lnTo>
                <a:lnTo>
                  <a:pt x="4451" y="1159"/>
                </a:lnTo>
                <a:lnTo>
                  <a:pt x="4450" y="1158"/>
                </a:lnTo>
                <a:lnTo>
                  <a:pt x="4450" y="1159"/>
                </a:lnTo>
                <a:lnTo>
                  <a:pt x="4447" y="1162"/>
                </a:lnTo>
                <a:lnTo>
                  <a:pt x="4444" y="1162"/>
                </a:lnTo>
                <a:lnTo>
                  <a:pt x="4448" y="1157"/>
                </a:lnTo>
                <a:lnTo>
                  <a:pt x="4450" y="1157"/>
                </a:lnTo>
                <a:lnTo>
                  <a:pt x="4451" y="1158"/>
                </a:lnTo>
                <a:lnTo>
                  <a:pt x="4452" y="1158"/>
                </a:lnTo>
                <a:lnTo>
                  <a:pt x="4450" y="1154"/>
                </a:lnTo>
                <a:lnTo>
                  <a:pt x="4451" y="1152"/>
                </a:lnTo>
                <a:lnTo>
                  <a:pt x="4449" y="1150"/>
                </a:lnTo>
                <a:lnTo>
                  <a:pt x="4449" y="1149"/>
                </a:lnTo>
                <a:lnTo>
                  <a:pt x="4447" y="1150"/>
                </a:lnTo>
                <a:lnTo>
                  <a:pt x="4445" y="1150"/>
                </a:lnTo>
                <a:lnTo>
                  <a:pt x="4445" y="1148"/>
                </a:lnTo>
                <a:lnTo>
                  <a:pt x="4447" y="1147"/>
                </a:lnTo>
                <a:lnTo>
                  <a:pt x="4449" y="1145"/>
                </a:lnTo>
                <a:lnTo>
                  <a:pt x="4449" y="1142"/>
                </a:lnTo>
                <a:lnTo>
                  <a:pt x="4450" y="1142"/>
                </a:lnTo>
                <a:lnTo>
                  <a:pt x="4451" y="1142"/>
                </a:lnTo>
                <a:lnTo>
                  <a:pt x="4452" y="1140"/>
                </a:lnTo>
                <a:lnTo>
                  <a:pt x="4454" y="1139"/>
                </a:lnTo>
                <a:lnTo>
                  <a:pt x="4452" y="1139"/>
                </a:lnTo>
                <a:lnTo>
                  <a:pt x="4451" y="1139"/>
                </a:lnTo>
                <a:lnTo>
                  <a:pt x="4456" y="1138"/>
                </a:lnTo>
                <a:lnTo>
                  <a:pt x="4449" y="1138"/>
                </a:lnTo>
                <a:lnTo>
                  <a:pt x="4449" y="1133"/>
                </a:lnTo>
                <a:lnTo>
                  <a:pt x="4451" y="1133"/>
                </a:lnTo>
                <a:lnTo>
                  <a:pt x="4452" y="1132"/>
                </a:lnTo>
                <a:lnTo>
                  <a:pt x="4449" y="1130"/>
                </a:lnTo>
                <a:lnTo>
                  <a:pt x="4449" y="1122"/>
                </a:lnTo>
                <a:lnTo>
                  <a:pt x="4449" y="1119"/>
                </a:lnTo>
                <a:lnTo>
                  <a:pt x="4449" y="1116"/>
                </a:lnTo>
                <a:lnTo>
                  <a:pt x="4449" y="1114"/>
                </a:lnTo>
                <a:lnTo>
                  <a:pt x="4449" y="1112"/>
                </a:lnTo>
                <a:lnTo>
                  <a:pt x="4453" y="1113"/>
                </a:lnTo>
                <a:lnTo>
                  <a:pt x="4452" y="1114"/>
                </a:lnTo>
                <a:lnTo>
                  <a:pt x="4451" y="1114"/>
                </a:lnTo>
                <a:lnTo>
                  <a:pt x="4450" y="1114"/>
                </a:lnTo>
                <a:lnTo>
                  <a:pt x="4450" y="1114"/>
                </a:lnTo>
                <a:lnTo>
                  <a:pt x="4450" y="1116"/>
                </a:lnTo>
                <a:lnTo>
                  <a:pt x="4454" y="1116"/>
                </a:lnTo>
                <a:lnTo>
                  <a:pt x="4454" y="1114"/>
                </a:lnTo>
                <a:lnTo>
                  <a:pt x="4454" y="1114"/>
                </a:lnTo>
                <a:lnTo>
                  <a:pt x="4453" y="1113"/>
                </a:lnTo>
                <a:lnTo>
                  <a:pt x="4455" y="1114"/>
                </a:lnTo>
                <a:lnTo>
                  <a:pt x="4455" y="1114"/>
                </a:lnTo>
                <a:lnTo>
                  <a:pt x="4456" y="1112"/>
                </a:lnTo>
                <a:lnTo>
                  <a:pt x="4453" y="1113"/>
                </a:lnTo>
                <a:lnTo>
                  <a:pt x="4452" y="1109"/>
                </a:lnTo>
                <a:lnTo>
                  <a:pt x="4450" y="1104"/>
                </a:lnTo>
                <a:lnTo>
                  <a:pt x="4449" y="1104"/>
                </a:lnTo>
                <a:lnTo>
                  <a:pt x="4449" y="1104"/>
                </a:lnTo>
                <a:lnTo>
                  <a:pt x="4449" y="1103"/>
                </a:lnTo>
                <a:lnTo>
                  <a:pt x="4449" y="1103"/>
                </a:lnTo>
                <a:lnTo>
                  <a:pt x="4448" y="1102"/>
                </a:lnTo>
                <a:lnTo>
                  <a:pt x="4445" y="1104"/>
                </a:lnTo>
                <a:lnTo>
                  <a:pt x="4445" y="1105"/>
                </a:lnTo>
                <a:lnTo>
                  <a:pt x="4441" y="1102"/>
                </a:lnTo>
                <a:lnTo>
                  <a:pt x="4441" y="1104"/>
                </a:lnTo>
                <a:lnTo>
                  <a:pt x="4440" y="1102"/>
                </a:lnTo>
                <a:lnTo>
                  <a:pt x="4439" y="1100"/>
                </a:lnTo>
                <a:lnTo>
                  <a:pt x="4438" y="1099"/>
                </a:lnTo>
                <a:lnTo>
                  <a:pt x="4439" y="1101"/>
                </a:lnTo>
                <a:lnTo>
                  <a:pt x="4439" y="1102"/>
                </a:lnTo>
                <a:lnTo>
                  <a:pt x="4436" y="1104"/>
                </a:lnTo>
                <a:lnTo>
                  <a:pt x="4433" y="1105"/>
                </a:lnTo>
                <a:lnTo>
                  <a:pt x="4436" y="1102"/>
                </a:lnTo>
                <a:lnTo>
                  <a:pt x="4429" y="1101"/>
                </a:lnTo>
                <a:lnTo>
                  <a:pt x="4433" y="1099"/>
                </a:lnTo>
                <a:lnTo>
                  <a:pt x="4428" y="1098"/>
                </a:lnTo>
                <a:lnTo>
                  <a:pt x="4424" y="1098"/>
                </a:lnTo>
                <a:lnTo>
                  <a:pt x="4428" y="1096"/>
                </a:lnTo>
                <a:lnTo>
                  <a:pt x="4428" y="1093"/>
                </a:lnTo>
                <a:lnTo>
                  <a:pt x="4429" y="1091"/>
                </a:lnTo>
                <a:lnTo>
                  <a:pt x="4434" y="1087"/>
                </a:lnTo>
                <a:lnTo>
                  <a:pt x="4433" y="1086"/>
                </a:lnTo>
                <a:lnTo>
                  <a:pt x="4432" y="1086"/>
                </a:lnTo>
                <a:lnTo>
                  <a:pt x="4435" y="1077"/>
                </a:lnTo>
                <a:lnTo>
                  <a:pt x="4433" y="1075"/>
                </a:lnTo>
                <a:lnTo>
                  <a:pt x="4435" y="1073"/>
                </a:lnTo>
                <a:lnTo>
                  <a:pt x="4430" y="1073"/>
                </a:lnTo>
                <a:lnTo>
                  <a:pt x="4427" y="1071"/>
                </a:lnTo>
                <a:lnTo>
                  <a:pt x="4425" y="1069"/>
                </a:lnTo>
                <a:lnTo>
                  <a:pt x="4425" y="1070"/>
                </a:lnTo>
                <a:lnTo>
                  <a:pt x="4425" y="1071"/>
                </a:lnTo>
                <a:lnTo>
                  <a:pt x="4424" y="1071"/>
                </a:lnTo>
                <a:lnTo>
                  <a:pt x="4423" y="1070"/>
                </a:lnTo>
                <a:lnTo>
                  <a:pt x="4422" y="1069"/>
                </a:lnTo>
                <a:lnTo>
                  <a:pt x="4419" y="1065"/>
                </a:lnTo>
                <a:lnTo>
                  <a:pt x="4420" y="1064"/>
                </a:lnTo>
                <a:lnTo>
                  <a:pt x="4421" y="1062"/>
                </a:lnTo>
                <a:lnTo>
                  <a:pt x="4428" y="1056"/>
                </a:lnTo>
                <a:lnTo>
                  <a:pt x="4429" y="1058"/>
                </a:lnTo>
                <a:lnTo>
                  <a:pt x="4429" y="1056"/>
                </a:lnTo>
                <a:lnTo>
                  <a:pt x="4432" y="1054"/>
                </a:lnTo>
                <a:lnTo>
                  <a:pt x="4435" y="1052"/>
                </a:lnTo>
                <a:lnTo>
                  <a:pt x="4437" y="1051"/>
                </a:lnTo>
                <a:lnTo>
                  <a:pt x="4439" y="1049"/>
                </a:lnTo>
                <a:lnTo>
                  <a:pt x="4438" y="1049"/>
                </a:lnTo>
                <a:lnTo>
                  <a:pt x="4435" y="1049"/>
                </a:lnTo>
                <a:lnTo>
                  <a:pt x="4433" y="1049"/>
                </a:lnTo>
                <a:lnTo>
                  <a:pt x="4429" y="1051"/>
                </a:lnTo>
                <a:lnTo>
                  <a:pt x="4425" y="1053"/>
                </a:lnTo>
                <a:lnTo>
                  <a:pt x="4425" y="1053"/>
                </a:lnTo>
                <a:lnTo>
                  <a:pt x="4425" y="1053"/>
                </a:lnTo>
                <a:lnTo>
                  <a:pt x="4423" y="1056"/>
                </a:lnTo>
                <a:lnTo>
                  <a:pt x="4420" y="1059"/>
                </a:lnTo>
                <a:lnTo>
                  <a:pt x="4418" y="1061"/>
                </a:lnTo>
                <a:lnTo>
                  <a:pt x="4417" y="1062"/>
                </a:lnTo>
                <a:lnTo>
                  <a:pt x="4416" y="1064"/>
                </a:lnTo>
                <a:lnTo>
                  <a:pt x="4415" y="1065"/>
                </a:lnTo>
                <a:lnTo>
                  <a:pt x="4409" y="1065"/>
                </a:lnTo>
                <a:lnTo>
                  <a:pt x="4404" y="1067"/>
                </a:lnTo>
                <a:lnTo>
                  <a:pt x="4403" y="1065"/>
                </a:lnTo>
                <a:lnTo>
                  <a:pt x="4402" y="1064"/>
                </a:lnTo>
                <a:lnTo>
                  <a:pt x="4403" y="1068"/>
                </a:lnTo>
                <a:lnTo>
                  <a:pt x="4390" y="1073"/>
                </a:lnTo>
                <a:lnTo>
                  <a:pt x="4383" y="1081"/>
                </a:lnTo>
                <a:lnTo>
                  <a:pt x="4377" y="1081"/>
                </a:lnTo>
                <a:lnTo>
                  <a:pt x="4377" y="1082"/>
                </a:lnTo>
                <a:lnTo>
                  <a:pt x="4369" y="1083"/>
                </a:lnTo>
                <a:lnTo>
                  <a:pt x="4369" y="1080"/>
                </a:lnTo>
                <a:lnTo>
                  <a:pt x="4378" y="1078"/>
                </a:lnTo>
                <a:lnTo>
                  <a:pt x="4378" y="1076"/>
                </a:lnTo>
                <a:lnTo>
                  <a:pt x="4380" y="1074"/>
                </a:lnTo>
                <a:lnTo>
                  <a:pt x="4382" y="1073"/>
                </a:lnTo>
                <a:lnTo>
                  <a:pt x="4378" y="1073"/>
                </a:lnTo>
                <a:lnTo>
                  <a:pt x="4375" y="1072"/>
                </a:lnTo>
                <a:lnTo>
                  <a:pt x="4376" y="1071"/>
                </a:lnTo>
                <a:lnTo>
                  <a:pt x="4372" y="1068"/>
                </a:lnTo>
                <a:lnTo>
                  <a:pt x="4378" y="1067"/>
                </a:lnTo>
                <a:lnTo>
                  <a:pt x="4376" y="1064"/>
                </a:lnTo>
                <a:lnTo>
                  <a:pt x="4383" y="1062"/>
                </a:lnTo>
                <a:lnTo>
                  <a:pt x="4389" y="1053"/>
                </a:lnTo>
                <a:lnTo>
                  <a:pt x="4385" y="1048"/>
                </a:lnTo>
                <a:lnTo>
                  <a:pt x="4372" y="1045"/>
                </a:lnTo>
                <a:lnTo>
                  <a:pt x="4371" y="1047"/>
                </a:lnTo>
                <a:lnTo>
                  <a:pt x="4370" y="1049"/>
                </a:lnTo>
                <a:lnTo>
                  <a:pt x="4368" y="1049"/>
                </a:lnTo>
                <a:lnTo>
                  <a:pt x="4366" y="1049"/>
                </a:lnTo>
                <a:lnTo>
                  <a:pt x="4365" y="1052"/>
                </a:lnTo>
                <a:lnTo>
                  <a:pt x="4363" y="1055"/>
                </a:lnTo>
                <a:lnTo>
                  <a:pt x="4362" y="1057"/>
                </a:lnTo>
                <a:lnTo>
                  <a:pt x="4355" y="1060"/>
                </a:lnTo>
                <a:lnTo>
                  <a:pt x="4349" y="1064"/>
                </a:lnTo>
                <a:lnTo>
                  <a:pt x="4347" y="1065"/>
                </a:lnTo>
                <a:lnTo>
                  <a:pt x="4345" y="1066"/>
                </a:lnTo>
                <a:lnTo>
                  <a:pt x="4345" y="1069"/>
                </a:lnTo>
                <a:lnTo>
                  <a:pt x="4344" y="1072"/>
                </a:lnTo>
                <a:lnTo>
                  <a:pt x="4342" y="1075"/>
                </a:lnTo>
                <a:lnTo>
                  <a:pt x="4334" y="1077"/>
                </a:lnTo>
                <a:lnTo>
                  <a:pt x="4331" y="1079"/>
                </a:lnTo>
                <a:lnTo>
                  <a:pt x="4326" y="1076"/>
                </a:lnTo>
                <a:lnTo>
                  <a:pt x="4323" y="1078"/>
                </a:lnTo>
                <a:lnTo>
                  <a:pt x="4320" y="1086"/>
                </a:lnTo>
                <a:lnTo>
                  <a:pt x="4323" y="1092"/>
                </a:lnTo>
                <a:lnTo>
                  <a:pt x="4325" y="1094"/>
                </a:lnTo>
                <a:lnTo>
                  <a:pt x="4328" y="1098"/>
                </a:lnTo>
                <a:lnTo>
                  <a:pt x="4338" y="1098"/>
                </a:lnTo>
                <a:lnTo>
                  <a:pt x="4340" y="1099"/>
                </a:lnTo>
                <a:lnTo>
                  <a:pt x="4342" y="1100"/>
                </a:lnTo>
                <a:lnTo>
                  <a:pt x="4339" y="1110"/>
                </a:lnTo>
                <a:lnTo>
                  <a:pt x="4342" y="1112"/>
                </a:lnTo>
                <a:lnTo>
                  <a:pt x="4344" y="1114"/>
                </a:lnTo>
                <a:lnTo>
                  <a:pt x="4352" y="1114"/>
                </a:lnTo>
                <a:lnTo>
                  <a:pt x="4353" y="1112"/>
                </a:lnTo>
                <a:lnTo>
                  <a:pt x="4353" y="1111"/>
                </a:lnTo>
                <a:lnTo>
                  <a:pt x="4353" y="1107"/>
                </a:lnTo>
                <a:lnTo>
                  <a:pt x="4366" y="1099"/>
                </a:lnTo>
                <a:lnTo>
                  <a:pt x="4367" y="1100"/>
                </a:lnTo>
                <a:lnTo>
                  <a:pt x="4368" y="1101"/>
                </a:lnTo>
                <a:lnTo>
                  <a:pt x="4370" y="1103"/>
                </a:lnTo>
                <a:lnTo>
                  <a:pt x="4371" y="1105"/>
                </a:lnTo>
                <a:lnTo>
                  <a:pt x="4378" y="1108"/>
                </a:lnTo>
                <a:lnTo>
                  <a:pt x="4385" y="1106"/>
                </a:lnTo>
                <a:lnTo>
                  <a:pt x="4387" y="1110"/>
                </a:lnTo>
                <a:lnTo>
                  <a:pt x="4392" y="1110"/>
                </a:lnTo>
                <a:lnTo>
                  <a:pt x="4394" y="1112"/>
                </a:lnTo>
                <a:lnTo>
                  <a:pt x="4391" y="1112"/>
                </a:lnTo>
                <a:lnTo>
                  <a:pt x="4389" y="1113"/>
                </a:lnTo>
                <a:lnTo>
                  <a:pt x="4389" y="1116"/>
                </a:lnTo>
                <a:lnTo>
                  <a:pt x="4385" y="1117"/>
                </a:lnTo>
                <a:lnTo>
                  <a:pt x="4385" y="1116"/>
                </a:lnTo>
                <a:lnTo>
                  <a:pt x="4384" y="1115"/>
                </a:lnTo>
                <a:lnTo>
                  <a:pt x="4384" y="1114"/>
                </a:lnTo>
                <a:lnTo>
                  <a:pt x="4381" y="1116"/>
                </a:lnTo>
                <a:lnTo>
                  <a:pt x="4378" y="1118"/>
                </a:lnTo>
                <a:lnTo>
                  <a:pt x="4377" y="1118"/>
                </a:lnTo>
                <a:lnTo>
                  <a:pt x="4377" y="1117"/>
                </a:lnTo>
                <a:lnTo>
                  <a:pt x="4374" y="1120"/>
                </a:lnTo>
                <a:lnTo>
                  <a:pt x="4370" y="1122"/>
                </a:lnTo>
                <a:lnTo>
                  <a:pt x="4368" y="1126"/>
                </a:lnTo>
                <a:lnTo>
                  <a:pt x="4367" y="1126"/>
                </a:lnTo>
                <a:lnTo>
                  <a:pt x="4366" y="1126"/>
                </a:lnTo>
                <a:lnTo>
                  <a:pt x="4361" y="1126"/>
                </a:lnTo>
                <a:lnTo>
                  <a:pt x="4361" y="1129"/>
                </a:lnTo>
                <a:lnTo>
                  <a:pt x="4358" y="1131"/>
                </a:lnTo>
                <a:lnTo>
                  <a:pt x="4359" y="1133"/>
                </a:lnTo>
                <a:lnTo>
                  <a:pt x="4356" y="1135"/>
                </a:lnTo>
                <a:lnTo>
                  <a:pt x="4353" y="1137"/>
                </a:lnTo>
                <a:lnTo>
                  <a:pt x="4353" y="1137"/>
                </a:lnTo>
                <a:lnTo>
                  <a:pt x="4352" y="1138"/>
                </a:lnTo>
                <a:lnTo>
                  <a:pt x="4350" y="1139"/>
                </a:lnTo>
                <a:lnTo>
                  <a:pt x="4345" y="1150"/>
                </a:lnTo>
                <a:lnTo>
                  <a:pt x="4344" y="1150"/>
                </a:lnTo>
                <a:lnTo>
                  <a:pt x="4343" y="1151"/>
                </a:lnTo>
                <a:lnTo>
                  <a:pt x="4344" y="1153"/>
                </a:lnTo>
                <a:lnTo>
                  <a:pt x="4346" y="1153"/>
                </a:lnTo>
                <a:lnTo>
                  <a:pt x="4348" y="1154"/>
                </a:lnTo>
                <a:lnTo>
                  <a:pt x="4350" y="1157"/>
                </a:lnTo>
                <a:lnTo>
                  <a:pt x="4358" y="1160"/>
                </a:lnTo>
                <a:lnTo>
                  <a:pt x="4360" y="1172"/>
                </a:lnTo>
                <a:lnTo>
                  <a:pt x="4365" y="1183"/>
                </a:lnTo>
                <a:lnTo>
                  <a:pt x="4365" y="1188"/>
                </a:lnTo>
                <a:lnTo>
                  <a:pt x="4369" y="1191"/>
                </a:lnTo>
                <a:lnTo>
                  <a:pt x="4373" y="1194"/>
                </a:lnTo>
                <a:lnTo>
                  <a:pt x="4373" y="1196"/>
                </a:lnTo>
                <a:lnTo>
                  <a:pt x="4377" y="1198"/>
                </a:lnTo>
                <a:lnTo>
                  <a:pt x="4381" y="1199"/>
                </a:lnTo>
                <a:lnTo>
                  <a:pt x="4381" y="1201"/>
                </a:lnTo>
                <a:lnTo>
                  <a:pt x="4381" y="1203"/>
                </a:lnTo>
                <a:lnTo>
                  <a:pt x="4381" y="1205"/>
                </a:lnTo>
                <a:lnTo>
                  <a:pt x="4378" y="1204"/>
                </a:lnTo>
                <a:lnTo>
                  <a:pt x="4375" y="1202"/>
                </a:lnTo>
                <a:lnTo>
                  <a:pt x="4378" y="1205"/>
                </a:lnTo>
                <a:lnTo>
                  <a:pt x="4381" y="1208"/>
                </a:lnTo>
                <a:lnTo>
                  <a:pt x="4381" y="1208"/>
                </a:lnTo>
                <a:lnTo>
                  <a:pt x="4381" y="1208"/>
                </a:lnTo>
                <a:lnTo>
                  <a:pt x="4377" y="1206"/>
                </a:lnTo>
                <a:lnTo>
                  <a:pt x="4374" y="1205"/>
                </a:lnTo>
                <a:lnTo>
                  <a:pt x="4375" y="1206"/>
                </a:lnTo>
                <a:lnTo>
                  <a:pt x="4372" y="1206"/>
                </a:lnTo>
                <a:lnTo>
                  <a:pt x="4378" y="1210"/>
                </a:lnTo>
                <a:lnTo>
                  <a:pt x="4381" y="1216"/>
                </a:lnTo>
                <a:lnTo>
                  <a:pt x="4381" y="1222"/>
                </a:lnTo>
                <a:lnTo>
                  <a:pt x="4376" y="1222"/>
                </a:lnTo>
                <a:lnTo>
                  <a:pt x="4373" y="1223"/>
                </a:lnTo>
                <a:lnTo>
                  <a:pt x="4370" y="1223"/>
                </a:lnTo>
                <a:lnTo>
                  <a:pt x="4368" y="1226"/>
                </a:lnTo>
                <a:lnTo>
                  <a:pt x="4366" y="1230"/>
                </a:lnTo>
                <a:lnTo>
                  <a:pt x="4363" y="1230"/>
                </a:lnTo>
                <a:lnTo>
                  <a:pt x="4362" y="1230"/>
                </a:lnTo>
                <a:lnTo>
                  <a:pt x="4364" y="1230"/>
                </a:lnTo>
                <a:lnTo>
                  <a:pt x="4366" y="1231"/>
                </a:lnTo>
                <a:lnTo>
                  <a:pt x="4371" y="1229"/>
                </a:lnTo>
                <a:lnTo>
                  <a:pt x="4375" y="1228"/>
                </a:lnTo>
                <a:lnTo>
                  <a:pt x="4377" y="1231"/>
                </a:lnTo>
                <a:lnTo>
                  <a:pt x="4379" y="1234"/>
                </a:lnTo>
                <a:lnTo>
                  <a:pt x="4385" y="1236"/>
                </a:lnTo>
                <a:lnTo>
                  <a:pt x="4385" y="1238"/>
                </a:lnTo>
                <a:lnTo>
                  <a:pt x="4384" y="1238"/>
                </a:lnTo>
                <a:lnTo>
                  <a:pt x="4384" y="1237"/>
                </a:lnTo>
                <a:lnTo>
                  <a:pt x="4384" y="1237"/>
                </a:lnTo>
                <a:lnTo>
                  <a:pt x="4384" y="1238"/>
                </a:lnTo>
                <a:lnTo>
                  <a:pt x="4383" y="1238"/>
                </a:lnTo>
                <a:lnTo>
                  <a:pt x="4384" y="1237"/>
                </a:lnTo>
                <a:lnTo>
                  <a:pt x="4382" y="1239"/>
                </a:lnTo>
                <a:lnTo>
                  <a:pt x="4382" y="1239"/>
                </a:lnTo>
                <a:lnTo>
                  <a:pt x="4383" y="1241"/>
                </a:lnTo>
                <a:lnTo>
                  <a:pt x="4383" y="1243"/>
                </a:lnTo>
                <a:lnTo>
                  <a:pt x="4383" y="1245"/>
                </a:lnTo>
                <a:lnTo>
                  <a:pt x="4382" y="1244"/>
                </a:lnTo>
                <a:lnTo>
                  <a:pt x="4381" y="1242"/>
                </a:lnTo>
                <a:lnTo>
                  <a:pt x="4381" y="1246"/>
                </a:lnTo>
                <a:lnTo>
                  <a:pt x="4379" y="1245"/>
                </a:lnTo>
                <a:lnTo>
                  <a:pt x="4377" y="1244"/>
                </a:lnTo>
                <a:lnTo>
                  <a:pt x="4375" y="1246"/>
                </a:lnTo>
                <a:lnTo>
                  <a:pt x="4377" y="1248"/>
                </a:lnTo>
                <a:lnTo>
                  <a:pt x="4377" y="1250"/>
                </a:lnTo>
                <a:lnTo>
                  <a:pt x="4376" y="1250"/>
                </a:lnTo>
                <a:lnTo>
                  <a:pt x="4379" y="1253"/>
                </a:lnTo>
                <a:lnTo>
                  <a:pt x="4378" y="1254"/>
                </a:lnTo>
                <a:lnTo>
                  <a:pt x="4376" y="1254"/>
                </a:lnTo>
                <a:lnTo>
                  <a:pt x="4379" y="1259"/>
                </a:lnTo>
                <a:lnTo>
                  <a:pt x="4378" y="1260"/>
                </a:lnTo>
                <a:lnTo>
                  <a:pt x="4376" y="1259"/>
                </a:lnTo>
                <a:lnTo>
                  <a:pt x="4374" y="1261"/>
                </a:lnTo>
                <a:lnTo>
                  <a:pt x="4373" y="1263"/>
                </a:lnTo>
                <a:lnTo>
                  <a:pt x="4373" y="1262"/>
                </a:lnTo>
                <a:lnTo>
                  <a:pt x="4373" y="1262"/>
                </a:lnTo>
                <a:lnTo>
                  <a:pt x="4373" y="1261"/>
                </a:lnTo>
                <a:lnTo>
                  <a:pt x="4373" y="1261"/>
                </a:lnTo>
                <a:lnTo>
                  <a:pt x="4372" y="1260"/>
                </a:lnTo>
                <a:lnTo>
                  <a:pt x="4372" y="1261"/>
                </a:lnTo>
                <a:lnTo>
                  <a:pt x="4372" y="1260"/>
                </a:lnTo>
                <a:lnTo>
                  <a:pt x="4370" y="1263"/>
                </a:lnTo>
                <a:lnTo>
                  <a:pt x="4368" y="1266"/>
                </a:lnTo>
                <a:lnTo>
                  <a:pt x="4365" y="1266"/>
                </a:lnTo>
                <a:lnTo>
                  <a:pt x="4365" y="1268"/>
                </a:lnTo>
                <a:lnTo>
                  <a:pt x="4362" y="1271"/>
                </a:lnTo>
                <a:lnTo>
                  <a:pt x="4364" y="1273"/>
                </a:lnTo>
                <a:lnTo>
                  <a:pt x="4364" y="1275"/>
                </a:lnTo>
                <a:lnTo>
                  <a:pt x="4363" y="1276"/>
                </a:lnTo>
                <a:lnTo>
                  <a:pt x="4362" y="1277"/>
                </a:lnTo>
                <a:lnTo>
                  <a:pt x="4361" y="1277"/>
                </a:lnTo>
                <a:lnTo>
                  <a:pt x="4360" y="1278"/>
                </a:lnTo>
                <a:lnTo>
                  <a:pt x="4358" y="1278"/>
                </a:lnTo>
                <a:lnTo>
                  <a:pt x="4362" y="1282"/>
                </a:lnTo>
                <a:lnTo>
                  <a:pt x="4357" y="1282"/>
                </a:lnTo>
                <a:lnTo>
                  <a:pt x="4357" y="1286"/>
                </a:lnTo>
                <a:lnTo>
                  <a:pt x="4357" y="1286"/>
                </a:lnTo>
                <a:lnTo>
                  <a:pt x="4357" y="1286"/>
                </a:lnTo>
                <a:lnTo>
                  <a:pt x="4357" y="1287"/>
                </a:lnTo>
                <a:lnTo>
                  <a:pt x="4355" y="1288"/>
                </a:lnTo>
                <a:lnTo>
                  <a:pt x="4353" y="1288"/>
                </a:lnTo>
                <a:lnTo>
                  <a:pt x="4355" y="1286"/>
                </a:lnTo>
                <a:lnTo>
                  <a:pt x="4353" y="1286"/>
                </a:lnTo>
                <a:lnTo>
                  <a:pt x="4353" y="1287"/>
                </a:lnTo>
                <a:lnTo>
                  <a:pt x="4353" y="1287"/>
                </a:lnTo>
                <a:lnTo>
                  <a:pt x="4353" y="1287"/>
                </a:lnTo>
                <a:lnTo>
                  <a:pt x="4353" y="1286"/>
                </a:lnTo>
                <a:lnTo>
                  <a:pt x="4352" y="1286"/>
                </a:lnTo>
                <a:lnTo>
                  <a:pt x="4351" y="1286"/>
                </a:lnTo>
                <a:lnTo>
                  <a:pt x="4351" y="1286"/>
                </a:lnTo>
                <a:lnTo>
                  <a:pt x="4350" y="1285"/>
                </a:lnTo>
                <a:lnTo>
                  <a:pt x="4349" y="1284"/>
                </a:lnTo>
                <a:lnTo>
                  <a:pt x="4349" y="1290"/>
                </a:lnTo>
                <a:lnTo>
                  <a:pt x="4350" y="1290"/>
                </a:lnTo>
                <a:lnTo>
                  <a:pt x="4349" y="1291"/>
                </a:lnTo>
                <a:lnTo>
                  <a:pt x="4350" y="1292"/>
                </a:lnTo>
                <a:lnTo>
                  <a:pt x="4349" y="1295"/>
                </a:lnTo>
                <a:lnTo>
                  <a:pt x="4349" y="1296"/>
                </a:lnTo>
                <a:lnTo>
                  <a:pt x="4349" y="1295"/>
                </a:lnTo>
                <a:lnTo>
                  <a:pt x="4350" y="1296"/>
                </a:lnTo>
                <a:lnTo>
                  <a:pt x="4350" y="1297"/>
                </a:lnTo>
                <a:lnTo>
                  <a:pt x="4350" y="1298"/>
                </a:lnTo>
                <a:lnTo>
                  <a:pt x="4349" y="1298"/>
                </a:lnTo>
                <a:lnTo>
                  <a:pt x="4349" y="1306"/>
                </a:lnTo>
                <a:lnTo>
                  <a:pt x="4349" y="1306"/>
                </a:lnTo>
                <a:lnTo>
                  <a:pt x="4345" y="1303"/>
                </a:lnTo>
                <a:lnTo>
                  <a:pt x="4344" y="1305"/>
                </a:lnTo>
                <a:lnTo>
                  <a:pt x="4343" y="1307"/>
                </a:lnTo>
                <a:lnTo>
                  <a:pt x="4344" y="1308"/>
                </a:lnTo>
                <a:lnTo>
                  <a:pt x="4345" y="1309"/>
                </a:lnTo>
                <a:lnTo>
                  <a:pt x="4343" y="1310"/>
                </a:lnTo>
                <a:lnTo>
                  <a:pt x="4341" y="1311"/>
                </a:lnTo>
                <a:lnTo>
                  <a:pt x="4341" y="1310"/>
                </a:lnTo>
                <a:lnTo>
                  <a:pt x="4343" y="1310"/>
                </a:lnTo>
                <a:lnTo>
                  <a:pt x="4342" y="1310"/>
                </a:lnTo>
                <a:lnTo>
                  <a:pt x="4341" y="1310"/>
                </a:lnTo>
                <a:lnTo>
                  <a:pt x="4339" y="1311"/>
                </a:lnTo>
                <a:lnTo>
                  <a:pt x="4337" y="1312"/>
                </a:lnTo>
                <a:lnTo>
                  <a:pt x="4339" y="1313"/>
                </a:lnTo>
                <a:lnTo>
                  <a:pt x="4340" y="1314"/>
                </a:lnTo>
                <a:lnTo>
                  <a:pt x="4333" y="1315"/>
                </a:lnTo>
                <a:lnTo>
                  <a:pt x="4333" y="1318"/>
                </a:lnTo>
                <a:lnTo>
                  <a:pt x="4338" y="1318"/>
                </a:lnTo>
                <a:lnTo>
                  <a:pt x="4333" y="1319"/>
                </a:lnTo>
                <a:lnTo>
                  <a:pt x="4333" y="1318"/>
                </a:lnTo>
                <a:lnTo>
                  <a:pt x="4332" y="1319"/>
                </a:lnTo>
                <a:lnTo>
                  <a:pt x="4330" y="1321"/>
                </a:lnTo>
                <a:lnTo>
                  <a:pt x="4328" y="1319"/>
                </a:lnTo>
                <a:lnTo>
                  <a:pt x="4326" y="1322"/>
                </a:lnTo>
                <a:lnTo>
                  <a:pt x="4327" y="1323"/>
                </a:lnTo>
                <a:lnTo>
                  <a:pt x="4328" y="1325"/>
                </a:lnTo>
                <a:lnTo>
                  <a:pt x="4325" y="1327"/>
                </a:lnTo>
                <a:lnTo>
                  <a:pt x="4323" y="1329"/>
                </a:lnTo>
                <a:lnTo>
                  <a:pt x="4324" y="1329"/>
                </a:lnTo>
                <a:lnTo>
                  <a:pt x="4322" y="1330"/>
                </a:lnTo>
                <a:lnTo>
                  <a:pt x="4320" y="1332"/>
                </a:lnTo>
                <a:lnTo>
                  <a:pt x="4318" y="1333"/>
                </a:lnTo>
                <a:lnTo>
                  <a:pt x="4318" y="1334"/>
                </a:lnTo>
                <a:lnTo>
                  <a:pt x="4319" y="1336"/>
                </a:lnTo>
                <a:lnTo>
                  <a:pt x="4317" y="1339"/>
                </a:lnTo>
                <a:lnTo>
                  <a:pt x="4316" y="1339"/>
                </a:lnTo>
                <a:lnTo>
                  <a:pt x="4316" y="1337"/>
                </a:lnTo>
                <a:lnTo>
                  <a:pt x="4316" y="1333"/>
                </a:lnTo>
                <a:lnTo>
                  <a:pt x="4316" y="1333"/>
                </a:lnTo>
                <a:lnTo>
                  <a:pt x="4316" y="1334"/>
                </a:lnTo>
                <a:lnTo>
                  <a:pt x="4315" y="1334"/>
                </a:lnTo>
                <a:lnTo>
                  <a:pt x="4314" y="1336"/>
                </a:lnTo>
                <a:lnTo>
                  <a:pt x="4313" y="1334"/>
                </a:lnTo>
                <a:lnTo>
                  <a:pt x="4311" y="1334"/>
                </a:lnTo>
                <a:lnTo>
                  <a:pt x="4308" y="1341"/>
                </a:lnTo>
                <a:lnTo>
                  <a:pt x="4309" y="1343"/>
                </a:lnTo>
                <a:lnTo>
                  <a:pt x="4301" y="1343"/>
                </a:lnTo>
                <a:lnTo>
                  <a:pt x="4301" y="1346"/>
                </a:lnTo>
                <a:lnTo>
                  <a:pt x="4301" y="1346"/>
                </a:lnTo>
                <a:lnTo>
                  <a:pt x="4301" y="1347"/>
                </a:lnTo>
                <a:lnTo>
                  <a:pt x="4294" y="1349"/>
                </a:lnTo>
                <a:lnTo>
                  <a:pt x="4292" y="1347"/>
                </a:lnTo>
                <a:lnTo>
                  <a:pt x="4289" y="1347"/>
                </a:lnTo>
                <a:lnTo>
                  <a:pt x="4289" y="1351"/>
                </a:lnTo>
                <a:lnTo>
                  <a:pt x="4283" y="1349"/>
                </a:lnTo>
                <a:lnTo>
                  <a:pt x="4277" y="1351"/>
                </a:lnTo>
                <a:lnTo>
                  <a:pt x="4277" y="1349"/>
                </a:lnTo>
                <a:lnTo>
                  <a:pt x="4276" y="1350"/>
                </a:lnTo>
                <a:lnTo>
                  <a:pt x="4275" y="1351"/>
                </a:lnTo>
                <a:lnTo>
                  <a:pt x="4278" y="1355"/>
                </a:lnTo>
                <a:lnTo>
                  <a:pt x="4275" y="1355"/>
                </a:lnTo>
                <a:lnTo>
                  <a:pt x="4275" y="1355"/>
                </a:lnTo>
                <a:lnTo>
                  <a:pt x="4274" y="1355"/>
                </a:lnTo>
                <a:lnTo>
                  <a:pt x="4269" y="1356"/>
                </a:lnTo>
                <a:lnTo>
                  <a:pt x="4269" y="1357"/>
                </a:lnTo>
                <a:lnTo>
                  <a:pt x="4266" y="1357"/>
                </a:lnTo>
                <a:lnTo>
                  <a:pt x="4269" y="1356"/>
                </a:lnTo>
                <a:lnTo>
                  <a:pt x="4270" y="1355"/>
                </a:lnTo>
                <a:lnTo>
                  <a:pt x="4266" y="1355"/>
                </a:lnTo>
                <a:lnTo>
                  <a:pt x="4264" y="1350"/>
                </a:lnTo>
                <a:lnTo>
                  <a:pt x="4263" y="1348"/>
                </a:lnTo>
                <a:lnTo>
                  <a:pt x="4261" y="1347"/>
                </a:lnTo>
                <a:lnTo>
                  <a:pt x="4257" y="1344"/>
                </a:lnTo>
                <a:lnTo>
                  <a:pt x="4257" y="1347"/>
                </a:lnTo>
                <a:lnTo>
                  <a:pt x="4260" y="1347"/>
                </a:lnTo>
                <a:lnTo>
                  <a:pt x="4258" y="1350"/>
                </a:lnTo>
                <a:lnTo>
                  <a:pt x="4257" y="1353"/>
                </a:lnTo>
                <a:lnTo>
                  <a:pt x="4257" y="1357"/>
                </a:lnTo>
                <a:lnTo>
                  <a:pt x="4257" y="1363"/>
                </a:lnTo>
                <a:lnTo>
                  <a:pt x="4257" y="1363"/>
                </a:lnTo>
                <a:lnTo>
                  <a:pt x="4253" y="1363"/>
                </a:lnTo>
                <a:lnTo>
                  <a:pt x="4253" y="1357"/>
                </a:lnTo>
                <a:lnTo>
                  <a:pt x="4252" y="1362"/>
                </a:lnTo>
                <a:lnTo>
                  <a:pt x="4252" y="1362"/>
                </a:lnTo>
                <a:lnTo>
                  <a:pt x="4250" y="1364"/>
                </a:lnTo>
                <a:lnTo>
                  <a:pt x="4248" y="1365"/>
                </a:lnTo>
                <a:lnTo>
                  <a:pt x="4248" y="1365"/>
                </a:lnTo>
                <a:lnTo>
                  <a:pt x="4247" y="1364"/>
                </a:lnTo>
                <a:lnTo>
                  <a:pt x="4246" y="1365"/>
                </a:lnTo>
                <a:lnTo>
                  <a:pt x="4245" y="1365"/>
                </a:lnTo>
                <a:lnTo>
                  <a:pt x="4241" y="1364"/>
                </a:lnTo>
                <a:lnTo>
                  <a:pt x="4238" y="1362"/>
                </a:lnTo>
                <a:lnTo>
                  <a:pt x="4238" y="1364"/>
                </a:lnTo>
                <a:lnTo>
                  <a:pt x="4239" y="1365"/>
                </a:lnTo>
                <a:lnTo>
                  <a:pt x="4238" y="1366"/>
                </a:lnTo>
                <a:lnTo>
                  <a:pt x="4238" y="1368"/>
                </a:lnTo>
                <a:lnTo>
                  <a:pt x="4234" y="1364"/>
                </a:lnTo>
                <a:lnTo>
                  <a:pt x="4236" y="1368"/>
                </a:lnTo>
                <a:lnTo>
                  <a:pt x="4234" y="1369"/>
                </a:lnTo>
                <a:lnTo>
                  <a:pt x="4230" y="1370"/>
                </a:lnTo>
                <a:lnTo>
                  <a:pt x="4226" y="1371"/>
                </a:lnTo>
                <a:lnTo>
                  <a:pt x="4226" y="1370"/>
                </a:lnTo>
                <a:lnTo>
                  <a:pt x="4226" y="1370"/>
                </a:lnTo>
                <a:lnTo>
                  <a:pt x="4226" y="1370"/>
                </a:lnTo>
                <a:lnTo>
                  <a:pt x="4226" y="1371"/>
                </a:lnTo>
                <a:lnTo>
                  <a:pt x="4225" y="1371"/>
                </a:lnTo>
                <a:lnTo>
                  <a:pt x="4225" y="1369"/>
                </a:lnTo>
                <a:lnTo>
                  <a:pt x="4222" y="1371"/>
                </a:lnTo>
                <a:lnTo>
                  <a:pt x="4216" y="1371"/>
                </a:lnTo>
                <a:lnTo>
                  <a:pt x="4216" y="1374"/>
                </a:lnTo>
                <a:lnTo>
                  <a:pt x="4217" y="1375"/>
                </a:lnTo>
                <a:lnTo>
                  <a:pt x="4216" y="1374"/>
                </a:lnTo>
                <a:lnTo>
                  <a:pt x="4214" y="1374"/>
                </a:lnTo>
                <a:lnTo>
                  <a:pt x="4211" y="1375"/>
                </a:lnTo>
                <a:lnTo>
                  <a:pt x="4208" y="1376"/>
                </a:lnTo>
                <a:lnTo>
                  <a:pt x="4208" y="1383"/>
                </a:lnTo>
                <a:lnTo>
                  <a:pt x="4212" y="1383"/>
                </a:lnTo>
                <a:lnTo>
                  <a:pt x="4212" y="1382"/>
                </a:lnTo>
                <a:lnTo>
                  <a:pt x="4217" y="1387"/>
                </a:lnTo>
                <a:lnTo>
                  <a:pt x="4214" y="1391"/>
                </a:lnTo>
                <a:lnTo>
                  <a:pt x="4210" y="1391"/>
                </a:lnTo>
                <a:lnTo>
                  <a:pt x="4204" y="1391"/>
                </a:lnTo>
                <a:lnTo>
                  <a:pt x="4204" y="1387"/>
                </a:lnTo>
                <a:lnTo>
                  <a:pt x="4207" y="1386"/>
                </a:lnTo>
                <a:lnTo>
                  <a:pt x="4210" y="1385"/>
                </a:lnTo>
                <a:lnTo>
                  <a:pt x="4206" y="1382"/>
                </a:lnTo>
                <a:lnTo>
                  <a:pt x="4205" y="1381"/>
                </a:lnTo>
                <a:lnTo>
                  <a:pt x="4205" y="1379"/>
                </a:lnTo>
                <a:lnTo>
                  <a:pt x="4205" y="1376"/>
                </a:lnTo>
                <a:lnTo>
                  <a:pt x="4206" y="1373"/>
                </a:lnTo>
                <a:lnTo>
                  <a:pt x="4210" y="1371"/>
                </a:lnTo>
                <a:lnTo>
                  <a:pt x="4206" y="1371"/>
                </a:lnTo>
                <a:lnTo>
                  <a:pt x="4205" y="1371"/>
                </a:lnTo>
                <a:lnTo>
                  <a:pt x="4200" y="1365"/>
                </a:lnTo>
                <a:lnTo>
                  <a:pt x="4200" y="1368"/>
                </a:lnTo>
                <a:lnTo>
                  <a:pt x="4200" y="1369"/>
                </a:lnTo>
                <a:lnTo>
                  <a:pt x="4193" y="1370"/>
                </a:lnTo>
                <a:lnTo>
                  <a:pt x="4193" y="1371"/>
                </a:lnTo>
                <a:lnTo>
                  <a:pt x="4192" y="1371"/>
                </a:lnTo>
                <a:lnTo>
                  <a:pt x="4192" y="1371"/>
                </a:lnTo>
                <a:lnTo>
                  <a:pt x="4192" y="1371"/>
                </a:lnTo>
                <a:lnTo>
                  <a:pt x="4192" y="1370"/>
                </a:lnTo>
                <a:lnTo>
                  <a:pt x="4192" y="1367"/>
                </a:lnTo>
                <a:lnTo>
                  <a:pt x="4192" y="1367"/>
                </a:lnTo>
                <a:lnTo>
                  <a:pt x="4191" y="1365"/>
                </a:lnTo>
                <a:lnTo>
                  <a:pt x="4191" y="1365"/>
                </a:lnTo>
                <a:lnTo>
                  <a:pt x="4191" y="1363"/>
                </a:lnTo>
                <a:lnTo>
                  <a:pt x="4184" y="1363"/>
                </a:lnTo>
                <a:lnTo>
                  <a:pt x="4184" y="1364"/>
                </a:lnTo>
                <a:lnTo>
                  <a:pt x="4186" y="1364"/>
                </a:lnTo>
                <a:lnTo>
                  <a:pt x="4188" y="1365"/>
                </a:lnTo>
                <a:lnTo>
                  <a:pt x="4188" y="1366"/>
                </a:lnTo>
                <a:lnTo>
                  <a:pt x="4187" y="1367"/>
                </a:lnTo>
                <a:lnTo>
                  <a:pt x="4186" y="1366"/>
                </a:lnTo>
                <a:lnTo>
                  <a:pt x="4186" y="1365"/>
                </a:lnTo>
                <a:lnTo>
                  <a:pt x="4185" y="1366"/>
                </a:lnTo>
                <a:lnTo>
                  <a:pt x="4185" y="1367"/>
                </a:lnTo>
                <a:lnTo>
                  <a:pt x="4184" y="1367"/>
                </a:lnTo>
                <a:lnTo>
                  <a:pt x="4184" y="1368"/>
                </a:lnTo>
                <a:lnTo>
                  <a:pt x="4180" y="1369"/>
                </a:lnTo>
                <a:lnTo>
                  <a:pt x="4181" y="1369"/>
                </a:lnTo>
                <a:lnTo>
                  <a:pt x="4180" y="1370"/>
                </a:lnTo>
                <a:lnTo>
                  <a:pt x="4180" y="1370"/>
                </a:lnTo>
                <a:lnTo>
                  <a:pt x="4178" y="1371"/>
                </a:lnTo>
                <a:lnTo>
                  <a:pt x="4177" y="1371"/>
                </a:lnTo>
                <a:lnTo>
                  <a:pt x="4176" y="1371"/>
                </a:lnTo>
                <a:lnTo>
                  <a:pt x="4175" y="1371"/>
                </a:lnTo>
                <a:lnTo>
                  <a:pt x="4174" y="1371"/>
                </a:lnTo>
                <a:lnTo>
                  <a:pt x="4175" y="1371"/>
                </a:lnTo>
                <a:lnTo>
                  <a:pt x="4172" y="1373"/>
                </a:lnTo>
                <a:lnTo>
                  <a:pt x="4172" y="1373"/>
                </a:lnTo>
                <a:lnTo>
                  <a:pt x="4171" y="1375"/>
                </a:lnTo>
                <a:lnTo>
                  <a:pt x="4169" y="1376"/>
                </a:lnTo>
                <a:lnTo>
                  <a:pt x="4168" y="1377"/>
                </a:lnTo>
                <a:lnTo>
                  <a:pt x="4168" y="1376"/>
                </a:lnTo>
                <a:lnTo>
                  <a:pt x="4167" y="1375"/>
                </a:lnTo>
                <a:lnTo>
                  <a:pt x="4164" y="1375"/>
                </a:lnTo>
                <a:lnTo>
                  <a:pt x="4164" y="1379"/>
                </a:lnTo>
                <a:lnTo>
                  <a:pt x="4163" y="1379"/>
                </a:lnTo>
                <a:lnTo>
                  <a:pt x="4162" y="1379"/>
                </a:lnTo>
                <a:lnTo>
                  <a:pt x="4163" y="1381"/>
                </a:lnTo>
                <a:lnTo>
                  <a:pt x="4163" y="1383"/>
                </a:lnTo>
                <a:lnTo>
                  <a:pt x="4160" y="1383"/>
                </a:lnTo>
                <a:lnTo>
                  <a:pt x="4160" y="1386"/>
                </a:lnTo>
                <a:lnTo>
                  <a:pt x="4150" y="1392"/>
                </a:lnTo>
                <a:lnTo>
                  <a:pt x="4149" y="1394"/>
                </a:lnTo>
                <a:lnTo>
                  <a:pt x="4148" y="1397"/>
                </a:lnTo>
                <a:lnTo>
                  <a:pt x="4148" y="1401"/>
                </a:lnTo>
                <a:lnTo>
                  <a:pt x="4147" y="1404"/>
                </a:lnTo>
                <a:lnTo>
                  <a:pt x="4146" y="1406"/>
                </a:lnTo>
                <a:lnTo>
                  <a:pt x="4151" y="1416"/>
                </a:lnTo>
                <a:lnTo>
                  <a:pt x="4155" y="1419"/>
                </a:lnTo>
                <a:lnTo>
                  <a:pt x="4159" y="1423"/>
                </a:lnTo>
                <a:lnTo>
                  <a:pt x="4158" y="1425"/>
                </a:lnTo>
                <a:lnTo>
                  <a:pt x="4157" y="1427"/>
                </a:lnTo>
                <a:lnTo>
                  <a:pt x="4162" y="1432"/>
                </a:lnTo>
                <a:lnTo>
                  <a:pt x="4165" y="1434"/>
                </a:lnTo>
                <a:lnTo>
                  <a:pt x="4168" y="1435"/>
                </a:lnTo>
                <a:lnTo>
                  <a:pt x="4168" y="1439"/>
                </a:lnTo>
                <a:lnTo>
                  <a:pt x="4174" y="1447"/>
                </a:lnTo>
                <a:lnTo>
                  <a:pt x="4175" y="1446"/>
                </a:lnTo>
                <a:lnTo>
                  <a:pt x="4177" y="1446"/>
                </a:lnTo>
                <a:lnTo>
                  <a:pt x="4178" y="1451"/>
                </a:lnTo>
                <a:lnTo>
                  <a:pt x="4181" y="1451"/>
                </a:lnTo>
                <a:lnTo>
                  <a:pt x="4183" y="1450"/>
                </a:lnTo>
                <a:lnTo>
                  <a:pt x="4184" y="1450"/>
                </a:lnTo>
                <a:lnTo>
                  <a:pt x="4184" y="1449"/>
                </a:lnTo>
                <a:lnTo>
                  <a:pt x="4184" y="1449"/>
                </a:lnTo>
                <a:lnTo>
                  <a:pt x="4185" y="1451"/>
                </a:lnTo>
                <a:lnTo>
                  <a:pt x="4184" y="1451"/>
                </a:lnTo>
                <a:lnTo>
                  <a:pt x="4184" y="1451"/>
                </a:lnTo>
                <a:lnTo>
                  <a:pt x="4185" y="1453"/>
                </a:lnTo>
                <a:lnTo>
                  <a:pt x="4191" y="1463"/>
                </a:lnTo>
                <a:lnTo>
                  <a:pt x="4192" y="1463"/>
                </a:lnTo>
                <a:lnTo>
                  <a:pt x="4194" y="1474"/>
                </a:lnTo>
                <a:lnTo>
                  <a:pt x="4196" y="1486"/>
                </a:lnTo>
                <a:lnTo>
                  <a:pt x="4196" y="1486"/>
                </a:lnTo>
                <a:lnTo>
                  <a:pt x="4198" y="1486"/>
                </a:lnTo>
                <a:lnTo>
                  <a:pt x="4199" y="1487"/>
                </a:lnTo>
                <a:lnTo>
                  <a:pt x="4199" y="1487"/>
                </a:lnTo>
                <a:lnTo>
                  <a:pt x="4196" y="1487"/>
                </a:lnTo>
                <a:lnTo>
                  <a:pt x="4196" y="1492"/>
                </a:lnTo>
                <a:lnTo>
                  <a:pt x="4201" y="1501"/>
                </a:lnTo>
                <a:lnTo>
                  <a:pt x="4199" y="1504"/>
                </a:lnTo>
                <a:lnTo>
                  <a:pt x="4199" y="1506"/>
                </a:lnTo>
                <a:lnTo>
                  <a:pt x="4199" y="1509"/>
                </a:lnTo>
                <a:lnTo>
                  <a:pt x="4198" y="1508"/>
                </a:lnTo>
                <a:lnTo>
                  <a:pt x="4197" y="1508"/>
                </a:lnTo>
                <a:lnTo>
                  <a:pt x="4198" y="1514"/>
                </a:lnTo>
                <a:lnTo>
                  <a:pt x="4197" y="1515"/>
                </a:lnTo>
                <a:lnTo>
                  <a:pt x="4196" y="1515"/>
                </a:lnTo>
                <a:lnTo>
                  <a:pt x="4196" y="1515"/>
                </a:lnTo>
                <a:lnTo>
                  <a:pt x="4197" y="1515"/>
                </a:lnTo>
                <a:lnTo>
                  <a:pt x="4197" y="1516"/>
                </a:lnTo>
                <a:lnTo>
                  <a:pt x="4199" y="1519"/>
                </a:lnTo>
                <a:lnTo>
                  <a:pt x="4197" y="1523"/>
                </a:lnTo>
                <a:lnTo>
                  <a:pt x="4192" y="1523"/>
                </a:lnTo>
                <a:lnTo>
                  <a:pt x="4192" y="1527"/>
                </a:lnTo>
                <a:lnTo>
                  <a:pt x="4192" y="1527"/>
                </a:lnTo>
                <a:lnTo>
                  <a:pt x="4182" y="1533"/>
                </a:lnTo>
                <a:lnTo>
                  <a:pt x="4181" y="1535"/>
                </a:lnTo>
                <a:lnTo>
                  <a:pt x="4178" y="1535"/>
                </a:lnTo>
                <a:lnTo>
                  <a:pt x="4173" y="1537"/>
                </a:lnTo>
                <a:lnTo>
                  <a:pt x="4169" y="1539"/>
                </a:lnTo>
                <a:lnTo>
                  <a:pt x="4167" y="1538"/>
                </a:lnTo>
                <a:lnTo>
                  <a:pt x="4167" y="1537"/>
                </a:lnTo>
                <a:lnTo>
                  <a:pt x="4164" y="1536"/>
                </a:lnTo>
                <a:lnTo>
                  <a:pt x="4164" y="1535"/>
                </a:lnTo>
                <a:lnTo>
                  <a:pt x="4160" y="1533"/>
                </a:lnTo>
                <a:lnTo>
                  <a:pt x="4160" y="1536"/>
                </a:lnTo>
                <a:lnTo>
                  <a:pt x="4162" y="1540"/>
                </a:lnTo>
                <a:lnTo>
                  <a:pt x="4163" y="1543"/>
                </a:lnTo>
                <a:lnTo>
                  <a:pt x="4160" y="1543"/>
                </a:lnTo>
                <a:lnTo>
                  <a:pt x="4160" y="1544"/>
                </a:lnTo>
                <a:lnTo>
                  <a:pt x="4160" y="1544"/>
                </a:lnTo>
                <a:lnTo>
                  <a:pt x="4162" y="1544"/>
                </a:lnTo>
                <a:lnTo>
                  <a:pt x="4162" y="1545"/>
                </a:lnTo>
                <a:lnTo>
                  <a:pt x="4162" y="1545"/>
                </a:lnTo>
                <a:lnTo>
                  <a:pt x="4161" y="1547"/>
                </a:lnTo>
                <a:lnTo>
                  <a:pt x="4158" y="1543"/>
                </a:lnTo>
                <a:lnTo>
                  <a:pt x="4157" y="1543"/>
                </a:lnTo>
                <a:lnTo>
                  <a:pt x="4157" y="1543"/>
                </a:lnTo>
                <a:lnTo>
                  <a:pt x="4157" y="1544"/>
                </a:lnTo>
                <a:lnTo>
                  <a:pt x="4160" y="1548"/>
                </a:lnTo>
                <a:lnTo>
                  <a:pt x="4160" y="1550"/>
                </a:lnTo>
                <a:lnTo>
                  <a:pt x="4156" y="1551"/>
                </a:lnTo>
                <a:lnTo>
                  <a:pt x="4152" y="1548"/>
                </a:lnTo>
                <a:lnTo>
                  <a:pt x="4148" y="1544"/>
                </a:lnTo>
                <a:lnTo>
                  <a:pt x="4152" y="1550"/>
                </a:lnTo>
                <a:lnTo>
                  <a:pt x="4152" y="1553"/>
                </a:lnTo>
                <a:lnTo>
                  <a:pt x="4143" y="1556"/>
                </a:lnTo>
                <a:lnTo>
                  <a:pt x="4143" y="1560"/>
                </a:lnTo>
                <a:lnTo>
                  <a:pt x="4141" y="1563"/>
                </a:lnTo>
                <a:lnTo>
                  <a:pt x="4140" y="1565"/>
                </a:lnTo>
                <a:lnTo>
                  <a:pt x="4138" y="1567"/>
                </a:lnTo>
                <a:lnTo>
                  <a:pt x="4134" y="1567"/>
                </a:lnTo>
                <a:lnTo>
                  <a:pt x="4135" y="1565"/>
                </a:lnTo>
                <a:lnTo>
                  <a:pt x="4135" y="1563"/>
                </a:lnTo>
                <a:lnTo>
                  <a:pt x="4132" y="1562"/>
                </a:lnTo>
                <a:lnTo>
                  <a:pt x="4132" y="1548"/>
                </a:lnTo>
                <a:lnTo>
                  <a:pt x="4135" y="1546"/>
                </a:lnTo>
                <a:lnTo>
                  <a:pt x="4138" y="1545"/>
                </a:lnTo>
                <a:lnTo>
                  <a:pt x="4139" y="1546"/>
                </a:lnTo>
                <a:lnTo>
                  <a:pt x="4140" y="1547"/>
                </a:lnTo>
                <a:lnTo>
                  <a:pt x="4140" y="1545"/>
                </a:lnTo>
                <a:lnTo>
                  <a:pt x="4135" y="1540"/>
                </a:lnTo>
                <a:lnTo>
                  <a:pt x="4134" y="1541"/>
                </a:lnTo>
                <a:lnTo>
                  <a:pt x="4133" y="1542"/>
                </a:lnTo>
                <a:lnTo>
                  <a:pt x="4131" y="1540"/>
                </a:lnTo>
                <a:lnTo>
                  <a:pt x="4130" y="1539"/>
                </a:lnTo>
                <a:lnTo>
                  <a:pt x="4131" y="1538"/>
                </a:lnTo>
                <a:lnTo>
                  <a:pt x="4133" y="1536"/>
                </a:lnTo>
                <a:lnTo>
                  <a:pt x="4135" y="1536"/>
                </a:lnTo>
                <a:lnTo>
                  <a:pt x="4136" y="1535"/>
                </a:lnTo>
                <a:lnTo>
                  <a:pt x="4136" y="1534"/>
                </a:lnTo>
                <a:lnTo>
                  <a:pt x="4136" y="1533"/>
                </a:lnTo>
                <a:lnTo>
                  <a:pt x="4136" y="1532"/>
                </a:lnTo>
                <a:lnTo>
                  <a:pt x="4135" y="1534"/>
                </a:lnTo>
                <a:lnTo>
                  <a:pt x="4133" y="1535"/>
                </a:lnTo>
                <a:lnTo>
                  <a:pt x="4130" y="1535"/>
                </a:lnTo>
                <a:lnTo>
                  <a:pt x="4128" y="1538"/>
                </a:lnTo>
                <a:lnTo>
                  <a:pt x="4128" y="1538"/>
                </a:lnTo>
                <a:lnTo>
                  <a:pt x="4128" y="1538"/>
                </a:lnTo>
                <a:lnTo>
                  <a:pt x="4125" y="1535"/>
                </a:lnTo>
                <a:lnTo>
                  <a:pt x="4122" y="1535"/>
                </a:lnTo>
                <a:lnTo>
                  <a:pt x="4116" y="1536"/>
                </a:lnTo>
                <a:lnTo>
                  <a:pt x="4113" y="1534"/>
                </a:lnTo>
                <a:lnTo>
                  <a:pt x="4116" y="1532"/>
                </a:lnTo>
                <a:lnTo>
                  <a:pt x="4116" y="1530"/>
                </a:lnTo>
                <a:lnTo>
                  <a:pt x="4113" y="1527"/>
                </a:lnTo>
                <a:lnTo>
                  <a:pt x="4113" y="1531"/>
                </a:lnTo>
                <a:lnTo>
                  <a:pt x="4110" y="1531"/>
                </a:lnTo>
                <a:lnTo>
                  <a:pt x="4108" y="1524"/>
                </a:lnTo>
                <a:lnTo>
                  <a:pt x="4106" y="1519"/>
                </a:lnTo>
                <a:lnTo>
                  <a:pt x="4106" y="1519"/>
                </a:lnTo>
                <a:lnTo>
                  <a:pt x="4105" y="1519"/>
                </a:lnTo>
                <a:lnTo>
                  <a:pt x="4104" y="1519"/>
                </a:lnTo>
                <a:lnTo>
                  <a:pt x="4104" y="1517"/>
                </a:lnTo>
                <a:lnTo>
                  <a:pt x="4105" y="1518"/>
                </a:lnTo>
                <a:lnTo>
                  <a:pt x="4106" y="1518"/>
                </a:lnTo>
                <a:lnTo>
                  <a:pt x="4105" y="1515"/>
                </a:lnTo>
                <a:lnTo>
                  <a:pt x="4105" y="1516"/>
                </a:lnTo>
                <a:lnTo>
                  <a:pt x="4104" y="1517"/>
                </a:lnTo>
                <a:lnTo>
                  <a:pt x="4104" y="1517"/>
                </a:lnTo>
                <a:lnTo>
                  <a:pt x="4104" y="1516"/>
                </a:lnTo>
                <a:lnTo>
                  <a:pt x="4103" y="1511"/>
                </a:lnTo>
                <a:lnTo>
                  <a:pt x="4101" y="1511"/>
                </a:lnTo>
                <a:lnTo>
                  <a:pt x="4100" y="1511"/>
                </a:lnTo>
                <a:lnTo>
                  <a:pt x="4100" y="1511"/>
                </a:lnTo>
                <a:lnTo>
                  <a:pt x="4097" y="1511"/>
                </a:lnTo>
                <a:lnTo>
                  <a:pt x="4096" y="1509"/>
                </a:lnTo>
                <a:lnTo>
                  <a:pt x="4096" y="1507"/>
                </a:lnTo>
                <a:lnTo>
                  <a:pt x="4093" y="1507"/>
                </a:lnTo>
                <a:lnTo>
                  <a:pt x="4090" y="1504"/>
                </a:lnTo>
                <a:lnTo>
                  <a:pt x="4085" y="1507"/>
                </a:lnTo>
                <a:lnTo>
                  <a:pt x="4081" y="1507"/>
                </a:lnTo>
                <a:lnTo>
                  <a:pt x="4080" y="1506"/>
                </a:lnTo>
                <a:lnTo>
                  <a:pt x="4080" y="1506"/>
                </a:lnTo>
                <a:lnTo>
                  <a:pt x="4080" y="1506"/>
                </a:lnTo>
                <a:lnTo>
                  <a:pt x="4079" y="1505"/>
                </a:lnTo>
                <a:lnTo>
                  <a:pt x="4078" y="1504"/>
                </a:lnTo>
                <a:lnTo>
                  <a:pt x="4078" y="1498"/>
                </a:lnTo>
                <a:lnTo>
                  <a:pt x="4079" y="1491"/>
                </a:lnTo>
                <a:lnTo>
                  <a:pt x="4073" y="1491"/>
                </a:lnTo>
                <a:lnTo>
                  <a:pt x="4066" y="1493"/>
                </a:lnTo>
                <a:lnTo>
                  <a:pt x="4065" y="1495"/>
                </a:lnTo>
                <a:lnTo>
                  <a:pt x="4066" y="1497"/>
                </a:lnTo>
                <a:lnTo>
                  <a:pt x="4064" y="1504"/>
                </a:lnTo>
                <a:lnTo>
                  <a:pt x="4064" y="1511"/>
                </a:lnTo>
                <a:lnTo>
                  <a:pt x="4058" y="1522"/>
                </a:lnTo>
                <a:lnTo>
                  <a:pt x="4056" y="1531"/>
                </a:lnTo>
                <a:lnTo>
                  <a:pt x="4048" y="1539"/>
                </a:lnTo>
                <a:lnTo>
                  <a:pt x="4048" y="1549"/>
                </a:lnTo>
                <a:lnTo>
                  <a:pt x="4053" y="1555"/>
                </a:lnTo>
                <a:lnTo>
                  <a:pt x="4055" y="1555"/>
                </a:lnTo>
                <a:lnTo>
                  <a:pt x="4054" y="1556"/>
                </a:lnTo>
                <a:lnTo>
                  <a:pt x="4056" y="1557"/>
                </a:lnTo>
                <a:lnTo>
                  <a:pt x="4063" y="1556"/>
                </a:lnTo>
                <a:lnTo>
                  <a:pt x="4066" y="1568"/>
                </a:lnTo>
                <a:lnTo>
                  <a:pt x="4066" y="1571"/>
                </a:lnTo>
                <a:lnTo>
                  <a:pt x="4067" y="1571"/>
                </a:lnTo>
                <a:lnTo>
                  <a:pt x="4069" y="1579"/>
                </a:lnTo>
                <a:lnTo>
                  <a:pt x="4067" y="1579"/>
                </a:lnTo>
                <a:lnTo>
                  <a:pt x="4066" y="1579"/>
                </a:lnTo>
                <a:lnTo>
                  <a:pt x="4067" y="1584"/>
                </a:lnTo>
                <a:lnTo>
                  <a:pt x="4071" y="1588"/>
                </a:lnTo>
                <a:lnTo>
                  <a:pt x="4073" y="1588"/>
                </a:lnTo>
                <a:lnTo>
                  <a:pt x="4074" y="1588"/>
                </a:lnTo>
                <a:lnTo>
                  <a:pt x="4075" y="1590"/>
                </a:lnTo>
                <a:lnTo>
                  <a:pt x="4077" y="1592"/>
                </a:lnTo>
                <a:lnTo>
                  <a:pt x="4079" y="1596"/>
                </a:lnTo>
                <a:lnTo>
                  <a:pt x="4084" y="1596"/>
                </a:lnTo>
                <a:lnTo>
                  <a:pt x="4084" y="1591"/>
                </a:lnTo>
                <a:lnTo>
                  <a:pt x="4088" y="1593"/>
                </a:lnTo>
                <a:lnTo>
                  <a:pt x="4090" y="1600"/>
                </a:lnTo>
                <a:lnTo>
                  <a:pt x="4094" y="1604"/>
                </a:lnTo>
                <a:lnTo>
                  <a:pt x="4095" y="1604"/>
                </a:lnTo>
                <a:lnTo>
                  <a:pt x="4098" y="1604"/>
                </a:lnTo>
                <a:lnTo>
                  <a:pt x="4101" y="1606"/>
                </a:lnTo>
                <a:lnTo>
                  <a:pt x="4109" y="1611"/>
                </a:lnTo>
                <a:lnTo>
                  <a:pt x="4114" y="1620"/>
                </a:lnTo>
                <a:lnTo>
                  <a:pt x="4114" y="1624"/>
                </a:lnTo>
                <a:lnTo>
                  <a:pt x="4115" y="1628"/>
                </a:lnTo>
                <a:lnTo>
                  <a:pt x="4113" y="1633"/>
                </a:lnTo>
                <a:lnTo>
                  <a:pt x="4111" y="1639"/>
                </a:lnTo>
                <a:lnTo>
                  <a:pt x="4113" y="1640"/>
                </a:lnTo>
                <a:lnTo>
                  <a:pt x="4115" y="1642"/>
                </a:lnTo>
                <a:lnTo>
                  <a:pt x="4114" y="1646"/>
                </a:lnTo>
                <a:lnTo>
                  <a:pt x="4114" y="1650"/>
                </a:lnTo>
                <a:lnTo>
                  <a:pt x="4115" y="1652"/>
                </a:lnTo>
                <a:lnTo>
                  <a:pt x="4117" y="1654"/>
                </a:lnTo>
                <a:lnTo>
                  <a:pt x="4118" y="1655"/>
                </a:lnTo>
                <a:lnTo>
                  <a:pt x="4120" y="1655"/>
                </a:lnTo>
                <a:lnTo>
                  <a:pt x="4122" y="1662"/>
                </a:lnTo>
                <a:lnTo>
                  <a:pt x="4124" y="1669"/>
                </a:lnTo>
                <a:lnTo>
                  <a:pt x="4124" y="1676"/>
                </a:lnTo>
                <a:lnTo>
                  <a:pt x="4126" y="1676"/>
                </a:lnTo>
                <a:lnTo>
                  <a:pt x="4125" y="1678"/>
                </a:lnTo>
                <a:lnTo>
                  <a:pt x="4123" y="1679"/>
                </a:lnTo>
                <a:lnTo>
                  <a:pt x="4123" y="1678"/>
                </a:lnTo>
                <a:lnTo>
                  <a:pt x="4123" y="1676"/>
                </a:lnTo>
                <a:lnTo>
                  <a:pt x="4123" y="1676"/>
                </a:lnTo>
                <a:lnTo>
                  <a:pt x="4123" y="1676"/>
                </a:lnTo>
                <a:lnTo>
                  <a:pt x="4123" y="1676"/>
                </a:lnTo>
                <a:lnTo>
                  <a:pt x="4123" y="1676"/>
                </a:lnTo>
                <a:lnTo>
                  <a:pt x="4123" y="1676"/>
                </a:lnTo>
                <a:lnTo>
                  <a:pt x="4120" y="1670"/>
                </a:lnTo>
                <a:lnTo>
                  <a:pt x="4120" y="1674"/>
                </a:lnTo>
                <a:lnTo>
                  <a:pt x="4120" y="1674"/>
                </a:lnTo>
                <a:lnTo>
                  <a:pt x="4118" y="1671"/>
                </a:lnTo>
                <a:lnTo>
                  <a:pt x="4115" y="1675"/>
                </a:lnTo>
                <a:lnTo>
                  <a:pt x="4115" y="1675"/>
                </a:lnTo>
                <a:lnTo>
                  <a:pt x="4114" y="1673"/>
                </a:lnTo>
                <a:lnTo>
                  <a:pt x="4114" y="1671"/>
                </a:lnTo>
                <a:lnTo>
                  <a:pt x="4104" y="1667"/>
                </a:lnTo>
                <a:lnTo>
                  <a:pt x="4101" y="1664"/>
                </a:lnTo>
                <a:lnTo>
                  <a:pt x="4096" y="1660"/>
                </a:lnTo>
                <a:lnTo>
                  <a:pt x="4089" y="1655"/>
                </a:lnTo>
                <a:lnTo>
                  <a:pt x="4084" y="1652"/>
                </a:lnTo>
                <a:lnTo>
                  <a:pt x="4085" y="1649"/>
                </a:lnTo>
                <a:lnTo>
                  <a:pt x="4084" y="1646"/>
                </a:lnTo>
                <a:lnTo>
                  <a:pt x="4081" y="1644"/>
                </a:lnTo>
                <a:lnTo>
                  <a:pt x="4078" y="1642"/>
                </a:lnTo>
                <a:lnTo>
                  <a:pt x="4075" y="1640"/>
                </a:lnTo>
                <a:lnTo>
                  <a:pt x="4077" y="1640"/>
                </a:lnTo>
                <a:lnTo>
                  <a:pt x="4073" y="1638"/>
                </a:lnTo>
                <a:lnTo>
                  <a:pt x="4075" y="1636"/>
                </a:lnTo>
                <a:lnTo>
                  <a:pt x="4077" y="1636"/>
                </a:lnTo>
                <a:lnTo>
                  <a:pt x="4072" y="1631"/>
                </a:lnTo>
                <a:lnTo>
                  <a:pt x="4072" y="1622"/>
                </a:lnTo>
                <a:lnTo>
                  <a:pt x="4070" y="1619"/>
                </a:lnTo>
                <a:lnTo>
                  <a:pt x="4068" y="1616"/>
                </a:lnTo>
                <a:lnTo>
                  <a:pt x="4070" y="1615"/>
                </a:lnTo>
                <a:lnTo>
                  <a:pt x="4068" y="1603"/>
                </a:lnTo>
                <a:lnTo>
                  <a:pt x="4065" y="1599"/>
                </a:lnTo>
                <a:lnTo>
                  <a:pt x="4064" y="1599"/>
                </a:lnTo>
                <a:lnTo>
                  <a:pt x="4064" y="1599"/>
                </a:lnTo>
                <a:lnTo>
                  <a:pt x="4065" y="1599"/>
                </a:lnTo>
                <a:lnTo>
                  <a:pt x="4060" y="1594"/>
                </a:lnTo>
                <a:lnTo>
                  <a:pt x="4062" y="1592"/>
                </a:lnTo>
                <a:lnTo>
                  <a:pt x="4058" y="1592"/>
                </a:lnTo>
                <a:lnTo>
                  <a:pt x="4056" y="1587"/>
                </a:lnTo>
                <a:lnTo>
                  <a:pt x="4054" y="1581"/>
                </a:lnTo>
                <a:lnTo>
                  <a:pt x="4053" y="1581"/>
                </a:lnTo>
                <a:lnTo>
                  <a:pt x="4051" y="1579"/>
                </a:lnTo>
                <a:lnTo>
                  <a:pt x="4048" y="1579"/>
                </a:lnTo>
                <a:lnTo>
                  <a:pt x="4048" y="1577"/>
                </a:lnTo>
                <a:lnTo>
                  <a:pt x="4048" y="1576"/>
                </a:lnTo>
                <a:lnTo>
                  <a:pt x="4047" y="1576"/>
                </a:lnTo>
                <a:lnTo>
                  <a:pt x="4046" y="1573"/>
                </a:lnTo>
                <a:lnTo>
                  <a:pt x="4044" y="1571"/>
                </a:lnTo>
                <a:lnTo>
                  <a:pt x="4044" y="1568"/>
                </a:lnTo>
                <a:lnTo>
                  <a:pt x="4040" y="1571"/>
                </a:lnTo>
                <a:lnTo>
                  <a:pt x="4040" y="1572"/>
                </a:lnTo>
                <a:lnTo>
                  <a:pt x="4036" y="1571"/>
                </a:lnTo>
                <a:lnTo>
                  <a:pt x="4036" y="1567"/>
                </a:lnTo>
                <a:lnTo>
                  <a:pt x="4040" y="1563"/>
                </a:lnTo>
                <a:lnTo>
                  <a:pt x="4036" y="1563"/>
                </a:lnTo>
                <a:lnTo>
                  <a:pt x="4036" y="1556"/>
                </a:lnTo>
                <a:lnTo>
                  <a:pt x="4037" y="1559"/>
                </a:lnTo>
                <a:lnTo>
                  <a:pt x="4038" y="1556"/>
                </a:lnTo>
                <a:lnTo>
                  <a:pt x="4044" y="1539"/>
                </a:lnTo>
                <a:lnTo>
                  <a:pt x="4044" y="1537"/>
                </a:lnTo>
                <a:lnTo>
                  <a:pt x="4044" y="1536"/>
                </a:lnTo>
                <a:lnTo>
                  <a:pt x="4042" y="1542"/>
                </a:lnTo>
                <a:lnTo>
                  <a:pt x="4043" y="1531"/>
                </a:lnTo>
                <a:lnTo>
                  <a:pt x="4044" y="1531"/>
                </a:lnTo>
                <a:lnTo>
                  <a:pt x="4044" y="1531"/>
                </a:lnTo>
                <a:lnTo>
                  <a:pt x="4044" y="1534"/>
                </a:lnTo>
                <a:lnTo>
                  <a:pt x="4044" y="1534"/>
                </a:lnTo>
                <a:lnTo>
                  <a:pt x="4049" y="1531"/>
                </a:lnTo>
                <a:lnTo>
                  <a:pt x="4054" y="1529"/>
                </a:lnTo>
                <a:lnTo>
                  <a:pt x="4059" y="1517"/>
                </a:lnTo>
                <a:lnTo>
                  <a:pt x="4058" y="1514"/>
                </a:lnTo>
                <a:lnTo>
                  <a:pt x="4051" y="1525"/>
                </a:lnTo>
                <a:lnTo>
                  <a:pt x="4045" y="1529"/>
                </a:lnTo>
                <a:lnTo>
                  <a:pt x="4048" y="1519"/>
                </a:lnTo>
                <a:lnTo>
                  <a:pt x="4048" y="1519"/>
                </a:lnTo>
                <a:lnTo>
                  <a:pt x="4047" y="1515"/>
                </a:lnTo>
                <a:lnTo>
                  <a:pt x="4044" y="1516"/>
                </a:lnTo>
                <a:lnTo>
                  <a:pt x="4044" y="1516"/>
                </a:lnTo>
                <a:lnTo>
                  <a:pt x="4044" y="1515"/>
                </a:lnTo>
                <a:lnTo>
                  <a:pt x="4043" y="1515"/>
                </a:lnTo>
                <a:lnTo>
                  <a:pt x="4044" y="1516"/>
                </a:lnTo>
                <a:lnTo>
                  <a:pt x="4044" y="1519"/>
                </a:lnTo>
                <a:lnTo>
                  <a:pt x="4043" y="1519"/>
                </a:lnTo>
                <a:lnTo>
                  <a:pt x="4042" y="1516"/>
                </a:lnTo>
                <a:lnTo>
                  <a:pt x="4041" y="1514"/>
                </a:lnTo>
                <a:lnTo>
                  <a:pt x="4040" y="1515"/>
                </a:lnTo>
                <a:lnTo>
                  <a:pt x="4040" y="1515"/>
                </a:lnTo>
                <a:lnTo>
                  <a:pt x="4040" y="1509"/>
                </a:lnTo>
                <a:lnTo>
                  <a:pt x="4042" y="1511"/>
                </a:lnTo>
                <a:lnTo>
                  <a:pt x="4044" y="1512"/>
                </a:lnTo>
                <a:lnTo>
                  <a:pt x="4044" y="1512"/>
                </a:lnTo>
                <a:lnTo>
                  <a:pt x="4044" y="1511"/>
                </a:lnTo>
                <a:lnTo>
                  <a:pt x="4044" y="1507"/>
                </a:lnTo>
                <a:lnTo>
                  <a:pt x="4044" y="1507"/>
                </a:lnTo>
                <a:lnTo>
                  <a:pt x="4045" y="1502"/>
                </a:lnTo>
                <a:lnTo>
                  <a:pt x="4044" y="1493"/>
                </a:lnTo>
                <a:lnTo>
                  <a:pt x="4041" y="1484"/>
                </a:lnTo>
                <a:lnTo>
                  <a:pt x="4039" y="1479"/>
                </a:lnTo>
                <a:lnTo>
                  <a:pt x="4037" y="1487"/>
                </a:lnTo>
                <a:lnTo>
                  <a:pt x="4036" y="1487"/>
                </a:lnTo>
                <a:lnTo>
                  <a:pt x="4036" y="1478"/>
                </a:lnTo>
                <a:lnTo>
                  <a:pt x="4032" y="1467"/>
                </a:lnTo>
                <a:lnTo>
                  <a:pt x="4032" y="1460"/>
                </a:lnTo>
                <a:lnTo>
                  <a:pt x="4032" y="1453"/>
                </a:lnTo>
                <a:lnTo>
                  <a:pt x="4029" y="1449"/>
                </a:lnTo>
                <a:lnTo>
                  <a:pt x="4028" y="1447"/>
                </a:lnTo>
                <a:lnTo>
                  <a:pt x="4028" y="1448"/>
                </a:lnTo>
                <a:lnTo>
                  <a:pt x="4028" y="1444"/>
                </a:lnTo>
                <a:lnTo>
                  <a:pt x="4028" y="1443"/>
                </a:lnTo>
                <a:lnTo>
                  <a:pt x="4029" y="1443"/>
                </a:lnTo>
                <a:lnTo>
                  <a:pt x="4029" y="1446"/>
                </a:lnTo>
                <a:lnTo>
                  <a:pt x="4028" y="1443"/>
                </a:lnTo>
                <a:lnTo>
                  <a:pt x="4027" y="1443"/>
                </a:lnTo>
                <a:lnTo>
                  <a:pt x="4023" y="1433"/>
                </a:lnTo>
                <a:lnTo>
                  <a:pt x="4022" y="1430"/>
                </a:lnTo>
                <a:lnTo>
                  <a:pt x="4021" y="1428"/>
                </a:lnTo>
                <a:lnTo>
                  <a:pt x="4020" y="1430"/>
                </a:lnTo>
                <a:lnTo>
                  <a:pt x="4019" y="1433"/>
                </a:lnTo>
                <a:lnTo>
                  <a:pt x="4020" y="1434"/>
                </a:lnTo>
                <a:lnTo>
                  <a:pt x="4021" y="1435"/>
                </a:lnTo>
                <a:lnTo>
                  <a:pt x="4020" y="1437"/>
                </a:lnTo>
                <a:lnTo>
                  <a:pt x="4019" y="1439"/>
                </a:lnTo>
                <a:lnTo>
                  <a:pt x="4015" y="1443"/>
                </a:lnTo>
                <a:lnTo>
                  <a:pt x="4012" y="1443"/>
                </a:lnTo>
                <a:lnTo>
                  <a:pt x="4008" y="1441"/>
                </a:lnTo>
                <a:lnTo>
                  <a:pt x="4008" y="1447"/>
                </a:lnTo>
                <a:lnTo>
                  <a:pt x="4004" y="1447"/>
                </a:lnTo>
                <a:lnTo>
                  <a:pt x="4004" y="1446"/>
                </a:lnTo>
                <a:lnTo>
                  <a:pt x="4003" y="1449"/>
                </a:lnTo>
                <a:lnTo>
                  <a:pt x="4002" y="1452"/>
                </a:lnTo>
                <a:lnTo>
                  <a:pt x="4000" y="1455"/>
                </a:lnTo>
                <a:lnTo>
                  <a:pt x="3997" y="1455"/>
                </a:lnTo>
                <a:lnTo>
                  <a:pt x="3996" y="1455"/>
                </a:lnTo>
                <a:lnTo>
                  <a:pt x="3996" y="1449"/>
                </a:lnTo>
                <a:lnTo>
                  <a:pt x="3994" y="1455"/>
                </a:lnTo>
                <a:lnTo>
                  <a:pt x="3988" y="1455"/>
                </a:lnTo>
                <a:lnTo>
                  <a:pt x="3988" y="1451"/>
                </a:lnTo>
                <a:lnTo>
                  <a:pt x="3988" y="1451"/>
                </a:lnTo>
                <a:lnTo>
                  <a:pt x="3988" y="1451"/>
                </a:lnTo>
                <a:lnTo>
                  <a:pt x="3989" y="1450"/>
                </a:lnTo>
                <a:lnTo>
                  <a:pt x="3990" y="1448"/>
                </a:lnTo>
                <a:lnTo>
                  <a:pt x="3989" y="1449"/>
                </a:lnTo>
                <a:lnTo>
                  <a:pt x="3989" y="1449"/>
                </a:lnTo>
                <a:lnTo>
                  <a:pt x="3988" y="1447"/>
                </a:lnTo>
                <a:lnTo>
                  <a:pt x="3984" y="1447"/>
                </a:lnTo>
                <a:lnTo>
                  <a:pt x="3984" y="1449"/>
                </a:lnTo>
                <a:lnTo>
                  <a:pt x="3988" y="1448"/>
                </a:lnTo>
                <a:lnTo>
                  <a:pt x="3988" y="1449"/>
                </a:lnTo>
                <a:lnTo>
                  <a:pt x="3984" y="1453"/>
                </a:lnTo>
                <a:lnTo>
                  <a:pt x="3984" y="1450"/>
                </a:lnTo>
                <a:lnTo>
                  <a:pt x="3985" y="1449"/>
                </a:lnTo>
                <a:lnTo>
                  <a:pt x="3980" y="1450"/>
                </a:lnTo>
                <a:lnTo>
                  <a:pt x="3980" y="1446"/>
                </a:lnTo>
                <a:lnTo>
                  <a:pt x="3986" y="1426"/>
                </a:lnTo>
                <a:lnTo>
                  <a:pt x="3983" y="1415"/>
                </a:lnTo>
                <a:lnTo>
                  <a:pt x="3980" y="1412"/>
                </a:lnTo>
                <a:lnTo>
                  <a:pt x="3980" y="1408"/>
                </a:lnTo>
                <a:lnTo>
                  <a:pt x="3982" y="1407"/>
                </a:lnTo>
                <a:lnTo>
                  <a:pt x="3976" y="1407"/>
                </a:lnTo>
                <a:lnTo>
                  <a:pt x="3976" y="1407"/>
                </a:lnTo>
                <a:lnTo>
                  <a:pt x="3974" y="1406"/>
                </a:lnTo>
                <a:lnTo>
                  <a:pt x="3972" y="1401"/>
                </a:lnTo>
                <a:lnTo>
                  <a:pt x="3975" y="1403"/>
                </a:lnTo>
                <a:lnTo>
                  <a:pt x="3976" y="1403"/>
                </a:lnTo>
                <a:lnTo>
                  <a:pt x="3976" y="1403"/>
                </a:lnTo>
                <a:lnTo>
                  <a:pt x="3977" y="1403"/>
                </a:lnTo>
                <a:lnTo>
                  <a:pt x="3976" y="1402"/>
                </a:lnTo>
                <a:lnTo>
                  <a:pt x="3977" y="1403"/>
                </a:lnTo>
                <a:lnTo>
                  <a:pt x="3979" y="1403"/>
                </a:lnTo>
                <a:lnTo>
                  <a:pt x="3978" y="1402"/>
                </a:lnTo>
                <a:lnTo>
                  <a:pt x="3976" y="1400"/>
                </a:lnTo>
                <a:lnTo>
                  <a:pt x="3976" y="1402"/>
                </a:lnTo>
                <a:lnTo>
                  <a:pt x="3974" y="1399"/>
                </a:lnTo>
                <a:lnTo>
                  <a:pt x="3975" y="1399"/>
                </a:lnTo>
                <a:lnTo>
                  <a:pt x="3979" y="1401"/>
                </a:lnTo>
                <a:lnTo>
                  <a:pt x="3977" y="1396"/>
                </a:lnTo>
                <a:lnTo>
                  <a:pt x="3975" y="1394"/>
                </a:lnTo>
                <a:lnTo>
                  <a:pt x="3975" y="1392"/>
                </a:lnTo>
                <a:lnTo>
                  <a:pt x="3971" y="1391"/>
                </a:lnTo>
                <a:lnTo>
                  <a:pt x="3967" y="1391"/>
                </a:lnTo>
                <a:lnTo>
                  <a:pt x="3967" y="1394"/>
                </a:lnTo>
                <a:lnTo>
                  <a:pt x="3963" y="1391"/>
                </a:lnTo>
                <a:lnTo>
                  <a:pt x="3967" y="1391"/>
                </a:lnTo>
                <a:lnTo>
                  <a:pt x="3967" y="1391"/>
                </a:lnTo>
                <a:lnTo>
                  <a:pt x="3963" y="1387"/>
                </a:lnTo>
                <a:lnTo>
                  <a:pt x="3966" y="1381"/>
                </a:lnTo>
                <a:lnTo>
                  <a:pt x="3962" y="1388"/>
                </a:lnTo>
                <a:lnTo>
                  <a:pt x="3958" y="1385"/>
                </a:lnTo>
                <a:lnTo>
                  <a:pt x="3959" y="1384"/>
                </a:lnTo>
                <a:lnTo>
                  <a:pt x="3959" y="1384"/>
                </a:lnTo>
                <a:lnTo>
                  <a:pt x="3956" y="1379"/>
                </a:lnTo>
                <a:lnTo>
                  <a:pt x="3955" y="1373"/>
                </a:lnTo>
                <a:lnTo>
                  <a:pt x="3952" y="1370"/>
                </a:lnTo>
                <a:lnTo>
                  <a:pt x="3952" y="1369"/>
                </a:lnTo>
                <a:lnTo>
                  <a:pt x="3950" y="1370"/>
                </a:lnTo>
                <a:lnTo>
                  <a:pt x="3951" y="1373"/>
                </a:lnTo>
                <a:lnTo>
                  <a:pt x="3951" y="1377"/>
                </a:lnTo>
                <a:lnTo>
                  <a:pt x="3949" y="1371"/>
                </a:lnTo>
                <a:lnTo>
                  <a:pt x="3948" y="1369"/>
                </a:lnTo>
                <a:lnTo>
                  <a:pt x="3950" y="1365"/>
                </a:lnTo>
                <a:lnTo>
                  <a:pt x="3946" y="1363"/>
                </a:lnTo>
                <a:lnTo>
                  <a:pt x="3947" y="1363"/>
                </a:lnTo>
                <a:lnTo>
                  <a:pt x="3945" y="1352"/>
                </a:lnTo>
                <a:lnTo>
                  <a:pt x="3940" y="1348"/>
                </a:lnTo>
                <a:lnTo>
                  <a:pt x="3937" y="1351"/>
                </a:lnTo>
                <a:lnTo>
                  <a:pt x="3936" y="1351"/>
                </a:lnTo>
                <a:lnTo>
                  <a:pt x="3935" y="1351"/>
                </a:lnTo>
                <a:lnTo>
                  <a:pt x="3935" y="1351"/>
                </a:lnTo>
                <a:lnTo>
                  <a:pt x="3934" y="1351"/>
                </a:lnTo>
                <a:lnTo>
                  <a:pt x="3931" y="1349"/>
                </a:lnTo>
                <a:lnTo>
                  <a:pt x="3929" y="1347"/>
                </a:lnTo>
                <a:lnTo>
                  <a:pt x="3929" y="1347"/>
                </a:lnTo>
                <a:lnTo>
                  <a:pt x="3929" y="1347"/>
                </a:lnTo>
                <a:lnTo>
                  <a:pt x="3929" y="1348"/>
                </a:lnTo>
                <a:lnTo>
                  <a:pt x="3928" y="1347"/>
                </a:lnTo>
                <a:lnTo>
                  <a:pt x="3928" y="1347"/>
                </a:lnTo>
                <a:lnTo>
                  <a:pt x="3927" y="1348"/>
                </a:lnTo>
                <a:lnTo>
                  <a:pt x="3927" y="1347"/>
                </a:lnTo>
                <a:lnTo>
                  <a:pt x="3926" y="1347"/>
                </a:lnTo>
                <a:lnTo>
                  <a:pt x="3923" y="1347"/>
                </a:lnTo>
                <a:lnTo>
                  <a:pt x="3923" y="1348"/>
                </a:lnTo>
                <a:lnTo>
                  <a:pt x="3926" y="1351"/>
                </a:lnTo>
                <a:lnTo>
                  <a:pt x="3927" y="1352"/>
                </a:lnTo>
                <a:lnTo>
                  <a:pt x="3927" y="1355"/>
                </a:lnTo>
                <a:lnTo>
                  <a:pt x="3927" y="1356"/>
                </a:lnTo>
                <a:lnTo>
                  <a:pt x="3924" y="1358"/>
                </a:lnTo>
                <a:lnTo>
                  <a:pt x="3925" y="1363"/>
                </a:lnTo>
                <a:lnTo>
                  <a:pt x="3923" y="1363"/>
                </a:lnTo>
                <a:lnTo>
                  <a:pt x="3921" y="1363"/>
                </a:lnTo>
                <a:lnTo>
                  <a:pt x="3923" y="1358"/>
                </a:lnTo>
                <a:lnTo>
                  <a:pt x="3922" y="1359"/>
                </a:lnTo>
                <a:lnTo>
                  <a:pt x="3922" y="1359"/>
                </a:lnTo>
                <a:lnTo>
                  <a:pt x="3922" y="1359"/>
                </a:lnTo>
                <a:lnTo>
                  <a:pt x="3919" y="1358"/>
                </a:lnTo>
                <a:lnTo>
                  <a:pt x="3915" y="1356"/>
                </a:lnTo>
                <a:lnTo>
                  <a:pt x="3915" y="1359"/>
                </a:lnTo>
                <a:lnTo>
                  <a:pt x="3913" y="1363"/>
                </a:lnTo>
                <a:lnTo>
                  <a:pt x="3913" y="1363"/>
                </a:lnTo>
                <a:lnTo>
                  <a:pt x="3911" y="1367"/>
                </a:lnTo>
                <a:lnTo>
                  <a:pt x="3907" y="1367"/>
                </a:lnTo>
                <a:lnTo>
                  <a:pt x="3907" y="1362"/>
                </a:lnTo>
                <a:lnTo>
                  <a:pt x="3907" y="1359"/>
                </a:lnTo>
                <a:lnTo>
                  <a:pt x="3907" y="1358"/>
                </a:lnTo>
                <a:lnTo>
                  <a:pt x="3903" y="1344"/>
                </a:lnTo>
                <a:lnTo>
                  <a:pt x="3906" y="1341"/>
                </a:lnTo>
                <a:lnTo>
                  <a:pt x="3904" y="1341"/>
                </a:lnTo>
                <a:lnTo>
                  <a:pt x="3903" y="1344"/>
                </a:lnTo>
                <a:lnTo>
                  <a:pt x="3906" y="1357"/>
                </a:lnTo>
                <a:lnTo>
                  <a:pt x="3905" y="1360"/>
                </a:lnTo>
                <a:lnTo>
                  <a:pt x="3906" y="1366"/>
                </a:lnTo>
                <a:lnTo>
                  <a:pt x="3903" y="1367"/>
                </a:lnTo>
                <a:lnTo>
                  <a:pt x="3900" y="1368"/>
                </a:lnTo>
                <a:lnTo>
                  <a:pt x="3901" y="1365"/>
                </a:lnTo>
                <a:lnTo>
                  <a:pt x="3902" y="1363"/>
                </a:lnTo>
                <a:lnTo>
                  <a:pt x="3899" y="1363"/>
                </a:lnTo>
                <a:lnTo>
                  <a:pt x="3899" y="1363"/>
                </a:lnTo>
                <a:lnTo>
                  <a:pt x="3899" y="1364"/>
                </a:lnTo>
                <a:lnTo>
                  <a:pt x="3898" y="1367"/>
                </a:lnTo>
                <a:lnTo>
                  <a:pt x="3897" y="1367"/>
                </a:lnTo>
                <a:lnTo>
                  <a:pt x="3895" y="1367"/>
                </a:lnTo>
                <a:lnTo>
                  <a:pt x="3893" y="1365"/>
                </a:lnTo>
                <a:lnTo>
                  <a:pt x="3893" y="1364"/>
                </a:lnTo>
                <a:lnTo>
                  <a:pt x="3892" y="1361"/>
                </a:lnTo>
                <a:lnTo>
                  <a:pt x="3888" y="1363"/>
                </a:lnTo>
                <a:lnTo>
                  <a:pt x="3880" y="1367"/>
                </a:lnTo>
                <a:lnTo>
                  <a:pt x="3876" y="1369"/>
                </a:lnTo>
                <a:lnTo>
                  <a:pt x="3873" y="1372"/>
                </a:lnTo>
                <a:lnTo>
                  <a:pt x="3876" y="1379"/>
                </a:lnTo>
                <a:lnTo>
                  <a:pt x="3875" y="1379"/>
                </a:lnTo>
                <a:lnTo>
                  <a:pt x="3875" y="1382"/>
                </a:lnTo>
                <a:lnTo>
                  <a:pt x="3871" y="1383"/>
                </a:lnTo>
                <a:lnTo>
                  <a:pt x="3871" y="1385"/>
                </a:lnTo>
                <a:lnTo>
                  <a:pt x="3869" y="1387"/>
                </a:lnTo>
                <a:lnTo>
                  <a:pt x="3867" y="1389"/>
                </a:lnTo>
                <a:lnTo>
                  <a:pt x="3867" y="1390"/>
                </a:lnTo>
                <a:lnTo>
                  <a:pt x="3865" y="1389"/>
                </a:lnTo>
                <a:lnTo>
                  <a:pt x="3866" y="1391"/>
                </a:lnTo>
                <a:lnTo>
                  <a:pt x="3867" y="1393"/>
                </a:lnTo>
                <a:lnTo>
                  <a:pt x="3854" y="1397"/>
                </a:lnTo>
                <a:lnTo>
                  <a:pt x="3855" y="1394"/>
                </a:lnTo>
                <a:lnTo>
                  <a:pt x="3854" y="1393"/>
                </a:lnTo>
                <a:lnTo>
                  <a:pt x="3850" y="1395"/>
                </a:lnTo>
                <a:lnTo>
                  <a:pt x="3849" y="1398"/>
                </a:lnTo>
                <a:lnTo>
                  <a:pt x="3850" y="1398"/>
                </a:lnTo>
                <a:lnTo>
                  <a:pt x="3851" y="1397"/>
                </a:lnTo>
                <a:lnTo>
                  <a:pt x="3851" y="1397"/>
                </a:lnTo>
                <a:lnTo>
                  <a:pt x="3843" y="1407"/>
                </a:lnTo>
                <a:lnTo>
                  <a:pt x="3843" y="1407"/>
                </a:lnTo>
                <a:lnTo>
                  <a:pt x="3843" y="1407"/>
                </a:lnTo>
                <a:lnTo>
                  <a:pt x="3835" y="1416"/>
                </a:lnTo>
                <a:lnTo>
                  <a:pt x="3828" y="1421"/>
                </a:lnTo>
                <a:lnTo>
                  <a:pt x="3825" y="1425"/>
                </a:lnTo>
                <a:lnTo>
                  <a:pt x="3822" y="1428"/>
                </a:lnTo>
                <a:lnTo>
                  <a:pt x="3809" y="1437"/>
                </a:lnTo>
                <a:lnTo>
                  <a:pt x="3808" y="1439"/>
                </a:lnTo>
                <a:lnTo>
                  <a:pt x="3809" y="1440"/>
                </a:lnTo>
                <a:lnTo>
                  <a:pt x="3808" y="1445"/>
                </a:lnTo>
                <a:lnTo>
                  <a:pt x="3800" y="1451"/>
                </a:lnTo>
                <a:lnTo>
                  <a:pt x="3794" y="1451"/>
                </a:lnTo>
                <a:lnTo>
                  <a:pt x="3791" y="1457"/>
                </a:lnTo>
                <a:lnTo>
                  <a:pt x="3787" y="1454"/>
                </a:lnTo>
                <a:lnTo>
                  <a:pt x="3787" y="1455"/>
                </a:lnTo>
                <a:lnTo>
                  <a:pt x="3786" y="1454"/>
                </a:lnTo>
                <a:lnTo>
                  <a:pt x="3780" y="1458"/>
                </a:lnTo>
                <a:lnTo>
                  <a:pt x="3776" y="1468"/>
                </a:lnTo>
                <a:lnTo>
                  <a:pt x="3778" y="1474"/>
                </a:lnTo>
                <a:lnTo>
                  <a:pt x="3776" y="1481"/>
                </a:lnTo>
                <a:lnTo>
                  <a:pt x="3778" y="1487"/>
                </a:lnTo>
                <a:lnTo>
                  <a:pt x="3780" y="1493"/>
                </a:lnTo>
                <a:lnTo>
                  <a:pt x="3778" y="1487"/>
                </a:lnTo>
                <a:lnTo>
                  <a:pt x="3776" y="1490"/>
                </a:lnTo>
                <a:lnTo>
                  <a:pt x="3780" y="1494"/>
                </a:lnTo>
                <a:lnTo>
                  <a:pt x="3778" y="1508"/>
                </a:lnTo>
                <a:lnTo>
                  <a:pt x="3773" y="1514"/>
                </a:lnTo>
                <a:lnTo>
                  <a:pt x="3771" y="1519"/>
                </a:lnTo>
                <a:lnTo>
                  <a:pt x="3771" y="1528"/>
                </a:lnTo>
                <a:lnTo>
                  <a:pt x="3771" y="1543"/>
                </a:lnTo>
                <a:lnTo>
                  <a:pt x="3766" y="1543"/>
                </a:lnTo>
                <a:lnTo>
                  <a:pt x="3765" y="1545"/>
                </a:lnTo>
                <a:lnTo>
                  <a:pt x="3759" y="1552"/>
                </a:lnTo>
                <a:lnTo>
                  <a:pt x="3761" y="1555"/>
                </a:lnTo>
                <a:lnTo>
                  <a:pt x="3753" y="1558"/>
                </a:lnTo>
                <a:lnTo>
                  <a:pt x="3750" y="1561"/>
                </a:lnTo>
                <a:lnTo>
                  <a:pt x="3748" y="1569"/>
                </a:lnTo>
                <a:lnTo>
                  <a:pt x="3740" y="1575"/>
                </a:lnTo>
                <a:lnTo>
                  <a:pt x="3737" y="1575"/>
                </a:lnTo>
                <a:lnTo>
                  <a:pt x="3732" y="1569"/>
                </a:lnTo>
                <a:lnTo>
                  <a:pt x="3726" y="1563"/>
                </a:lnTo>
                <a:lnTo>
                  <a:pt x="3728" y="1563"/>
                </a:lnTo>
                <a:lnTo>
                  <a:pt x="3726" y="1563"/>
                </a:lnTo>
                <a:lnTo>
                  <a:pt x="3723" y="1557"/>
                </a:lnTo>
                <a:lnTo>
                  <a:pt x="3721" y="1550"/>
                </a:lnTo>
                <a:lnTo>
                  <a:pt x="3719" y="1544"/>
                </a:lnTo>
                <a:lnTo>
                  <a:pt x="3719" y="1543"/>
                </a:lnTo>
                <a:lnTo>
                  <a:pt x="3719" y="1542"/>
                </a:lnTo>
                <a:lnTo>
                  <a:pt x="3720" y="1543"/>
                </a:lnTo>
                <a:lnTo>
                  <a:pt x="3721" y="1543"/>
                </a:lnTo>
                <a:lnTo>
                  <a:pt x="3713" y="1521"/>
                </a:lnTo>
                <a:lnTo>
                  <a:pt x="3705" y="1514"/>
                </a:lnTo>
                <a:lnTo>
                  <a:pt x="3697" y="1501"/>
                </a:lnTo>
                <a:lnTo>
                  <a:pt x="3690" y="1475"/>
                </a:lnTo>
                <a:lnTo>
                  <a:pt x="3690" y="1474"/>
                </a:lnTo>
                <a:lnTo>
                  <a:pt x="3690" y="1474"/>
                </a:lnTo>
                <a:lnTo>
                  <a:pt x="3690" y="1471"/>
                </a:lnTo>
                <a:lnTo>
                  <a:pt x="3686" y="1463"/>
                </a:lnTo>
                <a:lnTo>
                  <a:pt x="3685" y="1461"/>
                </a:lnTo>
                <a:lnTo>
                  <a:pt x="3681" y="1452"/>
                </a:lnTo>
                <a:lnTo>
                  <a:pt x="3677" y="1436"/>
                </a:lnTo>
                <a:lnTo>
                  <a:pt x="3674" y="1424"/>
                </a:lnTo>
                <a:lnTo>
                  <a:pt x="3670" y="1412"/>
                </a:lnTo>
                <a:lnTo>
                  <a:pt x="3670" y="1411"/>
                </a:lnTo>
                <a:lnTo>
                  <a:pt x="3672" y="1411"/>
                </a:lnTo>
                <a:lnTo>
                  <a:pt x="3675" y="1411"/>
                </a:lnTo>
                <a:lnTo>
                  <a:pt x="3672" y="1409"/>
                </a:lnTo>
                <a:lnTo>
                  <a:pt x="3675" y="1405"/>
                </a:lnTo>
                <a:lnTo>
                  <a:pt x="3672" y="1404"/>
                </a:lnTo>
                <a:lnTo>
                  <a:pt x="3671" y="1407"/>
                </a:lnTo>
                <a:lnTo>
                  <a:pt x="3670" y="1407"/>
                </a:lnTo>
                <a:lnTo>
                  <a:pt x="3670" y="1406"/>
                </a:lnTo>
                <a:lnTo>
                  <a:pt x="3670" y="1402"/>
                </a:lnTo>
                <a:lnTo>
                  <a:pt x="3668" y="1401"/>
                </a:lnTo>
                <a:lnTo>
                  <a:pt x="3666" y="1400"/>
                </a:lnTo>
                <a:lnTo>
                  <a:pt x="3666" y="1394"/>
                </a:lnTo>
                <a:lnTo>
                  <a:pt x="3670" y="1378"/>
                </a:lnTo>
                <a:lnTo>
                  <a:pt x="3670" y="1377"/>
                </a:lnTo>
                <a:lnTo>
                  <a:pt x="3670" y="1375"/>
                </a:lnTo>
                <a:lnTo>
                  <a:pt x="3668" y="1375"/>
                </a:lnTo>
                <a:lnTo>
                  <a:pt x="3669" y="1372"/>
                </a:lnTo>
                <a:lnTo>
                  <a:pt x="3668" y="1369"/>
                </a:lnTo>
                <a:lnTo>
                  <a:pt x="3671" y="1366"/>
                </a:lnTo>
                <a:lnTo>
                  <a:pt x="3676" y="1363"/>
                </a:lnTo>
                <a:lnTo>
                  <a:pt x="3666" y="1367"/>
                </a:lnTo>
                <a:lnTo>
                  <a:pt x="3668" y="1364"/>
                </a:lnTo>
                <a:lnTo>
                  <a:pt x="3669" y="1363"/>
                </a:lnTo>
                <a:lnTo>
                  <a:pt x="3668" y="1363"/>
                </a:lnTo>
                <a:lnTo>
                  <a:pt x="3666" y="1363"/>
                </a:lnTo>
                <a:lnTo>
                  <a:pt x="3668" y="1359"/>
                </a:lnTo>
                <a:lnTo>
                  <a:pt x="3662" y="1359"/>
                </a:lnTo>
                <a:lnTo>
                  <a:pt x="3665" y="1360"/>
                </a:lnTo>
                <a:lnTo>
                  <a:pt x="3664" y="1361"/>
                </a:lnTo>
                <a:lnTo>
                  <a:pt x="3661" y="1363"/>
                </a:lnTo>
                <a:lnTo>
                  <a:pt x="3664" y="1366"/>
                </a:lnTo>
                <a:lnTo>
                  <a:pt x="3662" y="1372"/>
                </a:lnTo>
                <a:lnTo>
                  <a:pt x="3652" y="1377"/>
                </a:lnTo>
                <a:lnTo>
                  <a:pt x="3643" y="1381"/>
                </a:lnTo>
                <a:lnTo>
                  <a:pt x="3631" y="1374"/>
                </a:lnTo>
                <a:lnTo>
                  <a:pt x="3616" y="1355"/>
                </a:lnTo>
                <a:lnTo>
                  <a:pt x="3617" y="1352"/>
                </a:lnTo>
                <a:lnTo>
                  <a:pt x="3620" y="1355"/>
                </a:lnTo>
                <a:lnTo>
                  <a:pt x="3626" y="1353"/>
                </a:lnTo>
                <a:lnTo>
                  <a:pt x="3631" y="1351"/>
                </a:lnTo>
                <a:lnTo>
                  <a:pt x="3633" y="1347"/>
                </a:lnTo>
                <a:lnTo>
                  <a:pt x="3634" y="1344"/>
                </a:lnTo>
                <a:lnTo>
                  <a:pt x="3627" y="1345"/>
                </a:lnTo>
                <a:lnTo>
                  <a:pt x="3627" y="1347"/>
                </a:lnTo>
                <a:lnTo>
                  <a:pt x="3620" y="1345"/>
                </a:lnTo>
                <a:lnTo>
                  <a:pt x="3615" y="1343"/>
                </a:lnTo>
                <a:lnTo>
                  <a:pt x="3610" y="1340"/>
                </a:lnTo>
                <a:lnTo>
                  <a:pt x="3608" y="1339"/>
                </a:lnTo>
                <a:lnTo>
                  <a:pt x="3606" y="1337"/>
                </a:lnTo>
                <a:lnTo>
                  <a:pt x="3606" y="1334"/>
                </a:lnTo>
                <a:lnTo>
                  <a:pt x="3604" y="1334"/>
                </a:lnTo>
                <a:lnTo>
                  <a:pt x="3601" y="1334"/>
                </a:lnTo>
                <a:lnTo>
                  <a:pt x="3599" y="1331"/>
                </a:lnTo>
                <a:lnTo>
                  <a:pt x="3599" y="1330"/>
                </a:lnTo>
                <a:lnTo>
                  <a:pt x="3598" y="1330"/>
                </a:lnTo>
                <a:lnTo>
                  <a:pt x="3598" y="1334"/>
                </a:lnTo>
                <a:lnTo>
                  <a:pt x="3597" y="1334"/>
                </a:lnTo>
                <a:lnTo>
                  <a:pt x="3593" y="1331"/>
                </a:lnTo>
                <a:lnTo>
                  <a:pt x="3592" y="1328"/>
                </a:lnTo>
                <a:lnTo>
                  <a:pt x="3590" y="1325"/>
                </a:lnTo>
                <a:lnTo>
                  <a:pt x="3587" y="1318"/>
                </a:lnTo>
                <a:lnTo>
                  <a:pt x="3589" y="1317"/>
                </a:lnTo>
                <a:lnTo>
                  <a:pt x="3582" y="1314"/>
                </a:lnTo>
                <a:lnTo>
                  <a:pt x="3582" y="1310"/>
                </a:lnTo>
                <a:lnTo>
                  <a:pt x="3578" y="1306"/>
                </a:lnTo>
                <a:lnTo>
                  <a:pt x="3578" y="1305"/>
                </a:lnTo>
                <a:lnTo>
                  <a:pt x="3576" y="1305"/>
                </a:lnTo>
                <a:lnTo>
                  <a:pt x="3579" y="1310"/>
                </a:lnTo>
                <a:lnTo>
                  <a:pt x="3554" y="1310"/>
                </a:lnTo>
                <a:lnTo>
                  <a:pt x="3552" y="1312"/>
                </a:lnTo>
                <a:lnTo>
                  <a:pt x="3550" y="1309"/>
                </a:lnTo>
                <a:lnTo>
                  <a:pt x="3542" y="1306"/>
                </a:lnTo>
                <a:lnTo>
                  <a:pt x="3543" y="1310"/>
                </a:lnTo>
                <a:lnTo>
                  <a:pt x="3539" y="1310"/>
                </a:lnTo>
                <a:lnTo>
                  <a:pt x="3537" y="1310"/>
                </a:lnTo>
                <a:lnTo>
                  <a:pt x="3535" y="1309"/>
                </a:lnTo>
                <a:lnTo>
                  <a:pt x="3526" y="1310"/>
                </a:lnTo>
                <a:lnTo>
                  <a:pt x="3516" y="1312"/>
                </a:lnTo>
                <a:lnTo>
                  <a:pt x="3512" y="1314"/>
                </a:lnTo>
                <a:lnTo>
                  <a:pt x="3510" y="1314"/>
                </a:lnTo>
                <a:lnTo>
                  <a:pt x="3512" y="1310"/>
                </a:lnTo>
                <a:lnTo>
                  <a:pt x="3509" y="1310"/>
                </a:lnTo>
                <a:lnTo>
                  <a:pt x="3510" y="1302"/>
                </a:lnTo>
                <a:lnTo>
                  <a:pt x="3510" y="1302"/>
                </a:lnTo>
                <a:lnTo>
                  <a:pt x="3510" y="1294"/>
                </a:lnTo>
                <a:lnTo>
                  <a:pt x="3516" y="1290"/>
                </a:lnTo>
                <a:lnTo>
                  <a:pt x="3518" y="1290"/>
                </a:lnTo>
                <a:lnTo>
                  <a:pt x="3518" y="1288"/>
                </a:lnTo>
                <a:lnTo>
                  <a:pt x="3521" y="1290"/>
                </a:lnTo>
                <a:lnTo>
                  <a:pt x="3527" y="1290"/>
                </a:lnTo>
                <a:lnTo>
                  <a:pt x="3530" y="1290"/>
                </a:lnTo>
                <a:lnTo>
                  <a:pt x="3532" y="1282"/>
                </a:lnTo>
                <a:lnTo>
                  <a:pt x="3529" y="1282"/>
                </a:lnTo>
                <a:lnTo>
                  <a:pt x="3528" y="1286"/>
                </a:lnTo>
                <a:lnTo>
                  <a:pt x="3524" y="1286"/>
                </a:lnTo>
                <a:lnTo>
                  <a:pt x="3518" y="1286"/>
                </a:lnTo>
                <a:lnTo>
                  <a:pt x="3514" y="1287"/>
                </a:lnTo>
                <a:lnTo>
                  <a:pt x="3514" y="1290"/>
                </a:lnTo>
                <a:lnTo>
                  <a:pt x="3514" y="1290"/>
                </a:lnTo>
                <a:lnTo>
                  <a:pt x="3506" y="1293"/>
                </a:lnTo>
                <a:lnTo>
                  <a:pt x="3506" y="1302"/>
                </a:lnTo>
                <a:lnTo>
                  <a:pt x="3507" y="1302"/>
                </a:lnTo>
                <a:lnTo>
                  <a:pt x="3506" y="1305"/>
                </a:lnTo>
                <a:lnTo>
                  <a:pt x="3506" y="1309"/>
                </a:lnTo>
                <a:lnTo>
                  <a:pt x="3503" y="1310"/>
                </a:lnTo>
                <a:lnTo>
                  <a:pt x="3492" y="1308"/>
                </a:lnTo>
                <a:lnTo>
                  <a:pt x="3491" y="1306"/>
                </a:lnTo>
                <a:lnTo>
                  <a:pt x="3491" y="1304"/>
                </a:lnTo>
                <a:lnTo>
                  <a:pt x="3488" y="1305"/>
                </a:lnTo>
                <a:lnTo>
                  <a:pt x="3490" y="1308"/>
                </a:lnTo>
                <a:lnTo>
                  <a:pt x="3488" y="1307"/>
                </a:lnTo>
                <a:lnTo>
                  <a:pt x="3487" y="1306"/>
                </a:lnTo>
                <a:lnTo>
                  <a:pt x="3477" y="1306"/>
                </a:lnTo>
                <a:lnTo>
                  <a:pt x="3476" y="1306"/>
                </a:lnTo>
                <a:lnTo>
                  <a:pt x="3470" y="1307"/>
                </a:lnTo>
                <a:lnTo>
                  <a:pt x="3467" y="1306"/>
                </a:lnTo>
                <a:lnTo>
                  <a:pt x="3460" y="1306"/>
                </a:lnTo>
                <a:lnTo>
                  <a:pt x="3457" y="1306"/>
                </a:lnTo>
                <a:lnTo>
                  <a:pt x="3455" y="1303"/>
                </a:lnTo>
                <a:lnTo>
                  <a:pt x="3444" y="1299"/>
                </a:lnTo>
                <a:lnTo>
                  <a:pt x="3442" y="1294"/>
                </a:lnTo>
                <a:lnTo>
                  <a:pt x="3439" y="1283"/>
                </a:lnTo>
                <a:lnTo>
                  <a:pt x="3437" y="1282"/>
                </a:lnTo>
                <a:lnTo>
                  <a:pt x="3436" y="1282"/>
                </a:lnTo>
                <a:lnTo>
                  <a:pt x="3435" y="1282"/>
                </a:lnTo>
                <a:lnTo>
                  <a:pt x="3429" y="1282"/>
                </a:lnTo>
                <a:lnTo>
                  <a:pt x="3427" y="1284"/>
                </a:lnTo>
                <a:lnTo>
                  <a:pt x="3425" y="1285"/>
                </a:lnTo>
                <a:lnTo>
                  <a:pt x="3419" y="1286"/>
                </a:lnTo>
                <a:lnTo>
                  <a:pt x="3418" y="1286"/>
                </a:lnTo>
                <a:lnTo>
                  <a:pt x="3407" y="1289"/>
                </a:lnTo>
                <a:lnTo>
                  <a:pt x="3402" y="1286"/>
                </a:lnTo>
                <a:lnTo>
                  <a:pt x="3397" y="1286"/>
                </a:lnTo>
                <a:lnTo>
                  <a:pt x="3397" y="1286"/>
                </a:lnTo>
                <a:lnTo>
                  <a:pt x="3396" y="1286"/>
                </a:lnTo>
                <a:lnTo>
                  <a:pt x="3393" y="1286"/>
                </a:lnTo>
                <a:lnTo>
                  <a:pt x="3386" y="1280"/>
                </a:lnTo>
                <a:lnTo>
                  <a:pt x="3373" y="1275"/>
                </a:lnTo>
                <a:lnTo>
                  <a:pt x="3373" y="1274"/>
                </a:lnTo>
                <a:lnTo>
                  <a:pt x="3373" y="1271"/>
                </a:lnTo>
                <a:lnTo>
                  <a:pt x="3372" y="1270"/>
                </a:lnTo>
                <a:lnTo>
                  <a:pt x="3369" y="1270"/>
                </a:lnTo>
                <a:lnTo>
                  <a:pt x="3362" y="1270"/>
                </a:lnTo>
                <a:lnTo>
                  <a:pt x="3360" y="1266"/>
                </a:lnTo>
                <a:lnTo>
                  <a:pt x="3357" y="1259"/>
                </a:lnTo>
                <a:lnTo>
                  <a:pt x="3353" y="1255"/>
                </a:lnTo>
                <a:lnTo>
                  <a:pt x="3353" y="1252"/>
                </a:lnTo>
                <a:lnTo>
                  <a:pt x="3352" y="1250"/>
                </a:lnTo>
                <a:lnTo>
                  <a:pt x="3349" y="1250"/>
                </a:lnTo>
                <a:lnTo>
                  <a:pt x="3349" y="1247"/>
                </a:lnTo>
                <a:lnTo>
                  <a:pt x="3345" y="1245"/>
                </a:lnTo>
                <a:lnTo>
                  <a:pt x="3345" y="1240"/>
                </a:lnTo>
                <a:lnTo>
                  <a:pt x="3339" y="1232"/>
                </a:lnTo>
                <a:lnTo>
                  <a:pt x="3338" y="1228"/>
                </a:lnTo>
                <a:lnTo>
                  <a:pt x="3329" y="1230"/>
                </a:lnTo>
                <a:lnTo>
                  <a:pt x="3329" y="1229"/>
                </a:lnTo>
                <a:lnTo>
                  <a:pt x="3324" y="1228"/>
                </a:lnTo>
                <a:lnTo>
                  <a:pt x="3325" y="1226"/>
                </a:lnTo>
                <a:lnTo>
                  <a:pt x="3327" y="1226"/>
                </a:lnTo>
                <a:lnTo>
                  <a:pt x="3330" y="1225"/>
                </a:lnTo>
                <a:lnTo>
                  <a:pt x="3325" y="1222"/>
                </a:lnTo>
                <a:lnTo>
                  <a:pt x="3323" y="1226"/>
                </a:lnTo>
                <a:lnTo>
                  <a:pt x="3325" y="1231"/>
                </a:lnTo>
                <a:lnTo>
                  <a:pt x="3318" y="1234"/>
                </a:lnTo>
                <a:lnTo>
                  <a:pt x="3313" y="1234"/>
                </a:lnTo>
                <a:lnTo>
                  <a:pt x="3313" y="1230"/>
                </a:lnTo>
                <a:lnTo>
                  <a:pt x="3312" y="1230"/>
                </a:lnTo>
                <a:lnTo>
                  <a:pt x="3309" y="1230"/>
                </a:lnTo>
                <a:lnTo>
                  <a:pt x="3300" y="1230"/>
                </a:lnTo>
                <a:lnTo>
                  <a:pt x="3299" y="1234"/>
                </a:lnTo>
                <a:lnTo>
                  <a:pt x="3305" y="1234"/>
                </a:lnTo>
                <a:lnTo>
                  <a:pt x="3309" y="1234"/>
                </a:lnTo>
                <a:lnTo>
                  <a:pt x="3309" y="1235"/>
                </a:lnTo>
                <a:lnTo>
                  <a:pt x="3309" y="1238"/>
                </a:lnTo>
                <a:lnTo>
                  <a:pt x="3312" y="1238"/>
                </a:lnTo>
                <a:lnTo>
                  <a:pt x="3315" y="1239"/>
                </a:lnTo>
                <a:lnTo>
                  <a:pt x="3313" y="1241"/>
                </a:lnTo>
                <a:lnTo>
                  <a:pt x="3313" y="1241"/>
                </a:lnTo>
                <a:lnTo>
                  <a:pt x="3313" y="1241"/>
                </a:lnTo>
                <a:lnTo>
                  <a:pt x="3310" y="1240"/>
                </a:lnTo>
                <a:lnTo>
                  <a:pt x="3305" y="1246"/>
                </a:lnTo>
                <a:lnTo>
                  <a:pt x="3310" y="1246"/>
                </a:lnTo>
                <a:lnTo>
                  <a:pt x="3315" y="1258"/>
                </a:lnTo>
                <a:lnTo>
                  <a:pt x="3316" y="1258"/>
                </a:lnTo>
                <a:lnTo>
                  <a:pt x="3317" y="1264"/>
                </a:lnTo>
                <a:lnTo>
                  <a:pt x="3321" y="1266"/>
                </a:lnTo>
                <a:lnTo>
                  <a:pt x="3321" y="1267"/>
                </a:lnTo>
                <a:lnTo>
                  <a:pt x="3321" y="1270"/>
                </a:lnTo>
                <a:lnTo>
                  <a:pt x="3325" y="1271"/>
                </a:lnTo>
                <a:lnTo>
                  <a:pt x="3325" y="1274"/>
                </a:lnTo>
                <a:lnTo>
                  <a:pt x="3325" y="1274"/>
                </a:lnTo>
                <a:lnTo>
                  <a:pt x="3329" y="1278"/>
                </a:lnTo>
                <a:lnTo>
                  <a:pt x="3331" y="1275"/>
                </a:lnTo>
                <a:lnTo>
                  <a:pt x="3335" y="1279"/>
                </a:lnTo>
                <a:lnTo>
                  <a:pt x="3340" y="1286"/>
                </a:lnTo>
                <a:lnTo>
                  <a:pt x="3337" y="1285"/>
                </a:lnTo>
                <a:lnTo>
                  <a:pt x="3337" y="1287"/>
                </a:lnTo>
                <a:lnTo>
                  <a:pt x="3339" y="1290"/>
                </a:lnTo>
                <a:lnTo>
                  <a:pt x="3342" y="1291"/>
                </a:lnTo>
                <a:lnTo>
                  <a:pt x="3340" y="1293"/>
                </a:lnTo>
                <a:lnTo>
                  <a:pt x="3337" y="1293"/>
                </a:lnTo>
                <a:lnTo>
                  <a:pt x="3337" y="1296"/>
                </a:lnTo>
                <a:lnTo>
                  <a:pt x="3341" y="1302"/>
                </a:lnTo>
                <a:lnTo>
                  <a:pt x="3340" y="1301"/>
                </a:lnTo>
                <a:lnTo>
                  <a:pt x="3345" y="1306"/>
                </a:lnTo>
                <a:lnTo>
                  <a:pt x="3347" y="1311"/>
                </a:lnTo>
                <a:lnTo>
                  <a:pt x="3350" y="1316"/>
                </a:lnTo>
                <a:lnTo>
                  <a:pt x="3351" y="1319"/>
                </a:lnTo>
                <a:lnTo>
                  <a:pt x="3351" y="1319"/>
                </a:lnTo>
                <a:lnTo>
                  <a:pt x="3351" y="1317"/>
                </a:lnTo>
                <a:lnTo>
                  <a:pt x="3348" y="1306"/>
                </a:lnTo>
                <a:lnTo>
                  <a:pt x="3349" y="1306"/>
                </a:lnTo>
                <a:lnTo>
                  <a:pt x="3349" y="1303"/>
                </a:lnTo>
                <a:lnTo>
                  <a:pt x="3351" y="1302"/>
                </a:lnTo>
                <a:lnTo>
                  <a:pt x="3354" y="1294"/>
                </a:lnTo>
                <a:lnTo>
                  <a:pt x="3358" y="1293"/>
                </a:lnTo>
                <a:lnTo>
                  <a:pt x="3359" y="1297"/>
                </a:lnTo>
                <a:lnTo>
                  <a:pt x="3361" y="1298"/>
                </a:lnTo>
                <a:lnTo>
                  <a:pt x="3361" y="1302"/>
                </a:lnTo>
                <a:lnTo>
                  <a:pt x="3361" y="1306"/>
                </a:lnTo>
                <a:lnTo>
                  <a:pt x="3361" y="1308"/>
                </a:lnTo>
                <a:lnTo>
                  <a:pt x="3361" y="1312"/>
                </a:lnTo>
                <a:lnTo>
                  <a:pt x="3360" y="1321"/>
                </a:lnTo>
                <a:lnTo>
                  <a:pt x="3358" y="1319"/>
                </a:lnTo>
                <a:lnTo>
                  <a:pt x="3358" y="1319"/>
                </a:lnTo>
                <a:lnTo>
                  <a:pt x="3358" y="1319"/>
                </a:lnTo>
                <a:lnTo>
                  <a:pt x="3356" y="1322"/>
                </a:lnTo>
                <a:lnTo>
                  <a:pt x="3361" y="1324"/>
                </a:lnTo>
                <a:lnTo>
                  <a:pt x="3361" y="1325"/>
                </a:lnTo>
                <a:lnTo>
                  <a:pt x="3362" y="1326"/>
                </a:lnTo>
                <a:lnTo>
                  <a:pt x="3365" y="1326"/>
                </a:lnTo>
                <a:lnTo>
                  <a:pt x="3368" y="1329"/>
                </a:lnTo>
                <a:lnTo>
                  <a:pt x="3371" y="1329"/>
                </a:lnTo>
                <a:lnTo>
                  <a:pt x="3375" y="1328"/>
                </a:lnTo>
                <a:lnTo>
                  <a:pt x="3378" y="1324"/>
                </a:lnTo>
                <a:lnTo>
                  <a:pt x="3392" y="1328"/>
                </a:lnTo>
                <a:lnTo>
                  <a:pt x="3399" y="1325"/>
                </a:lnTo>
                <a:lnTo>
                  <a:pt x="3401" y="1324"/>
                </a:lnTo>
                <a:lnTo>
                  <a:pt x="3401" y="1322"/>
                </a:lnTo>
                <a:lnTo>
                  <a:pt x="3406" y="1322"/>
                </a:lnTo>
                <a:lnTo>
                  <a:pt x="3408" y="1317"/>
                </a:lnTo>
                <a:lnTo>
                  <a:pt x="3415" y="1310"/>
                </a:lnTo>
                <a:lnTo>
                  <a:pt x="3419" y="1302"/>
                </a:lnTo>
                <a:lnTo>
                  <a:pt x="3422" y="1302"/>
                </a:lnTo>
                <a:lnTo>
                  <a:pt x="3425" y="1301"/>
                </a:lnTo>
                <a:lnTo>
                  <a:pt x="3428" y="1294"/>
                </a:lnTo>
                <a:lnTo>
                  <a:pt x="3427" y="1293"/>
                </a:lnTo>
                <a:lnTo>
                  <a:pt x="3428" y="1289"/>
                </a:lnTo>
                <a:lnTo>
                  <a:pt x="3429" y="1290"/>
                </a:lnTo>
                <a:lnTo>
                  <a:pt x="3429" y="1289"/>
                </a:lnTo>
                <a:lnTo>
                  <a:pt x="3434" y="1290"/>
                </a:lnTo>
                <a:lnTo>
                  <a:pt x="3429" y="1290"/>
                </a:lnTo>
                <a:lnTo>
                  <a:pt x="3429" y="1294"/>
                </a:lnTo>
                <a:lnTo>
                  <a:pt x="3430" y="1294"/>
                </a:lnTo>
                <a:lnTo>
                  <a:pt x="3431" y="1294"/>
                </a:lnTo>
                <a:lnTo>
                  <a:pt x="3433" y="1294"/>
                </a:lnTo>
                <a:lnTo>
                  <a:pt x="3431" y="1297"/>
                </a:lnTo>
                <a:lnTo>
                  <a:pt x="3430" y="1302"/>
                </a:lnTo>
                <a:lnTo>
                  <a:pt x="3429" y="1302"/>
                </a:lnTo>
                <a:lnTo>
                  <a:pt x="3429" y="1312"/>
                </a:lnTo>
                <a:lnTo>
                  <a:pt x="3429" y="1313"/>
                </a:lnTo>
                <a:lnTo>
                  <a:pt x="3435" y="1320"/>
                </a:lnTo>
                <a:lnTo>
                  <a:pt x="3443" y="1329"/>
                </a:lnTo>
                <a:lnTo>
                  <a:pt x="3459" y="1334"/>
                </a:lnTo>
                <a:lnTo>
                  <a:pt x="3464" y="1334"/>
                </a:lnTo>
                <a:lnTo>
                  <a:pt x="3473" y="1350"/>
                </a:lnTo>
                <a:lnTo>
                  <a:pt x="3478" y="1351"/>
                </a:lnTo>
                <a:lnTo>
                  <a:pt x="3478" y="1356"/>
                </a:lnTo>
                <a:lnTo>
                  <a:pt x="3473" y="1369"/>
                </a:lnTo>
                <a:lnTo>
                  <a:pt x="3467" y="1376"/>
                </a:lnTo>
                <a:lnTo>
                  <a:pt x="3463" y="1383"/>
                </a:lnTo>
                <a:lnTo>
                  <a:pt x="3458" y="1386"/>
                </a:lnTo>
                <a:lnTo>
                  <a:pt x="3459" y="1383"/>
                </a:lnTo>
                <a:lnTo>
                  <a:pt x="3458" y="1383"/>
                </a:lnTo>
                <a:lnTo>
                  <a:pt x="3452" y="1387"/>
                </a:lnTo>
                <a:lnTo>
                  <a:pt x="3449" y="1395"/>
                </a:lnTo>
                <a:lnTo>
                  <a:pt x="3452" y="1407"/>
                </a:lnTo>
                <a:lnTo>
                  <a:pt x="3443" y="1409"/>
                </a:lnTo>
                <a:lnTo>
                  <a:pt x="3437" y="1410"/>
                </a:lnTo>
                <a:lnTo>
                  <a:pt x="3436" y="1414"/>
                </a:lnTo>
                <a:lnTo>
                  <a:pt x="3434" y="1420"/>
                </a:lnTo>
                <a:lnTo>
                  <a:pt x="3430" y="1424"/>
                </a:lnTo>
                <a:lnTo>
                  <a:pt x="3418" y="1425"/>
                </a:lnTo>
                <a:lnTo>
                  <a:pt x="3415" y="1430"/>
                </a:lnTo>
                <a:lnTo>
                  <a:pt x="3416" y="1433"/>
                </a:lnTo>
                <a:lnTo>
                  <a:pt x="3412" y="1437"/>
                </a:lnTo>
                <a:lnTo>
                  <a:pt x="3408" y="1441"/>
                </a:lnTo>
                <a:lnTo>
                  <a:pt x="3405" y="1439"/>
                </a:lnTo>
                <a:lnTo>
                  <a:pt x="3399" y="1439"/>
                </a:lnTo>
                <a:lnTo>
                  <a:pt x="3392" y="1443"/>
                </a:lnTo>
                <a:lnTo>
                  <a:pt x="3385" y="1444"/>
                </a:lnTo>
                <a:lnTo>
                  <a:pt x="3384" y="1441"/>
                </a:lnTo>
                <a:lnTo>
                  <a:pt x="3376" y="1445"/>
                </a:lnTo>
                <a:lnTo>
                  <a:pt x="3370" y="1446"/>
                </a:lnTo>
                <a:lnTo>
                  <a:pt x="3369" y="1451"/>
                </a:lnTo>
                <a:lnTo>
                  <a:pt x="3369" y="1457"/>
                </a:lnTo>
                <a:lnTo>
                  <a:pt x="3357" y="1463"/>
                </a:lnTo>
                <a:lnTo>
                  <a:pt x="3346" y="1467"/>
                </a:lnTo>
                <a:lnTo>
                  <a:pt x="3340" y="1471"/>
                </a:lnTo>
                <a:lnTo>
                  <a:pt x="3336" y="1471"/>
                </a:lnTo>
                <a:lnTo>
                  <a:pt x="3325" y="1475"/>
                </a:lnTo>
                <a:lnTo>
                  <a:pt x="3324" y="1475"/>
                </a:lnTo>
                <a:lnTo>
                  <a:pt x="3323" y="1477"/>
                </a:lnTo>
                <a:lnTo>
                  <a:pt x="3320" y="1480"/>
                </a:lnTo>
                <a:lnTo>
                  <a:pt x="3313" y="1483"/>
                </a:lnTo>
                <a:lnTo>
                  <a:pt x="3309" y="1480"/>
                </a:lnTo>
                <a:lnTo>
                  <a:pt x="3301" y="1488"/>
                </a:lnTo>
                <a:lnTo>
                  <a:pt x="3290" y="1490"/>
                </a:lnTo>
                <a:lnTo>
                  <a:pt x="3275" y="1491"/>
                </a:lnTo>
                <a:lnTo>
                  <a:pt x="3273" y="1493"/>
                </a:lnTo>
                <a:lnTo>
                  <a:pt x="3271" y="1495"/>
                </a:lnTo>
                <a:lnTo>
                  <a:pt x="3265" y="1496"/>
                </a:lnTo>
                <a:lnTo>
                  <a:pt x="3265" y="1503"/>
                </a:lnTo>
                <a:lnTo>
                  <a:pt x="3261" y="1503"/>
                </a:lnTo>
                <a:lnTo>
                  <a:pt x="3261" y="1499"/>
                </a:lnTo>
                <a:lnTo>
                  <a:pt x="3258" y="1498"/>
                </a:lnTo>
                <a:lnTo>
                  <a:pt x="3256" y="1502"/>
                </a:lnTo>
                <a:lnTo>
                  <a:pt x="3250" y="1503"/>
                </a:lnTo>
                <a:lnTo>
                  <a:pt x="3244" y="1500"/>
                </a:lnTo>
                <a:lnTo>
                  <a:pt x="3241" y="1502"/>
                </a:lnTo>
                <a:lnTo>
                  <a:pt x="3241" y="1498"/>
                </a:lnTo>
                <a:lnTo>
                  <a:pt x="3237" y="1494"/>
                </a:lnTo>
                <a:lnTo>
                  <a:pt x="3237" y="1485"/>
                </a:lnTo>
                <a:lnTo>
                  <a:pt x="3237" y="1483"/>
                </a:lnTo>
                <a:lnTo>
                  <a:pt x="3236" y="1475"/>
                </a:lnTo>
                <a:lnTo>
                  <a:pt x="3233" y="1468"/>
                </a:lnTo>
                <a:lnTo>
                  <a:pt x="3233" y="1465"/>
                </a:lnTo>
                <a:lnTo>
                  <a:pt x="3231" y="1463"/>
                </a:lnTo>
                <a:lnTo>
                  <a:pt x="3229" y="1462"/>
                </a:lnTo>
                <a:lnTo>
                  <a:pt x="3229" y="1461"/>
                </a:lnTo>
                <a:lnTo>
                  <a:pt x="3232" y="1462"/>
                </a:lnTo>
                <a:lnTo>
                  <a:pt x="3231" y="1456"/>
                </a:lnTo>
                <a:lnTo>
                  <a:pt x="3233" y="1452"/>
                </a:lnTo>
                <a:lnTo>
                  <a:pt x="3233" y="1445"/>
                </a:lnTo>
                <a:lnTo>
                  <a:pt x="3232" y="1444"/>
                </a:lnTo>
                <a:lnTo>
                  <a:pt x="3229" y="1442"/>
                </a:lnTo>
                <a:lnTo>
                  <a:pt x="3229" y="1440"/>
                </a:lnTo>
                <a:lnTo>
                  <a:pt x="3227" y="1438"/>
                </a:lnTo>
                <a:lnTo>
                  <a:pt x="3228" y="1439"/>
                </a:lnTo>
                <a:lnTo>
                  <a:pt x="3227" y="1439"/>
                </a:lnTo>
                <a:lnTo>
                  <a:pt x="3225" y="1439"/>
                </a:lnTo>
                <a:lnTo>
                  <a:pt x="3225" y="1431"/>
                </a:lnTo>
                <a:lnTo>
                  <a:pt x="3221" y="1428"/>
                </a:lnTo>
                <a:lnTo>
                  <a:pt x="3217" y="1425"/>
                </a:lnTo>
                <a:lnTo>
                  <a:pt x="3213" y="1417"/>
                </a:lnTo>
                <a:lnTo>
                  <a:pt x="3209" y="1413"/>
                </a:lnTo>
                <a:lnTo>
                  <a:pt x="3209" y="1411"/>
                </a:lnTo>
                <a:lnTo>
                  <a:pt x="3209" y="1408"/>
                </a:lnTo>
                <a:lnTo>
                  <a:pt x="3209" y="1407"/>
                </a:lnTo>
                <a:lnTo>
                  <a:pt x="3208" y="1406"/>
                </a:lnTo>
                <a:lnTo>
                  <a:pt x="3206" y="1402"/>
                </a:lnTo>
                <a:lnTo>
                  <a:pt x="3205" y="1398"/>
                </a:lnTo>
                <a:lnTo>
                  <a:pt x="3205" y="1396"/>
                </a:lnTo>
                <a:lnTo>
                  <a:pt x="3195" y="1391"/>
                </a:lnTo>
                <a:lnTo>
                  <a:pt x="3192" y="1391"/>
                </a:lnTo>
                <a:lnTo>
                  <a:pt x="3190" y="1387"/>
                </a:lnTo>
                <a:lnTo>
                  <a:pt x="3186" y="1380"/>
                </a:lnTo>
                <a:lnTo>
                  <a:pt x="3180" y="1375"/>
                </a:lnTo>
                <a:lnTo>
                  <a:pt x="3180" y="1372"/>
                </a:lnTo>
                <a:lnTo>
                  <a:pt x="3180" y="1369"/>
                </a:lnTo>
                <a:lnTo>
                  <a:pt x="3178" y="1364"/>
                </a:lnTo>
                <a:lnTo>
                  <a:pt x="3180" y="1355"/>
                </a:lnTo>
                <a:lnTo>
                  <a:pt x="3180" y="1353"/>
                </a:lnTo>
                <a:lnTo>
                  <a:pt x="3179" y="1352"/>
                </a:lnTo>
                <a:lnTo>
                  <a:pt x="3175" y="1342"/>
                </a:lnTo>
                <a:lnTo>
                  <a:pt x="3172" y="1332"/>
                </a:lnTo>
                <a:lnTo>
                  <a:pt x="3167" y="1328"/>
                </a:lnTo>
                <a:lnTo>
                  <a:pt x="3156" y="1322"/>
                </a:lnTo>
                <a:lnTo>
                  <a:pt x="3153" y="1314"/>
                </a:lnTo>
                <a:lnTo>
                  <a:pt x="3154" y="1314"/>
                </a:lnTo>
                <a:lnTo>
                  <a:pt x="3153" y="1309"/>
                </a:lnTo>
                <a:lnTo>
                  <a:pt x="3150" y="1301"/>
                </a:lnTo>
                <a:lnTo>
                  <a:pt x="3146" y="1298"/>
                </a:lnTo>
                <a:lnTo>
                  <a:pt x="3145" y="1297"/>
                </a:lnTo>
                <a:lnTo>
                  <a:pt x="3146" y="1296"/>
                </a:lnTo>
                <a:lnTo>
                  <a:pt x="3143" y="1293"/>
                </a:lnTo>
                <a:lnTo>
                  <a:pt x="3138" y="1286"/>
                </a:lnTo>
                <a:lnTo>
                  <a:pt x="3124" y="1262"/>
                </a:lnTo>
                <a:lnTo>
                  <a:pt x="3117" y="1261"/>
                </a:lnTo>
                <a:lnTo>
                  <a:pt x="3116" y="1262"/>
                </a:lnTo>
                <a:lnTo>
                  <a:pt x="3114" y="1261"/>
                </a:lnTo>
                <a:lnTo>
                  <a:pt x="3117" y="1254"/>
                </a:lnTo>
                <a:lnTo>
                  <a:pt x="3119" y="1241"/>
                </a:lnTo>
                <a:lnTo>
                  <a:pt x="3117" y="1242"/>
                </a:lnTo>
                <a:lnTo>
                  <a:pt x="3115" y="1253"/>
                </a:lnTo>
                <a:lnTo>
                  <a:pt x="3112" y="1259"/>
                </a:lnTo>
                <a:lnTo>
                  <a:pt x="3112" y="1264"/>
                </a:lnTo>
                <a:lnTo>
                  <a:pt x="3108" y="1269"/>
                </a:lnTo>
                <a:lnTo>
                  <a:pt x="3101" y="1264"/>
                </a:lnTo>
                <a:lnTo>
                  <a:pt x="3092" y="1256"/>
                </a:lnTo>
                <a:lnTo>
                  <a:pt x="3092" y="1248"/>
                </a:lnTo>
                <a:lnTo>
                  <a:pt x="3088" y="1241"/>
                </a:lnTo>
                <a:lnTo>
                  <a:pt x="3085" y="1231"/>
                </a:lnTo>
                <a:lnTo>
                  <a:pt x="3082" y="1239"/>
                </a:lnTo>
                <a:lnTo>
                  <a:pt x="3085" y="1242"/>
                </a:lnTo>
                <a:lnTo>
                  <a:pt x="3087" y="1251"/>
                </a:lnTo>
                <a:lnTo>
                  <a:pt x="3094" y="1260"/>
                </a:lnTo>
                <a:lnTo>
                  <a:pt x="3100" y="1265"/>
                </a:lnTo>
                <a:lnTo>
                  <a:pt x="3100" y="1270"/>
                </a:lnTo>
                <a:lnTo>
                  <a:pt x="3096" y="1270"/>
                </a:lnTo>
                <a:lnTo>
                  <a:pt x="3096" y="1271"/>
                </a:lnTo>
                <a:lnTo>
                  <a:pt x="3100" y="1274"/>
                </a:lnTo>
                <a:lnTo>
                  <a:pt x="3103" y="1276"/>
                </a:lnTo>
                <a:lnTo>
                  <a:pt x="3104" y="1282"/>
                </a:lnTo>
                <a:lnTo>
                  <a:pt x="3104" y="1286"/>
                </a:lnTo>
                <a:lnTo>
                  <a:pt x="3113" y="1302"/>
                </a:lnTo>
                <a:lnTo>
                  <a:pt x="3122" y="1320"/>
                </a:lnTo>
                <a:lnTo>
                  <a:pt x="3134" y="1330"/>
                </a:lnTo>
                <a:lnTo>
                  <a:pt x="3128" y="1330"/>
                </a:lnTo>
                <a:lnTo>
                  <a:pt x="3128" y="1337"/>
                </a:lnTo>
                <a:lnTo>
                  <a:pt x="3131" y="1346"/>
                </a:lnTo>
                <a:lnTo>
                  <a:pt x="3134" y="1349"/>
                </a:lnTo>
                <a:lnTo>
                  <a:pt x="3136" y="1350"/>
                </a:lnTo>
                <a:lnTo>
                  <a:pt x="3139" y="1351"/>
                </a:lnTo>
                <a:lnTo>
                  <a:pt x="3143" y="1357"/>
                </a:lnTo>
                <a:lnTo>
                  <a:pt x="3145" y="1359"/>
                </a:lnTo>
                <a:lnTo>
                  <a:pt x="3150" y="1359"/>
                </a:lnTo>
                <a:lnTo>
                  <a:pt x="3151" y="1366"/>
                </a:lnTo>
                <a:lnTo>
                  <a:pt x="3156" y="1373"/>
                </a:lnTo>
                <a:lnTo>
                  <a:pt x="3156" y="1375"/>
                </a:lnTo>
                <a:lnTo>
                  <a:pt x="3155" y="1374"/>
                </a:lnTo>
                <a:lnTo>
                  <a:pt x="3151" y="1372"/>
                </a:lnTo>
                <a:lnTo>
                  <a:pt x="3152" y="1382"/>
                </a:lnTo>
                <a:lnTo>
                  <a:pt x="3152" y="1387"/>
                </a:lnTo>
                <a:lnTo>
                  <a:pt x="3155" y="1397"/>
                </a:lnTo>
                <a:lnTo>
                  <a:pt x="3158" y="1409"/>
                </a:lnTo>
                <a:lnTo>
                  <a:pt x="3159" y="1409"/>
                </a:lnTo>
                <a:lnTo>
                  <a:pt x="3159" y="1410"/>
                </a:lnTo>
                <a:lnTo>
                  <a:pt x="3163" y="1412"/>
                </a:lnTo>
                <a:lnTo>
                  <a:pt x="3167" y="1416"/>
                </a:lnTo>
                <a:lnTo>
                  <a:pt x="3174" y="1420"/>
                </a:lnTo>
                <a:lnTo>
                  <a:pt x="3175" y="1421"/>
                </a:lnTo>
                <a:lnTo>
                  <a:pt x="3173" y="1425"/>
                </a:lnTo>
                <a:lnTo>
                  <a:pt x="3178" y="1435"/>
                </a:lnTo>
                <a:lnTo>
                  <a:pt x="3182" y="1453"/>
                </a:lnTo>
                <a:lnTo>
                  <a:pt x="3183" y="1456"/>
                </a:lnTo>
                <a:lnTo>
                  <a:pt x="3185" y="1460"/>
                </a:lnTo>
                <a:lnTo>
                  <a:pt x="3186" y="1462"/>
                </a:lnTo>
                <a:lnTo>
                  <a:pt x="3187" y="1464"/>
                </a:lnTo>
                <a:lnTo>
                  <a:pt x="3188" y="1467"/>
                </a:lnTo>
                <a:lnTo>
                  <a:pt x="3188" y="1469"/>
                </a:lnTo>
                <a:lnTo>
                  <a:pt x="3188" y="1467"/>
                </a:lnTo>
                <a:lnTo>
                  <a:pt x="3188" y="1464"/>
                </a:lnTo>
                <a:lnTo>
                  <a:pt x="3191" y="1463"/>
                </a:lnTo>
                <a:lnTo>
                  <a:pt x="3192" y="1463"/>
                </a:lnTo>
                <a:lnTo>
                  <a:pt x="3192" y="1463"/>
                </a:lnTo>
                <a:lnTo>
                  <a:pt x="3193" y="1465"/>
                </a:lnTo>
                <a:lnTo>
                  <a:pt x="3194" y="1469"/>
                </a:lnTo>
                <a:lnTo>
                  <a:pt x="3196" y="1471"/>
                </a:lnTo>
                <a:lnTo>
                  <a:pt x="3200" y="1469"/>
                </a:lnTo>
                <a:lnTo>
                  <a:pt x="3202" y="1471"/>
                </a:lnTo>
                <a:lnTo>
                  <a:pt x="3204" y="1474"/>
                </a:lnTo>
                <a:lnTo>
                  <a:pt x="3207" y="1475"/>
                </a:lnTo>
                <a:lnTo>
                  <a:pt x="3209" y="1475"/>
                </a:lnTo>
                <a:lnTo>
                  <a:pt x="3216" y="1486"/>
                </a:lnTo>
                <a:lnTo>
                  <a:pt x="3219" y="1487"/>
                </a:lnTo>
                <a:lnTo>
                  <a:pt x="3223" y="1491"/>
                </a:lnTo>
                <a:lnTo>
                  <a:pt x="3224" y="1491"/>
                </a:lnTo>
                <a:lnTo>
                  <a:pt x="3226" y="1497"/>
                </a:lnTo>
                <a:lnTo>
                  <a:pt x="3231" y="1498"/>
                </a:lnTo>
                <a:lnTo>
                  <a:pt x="3233" y="1502"/>
                </a:lnTo>
                <a:lnTo>
                  <a:pt x="3233" y="1503"/>
                </a:lnTo>
                <a:lnTo>
                  <a:pt x="3234" y="1502"/>
                </a:lnTo>
                <a:lnTo>
                  <a:pt x="3235" y="1502"/>
                </a:lnTo>
                <a:lnTo>
                  <a:pt x="3237" y="1499"/>
                </a:lnTo>
                <a:lnTo>
                  <a:pt x="3237" y="1499"/>
                </a:lnTo>
                <a:lnTo>
                  <a:pt x="3237" y="1499"/>
                </a:lnTo>
                <a:lnTo>
                  <a:pt x="3241" y="1507"/>
                </a:lnTo>
                <a:lnTo>
                  <a:pt x="3242" y="1514"/>
                </a:lnTo>
                <a:lnTo>
                  <a:pt x="3237" y="1519"/>
                </a:lnTo>
                <a:lnTo>
                  <a:pt x="3235" y="1519"/>
                </a:lnTo>
                <a:lnTo>
                  <a:pt x="3232" y="1523"/>
                </a:lnTo>
                <a:lnTo>
                  <a:pt x="3229" y="1523"/>
                </a:lnTo>
                <a:lnTo>
                  <a:pt x="3231" y="1524"/>
                </a:lnTo>
                <a:lnTo>
                  <a:pt x="3233" y="1523"/>
                </a:lnTo>
                <a:lnTo>
                  <a:pt x="3236" y="1523"/>
                </a:lnTo>
                <a:lnTo>
                  <a:pt x="3238" y="1523"/>
                </a:lnTo>
                <a:lnTo>
                  <a:pt x="3239" y="1522"/>
                </a:lnTo>
                <a:lnTo>
                  <a:pt x="3240" y="1518"/>
                </a:lnTo>
                <a:lnTo>
                  <a:pt x="3244" y="1520"/>
                </a:lnTo>
                <a:lnTo>
                  <a:pt x="3249" y="1529"/>
                </a:lnTo>
                <a:lnTo>
                  <a:pt x="3258" y="1533"/>
                </a:lnTo>
                <a:lnTo>
                  <a:pt x="3265" y="1535"/>
                </a:lnTo>
                <a:lnTo>
                  <a:pt x="3271" y="1532"/>
                </a:lnTo>
                <a:lnTo>
                  <a:pt x="3278" y="1528"/>
                </a:lnTo>
                <a:lnTo>
                  <a:pt x="3282" y="1529"/>
                </a:lnTo>
                <a:lnTo>
                  <a:pt x="3287" y="1531"/>
                </a:lnTo>
                <a:lnTo>
                  <a:pt x="3302" y="1527"/>
                </a:lnTo>
                <a:lnTo>
                  <a:pt x="3306" y="1527"/>
                </a:lnTo>
                <a:lnTo>
                  <a:pt x="3313" y="1527"/>
                </a:lnTo>
                <a:lnTo>
                  <a:pt x="3317" y="1522"/>
                </a:lnTo>
                <a:lnTo>
                  <a:pt x="3324" y="1522"/>
                </a:lnTo>
                <a:lnTo>
                  <a:pt x="3330" y="1520"/>
                </a:lnTo>
                <a:lnTo>
                  <a:pt x="3333" y="1519"/>
                </a:lnTo>
                <a:lnTo>
                  <a:pt x="3339" y="1519"/>
                </a:lnTo>
                <a:lnTo>
                  <a:pt x="3344" y="1516"/>
                </a:lnTo>
                <a:lnTo>
                  <a:pt x="3348" y="1512"/>
                </a:lnTo>
                <a:lnTo>
                  <a:pt x="3350" y="1509"/>
                </a:lnTo>
                <a:lnTo>
                  <a:pt x="3357" y="1512"/>
                </a:lnTo>
                <a:lnTo>
                  <a:pt x="3353" y="1520"/>
                </a:lnTo>
                <a:lnTo>
                  <a:pt x="3353" y="1522"/>
                </a:lnTo>
                <a:lnTo>
                  <a:pt x="3353" y="1523"/>
                </a:lnTo>
                <a:lnTo>
                  <a:pt x="3353" y="1524"/>
                </a:lnTo>
                <a:lnTo>
                  <a:pt x="3353" y="1531"/>
                </a:lnTo>
                <a:lnTo>
                  <a:pt x="3355" y="1531"/>
                </a:lnTo>
                <a:lnTo>
                  <a:pt x="3356" y="1531"/>
                </a:lnTo>
                <a:lnTo>
                  <a:pt x="3357" y="1533"/>
                </a:lnTo>
                <a:lnTo>
                  <a:pt x="3357" y="1533"/>
                </a:lnTo>
                <a:lnTo>
                  <a:pt x="3352" y="1535"/>
                </a:lnTo>
                <a:lnTo>
                  <a:pt x="3351" y="1550"/>
                </a:lnTo>
                <a:lnTo>
                  <a:pt x="3344" y="1558"/>
                </a:lnTo>
                <a:lnTo>
                  <a:pt x="3341" y="1568"/>
                </a:lnTo>
                <a:lnTo>
                  <a:pt x="3336" y="1570"/>
                </a:lnTo>
                <a:lnTo>
                  <a:pt x="3336" y="1574"/>
                </a:lnTo>
                <a:lnTo>
                  <a:pt x="3336" y="1577"/>
                </a:lnTo>
                <a:lnTo>
                  <a:pt x="3331" y="1584"/>
                </a:lnTo>
                <a:lnTo>
                  <a:pt x="3326" y="1590"/>
                </a:lnTo>
                <a:lnTo>
                  <a:pt x="3325" y="1599"/>
                </a:lnTo>
                <a:lnTo>
                  <a:pt x="3310" y="1624"/>
                </a:lnTo>
                <a:lnTo>
                  <a:pt x="3280" y="1655"/>
                </a:lnTo>
                <a:lnTo>
                  <a:pt x="3259" y="1667"/>
                </a:lnTo>
                <a:lnTo>
                  <a:pt x="3244" y="1682"/>
                </a:lnTo>
                <a:lnTo>
                  <a:pt x="3224" y="1704"/>
                </a:lnTo>
                <a:lnTo>
                  <a:pt x="3221" y="1710"/>
                </a:lnTo>
                <a:lnTo>
                  <a:pt x="3218" y="1715"/>
                </a:lnTo>
                <a:lnTo>
                  <a:pt x="3209" y="1704"/>
                </a:lnTo>
                <a:lnTo>
                  <a:pt x="3209" y="1649"/>
                </a:lnTo>
                <a:lnTo>
                  <a:pt x="3214" y="1644"/>
                </a:lnTo>
                <a:lnTo>
                  <a:pt x="3219" y="1635"/>
                </a:lnTo>
                <a:lnTo>
                  <a:pt x="3218" y="1635"/>
                </a:lnTo>
                <a:lnTo>
                  <a:pt x="3211" y="1644"/>
                </a:lnTo>
                <a:lnTo>
                  <a:pt x="3205" y="1649"/>
                </a:lnTo>
                <a:lnTo>
                  <a:pt x="3205" y="1708"/>
                </a:lnTo>
                <a:lnTo>
                  <a:pt x="3214" y="1719"/>
                </a:lnTo>
                <a:lnTo>
                  <a:pt x="3212" y="1723"/>
                </a:lnTo>
                <a:lnTo>
                  <a:pt x="3205" y="1724"/>
                </a:lnTo>
                <a:lnTo>
                  <a:pt x="3205" y="1728"/>
                </a:lnTo>
                <a:lnTo>
                  <a:pt x="3205" y="1730"/>
                </a:lnTo>
                <a:lnTo>
                  <a:pt x="3202" y="1736"/>
                </a:lnTo>
                <a:lnTo>
                  <a:pt x="3201" y="1736"/>
                </a:lnTo>
                <a:lnTo>
                  <a:pt x="3196" y="1736"/>
                </a:lnTo>
                <a:lnTo>
                  <a:pt x="3194" y="1743"/>
                </a:lnTo>
                <a:lnTo>
                  <a:pt x="3191" y="1744"/>
                </a:lnTo>
                <a:lnTo>
                  <a:pt x="3183" y="1765"/>
                </a:lnTo>
                <a:lnTo>
                  <a:pt x="3184" y="1767"/>
                </a:lnTo>
                <a:lnTo>
                  <a:pt x="3182" y="1768"/>
                </a:lnTo>
                <a:lnTo>
                  <a:pt x="3182" y="1768"/>
                </a:lnTo>
                <a:lnTo>
                  <a:pt x="3180" y="1768"/>
                </a:lnTo>
                <a:lnTo>
                  <a:pt x="3180" y="1768"/>
                </a:lnTo>
                <a:lnTo>
                  <a:pt x="3176" y="1786"/>
                </a:lnTo>
                <a:lnTo>
                  <a:pt x="3180" y="1791"/>
                </a:lnTo>
                <a:lnTo>
                  <a:pt x="3181" y="1792"/>
                </a:lnTo>
                <a:lnTo>
                  <a:pt x="3189" y="1800"/>
                </a:lnTo>
                <a:lnTo>
                  <a:pt x="3184" y="1809"/>
                </a:lnTo>
                <a:lnTo>
                  <a:pt x="3184" y="1811"/>
                </a:lnTo>
                <a:lnTo>
                  <a:pt x="3188" y="1812"/>
                </a:lnTo>
                <a:lnTo>
                  <a:pt x="3188" y="1813"/>
                </a:lnTo>
                <a:lnTo>
                  <a:pt x="3184" y="1820"/>
                </a:lnTo>
                <a:lnTo>
                  <a:pt x="3186" y="1828"/>
                </a:lnTo>
                <a:lnTo>
                  <a:pt x="3188" y="1833"/>
                </a:lnTo>
                <a:lnTo>
                  <a:pt x="3186" y="1833"/>
                </a:lnTo>
                <a:lnTo>
                  <a:pt x="3188" y="1834"/>
                </a:lnTo>
                <a:lnTo>
                  <a:pt x="3191" y="1847"/>
                </a:lnTo>
                <a:lnTo>
                  <a:pt x="3192" y="1849"/>
                </a:lnTo>
                <a:lnTo>
                  <a:pt x="3192" y="1849"/>
                </a:lnTo>
                <a:lnTo>
                  <a:pt x="3195" y="1849"/>
                </a:lnTo>
                <a:lnTo>
                  <a:pt x="3196" y="1849"/>
                </a:lnTo>
                <a:lnTo>
                  <a:pt x="3196" y="1849"/>
                </a:lnTo>
                <a:lnTo>
                  <a:pt x="3196" y="1849"/>
                </a:lnTo>
                <a:lnTo>
                  <a:pt x="3199" y="1849"/>
                </a:lnTo>
                <a:lnTo>
                  <a:pt x="3200" y="1849"/>
                </a:lnTo>
                <a:lnTo>
                  <a:pt x="3202" y="1851"/>
                </a:lnTo>
                <a:lnTo>
                  <a:pt x="3204" y="1853"/>
                </a:lnTo>
                <a:lnTo>
                  <a:pt x="3200" y="1856"/>
                </a:lnTo>
                <a:lnTo>
                  <a:pt x="3200" y="1857"/>
                </a:lnTo>
                <a:lnTo>
                  <a:pt x="3196" y="1857"/>
                </a:lnTo>
                <a:lnTo>
                  <a:pt x="3196" y="1861"/>
                </a:lnTo>
                <a:lnTo>
                  <a:pt x="3200" y="1861"/>
                </a:lnTo>
                <a:lnTo>
                  <a:pt x="3195" y="1865"/>
                </a:lnTo>
                <a:lnTo>
                  <a:pt x="3196" y="1865"/>
                </a:lnTo>
                <a:lnTo>
                  <a:pt x="3196" y="1867"/>
                </a:lnTo>
                <a:lnTo>
                  <a:pt x="3196" y="1872"/>
                </a:lnTo>
                <a:lnTo>
                  <a:pt x="3196" y="1881"/>
                </a:lnTo>
                <a:lnTo>
                  <a:pt x="3200" y="1884"/>
                </a:lnTo>
                <a:lnTo>
                  <a:pt x="3200" y="1886"/>
                </a:lnTo>
                <a:lnTo>
                  <a:pt x="3198" y="1887"/>
                </a:lnTo>
                <a:lnTo>
                  <a:pt x="3200" y="1889"/>
                </a:lnTo>
                <a:lnTo>
                  <a:pt x="3201" y="1887"/>
                </a:lnTo>
                <a:lnTo>
                  <a:pt x="3201" y="1887"/>
                </a:lnTo>
                <a:lnTo>
                  <a:pt x="3201" y="1887"/>
                </a:lnTo>
                <a:lnTo>
                  <a:pt x="3200" y="1895"/>
                </a:lnTo>
                <a:lnTo>
                  <a:pt x="3201" y="1904"/>
                </a:lnTo>
                <a:lnTo>
                  <a:pt x="3200" y="1907"/>
                </a:lnTo>
                <a:lnTo>
                  <a:pt x="3200" y="1909"/>
                </a:lnTo>
                <a:lnTo>
                  <a:pt x="3201" y="1909"/>
                </a:lnTo>
                <a:lnTo>
                  <a:pt x="3201" y="1910"/>
                </a:lnTo>
                <a:lnTo>
                  <a:pt x="3200" y="1910"/>
                </a:lnTo>
                <a:lnTo>
                  <a:pt x="3201" y="1910"/>
                </a:lnTo>
                <a:lnTo>
                  <a:pt x="3201" y="1909"/>
                </a:lnTo>
                <a:lnTo>
                  <a:pt x="3201" y="1913"/>
                </a:lnTo>
                <a:lnTo>
                  <a:pt x="3201" y="1921"/>
                </a:lnTo>
                <a:lnTo>
                  <a:pt x="3200" y="1921"/>
                </a:lnTo>
                <a:lnTo>
                  <a:pt x="3201" y="1922"/>
                </a:lnTo>
                <a:lnTo>
                  <a:pt x="3201" y="1923"/>
                </a:lnTo>
                <a:lnTo>
                  <a:pt x="3200" y="1925"/>
                </a:lnTo>
                <a:lnTo>
                  <a:pt x="3193" y="1933"/>
                </a:lnTo>
                <a:lnTo>
                  <a:pt x="3191" y="1936"/>
                </a:lnTo>
                <a:lnTo>
                  <a:pt x="3188" y="1938"/>
                </a:lnTo>
                <a:lnTo>
                  <a:pt x="3188" y="1940"/>
                </a:lnTo>
                <a:lnTo>
                  <a:pt x="3188" y="1941"/>
                </a:lnTo>
                <a:lnTo>
                  <a:pt x="3183" y="1944"/>
                </a:lnTo>
                <a:lnTo>
                  <a:pt x="3179" y="1946"/>
                </a:lnTo>
                <a:lnTo>
                  <a:pt x="3178" y="1947"/>
                </a:lnTo>
                <a:lnTo>
                  <a:pt x="3178" y="1948"/>
                </a:lnTo>
                <a:lnTo>
                  <a:pt x="3160" y="1955"/>
                </a:lnTo>
                <a:lnTo>
                  <a:pt x="3152" y="1961"/>
                </a:lnTo>
                <a:lnTo>
                  <a:pt x="3150" y="1962"/>
                </a:lnTo>
                <a:lnTo>
                  <a:pt x="3148" y="1964"/>
                </a:lnTo>
                <a:lnTo>
                  <a:pt x="3147" y="1963"/>
                </a:lnTo>
                <a:lnTo>
                  <a:pt x="3146" y="1963"/>
                </a:lnTo>
                <a:lnTo>
                  <a:pt x="3147" y="1965"/>
                </a:lnTo>
                <a:lnTo>
                  <a:pt x="3148" y="1967"/>
                </a:lnTo>
                <a:lnTo>
                  <a:pt x="3143" y="1974"/>
                </a:lnTo>
                <a:lnTo>
                  <a:pt x="3139" y="1981"/>
                </a:lnTo>
                <a:lnTo>
                  <a:pt x="3136" y="1981"/>
                </a:lnTo>
                <a:lnTo>
                  <a:pt x="3118" y="1996"/>
                </a:lnTo>
                <a:lnTo>
                  <a:pt x="3115" y="1989"/>
                </a:lnTo>
                <a:lnTo>
                  <a:pt x="3116" y="1992"/>
                </a:lnTo>
                <a:lnTo>
                  <a:pt x="3116" y="1998"/>
                </a:lnTo>
                <a:lnTo>
                  <a:pt x="3114" y="2002"/>
                </a:lnTo>
                <a:lnTo>
                  <a:pt x="3120" y="2010"/>
                </a:lnTo>
                <a:lnTo>
                  <a:pt x="3120" y="2016"/>
                </a:lnTo>
                <a:lnTo>
                  <a:pt x="3124" y="2020"/>
                </a:lnTo>
                <a:lnTo>
                  <a:pt x="3124" y="2033"/>
                </a:lnTo>
                <a:lnTo>
                  <a:pt x="3126" y="2033"/>
                </a:lnTo>
                <a:lnTo>
                  <a:pt x="3128" y="2028"/>
                </a:lnTo>
                <a:lnTo>
                  <a:pt x="3128" y="2030"/>
                </a:lnTo>
                <a:lnTo>
                  <a:pt x="3128" y="2040"/>
                </a:lnTo>
                <a:lnTo>
                  <a:pt x="3128" y="2045"/>
                </a:lnTo>
                <a:lnTo>
                  <a:pt x="3130" y="2045"/>
                </a:lnTo>
                <a:lnTo>
                  <a:pt x="3128" y="2046"/>
                </a:lnTo>
                <a:lnTo>
                  <a:pt x="3124" y="2056"/>
                </a:lnTo>
                <a:lnTo>
                  <a:pt x="3124" y="2058"/>
                </a:lnTo>
                <a:lnTo>
                  <a:pt x="3128" y="2055"/>
                </a:lnTo>
                <a:lnTo>
                  <a:pt x="3128" y="2059"/>
                </a:lnTo>
                <a:lnTo>
                  <a:pt x="3120" y="2067"/>
                </a:lnTo>
                <a:lnTo>
                  <a:pt x="3102" y="2077"/>
                </a:lnTo>
                <a:lnTo>
                  <a:pt x="3090" y="2086"/>
                </a:lnTo>
                <a:lnTo>
                  <a:pt x="3086" y="2090"/>
                </a:lnTo>
                <a:lnTo>
                  <a:pt x="3091" y="2095"/>
                </a:lnTo>
                <a:lnTo>
                  <a:pt x="3092" y="2093"/>
                </a:lnTo>
                <a:lnTo>
                  <a:pt x="3091" y="2106"/>
                </a:lnTo>
                <a:lnTo>
                  <a:pt x="3092" y="2106"/>
                </a:lnTo>
                <a:lnTo>
                  <a:pt x="3084" y="2132"/>
                </a:lnTo>
                <a:lnTo>
                  <a:pt x="3080" y="2138"/>
                </a:lnTo>
                <a:lnTo>
                  <a:pt x="3077" y="2138"/>
                </a:lnTo>
                <a:lnTo>
                  <a:pt x="3069" y="2146"/>
                </a:lnTo>
                <a:lnTo>
                  <a:pt x="3067" y="2148"/>
                </a:lnTo>
                <a:lnTo>
                  <a:pt x="3065" y="2152"/>
                </a:lnTo>
                <a:lnTo>
                  <a:pt x="3058" y="2164"/>
                </a:lnTo>
                <a:lnTo>
                  <a:pt x="3050" y="2175"/>
                </a:lnTo>
                <a:lnTo>
                  <a:pt x="3045" y="2178"/>
                </a:lnTo>
                <a:lnTo>
                  <a:pt x="3041" y="2181"/>
                </a:lnTo>
                <a:lnTo>
                  <a:pt x="3027" y="2196"/>
                </a:lnTo>
                <a:lnTo>
                  <a:pt x="3020" y="2203"/>
                </a:lnTo>
                <a:lnTo>
                  <a:pt x="3006" y="2212"/>
                </a:lnTo>
                <a:lnTo>
                  <a:pt x="2999" y="2218"/>
                </a:lnTo>
                <a:lnTo>
                  <a:pt x="2987" y="2218"/>
                </a:lnTo>
                <a:lnTo>
                  <a:pt x="2986" y="2221"/>
                </a:lnTo>
                <a:lnTo>
                  <a:pt x="2987" y="2222"/>
                </a:lnTo>
                <a:lnTo>
                  <a:pt x="2976" y="2222"/>
                </a:lnTo>
                <a:lnTo>
                  <a:pt x="2975" y="2225"/>
                </a:lnTo>
                <a:lnTo>
                  <a:pt x="2957" y="2222"/>
                </a:lnTo>
                <a:lnTo>
                  <a:pt x="2953" y="2222"/>
                </a:lnTo>
                <a:lnTo>
                  <a:pt x="2952" y="2222"/>
                </a:lnTo>
                <a:lnTo>
                  <a:pt x="2940" y="2219"/>
                </a:lnTo>
                <a:lnTo>
                  <a:pt x="2933" y="2221"/>
                </a:lnTo>
                <a:lnTo>
                  <a:pt x="2928" y="2226"/>
                </a:lnTo>
                <a:lnTo>
                  <a:pt x="2925" y="2226"/>
                </a:lnTo>
                <a:lnTo>
                  <a:pt x="2922" y="2226"/>
                </a:lnTo>
                <a:lnTo>
                  <a:pt x="2915" y="2226"/>
                </a:lnTo>
                <a:lnTo>
                  <a:pt x="2914" y="2230"/>
                </a:lnTo>
                <a:lnTo>
                  <a:pt x="2909" y="2230"/>
                </a:lnTo>
                <a:lnTo>
                  <a:pt x="2903" y="2234"/>
                </a:lnTo>
                <a:lnTo>
                  <a:pt x="2898" y="2234"/>
                </a:lnTo>
                <a:lnTo>
                  <a:pt x="2891" y="2229"/>
                </a:lnTo>
                <a:lnTo>
                  <a:pt x="2891" y="2226"/>
                </a:lnTo>
                <a:lnTo>
                  <a:pt x="2891" y="2226"/>
                </a:lnTo>
                <a:lnTo>
                  <a:pt x="2883" y="2226"/>
                </a:lnTo>
                <a:lnTo>
                  <a:pt x="2883" y="2222"/>
                </a:lnTo>
                <a:lnTo>
                  <a:pt x="2879" y="2222"/>
                </a:lnTo>
                <a:lnTo>
                  <a:pt x="2879" y="2225"/>
                </a:lnTo>
                <a:lnTo>
                  <a:pt x="2877" y="2224"/>
                </a:lnTo>
                <a:lnTo>
                  <a:pt x="2876" y="2219"/>
                </a:lnTo>
                <a:lnTo>
                  <a:pt x="2879" y="2218"/>
                </a:lnTo>
                <a:lnTo>
                  <a:pt x="2879" y="2214"/>
                </a:lnTo>
                <a:lnTo>
                  <a:pt x="2873" y="2206"/>
                </a:lnTo>
                <a:lnTo>
                  <a:pt x="2872" y="2206"/>
                </a:lnTo>
                <a:lnTo>
                  <a:pt x="2870" y="2200"/>
                </a:lnTo>
                <a:lnTo>
                  <a:pt x="2873" y="2198"/>
                </a:lnTo>
                <a:lnTo>
                  <a:pt x="2875" y="2199"/>
                </a:lnTo>
                <a:lnTo>
                  <a:pt x="2877" y="2196"/>
                </a:lnTo>
                <a:lnTo>
                  <a:pt x="2878" y="2191"/>
                </a:lnTo>
                <a:lnTo>
                  <a:pt x="2877" y="2184"/>
                </a:lnTo>
                <a:lnTo>
                  <a:pt x="2862" y="2158"/>
                </a:lnTo>
                <a:lnTo>
                  <a:pt x="2855" y="2139"/>
                </a:lnTo>
                <a:lnTo>
                  <a:pt x="2852" y="2135"/>
                </a:lnTo>
                <a:lnTo>
                  <a:pt x="2852" y="2133"/>
                </a:lnTo>
                <a:lnTo>
                  <a:pt x="2851" y="2133"/>
                </a:lnTo>
                <a:lnTo>
                  <a:pt x="2850" y="2132"/>
                </a:lnTo>
                <a:lnTo>
                  <a:pt x="2840" y="2125"/>
                </a:lnTo>
                <a:lnTo>
                  <a:pt x="2833" y="2113"/>
                </a:lnTo>
                <a:lnTo>
                  <a:pt x="2831" y="2107"/>
                </a:lnTo>
                <a:lnTo>
                  <a:pt x="2829" y="2103"/>
                </a:lnTo>
                <a:lnTo>
                  <a:pt x="2831" y="2102"/>
                </a:lnTo>
                <a:lnTo>
                  <a:pt x="2829" y="2098"/>
                </a:lnTo>
                <a:lnTo>
                  <a:pt x="2827" y="2098"/>
                </a:lnTo>
                <a:lnTo>
                  <a:pt x="2827" y="2092"/>
                </a:lnTo>
                <a:lnTo>
                  <a:pt x="2827" y="2087"/>
                </a:lnTo>
                <a:lnTo>
                  <a:pt x="2827" y="2076"/>
                </a:lnTo>
                <a:lnTo>
                  <a:pt x="2819" y="2060"/>
                </a:lnTo>
                <a:lnTo>
                  <a:pt x="2819" y="2049"/>
                </a:lnTo>
                <a:lnTo>
                  <a:pt x="2825" y="2049"/>
                </a:lnTo>
                <a:lnTo>
                  <a:pt x="2824" y="2045"/>
                </a:lnTo>
                <a:lnTo>
                  <a:pt x="2819" y="2045"/>
                </a:lnTo>
                <a:lnTo>
                  <a:pt x="2819" y="2039"/>
                </a:lnTo>
                <a:lnTo>
                  <a:pt x="2819" y="2036"/>
                </a:lnTo>
                <a:lnTo>
                  <a:pt x="2819" y="2033"/>
                </a:lnTo>
                <a:lnTo>
                  <a:pt x="2813" y="2025"/>
                </a:lnTo>
                <a:lnTo>
                  <a:pt x="2812" y="2020"/>
                </a:lnTo>
                <a:lnTo>
                  <a:pt x="2805" y="2009"/>
                </a:lnTo>
                <a:lnTo>
                  <a:pt x="2801" y="2000"/>
                </a:lnTo>
                <a:lnTo>
                  <a:pt x="2790" y="1980"/>
                </a:lnTo>
                <a:lnTo>
                  <a:pt x="2782" y="1972"/>
                </a:lnTo>
                <a:lnTo>
                  <a:pt x="2779" y="1967"/>
                </a:lnTo>
                <a:lnTo>
                  <a:pt x="2779" y="1959"/>
                </a:lnTo>
                <a:lnTo>
                  <a:pt x="2779" y="1954"/>
                </a:lnTo>
                <a:lnTo>
                  <a:pt x="2779" y="1953"/>
                </a:lnTo>
                <a:lnTo>
                  <a:pt x="2779" y="1943"/>
                </a:lnTo>
                <a:lnTo>
                  <a:pt x="2779" y="1934"/>
                </a:lnTo>
                <a:lnTo>
                  <a:pt x="2779" y="1933"/>
                </a:lnTo>
                <a:lnTo>
                  <a:pt x="2782" y="1930"/>
                </a:lnTo>
                <a:lnTo>
                  <a:pt x="2785" y="1923"/>
                </a:lnTo>
                <a:lnTo>
                  <a:pt x="2787" y="1916"/>
                </a:lnTo>
                <a:lnTo>
                  <a:pt x="2787" y="1907"/>
                </a:lnTo>
                <a:lnTo>
                  <a:pt x="2791" y="1903"/>
                </a:lnTo>
                <a:lnTo>
                  <a:pt x="2791" y="1895"/>
                </a:lnTo>
                <a:lnTo>
                  <a:pt x="2795" y="1889"/>
                </a:lnTo>
                <a:lnTo>
                  <a:pt x="2795" y="1885"/>
                </a:lnTo>
                <a:lnTo>
                  <a:pt x="2803" y="1882"/>
                </a:lnTo>
                <a:lnTo>
                  <a:pt x="2809" y="1870"/>
                </a:lnTo>
                <a:lnTo>
                  <a:pt x="2811" y="1859"/>
                </a:lnTo>
                <a:lnTo>
                  <a:pt x="2807" y="1856"/>
                </a:lnTo>
                <a:lnTo>
                  <a:pt x="2807" y="1854"/>
                </a:lnTo>
                <a:lnTo>
                  <a:pt x="2804" y="1850"/>
                </a:lnTo>
                <a:lnTo>
                  <a:pt x="2798" y="1830"/>
                </a:lnTo>
                <a:lnTo>
                  <a:pt x="2803" y="1823"/>
                </a:lnTo>
                <a:lnTo>
                  <a:pt x="2803" y="1819"/>
                </a:lnTo>
                <a:lnTo>
                  <a:pt x="2795" y="1803"/>
                </a:lnTo>
                <a:lnTo>
                  <a:pt x="2795" y="1798"/>
                </a:lnTo>
                <a:lnTo>
                  <a:pt x="2791" y="1793"/>
                </a:lnTo>
                <a:lnTo>
                  <a:pt x="2787" y="1785"/>
                </a:lnTo>
                <a:lnTo>
                  <a:pt x="2787" y="1780"/>
                </a:lnTo>
                <a:lnTo>
                  <a:pt x="2786" y="1778"/>
                </a:lnTo>
                <a:lnTo>
                  <a:pt x="2787" y="1776"/>
                </a:lnTo>
                <a:lnTo>
                  <a:pt x="2784" y="1769"/>
                </a:lnTo>
                <a:lnTo>
                  <a:pt x="2788" y="1768"/>
                </a:lnTo>
                <a:lnTo>
                  <a:pt x="2788" y="1768"/>
                </a:lnTo>
                <a:lnTo>
                  <a:pt x="2783" y="1762"/>
                </a:lnTo>
                <a:lnTo>
                  <a:pt x="2783" y="1759"/>
                </a:lnTo>
                <a:lnTo>
                  <a:pt x="2775" y="1750"/>
                </a:lnTo>
                <a:lnTo>
                  <a:pt x="2777" y="1747"/>
                </a:lnTo>
                <a:lnTo>
                  <a:pt x="2782" y="1744"/>
                </a:lnTo>
                <a:lnTo>
                  <a:pt x="2781" y="1744"/>
                </a:lnTo>
                <a:lnTo>
                  <a:pt x="2775" y="1746"/>
                </a:lnTo>
                <a:lnTo>
                  <a:pt x="2774" y="1749"/>
                </a:lnTo>
                <a:lnTo>
                  <a:pt x="2763" y="1738"/>
                </a:lnTo>
                <a:lnTo>
                  <a:pt x="2755" y="1732"/>
                </a:lnTo>
                <a:lnTo>
                  <a:pt x="2754" y="1732"/>
                </a:lnTo>
                <a:lnTo>
                  <a:pt x="2750" y="1730"/>
                </a:lnTo>
                <a:lnTo>
                  <a:pt x="2746" y="1724"/>
                </a:lnTo>
                <a:lnTo>
                  <a:pt x="2749" y="1724"/>
                </a:lnTo>
                <a:lnTo>
                  <a:pt x="2745" y="1720"/>
                </a:lnTo>
                <a:lnTo>
                  <a:pt x="2747" y="1720"/>
                </a:lnTo>
                <a:lnTo>
                  <a:pt x="2747" y="1716"/>
                </a:lnTo>
                <a:lnTo>
                  <a:pt x="2747" y="1714"/>
                </a:lnTo>
                <a:lnTo>
                  <a:pt x="2745" y="1716"/>
                </a:lnTo>
                <a:lnTo>
                  <a:pt x="2745" y="1715"/>
                </a:lnTo>
                <a:lnTo>
                  <a:pt x="2746" y="1711"/>
                </a:lnTo>
                <a:lnTo>
                  <a:pt x="2745" y="1712"/>
                </a:lnTo>
                <a:lnTo>
                  <a:pt x="2742" y="1711"/>
                </a:lnTo>
                <a:lnTo>
                  <a:pt x="2742" y="1711"/>
                </a:lnTo>
                <a:lnTo>
                  <a:pt x="2741" y="1711"/>
                </a:lnTo>
                <a:lnTo>
                  <a:pt x="2736" y="1702"/>
                </a:lnTo>
                <a:lnTo>
                  <a:pt x="2740" y="1705"/>
                </a:lnTo>
                <a:lnTo>
                  <a:pt x="2741" y="1704"/>
                </a:lnTo>
                <a:lnTo>
                  <a:pt x="2743" y="1705"/>
                </a:lnTo>
                <a:lnTo>
                  <a:pt x="2743" y="1702"/>
                </a:lnTo>
                <a:lnTo>
                  <a:pt x="2742" y="1702"/>
                </a:lnTo>
                <a:lnTo>
                  <a:pt x="2743" y="1699"/>
                </a:lnTo>
                <a:lnTo>
                  <a:pt x="2743" y="1688"/>
                </a:lnTo>
                <a:lnTo>
                  <a:pt x="2747" y="1692"/>
                </a:lnTo>
                <a:lnTo>
                  <a:pt x="2753" y="1693"/>
                </a:lnTo>
                <a:lnTo>
                  <a:pt x="2754" y="1692"/>
                </a:lnTo>
                <a:lnTo>
                  <a:pt x="2747" y="1689"/>
                </a:lnTo>
                <a:lnTo>
                  <a:pt x="2743" y="1686"/>
                </a:lnTo>
                <a:lnTo>
                  <a:pt x="2743" y="1685"/>
                </a:lnTo>
                <a:lnTo>
                  <a:pt x="2747" y="1684"/>
                </a:lnTo>
                <a:lnTo>
                  <a:pt x="2747" y="1680"/>
                </a:lnTo>
                <a:lnTo>
                  <a:pt x="2749" y="1680"/>
                </a:lnTo>
                <a:lnTo>
                  <a:pt x="2751" y="1680"/>
                </a:lnTo>
                <a:lnTo>
                  <a:pt x="2751" y="1676"/>
                </a:lnTo>
                <a:lnTo>
                  <a:pt x="2752" y="1676"/>
                </a:lnTo>
                <a:lnTo>
                  <a:pt x="2747" y="1674"/>
                </a:lnTo>
                <a:lnTo>
                  <a:pt x="2751" y="1663"/>
                </a:lnTo>
                <a:lnTo>
                  <a:pt x="2751" y="1656"/>
                </a:lnTo>
                <a:lnTo>
                  <a:pt x="2754" y="1658"/>
                </a:lnTo>
                <a:lnTo>
                  <a:pt x="2760" y="1649"/>
                </a:lnTo>
                <a:lnTo>
                  <a:pt x="2757" y="1648"/>
                </a:lnTo>
                <a:lnTo>
                  <a:pt x="2754" y="1642"/>
                </a:lnTo>
                <a:lnTo>
                  <a:pt x="2753" y="1638"/>
                </a:lnTo>
                <a:lnTo>
                  <a:pt x="2754" y="1637"/>
                </a:lnTo>
                <a:lnTo>
                  <a:pt x="2752" y="1633"/>
                </a:lnTo>
                <a:lnTo>
                  <a:pt x="2753" y="1636"/>
                </a:lnTo>
                <a:lnTo>
                  <a:pt x="2752" y="1637"/>
                </a:lnTo>
                <a:lnTo>
                  <a:pt x="2745" y="1633"/>
                </a:lnTo>
                <a:lnTo>
                  <a:pt x="2742" y="1627"/>
                </a:lnTo>
                <a:lnTo>
                  <a:pt x="2739" y="1626"/>
                </a:lnTo>
                <a:lnTo>
                  <a:pt x="2739" y="1630"/>
                </a:lnTo>
                <a:lnTo>
                  <a:pt x="2736" y="1627"/>
                </a:lnTo>
                <a:lnTo>
                  <a:pt x="2738" y="1626"/>
                </a:lnTo>
                <a:lnTo>
                  <a:pt x="2735" y="1622"/>
                </a:lnTo>
                <a:lnTo>
                  <a:pt x="2736" y="1626"/>
                </a:lnTo>
                <a:lnTo>
                  <a:pt x="2735" y="1627"/>
                </a:lnTo>
                <a:lnTo>
                  <a:pt x="2726" y="1630"/>
                </a:lnTo>
                <a:lnTo>
                  <a:pt x="2723" y="1627"/>
                </a:lnTo>
                <a:lnTo>
                  <a:pt x="2724" y="1628"/>
                </a:lnTo>
                <a:lnTo>
                  <a:pt x="2721" y="1628"/>
                </a:lnTo>
                <a:lnTo>
                  <a:pt x="2721" y="1627"/>
                </a:lnTo>
                <a:lnTo>
                  <a:pt x="2720" y="1628"/>
                </a:lnTo>
                <a:lnTo>
                  <a:pt x="2717" y="1627"/>
                </a:lnTo>
                <a:lnTo>
                  <a:pt x="2719" y="1632"/>
                </a:lnTo>
                <a:lnTo>
                  <a:pt x="2717" y="1632"/>
                </a:lnTo>
                <a:lnTo>
                  <a:pt x="2714" y="1632"/>
                </a:lnTo>
                <a:lnTo>
                  <a:pt x="2712" y="1632"/>
                </a:lnTo>
                <a:lnTo>
                  <a:pt x="2706" y="1634"/>
                </a:lnTo>
                <a:lnTo>
                  <a:pt x="2708" y="1632"/>
                </a:lnTo>
                <a:lnTo>
                  <a:pt x="2706" y="1632"/>
                </a:lnTo>
                <a:lnTo>
                  <a:pt x="2704" y="1632"/>
                </a:lnTo>
                <a:lnTo>
                  <a:pt x="2702" y="1632"/>
                </a:lnTo>
                <a:lnTo>
                  <a:pt x="2697" y="1630"/>
                </a:lnTo>
                <a:lnTo>
                  <a:pt x="2694" y="1622"/>
                </a:lnTo>
                <a:lnTo>
                  <a:pt x="2691" y="1618"/>
                </a:lnTo>
                <a:lnTo>
                  <a:pt x="2691" y="1615"/>
                </a:lnTo>
                <a:lnTo>
                  <a:pt x="2691" y="1615"/>
                </a:lnTo>
                <a:lnTo>
                  <a:pt x="2690" y="1614"/>
                </a:lnTo>
                <a:lnTo>
                  <a:pt x="2686" y="1606"/>
                </a:lnTo>
                <a:lnTo>
                  <a:pt x="2680" y="1602"/>
                </a:lnTo>
                <a:lnTo>
                  <a:pt x="2665" y="1600"/>
                </a:lnTo>
                <a:lnTo>
                  <a:pt x="2664" y="1604"/>
                </a:lnTo>
                <a:lnTo>
                  <a:pt x="2654" y="1604"/>
                </a:lnTo>
                <a:lnTo>
                  <a:pt x="2654" y="1589"/>
                </a:lnTo>
                <a:lnTo>
                  <a:pt x="2653" y="1577"/>
                </a:lnTo>
                <a:lnTo>
                  <a:pt x="2654" y="1559"/>
                </a:lnTo>
                <a:lnTo>
                  <a:pt x="2653" y="1559"/>
                </a:lnTo>
                <a:lnTo>
                  <a:pt x="2651" y="1576"/>
                </a:lnTo>
                <a:lnTo>
                  <a:pt x="2650" y="1587"/>
                </a:lnTo>
                <a:lnTo>
                  <a:pt x="2650" y="1598"/>
                </a:lnTo>
                <a:lnTo>
                  <a:pt x="2636" y="1600"/>
                </a:lnTo>
                <a:lnTo>
                  <a:pt x="2638" y="1598"/>
                </a:lnTo>
                <a:lnTo>
                  <a:pt x="2634" y="1593"/>
                </a:lnTo>
                <a:lnTo>
                  <a:pt x="2634" y="1588"/>
                </a:lnTo>
                <a:lnTo>
                  <a:pt x="2630" y="1588"/>
                </a:lnTo>
                <a:lnTo>
                  <a:pt x="2630" y="1592"/>
                </a:lnTo>
                <a:lnTo>
                  <a:pt x="2635" y="1598"/>
                </a:lnTo>
                <a:lnTo>
                  <a:pt x="2635" y="1599"/>
                </a:lnTo>
                <a:lnTo>
                  <a:pt x="2631" y="1600"/>
                </a:lnTo>
                <a:lnTo>
                  <a:pt x="2631" y="1601"/>
                </a:lnTo>
                <a:lnTo>
                  <a:pt x="2629" y="1608"/>
                </a:lnTo>
                <a:lnTo>
                  <a:pt x="2623" y="1608"/>
                </a:lnTo>
                <a:lnTo>
                  <a:pt x="2618" y="1608"/>
                </a:lnTo>
                <a:lnTo>
                  <a:pt x="2603" y="1614"/>
                </a:lnTo>
                <a:lnTo>
                  <a:pt x="2588" y="1617"/>
                </a:lnTo>
                <a:lnTo>
                  <a:pt x="2582" y="1622"/>
                </a:lnTo>
                <a:lnTo>
                  <a:pt x="2579" y="1618"/>
                </a:lnTo>
                <a:lnTo>
                  <a:pt x="2570" y="1616"/>
                </a:lnTo>
                <a:lnTo>
                  <a:pt x="2570" y="1620"/>
                </a:lnTo>
                <a:lnTo>
                  <a:pt x="2569" y="1620"/>
                </a:lnTo>
                <a:lnTo>
                  <a:pt x="2562" y="1614"/>
                </a:lnTo>
                <a:lnTo>
                  <a:pt x="2562" y="1616"/>
                </a:lnTo>
                <a:lnTo>
                  <a:pt x="2555" y="1616"/>
                </a:lnTo>
                <a:lnTo>
                  <a:pt x="2558" y="1616"/>
                </a:lnTo>
                <a:lnTo>
                  <a:pt x="2546" y="1614"/>
                </a:lnTo>
                <a:lnTo>
                  <a:pt x="2542" y="1617"/>
                </a:lnTo>
                <a:lnTo>
                  <a:pt x="2540" y="1616"/>
                </a:lnTo>
                <a:lnTo>
                  <a:pt x="2538" y="1616"/>
                </a:lnTo>
                <a:lnTo>
                  <a:pt x="2539" y="1616"/>
                </a:lnTo>
                <a:lnTo>
                  <a:pt x="2536" y="1617"/>
                </a:lnTo>
                <a:lnTo>
                  <a:pt x="2534" y="1620"/>
                </a:lnTo>
                <a:lnTo>
                  <a:pt x="2534" y="1620"/>
                </a:lnTo>
                <a:lnTo>
                  <a:pt x="2534" y="1617"/>
                </a:lnTo>
                <a:lnTo>
                  <a:pt x="2526" y="1618"/>
                </a:lnTo>
                <a:lnTo>
                  <a:pt x="2504" y="1627"/>
                </a:lnTo>
                <a:lnTo>
                  <a:pt x="2501" y="1619"/>
                </a:lnTo>
                <a:lnTo>
                  <a:pt x="2505" y="1612"/>
                </a:lnTo>
                <a:lnTo>
                  <a:pt x="2503" y="1611"/>
                </a:lnTo>
                <a:lnTo>
                  <a:pt x="2502" y="1610"/>
                </a:lnTo>
                <a:lnTo>
                  <a:pt x="2502" y="1610"/>
                </a:lnTo>
                <a:lnTo>
                  <a:pt x="2502" y="1611"/>
                </a:lnTo>
                <a:lnTo>
                  <a:pt x="2504" y="1612"/>
                </a:lnTo>
                <a:lnTo>
                  <a:pt x="2501" y="1619"/>
                </a:lnTo>
                <a:lnTo>
                  <a:pt x="2503" y="1627"/>
                </a:lnTo>
                <a:lnTo>
                  <a:pt x="2492" y="1624"/>
                </a:lnTo>
                <a:lnTo>
                  <a:pt x="2480" y="1618"/>
                </a:lnTo>
                <a:lnTo>
                  <a:pt x="2464" y="1600"/>
                </a:lnTo>
                <a:lnTo>
                  <a:pt x="2458" y="1600"/>
                </a:lnTo>
                <a:lnTo>
                  <a:pt x="2456" y="1597"/>
                </a:lnTo>
                <a:lnTo>
                  <a:pt x="2451" y="1593"/>
                </a:lnTo>
                <a:lnTo>
                  <a:pt x="2448" y="1589"/>
                </a:lnTo>
                <a:lnTo>
                  <a:pt x="2451" y="1586"/>
                </a:lnTo>
                <a:lnTo>
                  <a:pt x="2455" y="1581"/>
                </a:lnTo>
                <a:lnTo>
                  <a:pt x="2458" y="1576"/>
                </a:lnTo>
                <a:lnTo>
                  <a:pt x="2458" y="1575"/>
                </a:lnTo>
                <a:lnTo>
                  <a:pt x="2454" y="1579"/>
                </a:lnTo>
                <a:lnTo>
                  <a:pt x="2449" y="1584"/>
                </a:lnTo>
                <a:lnTo>
                  <a:pt x="2447" y="1589"/>
                </a:lnTo>
                <a:lnTo>
                  <a:pt x="2440" y="1587"/>
                </a:lnTo>
                <a:lnTo>
                  <a:pt x="2432" y="1581"/>
                </a:lnTo>
                <a:lnTo>
                  <a:pt x="2432" y="1579"/>
                </a:lnTo>
                <a:lnTo>
                  <a:pt x="2430" y="1579"/>
                </a:lnTo>
                <a:lnTo>
                  <a:pt x="2430" y="1579"/>
                </a:lnTo>
                <a:lnTo>
                  <a:pt x="2425" y="1575"/>
                </a:lnTo>
                <a:lnTo>
                  <a:pt x="2426" y="1573"/>
                </a:lnTo>
                <a:lnTo>
                  <a:pt x="2425" y="1568"/>
                </a:lnTo>
                <a:lnTo>
                  <a:pt x="2424" y="1570"/>
                </a:lnTo>
                <a:lnTo>
                  <a:pt x="2421" y="1567"/>
                </a:lnTo>
                <a:lnTo>
                  <a:pt x="2417" y="1567"/>
                </a:lnTo>
                <a:lnTo>
                  <a:pt x="2417" y="1563"/>
                </a:lnTo>
                <a:lnTo>
                  <a:pt x="2424" y="1563"/>
                </a:lnTo>
                <a:lnTo>
                  <a:pt x="2420" y="1559"/>
                </a:lnTo>
                <a:lnTo>
                  <a:pt x="2417" y="1559"/>
                </a:lnTo>
                <a:lnTo>
                  <a:pt x="2417" y="1554"/>
                </a:lnTo>
                <a:lnTo>
                  <a:pt x="2414" y="1550"/>
                </a:lnTo>
                <a:lnTo>
                  <a:pt x="2413" y="1548"/>
                </a:lnTo>
                <a:lnTo>
                  <a:pt x="2413" y="1547"/>
                </a:lnTo>
                <a:lnTo>
                  <a:pt x="2412" y="1547"/>
                </a:lnTo>
                <a:lnTo>
                  <a:pt x="2414" y="1544"/>
                </a:lnTo>
                <a:lnTo>
                  <a:pt x="2411" y="1546"/>
                </a:lnTo>
                <a:lnTo>
                  <a:pt x="2403" y="1540"/>
                </a:lnTo>
                <a:lnTo>
                  <a:pt x="2401" y="1539"/>
                </a:lnTo>
                <a:lnTo>
                  <a:pt x="2399" y="1539"/>
                </a:lnTo>
                <a:lnTo>
                  <a:pt x="2401" y="1533"/>
                </a:lnTo>
                <a:lnTo>
                  <a:pt x="2397" y="1535"/>
                </a:lnTo>
                <a:lnTo>
                  <a:pt x="2396" y="1531"/>
                </a:lnTo>
                <a:lnTo>
                  <a:pt x="2397" y="1531"/>
                </a:lnTo>
                <a:lnTo>
                  <a:pt x="2396" y="1531"/>
                </a:lnTo>
                <a:lnTo>
                  <a:pt x="2395" y="1531"/>
                </a:lnTo>
                <a:lnTo>
                  <a:pt x="2393" y="1533"/>
                </a:lnTo>
                <a:lnTo>
                  <a:pt x="2393" y="1531"/>
                </a:lnTo>
                <a:lnTo>
                  <a:pt x="2390" y="1531"/>
                </a:lnTo>
                <a:lnTo>
                  <a:pt x="2389" y="1531"/>
                </a:lnTo>
                <a:lnTo>
                  <a:pt x="2389" y="1530"/>
                </a:lnTo>
                <a:lnTo>
                  <a:pt x="2389" y="1530"/>
                </a:lnTo>
                <a:lnTo>
                  <a:pt x="2389" y="1526"/>
                </a:lnTo>
                <a:lnTo>
                  <a:pt x="2389" y="1525"/>
                </a:lnTo>
                <a:lnTo>
                  <a:pt x="2390" y="1524"/>
                </a:lnTo>
                <a:lnTo>
                  <a:pt x="2387" y="1526"/>
                </a:lnTo>
                <a:lnTo>
                  <a:pt x="2390" y="1523"/>
                </a:lnTo>
                <a:lnTo>
                  <a:pt x="2393" y="1523"/>
                </a:lnTo>
                <a:lnTo>
                  <a:pt x="2390" y="1521"/>
                </a:lnTo>
                <a:lnTo>
                  <a:pt x="2389" y="1521"/>
                </a:lnTo>
                <a:lnTo>
                  <a:pt x="2389" y="1523"/>
                </a:lnTo>
                <a:lnTo>
                  <a:pt x="2387" y="1523"/>
                </a:lnTo>
                <a:lnTo>
                  <a:pt x="2389" y="1519"/>
                </a:lnTo>
                <a:lnTo>
                  <a:pt x="2392" y="1519"/>
                </a:lnTo>
                <a:lnTo>
                  <a:pt x="2394" y="1520"/>
                </a:lnTo>
                <a:lnTo>
                  <a:pt x="2393" y="1517"/>
                </a:lnTo>
                <a:lnTo>
                  <a:pt x="2394" y="1515"/>
                </a:lnTo>
                <a:lnTo>
                  <a:pt x="2392" y="1517"/>
                </a:lnTo>
                <a:lnTo>
                  <a:pt x="2389" y="1515"/>
                </a:lnTo>
                <a:lnTo>
                  <a:pt x="2386" y="1519"/>
                </a:lnTo>
                <a:lnTo>
                  <a:pt x="2382" y="1519"/>
                </a:lnTo>
                <a:lnTo>
                  <a:pt x="2382" y="1515"/>
                </a:lnTo>
                <a:lnTo>
                  <a:pt x="2376" y="1516"/>
                </a:lnTo>
                <a:lnTo>
                  <a:pt x="2373" y="1518"/>
                </a:lnTo>
                <a:lnTo>
                  <a:pt x="2373" y="1516"/>
                </a:lnTo>
                <a:lnTo>
                  <a:pt x="2374" y="1514"/>
                </a:lnTo>
                <a:lnTo>
                  <a:pt x="2379" y="1510"/>
                </a:lnTo>
                <a:lnTo>
                  <a:pt x="2372" y="1511"/>
                </a:lnTo>
                <a:lnTo>
                  <a:pt x="2370" y="1510"/>
                </a:lnTo>
                <a:lnTo>
                  <a:pt x="2373" y="1509"/>
                </a:lnTo>
                <a:lnTo>
                  <a:pt x="2370" y="1509"/>
                </a:lnTo>
                <a:lnTo>
                  <a:pt x="2368" y="1509"/>
                </a:lnTo>
                <a:lnTo>
                  <a:pt x="2369" y="1506"/>
                </a:lnTo>
                <a:lnTo>
                  <a:pt x="2369" y="1499"/>
                </a:lnTo>
                <a:lnTo>
                  <a:pt x="2371" y="1499"/>
                </a:lnTo>
                <a:lnTo>
                  <a:pt x="2370" y="1495"/>
                </a:lnTo>
                <a:lnTo>
                  <a:pt x="2372" y="1491"/>
                </a:lnTo>
                <a:lnTo>
                  <a:pt x="2369" y="1491"/>
                </a:lnTo>
                <a:lnTo>
                  <a:pt x="2369" y="1487"/>
                </a:lnTo>
                <a:lnTo>
                  <a:pt x="2369" y="1485"/>
                </a:lnTo>
                <a:lnTo>
                  <a:pt x="2375" y="1483"/>
                </a:lnTo>
                <a:lnTo>
                  <a:pt x="2372" y="1483"/>
                </a:lnTo>
                <a:lnTo>
                  <a:pt x="2371" y="1483"/>
                </a:lnTo>
                <a:lnTo>
                  <a:pt x="2368" y="1483"/>
                </a:lnTo>
                <a:lnTo>
                  <a:pt x="2364" y="1475"/>
                </a:lnTo>
                <a:lnTo>
                  <a:pt x="2360" y="1475"/>
                </a:lnTo>
                <a:lnTo>
                  <a:pt x="2359" y="1475"/>
                </a:lnTo>
                <a:lnTo>
                  <a:pt x="2363" y="1470"/>
                </a:lnTo>
                <a:lnTo>
                  <a:pt x="2367" y="1463"/>
                </a:lnTo>
                <a:lnTo>
                  <a:pt x="2369" y="1455"/>
                </a:lnTo>
                <a:lnTo>
                  <a:pt x="2369" y="1450"/>
                </a:lnTo>
                <a:lnTo>
                  <a:pt x="2369" y="1449"/>
                </a:lnTo>
                <a:lnTo>
                  <a:pt x="2369" y="1450"/>
                </a:lnTo>
                <a:lnTo>
                  <a:pt x="2369" y="1442"/>
                </a:lnTo>
                <a:lnTo>
                  <a:pt x="2377" y="1427"/>
                </a:lnTo>
                <a:lnTo>
                  <a:pt x="2377" y="1415"/>
                </a:lnTo>
                <a:lnTo>
                  <a:pt x="2377" y="1409"/>
                </a:lnTo>
                <a:lnTo>
                  <a:pt x="2372" y="1400"/>
                </a:lnTo>
                <a:lnTo>
                  <a:pt x="2374" y="1397"/>
                </a:lnTo>
                <a:lnTo>
                  <a:pt x="2371" y="1395"/>
                </a:lnTo>
                <a:lnTo>
                  <a:pt x="2373" y="1394"/>
                </a:lnTo>
                <a:lnTo>
                  <a:pt x="2373" y="1395"/>
                </a:lnTo>
                <a:lnTo>
                  <a:pt x="2374" y="1394"/>
                </a:lnTo>
                <a:lnTo>
                  <a:pt x="2376" y="1387"/>
                </a:lnTo>
                <a:lnTo>
                  <a:pt x="2370" y="1382"/>
                </a:lnTo>
                <a:lnTo>
                  <a:pt x="2370" y="1382"/>
                </a:lnTo>
                <a:lnTo>
                  <a:pt x="2367" y="1375"/>
                </a:lnTo>
                <a:lnTo>
                  <a:pt x="2367" y="1371"/>
                </a:lnTo>
                <a:lnTo>
                  <a:pt x="2361" y="1377"/>
                </a:lnTo>
                <a:lnTo>
                  <a:pt x="2361" y="1374"/>
                </a:lnTo>
                <a:lnTo>
                  <a:pt x="2365" y="1359"/>
                </a:lnTo>
                <a:lnTo>
                  <a:pt x="2370" y="1356"/>
                </a:lnTo>
                <a:lnTo>
                  <a:pt x="2372" y="1354"/>
                </a:lnTo>
                <a:lnTo>
                  <a:pt x="2378" y="1339"/>
                </a:lnTo>
                <a:lnTo>
                  <a:pt x="2381" y="1331"/>
                </a:lnTo>
                <a:lnTo>
                  <a:pt x="2381" y="1329"/>
                </a:lnTo>
                <a:lnTo>
                  <a:pt x="2397" y="1318"/>
                </a:lnTo>
                <a:lnTo>
                  <a:pt x="2398" y="1305"/>
                </a:lnTo>
                <a:lnTo>
                  <a:pt x="2401" y="1298"/>
                </a:lnTo>
                <a:lnTo>
                  <a:pt x="2401" y="1294"/>
                </a:lnTo>
                <a:lnTo>
                  <a:pt x="2416" y="1287"/>
                </a:lnTo>
                <a:lnTo>
                  <a:pt x="2421" y="1274"/>
                </a:lnTo>
                <a:lnTo>
                  <a:pt x="2420" y="1274"/>
                </a:lnTo>
                <a:lnTo>
                  <a:pt x="2426" y="1267"/>
                </a:lnTo>
                <a:lnTo>
                  <a:pt x="2438" y="1264"/>
                </a:lnTo>
                <a:lnTo>
                  <a:pt x="2446" y="1260"/>
                </a:lnTo>
                <a:lnTo>
                  <a:pt x="2451" y="1253"/>
                </a:lnTo>
                <a:lnTo>
                  <a:pt x="2460" y="1250"/>
                </a:lnTo>
                <a:lnTo>
                  <a:pt x="2464" y="1242"/>
                </a:lnTo>
                <a:lnTo>
                  <a:pt x="2472" y="1230"/>
                </a:lnTo>
                <a:lnTo>
                  <a:pt x="2473" y="1225"/>
                </a:lnTo>
                <a:lnTo>
                  <a:pt x="2470" y="1222"/>
                </a:lnTo>
                <a:lnTo>
                  <a:pt x="2470" y="1210"/>
                </a:lnTo>
                <a:lnTo>
                  <a:pt x="2471" y="1203"/>
                </a:lnTo>
                <a:lnTo>
                  <a:pt x="2478" y="1197"/>
                </a:lnTo>
                <a:lnTo>
                  <a:pt x="2478" y="1191"/>
                </a:lnTo>
                <a:lnTo>
                  <a:pt x="2487" y="1179"/>
                </a:lnTo>
                <a:lnTo>
                  <a:pt x="2505" y="1173"/>
                </a:lnTo>
                <a:lnTo>
                  <a:pt x="2513" y="1165"/>
                </a:lnTo>
                <a:lnTo>
                  <a:pt x="2521" y="1153"/>
                </a:lnTo>
                <a:lnTo>
                  <a:pt x="2526" y="1136"/>
                </a:lnTo>
                <a:lnTo>
                  <a:pt x="2531" y="1134"/>
                </a:lnTo>
                <a:lnTo>
                  <a:pt x="2525" y="1130"/>
                </a:lnTo>
                <a:lnTo>
                  <a:pt x="2521" y="1125"/>
                </a:lnTo>
                <a:lnTo>
                  <a:pt x="2522" y="1123"/>
                </a:lnTo>
                <a:lnTo>
                  <a:pt x="2518" y="1120"/>
                </a:lnTo>
                <a:lnTo>
                  <a:pt x="2518" y="1119"/>
                </a:lnTo>
                <a:lnTo>
                  <a:pt x="2513" y="1114"/>
                </a:lnTo>
                <a:lnTo>
                  <a:pt x="2508" y="1114"/>
                </a:lnTo>
                <a:lnTo>
                  <a:pt x="2501" y="1116"/>
                </a:lnTo>
                <a:lnTo>
                  <a:pt x="2489" y="1113"/>
                </a:lnTo>
                <a:lnTo>
                  <a:pt x="2484" y="1115"/>
                </a:lnTo>
                <a:lnTo>
                  <a:pt x="2486" y="1107"/>
                </a:lnTo>
                <a:lnTo>
                  <a:pt x="2486" y="1091"/>
                </a:lnTo>
                <a:lnTo>
                  <a:pt x="2489" y="1089"/>
                </a:lnTo>
                <a:lnTo>
                  <a:pt x="2486" y="1088"/>
                </a:lnTo>
                <a:lnTo>
                  <a:pt x="2483" y="1092"/>
                </a:lnTo>
                <a:lnTo>
                  <a:pt x="2482" y="1089"/>
                </a:lnTo>
                <a:lnTo>
                  <a:pt x="2483" y="1089"/>
                </a:lnTo>
                <a:lnTo>
                  <a:pt x="2485" y="1086"/>
                </a:lnTo>
                <a:lnTo>
                  <a:pt x="2485" y="1080"/>
                </a:lnTo>
                <a:lnTo>
                  <a:pt x="2483" y="1085"/>
                </a:lnTo>
                <a:lnTo>
                  <a:pt x="2478" y="1085"/>
                </a:lnTo>
                <a:lnTo>
                  <a:pt x="2478" y="1073"/>
                </a:lnTo>
                <a:lnTo>
                  <a:pt x="2482" y="1068"/>
                </a:lnTo>
                <a:lnTo>
                  <a:pt x="2485" y="1051"/>
                </a:lnTo>
                <a:lnTo>
                  <a:pt x="2486" y="1048"/>
                </a:lnTo>
                <a:lnTo>
                  <a:pt x="2486" y="1047"/>
                </a:lnTo>
                <a:lnTo>
                  <a:pt x="2486" y="1042"/>
                </a:lnTo>
                <a:lnTo>
                  <a:pt x="2484" y="1029"/>
                </a:lnTo>
                <a:lnTo>
                  <a:pt x="2486" y="1026"/>
                </a:lnTo>
                <a:lnTo>
                  <a:pt x="2484" y="1026"/>
                </a:lnTo>
                <a:lnTo>
                  <a:pt x="2482" y="1028"/>
                </a:lnTo>
                <a:lnTo>
                  <a:pt x="2482" y="1025"/>
                </a:lnTo>
                <a:lnTo>
                  <a:pt x="2488" y="1020"/>
                </a:lnTo>
                <a:lnTo>
                  <a:pt x="2484" y="1022"/>
                </a:lnTo>
                <a:lnTo>
                  <a:pt x="2484" y="1021"/>
                </a:lnTo>
                <a:lnTo>
                  <a:pt x="2485" y="1021"/>
                </a:lnTo>
                <a:lnTo>
                  <a:pt x="2485" y="1021"/>
                </a:lnTo>
                <a:lnTo>
                  <a:pt x="2485" y="1021"/>
                </a:lnTo>
                <a:lnTo>
                  <a:pt x="2484" y="1021"/>
                </a:lnTo>
                <a:lnTo>
                  <a:pt x="2487" y="1015"/>
                </a:lnTo>
                <a:lnTo>
                  <a:pt x="2482" y="1017"/>
                </a:lnTo>
                <a:lnTo>
                  <a:pt x="2482" y="1014"/>
                </a:lnTo>
                <a:lnTo>
                  <a:pt x="2482" y="1011"/>
                </a:lnTo>
                <a:lnTo>
                  <a:pt x="2478" y="1014"/>
                </a:lnTo>
                <a:lnTo>
                  <a:pt x="2478" y="1010"/>
                </a:lnTo>
                <a:lnTo>
                  <a:pt x="2478" y="1008"/>
                </a:lnTo>
                <a:lnTo>
                  <a:pt x="2478" y="1005"/>
                </a:lnTo>
                <a:lnTo>
                  <a:pt x="2483" y="1003"/>
                </a:lnTo>
                <a:lnTo>
                  <a:pt x="2488" y="1004"/>
                </a:lnTo>
                <a:lnTo>
                  <a:pt x="2492" y="1000"/>
                </a:lnTo>
                <a:lnTo>
                  <a:pt x="2494" y="999"/>
                </a:lnTo>
                <a:lnTo>
                  <a:pt x="2498" y="995"/>
                </a:lnTo>
                <a:lnTo>
                  <a:pt x="2499" y="997"/>
                </a:lnTo>
                <a:lnTo>
                  <a:pt x="2505" y="997"/>
                </a:lnTo>
                <a:lnTo>
                  <a:pt x="2508" y="1001"/>
                </a:lnTo>
                <a:lnTo>
                  <a:pt x="2511" y="1001"/>
                </a:lnTo>
                <a:lnTo>
                  <a:pt x="2513" y="998"/>
                </a:lnTo>
                <a:lnTo>
                  <a:pt x="2526" y="999"/>
                </a:lnTo>
                <a:lnTo>
                  <a:pt x="2529" y="997"/>
                </a:lnTo>
                <a:lnTo>
                  <a:pt x="2530" y="999"/>
                </a:lnTo>
                <a:lnTo>
                  <a:pt x="2548" y="1000"/>
                </a:lnTo>
                <a:lnTo>
                  <a:pt x="2561" y="999"/>
                </a:lnTo>
                <a:lnTo>
                  <a:pt x="2567" y="1002"/>
                </a:lnTo>
                <a:lnTo>
                  <a:pt x="2571" y="1000"/>
                </a:lnTo>
                <a:lnTo>
                  <a:pt x="2580" y="1003"/>
                </a:lnTo>
                <a:lnTo>
                  <a:pt x="2587" y="1003"/>
                </a:lnTo>
                <a:lnTo>
                  <a:pt x="2586" y="1002"/>
                </a:lnTo>
                <a:lnTo>
                  <a:pt x="2590" y="1001"/>
                </a:lnTo>
                <a:lnTo>
                  <a:pt x="2591" y="997"/>
                </a:lnTo>
                <a:lnTo>
                  <a:pt x="2595" y="980"/>
                </a:lnTo>
                <a:lnTo>
                  <a:pt x="2598" y="977"/>
                </a:lnTo>
                <a:lnTo>
                  <a:pt x="2595" y="976"/>
                </a:lnTo>
                <a:lnTo>
                  <a:pt x="2594" y="977"/>
                </a:lnTo>
                <a:lnTo>
                  <a:pt x="2594" y="976"/>
                </a:lnTo>
                <a:lnTo>
                  <a:pt x="2595" y="976"/>
                </a:lnTo>
                <a:lnTo>
                  <a:pt x="2596" y="961"/>
                </a:lnTo>
                <a:lnTo>
                  <a:pt x="2602" y="965"/>
                </a:lnTo>
                <a:lnTo>
                  <a:pt x="2604" y="974"/>
                </a:lnTo>
                <a:lnTo>
                  <a:pt x="2601" y="962"/>
                </a:lnTo>
                <a:lnTo>
                  <a:pt x="2594" y="960"/>
                </a:lnTo>
                <a:lnTo>
                  <a:pt x="2593" y="956"/>
                </a:lnTo>
                <a:lnTo>
                  <a:pt x="2594" y="958"/>
                </a:lnTo>
                <a:lnTo>
                  <a:pt x="2594" y="956"/>
                </a:lnTo>
                <a:lnTo>
                  <a:pt x="2594" y="956"/>
                </a:lnTo>
                <a:lnTo>
                  <a:pt x="2594" y="954"/>
                </a:lnTo>
                <a:lnTo>
                  <a:pt x="2594" y="956"/>
                </a:lnTo>
                <a:lnTo>
                  <a:pt x="2591" y="953"/>
                </a:lnTo>
                <a:lnTo>
                  <a:pt x="2594" y="954"/>
                </a:lnTo>
                <a:lnTo>
                  <a:pt x="2594" y="948"/>
                </a:lnTo>
                <a:lnTo>
                  <a:pt x="2585" y="945"/>
                </a:lnTo>
                <a:lnTo>
                  <a:pt x="2583" y="938"/>
                </a:lnTo>
                <a:lnTo>
                  <a:pt x="2584" y="934"/>
                </a:lnTo>
                <a:lnTo>
                  <a:pt x="2580" y="933"/>
                </a:lnTo>
                <a:lnTo>
                  <a:pt x="2583" y="933"/>
                </a:lnTo>
                <a:lnTo>
                  <a:pt x="2586" y="933"/>
                </a:lnTo>
                <a:lnTo>
                  <a:pt x="2583" y="929"/>
                </a:lnTo>
                <a:lnTo>
                  <a:pt x="2578" y="930"/>
                </a:lnTo>
                <a:lnTo>
                  <a:pt x="2574" y="927"/>
                </a:lnTo>
                <a:lnTo>
                  <a:pt x="2574" y="929"/>
                </a:lnTo>
                <a:lnTo>
                  <a:pt x="2570" y="929"/>
                </a:lnTo>
                <a:lnTo>
                  <a:pt x="2570" y="925"/>
                </a:lnTo>
                <a:lnTo>
                  <a:pt x="2566" y="925"/>
                </a:lnTo>
                <a:lnTo>
                  <a:pt x="2566" y="925"/>
                </a:lnTo>
                <a:lnTo>
                  <a:pt x="2564" y="922"/>
                </a:lnTo>
                <a:lnTo>
                  <a:pt x="2553" y="918"/>
                </a:lnTo>
                <a:lnTo>
                  <a:pt x="2546" y="920"/>
                </a:lnTo>
                <a:lnTo>
                  <a:pt x="2546" y="916"/>
                </a:lnTo>
                <a:lnTo>
                  <a:pt x="2542" y="915"/>
                </a:lnTo>
                <a:lnTo>
                  <a:pt x="2549" y="915"/>
                </a:lnTo>
                <a:lnTo>
                  <a:pt x="2548" y="913"/>
                </a:lnTo>
                <a:lnTo>
                  <a:pt x="2547" y="913"/>
                </a:lnTo>
                <a:lnTo>
                  <a:pt x="2544" y="911"/>
                </a:lnTo>
                <a:lnTo>
                  <a:pt x="2545" y="909"/>
                </a:lnTo>
                <a:lnTo>
                  <a:pt x="2542" y="907"/>
                </a:lnTo>
                <a:lnTo>
                  <a:pt x="2542" y="905"/>
                </a:lnTo>
                <a:lnTo>
                  <a:pt x="2548" y="904"/>
                </a:lnTo>
                <a:lnTo>
                  <a:pt x="2560" y="902"/>
                </a:lnTo>
                <a:lnTo>
                  <a:pt x="2561" y="900"/>
                </a:lnTo>
                <a:lnTo>
                  <a:pt x="2565" y="899"/>
                </a:lnTo>
                <a:lnTo>
                  <a:pt x="2573" y="906"/>
                </a:lnTo>
                <a:lnTo>
                  <a:pt x="2578" y="902"/>
                </a:lnTo>
                <a:lnTo>
                  <a:pt x="2582" y="905"/>
                </a:lnTo>
                <a:lnTo>
                  <a:pt x="2582" y="905"/>
                </a:lnTo>
                <a:lnTo>
                  <a:pt x="2593" y="905"/>
                </a:lnTo>
                <a:lnTo>
                  <a:pt x="2590" y="902"/>
                </a:lnTo>
                <a:lnTo>
                  <a:pt x="2588" y="891"/>
                </a:lnTo>
                <a:lnTo>
                  <a:pt x="2586" y="888"/>
                </a:lnTo>
                <a:lnTo>
                  <a:pt x="2585" y="884"/>
                </a:lnTo>
                <a:lnTo>
                  <a:pt x="2584" y="882"/>
                </a:lnTo>
                <a:lnTo>
                  <a:pt x="2595" y="884"/>
                </a:lnTo>
                <a:lnTo>
                  <a:pt x="2593" y="885"/>
                </a:lnTo>
                <a:lnTo>
                  <a:pt x="2596" y="888"/>
                </a:lnTo>
                <a:lnTo>
                  <a:pt x="2609" y="890"/>
                </a:lnTo>
                <a:lnTo>
                  <a:pt x="2619" y="887"/>
                </a:lnTo>
                <a:lnTo>
                  <a:pt x="2614" y="885"/>
                </a:lnTo>
                <a:lnTo>
                  <a:pt x="2616" y="882"/>
                </a:lnTo>
                <a:lnTo>
                  <a:pt x="2628" y="879"/>
                </a:lnTo>
                <a:lnTo>
                  <a:pt x="2632" y="873"/>
                </a:lnTo>
                <a:lnTo>
                  <a:pt x="2634" y="868"/>
                </a:lnTo>
                <a:lnTo>
                  <a:pt x="2634" y="858"/>
                </a:lnTo>
                <a:lnTo>
                  <a:pt x="2648" y="856"/>
                </a:lnTo>
                <a:lnTo>
                  <a:pt x="2650" y="857"/>
                </a:lnTo>
                <a:lnTo>
                  <a:pt x="2658" y="852"/>
                </a:lnTo>
                <a:lnTo>
                  <a:pt x="2658" y="856"/>
                </a:lnTo>
                <a:lnTo>
                  <a:pt x="2662" y="854"/>
                </a:lnTo>
                <a:lnTo>
                  <a:pt x="2665" y="856"/>
                </a:lnTo>
                <a:lnTo>
                  <a:pt x="2670" y="854"/>
                </a:lnTo>
                <a:lnTo>
                  <a:pt x="2670" y="853"/>
                </a:lnTo>
                <a:lnTo>
                  <a:pt x="2670" y="853"/>
                </a:lnTo>
                <a:lnTo>
                  <a:pt x="2666" y="851"/>
                </a:lnTo>
                <a:lnTo>
                  <a:pt x="2662" y="853"/>
                </a:lnTo>
                <a:lnTo>
                  <a:pt x="2662" y="849"/>
                </a:lnTo>
                <a:lnTo>
                  <a:pt x="2671" y="853"/>
                </a:lnTo>
                <a:lnTo>
                  <a:pt x="2673" y="853"/>
                </a:lnTo>
                <a:lnTo>
                  <a:pt x="2674" y="854"/>
                </a:lnTo>
                <a:lnTo>
                  <a:pt x="2674" y="853"/>
                </a:lnTo>
                <a:lnTo>
                  <a:pt x="2673" y="853"/>
                </a:lnTo>
                <a:lnTo>
                  <a:pt x="2672" y="852"/>
                </a:lnTo>
                <a:lnTo>
                  <a:pt x="2674" y="852"/>
                </a:lnTo>
                <a:lnTo>
                  <a:pt x="2674" y="852"/>
                </a:lnTo>
                <a:lnTo>
                  <a:pt x="2674" y="853"/>
                </a:lnTo>
                <a:lnTo>
                  <a:pt x="2675" y="853"/>
                </a:lnTo>
                <a:lnTo>
                  <a:pt x="2673" y="851"/>
                </a:lnTo>
                <a:lnTo>
                  <a:pt x="2674" y="851"/>
                </a:lnTo>
                <a:lnTo>
                  <a:pt x="2675" y="850"/>
                </a:lnTo>
                <a:lnTo>
                  <a:pt x="2672" y="849"/>
                </a:lnTo>
                <a:lnTo>
                  <a:pt x="2675" y="849"/>
                </a:lnTo>
                <a:lnTo>
                  <a:pt x="2669" y="844"/>
                </a:lnTo>
                <a:lnTo>
                  <a:pt x="2675" y="847"/>
                </a:lnTo>
                <a:lnTo>
                  <a:pt x="2671" y="844"/>
                </a:lnTo>
                <a:lnTo>
                  <a:pt x="2674" y="844"/>
                </a:lnTo>
                <a:lnTo>
                  <a:pt x="2672" y="839"/>
                </a:lnTo>
                <a:lnTo>
                  <a:pt x="2679" y="835"/>
                </a:lnTo>
                <a:lnTo>
                  <a:pt x="2682" y="828"/>
                </a:lnTo>
                <a:lnTo>
                  <a:pt x="2682" y="828"/>
                </a:lnTo>
                <a:lnTo>
                  <a:pt x="2682" y="829"/>
                </a:lnTo>
                <a:lnTo>
                  <a:pt x="2688" y="832"/>
                </a:lnTo>
                <a:lnTo>
                  <a:pt x="2690" y="832"/>
                </a:lnTo>
                <a:lnTo>
                  <a:pt x="2694" y="834"/>
                </a:lnTo>
                <a:lnTo>
                  <a:pt x="2692" y="831"/>
                </a:lnTo>
                <a:lnTo>
                  <a:pt x="2694" y="830"/>
                </a:lnTo>
                <a:lnTo>
                  <a:pt x="2698" y="828"/>
                </a:lnTo>
                <a:lnTo>
                  <a:pt x="2695" y="828"/>
                </a:lnTo>
                <a:lnTo>
                  <a:pt x="2695" y="828"/>
                </a:lnTo>
                <a:lnTo>
                  <a:pt x="2695" y="824"/>
                </a:lnTo>
                <a:lnTo>
                  <a:pt x="2696" y="823"/>
                </a:lnTo>
                <a:lnTo>
                  <a:pt x="2691" y="821"/>
                </a:lnTo>
                <a:lnTo>
                  <a:pt x="2691" y="818"/>
                </a:lnTo>
                <a:lnTo>
                  <a:pt x="2687" y="820"/>
                </a:lnTo>
                <a:lnTo>
                  <a:pt x="2698" y="814"/>
                </a:lnTo>
                <a:lnTo>
                  <a:pt x="2702" y="813"/>
                </a:lnTo>
                <a:lnTo>
                  <a:pt x="2713" y="810"/>
                </a:lnTo>
                <a:lnTo>
                  <a:pt x="2716" y="812"/>
                </a:lnTo>
                <a:lnTo>
                  <a:pt x="2719" y="808"/>
                </a:lnTo>
                <a:lnTo>
                  <a:pt x="2720" y="808"/>
                </a:lnTo>
                <a:lnTo>
                  <a:pt x="2730" y="808"/>
                </a:lnTo>
                <a:lnTo>
                  <a:pt x="2731" y="810"/>
                </a:lnTo>
                <a:lnTo>
                  <a:pt x="2731" y="808"/>
                </a:lnTo>
                <a:lnTo>
                  <a:pt x="2735" y="808"/>
                </a:lnTo>
                <a:lnTo>
                  <a:pt x="2735" y="808"/>
                </a:lnTo>
                <a:lnTo>
                  <a:pt x="2735" y="812"/>
                </a:lnTo>
                <a:lnTo>
                  <a:pt x="2738" y="809"/>
                </a:lnTo>
                <a:lnTo>
                  <a:pt x="2737" y="807"/>
                </a:lnTo>
                <a:lnTo>
                  <a:pt x="2741" y="804"/>
                </a:lnTo>
                <a:lnTo>
                  <a:pt x="2748" y="804"/>
                </a:lnTo>
                <a:lnTo>
                  <a:pt x="2753" y="808"/>
                </a:lnTo>
                <a:lnTo>
                  <a:pt x="2749" y="802"/>
                </a:lnTo>
                <a:lnTo>
                  <a:pt x="2743" y="801"/>
                </a:lnTo>
                <a:lnTo>
                  <a:pt x="2742" y="798"/>
                </a:lnTo>
                <a:lnTo>
                  <a:pt x="2745" y="797"/>
                </a:lnTo>
                <a:lnTo>
                  <a:pt x="2742" y="796"/>
                </a:lnTo>
                <a:lnTo>
                  <a:pt x="2741" y="796"/>
                </a:lnTo>
                <a:lnTo>
                  <a:pt x="2739" y="792"/>
                </a:lnTo>
                <a:lnTo>
                  <a:pt x="2745" y="789"/>
                </a:lnTo>
                <a:lnTo>
                  <a:pt x="2739" y="780"/>
                </a:lnTo>
                <a:lnTo>
                  <a:pt x="2741" y="780"/>
                </a:lnTo>
                <a:lnTo>
                  <a:pt x="2739" y="780"/>
                </a:lnTo>
                <a:lnTo>
                  <a:pt x="2739" y="778"/>
                </a:lnTo>
                <a:lnTo>
                  <a:pt x="2741" y="777"/>
                </a:lnTo>
                <a:lnTo>
                  <a:pt x="2740" y="776"/>
                </a:lnTo>
                <a:lnTo>
                  <a:pt x="2739" y="772"/>
                </a:lnTo>
                <a:lnTo>
                  <a:pt x="2739" y="772"/>
                </a:lnTo>
                <a:lnTo>
                  <a:pt x="2737" y="772"/>
                </a:lnTo>
                <a:lnTo>
                  <a:pt x="2736" y="772"/>
                </a:lnTo>
                <a:lnTo>
                  <a:pt x="2735" y="772"/>
                </a:lnTo>
                <a:lnTo>
                  <a:pt x="2737" y="772"/>
                </a:lnTo>
                <a:lnTo>
                  <a:pt x="2736" y="772"/>
                </a:lnTo>
                <a:lnTo>
                  <a:pt x="2731" y="769"/>
                </a:lnTo>
                <a:lnTo>
                  <a:pt x="2731" y="765"/>
                </a:lnTo>
                <a:lnTo>
                  <a:pt x="2731" y="763"/>
                </a:lnTo>
                <a:lnTo>
                  <a:pt x="2735" y="762"/>
                </a:lnTo>
                <a:lnTo>
                  <a:pt x="2734" y="760"/>
                </a:lnTo>
                <a:lnTo>
                  <a:pt x="2731" y="760"/>
                </a:lnTo>
                <a:lnTo>
                  <a:pt x="2731" y="745"/>
                </a:lnTo>
                <a:lnTo>
                  <a:pt x="2740" y="749"/>
                </a:lnTo>
                <a:lnTo>
                  <a:pt x="2741" y="747"/>
                </a:lnTo>
                <a:lnTo>
                  <a:pt x="2740" y="746"/>
                </a:lnTo>
                <a:lnTo>
                  <a:pt x="2743" y="743"/>
                </a:lnTo>
                <a:lnTo>
                  <a:pt x="2743" y="739"/>
                </a:lnTo>
                <a:lnTo>
                  <a:pt x="2747" y="738"/>
                </a:lnTo>
                <a:lnTo>
                  <a:pt x="2746" y="736"/>
                </a:lnTo>
                <a:lnTo>
                  <a:pt x="2749" y="736"/>
                </a:lnTo>
                <a:lnTo>
                  <a:pt x="2757" y="725"/>
                </a:lnTo>
                <a:lnTo>
                  <a:pt x="2767" y="722"/>
                </a:lnTo>
                <a:lnTo>
                  <a:pt x="2765" y="725"/>
                </a:lnTo>
                <a:lnTo>
                  <a:pt x="2766" y="733"/>
                </a:lnTo>
                <a:lnTo>
                  <a:pt x="2763" y="738"/>
                </a:lnTo>
                <a:lnTo>
                  <a:pt x="2763" y="743"/>
                </a:lnTo>
                <a:lnTo>
                  <a:pt x="2757" y="747"/>
                </a:lnTo>
                <a:lnTo>
                  <a:pt x="2764" y="745"/>
                </a:lnTo>
                <a:lnTo>
                  <a:pt x="2762" y="750"/>
                </a:lnTo>
                <a:lnTo>
                  <a:pt x="2764" y="748"/>
                </a:lnTo>
                <a:lnTo>
                  <a:pt x="2771" y="748"/>
                </a:lnTo>
                <a:lnTo>
                  <a:pt x="2773" y="750"/>
                </a:lnTo>
                <a:lnTo>
                  <a:pt x="2769" y="757"/>
                </a:lnTo>
                <a:lnTo>
                  <a:pt x="2767" y="754"/>
                </a:lnTo>
                <a:lnTo>
                  <a:pt x="2766" y="758"/>
                </a:lnTo>
                <a:lnTo>
                  <a:pt x="2762" y="754"/>
                </a:lnTo>
                <a:lnTo>
                  <a:pt x="2759" y="757"/>
                </a:lnTo>
                <a:lnTo>
                  <a:pt x="2759" y="759"/>
                </a:lnTo>
                <a:lnTo>
                  <a:pt x="2759" y="764"/>
                </a:lnTo>
                <a:lnTo>
                  <a:pt x="2755" y="764"/>
                </a:lnTo>
                <a:lnTo>
                  <a:pt x="2755" y="768"/>
                </a:lnTo>
                <a:lnTo>
                  <a:pt x="2752" y="768"/>
                </a:lnTo>
                <a:lnTo>
                  <a:pt x="2756" y="769"/>
                </a:lnTo>
                <a:lnTo>
                  <a:pt x="2753" y="769"/>
                </a:lnTo>
                <a:lnTo>
                  <a:pt x="2763" y="767"/>
                </a:lnTo>
                <a:lnTo>
                  <a:pt x="2763" y="769"/>
                </a:lnTo>
                <a:lnTo>
                  <a:pt x="2763" y="770"/>
                </a:lnTo>
                <a:lnTo>
                  <a:pt x="2765" y="769"/>
                </a:lnTo>
                <a:lnTo>
                  <a:pt x="2766" y="767"/>
                </a:lnTo>
                <a:lnTo>
                  <a:pt x="2767" y="773"/>
                </a:lnTo>
                <a:lnTo>
                  <a:pt x="2767" y="780"/>
                </a:lnTo>
                <a:lnTo>
                  <a:pt x="2767" y="780"/>
                </a:lnTo>
                <a:lnTo>
                  <a:pt x="2760" y="780"/>
                </a:lnTo>
                <a:lnTo>
                  <a:pt x="2753" y="770"/>
                </a:lnTo>
                <a:lnTo>
                  <a:pt x="2752" y="770"/>
                </a:lnTo>
                <a:lnTo>
                  <a:pt x="2753" y="776"/>
                </a:lnTo>
                <a:lnTo>
                  <a:pt x="2751" y="777"/>
                </a:lnTo>
                <a:lnTo>
                  <a:pt x="2756" y="782"/>
                </a:lnTo>
                <a:lnTo>
                  <a:pt x="2755" y="782"/>
                </a:lnTo>
                <a:lnTo>
                  <a:pt x="2759" y="784"/>
                </a:lnTo>
                <a:lnTo>
                  <a:pt x="2759" y="786"/>
                </a:lnTo>
                <a:lnTo>
                  <a:pt x="2757" y="790"/>
                </a:lnTo>
                <a:lnTo>
                  <a:pt x="2761" y="790"/>
                </a:lnTo>
                <a:lnTo>
                  <a:pt x="2768" y="792"/>
                </a:lnTo>
                <a:lnTo>
                  <a:pt x="2775" y="792"/>
                </a:lnTo>
                <a:lnTo>
                  <a:pt x="2775" y="795"/>
                </a:lnTo>
                <a:lnTo>
                  <a:pt x="2770" y="800"/>
                </a:lnTo>
                <a:lnTo>
                  <a:pt x="2771" y="800"/>
                </a:lnTo>
                <a:lnTo>
                  <a:pt x="2770" y="803"/>
                </a:lnTo>
                <a:lnTo>
                  <a:pt x="2775" y="798"/>
                </a:lnTo>
                <a:lnTo>
                  <a:pt x="2780" y="801"/>
                </a:lnTo>
                <a:lnTo>
                  <a:pt x="2783" y="796"/>
                </a:lnTo>
                <a:lnTo>
                  <a:pt x="2789" y="796"/>
                </a:lnTo>
                <a:lnTo>
                  <a:pt x="2793" y="793"/>
                </a:lnTo>
                <a:lnTo>
                  <a:pt x="2793" y="794"/>
                </a:lnTo>
                <a:lnTo>
                  <a:pt x="2795" y="792"/>
                </a:lnTo>
                <a:lnTo>
                  <a:pt x="2795" y="792"/>
                </a:lnTo>
                <a:lnTo>
                  <a:pt x="2796" y="791"/>
                </a:lnTo>
                <a:lnTo>
                  <a:pt x="2796" y="791"/>
                </a:lnTo>
                <a:lnTo>
                  <a:pt x="2802" y="790"/>
                </a:lnTo>
                <a:lnTo>
                  <a:pt x="2807" y="796"/>
                </a:lnTo>
                <a:lnTo>
                  <a:pt x="2807" y="796"/>
                </a:lnTo>
                <a:lnTo>
                  <a:pt x="2807" y="796"/>
                </a:lnTo>
                <a:lnTo>
                  <a:pt x="2808" y="797"/>
                </a:lnTo>
                <a:lnTo>
                  <a:pt x="2812" y="795"/>
                </a:lnTo>
                <a:lnTo>
                  <a:pt x="2815" y="801"/>
                </a:lnTo>
                <a:lnTo>
                  <a:pt x="2815" y="802"/>
                </a:lnTo>
                <a:lnTo>
                  <a:pt x="2819" y="805"/>
                </a:lnTo>
                <a:lnTo>
                  <a:pt x="2819" y="812"/>
                </a:lnTo>
                <a:lnTo>
                  <a:pt x="2819" y="817"/>
                </a:lnTo>
                <a:lnTo>
                  <a:pt x="2815" y="820"/>
                </a:lnTo>
                <a:lnTo>
                  <a:pt x="2815" y="822"/>
                </a:lnTo>
                <a:lnTo>
                  <a:pt x="2824" y="828"/>
                </a:lnTo>
                <a:lnTo>
                  <a:pt x="2824" y="832"/>
                </a:lnTo>
                <a:lnTo>
                  <a:pt x="2824" y="832"/>
                </a:lnTo>
                <a:lnTo>
                  <a:pt x="2826" y="829"/>
                </a:lnTo>
                <a:lnTo>
                  <a:pt x="2819" y="822"/>
                </a:lnTo>
                <a:lnTo>
                  <a:pt x="2819" y="821"/>
                </a:lnTo>
                <a:lnTo>
                  <a:pt x="2823" y="818"/>
                </a:lnTo>
                <a:lnTo>
                  <a:pt x="2823" y="813"/>
                </a:lnTo>
                <a:lnTo>
                  <a:pt x="2822" y="808"/>
                </a:lnTo>
                <a:lnTo>
                  <a:pt x="2824" y="808"/>
                </a:lnTo>
                <a:lnTo>
                  <a:pt x="2826" y="805"/>
                </a:lnTo>
                <a:lnTo>
                  <a:pt x="2819" y="803"/>
                </a:lnTo>
                <a:lnTo>
                  <a:pt x="2819" y="802"/>
                </a:lnTo>
                <a:lnTo>
                  <a:pt x="2848" y="794"/>
                </a:lnTo>
                <a:lnTo>
                  <a:pt x="2854" y="788"/>
                </a:lnTo>
                <a:lnTo>
                  <a:pt x="2875" y="784"/>
                </a:lnTo>
                <a:lnTo>
                  <a:pt x="2881" y="784"/>
                </a:lnTo>
                <a:lnTo>
                  <a:pt x="2885" y="787"/>
                </a:lnTo>
                <a:lnTo>
                  <a:pt x="2881" y="785"/>
                </a:lnTo>
                <a:lnTo>
                  <a:pt x="2883" y="791"/>
                </a:lnTo>
                <a:lnTo>
                  <a:pt x="2887" y="792"/>
                </a:lnTo>
                <a:lnTo>
                  <a:pt x="2898" y="791"/>
                </a:lnTo>
                <a:lnTo>
                  <a:pt x="2896" y="790"/>
                </a:lnTo>
                <a:lnTo>
                  <a:pt x="2900" y="786"/>
                </a:lnTo>
                <a:lnTo>
                  <a:pt x="2898" y="792"/>
                </a:lnTo>
                <a:lnTo>
                  <a:pt x="2899" y="792"/>
                </a:lnTo>
                <a:lnTo>
                  <a:pt x="2900" y="792"/>
                </a:lnTo>
                <a:lnTo>
                  <a:pt x="2899" y="792"/>
                </a:lnTo>
                <a:lnTo>
                  <a:pt x="2909" y="788"/>
                </a:lnTo>
                <a:lnTo>
                  <a:pt x="2904" y="788"/>
                </a:lnTo>
                <a:lnTo>
                  <a:pt x="2902" y="785"/>
                </a:lnTo>
                <a:lnTo>
                  <a:pt x="2900" y="786"/>
                </a:lnTo>
                <a:lnTo>
                  <a:pt x="2902" y="780"/>
                </a:lnTo>
                <a:lnTo>
                  <a:pt x="2909" y="780"/>
                </a:lnTo>
                <a:lnTo>
                  <a:pt x="2915" y="776"/>
                </a:lnTo>
                <a:lnTo>
                  <a:pt x="2918" y="776"/>
                </a:lnTo>
                <a:lnTo>
                  <a:pt x="2911" y="780"/>
                </a:lnTo>
                <a:lnTo>
                  <a:pt x="2919" y="780"/>
                </a:lnTo>
                <a:lnTo>
                  <a:pt x="2919" y="776"/>
                </a:lnTo>
                <a:lnTo>
                  <a:pt x="2919" y="774"/>
                </a:lnTo>
                <a:lnTo>
                  <a:pt x="2919" y="771"/>
                </a:lnTo>
                <a:lnTo>
                  <a:pt x="2919" y="768"/>
                </a:lnTo>
                <a:lnTo>
                  <a:pt x="2915" y="763"/>
                </a:lnTo>
                <a:lnTo>
                  <a:pt x="2915" y="760"/>
                </a:lnTo>
                <a:lnTo>
                  <a:pt x="2920" y="760"/>
                </a:lnTo>
                <a:lnTo>
                  <a:pt x="2921" y="756"/>
                </a:lnTo>
                <a:lnTo>
                  <a:pt x="2921" y="756"/>
                </a:lnTo>
                <a:lnTo>
                  <a:pt x="2919" y="756"/>
                </a:lnTo>
                <a:lnTo>
                  <a:pt x="2919" y="746"/>
                </a:lnTo>
                <a:lnTo>
                  <a:pt x="2919" y="742"/>
                </a:lnTo>
                <a:lnTo>
                  <a:pt x="2920" y="744"/>
                </a:lnTo>
                <a:lnTo>
                  <a:pt x="2920" y="737"/>
                </a:lnTo>
                <a:lnTo>
                  <a:pt x="2924" y="734"/>
                </a:lnTo>
                <a:lnTo>
                  <a:pt x="2925" y="727"/>
                </a:lnTo>
                <a:lnTo>
                  <a:pt x="2931" y="723"/>
                </a:lnTo>
                <a:lnTo>
                  <a:pt x="2944" y="718"/>
                </a:lnTo>
                <a:lnTo>
                  <a:pt x="2944" y="720"/>
                </a:lnTo>
                <a:lnTo>
                  <a:pt x="2951" y="725"/>
                </a:lnTo>
                <a:lnTo>
                  <a:pt x="2952" y="731"/>
                </a:lnTo>
                <a:lnTo>
                  <a:pt x="2960" y="734"/>
                </a:lnTo>
                <a:lnTo>
                  <a:pt x="2970" y="729"/>
                </a:lnTo>
                <a:lnTo>
                  <a:pt x="2969" y="716"/>
                </a:lnTo>
                <a:lnTo>
                  <a:pt x="2978" y="712"/>
                </a:lnTo>
                <a:lnTo>
                  <a:pt x="2978" y="711"/>
                </a:lnTo>
                <a:lnTo>
                  <a:pt x="2967" y="715"/>
                </a:lnTo>
                <a:lnTo>
                  <a:pt x="2969" y="706"/>
                </a:lnTo>
                <a:lnTo>
                  <a:pt x="2967" y="705"/>
                </a:lnTo>
                <a:lnTo>
                  <a:pt x="2963" y="707"/>
                </a:lnTo>
                <a:lnTo>
                  <a:pt x="2958" y="705"/>
                </a:lnTo>
                <a:lnTo>
                  <a:pt x="2956" y="700"/>
                </a:lnTo>
                <a:lnTo>
                  <a:pt x="2956" y="698"/>
                </a:lnTo>
                <a:lnTo>
                  <a:pt x="2959" y="697"/>
                </a:lnTo>
                <a:lnTo>
                  <a:pt x="2952" y="696"/>
                </a:lnTo>
                <a:lnTo>
                  <a:pt x="2952" y="693"/>
                </a:lnTo>
                <a:lnTo>
                  <a:pt x="2956" y="692"/>
                </a:lnTo>
                <a:lnTo>
                  <a:pt x="2952" y="690"/>
                </a:lnTo>
                <a:lnTo>
                  <a:pt x="2952" y="687"/>
                </a:lnTo>
                <a:lnTo>
                  <a:pt x="2960" y="686"/>
                </a:lnTo>
                <a:lnTo>
                  <a:pt x="2963" y="683"/>
                </a:lnTo>
                <a:lnTo>
                  <a:pt x="2964" y="684"/>
                </a:lnTo>
                <a:lnTo>
                  <a:pt x="2965" y="681"/>
                </a:lnTo>
                <a:lnTo>
                  <a:pt x="2968" y="683"/>
                </a:lnTo>
                <a:lnTo>
                  <a:pt x="2968" y="679"/>
                </a:lnTo>
                <a:lnTo>
                  <a:pt x="2979" y="681"/>
                </a:lnTo>
                <a:lnTo>
                  <a:pt x="2983" y="678"/>
                </a:lnTo>
                <a:lnTo>
                  <a:pt x="2985" y="679"/>
                </a:lnTo>
                <a:lnTo>
                  <a:pt x="2986" y="679"/>
                </a:lnTo>
                <a:lnTo>
                  <a:pt x="2986" y="678"/>
                </a:lnTo>
                <a:lnTo>
                  <a:pt x="2995" y="681"/>
                </a:lnTo>
                <a:lnTo>
                  <a:pt x="3003" y="684"/>
                </a:lnTo>
                <a:lnTo>
                  <a:pt x="3015" y="684"/>
                </a:lnTo>
                <a:lnTo>
                  <a:pt x="3017" y="681"/>
                </a:lnTo>
                <a:lnTo>
                  <a:pt x="3016" y="682"/>
                </a:lnTo>
                <a:lnTo>
                  <a:pt x="3016" y="680"/>
                </a:lnTo>
                <a:lnTo>
                  <a:pt x="3017" y="678"/>
                </a:lnTo>
                <a:lnTo>
                  <a:pt x="3018" y="677"/>
                </a:lnTo>
                <a:lnTo>
                  <a:pt x="3019" y="677"/>
                </a:lnTo>
                <a:lnTo>
                  <a:pt x="3019" y="676"/>
                </a:lnTo>
                <a:lnTo>
                  <a:pt x="3022" y="677"/>
                </a:lnTo>
                <a:lnTo>
                  <a:pt x="3024" y="679"/>
                </a:lnTo>
                <a:lnTo>
                  <a:pt x="3026" y="673"/>
                </a:lnTo>
                <a:lnTo>
                  <a:pt x="3031" y="676"/>
                </a:lnTo>
                <a:lnTo>
                  <a:pt x="3035" y="671"/>
                </a:lnTo>
                <a:lnTo>
                  <a:pt x="3049" y="673"/>
                </a:lnTo>
                <a:lnTo>
                  <a:pt x="3051" y="672"/>
                </a:lnTo>
                <a:lnTo>
                  <a:pt x="3044" y="671"/>
                </a:lnTo>
                <a:lnTo>
                  <a:pt x="3044" y="668"/>
                </a:lnTo>
                <a:lnTo>
                  <a:pt x="3034" y="668"/>
                </a:lnTo>
                <a:lnTo>
                  <a:pt x="3029" y="665"/>
                </a:lnTo>
                <a:lnTo>
                  <a:pt x="3030" y="668"/>
                </a:lnTo>
                <a:lnTo>
                  <a:pt x="3024" y="668"/>
                </a:lnTo>
                <a:lnTo>
                  <a:pt x="3024" y="662"/>
                </a:lnTo>
                <a:lnTo>
                  <a:pt x="3025" y="662"/>
                </a:lnTo>
                <a:lnTo>
                  <a:pt x="3026" y="661"/>
                </a:lnTo>
                <a:lnTo>
                  <a:pt x="3025" y="660"/>
                </a:lnTo>
                <a:lnTo>
                  <a:pt x="3028" y="661"/>
                </a:lnTo>
                <a:lnTo>
                  <a:pt x="3028" y="657"/>
                </a:lnTo>
                <a:lnTo>
                  <a:pt x="3028" y="654"/>
                </a:lnTo>
                <a:lnTo>
                  <a:pt x="3021" y="660"/>
                </a:lnTo>
                <a:lnTo>
                  <a:pt x="3019" y="660"/>
                </a:lnTo>
                <a:lnTo>
                  <a:pt x="3017" y="662"/>
                </a:lnTo>
                <a:lnTo>
                  <a:pt x="3012" y="663"/>
                </a:lnTo>
                <a:lnTo>
                  <a:pt x="3008" y="661"/>
                </a:lnTo>
                <a:lnTo>
                  <a:pt x="3004" y="664"/>
                </a:lnTo>
                <a:lnTo>
                  <a:pt x="2998" y="664"/>
                </a:lnTo>
                <a:lnTo>
                  <a:pt x="2995" y="665"/>
                </a:lnTo>
                <a:lnTo>
                  <a:pt x="2988" y="663"/>
                </a:lnTo>
                <a:lnTo>
                  <a:pt x="2988" y="666"/>
                </a:lnTo>
                <a:lnTo>
                  <a:pt x="2990" y="668"/>
                </a:lnTo>
                <a:lnTo>
                  <a:pt x="2987" y="667"/>
                </a:lnTo>
                <a:lnTo>
                  <a:pt x="2989" y="668"/>
                </a:lnTo>
                <a:lnTo>
                  <a:pt x="2987" y="668"/>
                </a:lnTo>
                <a:lnTo>
                  <a:pt x="2986" y="665"/>
                </a:lnTo>
                <a:lnTo>
                  <a:pt x="2984" y="668"/>
                </a:lnTo>
                <a:lnTo>
                  <a:pt x="2972" y="671"/>
                </a:lnTo>
                <a:lnTo>
                  <a:pt x="2970" y="673"/>
                </a:lnTo>
                <a:lnTo>
                  <a:pt x="2967" y="671"/>
                </a:lnTo>
                <a:lnTo>
                  <a:pt x="2954" y="674"/>
                </a:lnTo>
                <a:lnTo>
                  <a:pt x="2955" y="673"/>
                </a:lnTo>
                <a:lnTo>
                  <a:pt x="2956" y="671"/>
                </a:lnTo>
                <a:lnTo>
                  <a:pt x="2951" y="675"/>
                </a:lnTo>
                <a:lnTo>
                  <a:pt x="2950" y="676"/>
                </a:lnTo>
                <a:lnTo>
                  <a:pt x="2951" y="676"/>
                </a:lnTo>
                <a:lnTo>
                  <a:pt x="2950" y="676"/>
                </a:lnTo>
                <a:lnTo>
                  <a:pt x="2950" y="676"/>
                </a:lnTo>
                <a:lnTo>
                  <a:pt x="2946" y="678"/>
                </a:lnTo>
                <a:lnTo>
                  <a:pt x="2949" y="675"/>
                </a:lnTo>
                <a:lnTo>
                  <a:pt x="2949" y="675"/>
                </a:lnTo>
                <a:lnTo>
                  <a:pt x="2949" y="675"/>
                </a:lnTo>
                <a:lnTo>
                  <a:pt x="2952" y="673"/>
                </a:lnTo>
                <a:lnTo>
                  <a:pt x="2950" y="674"/>
                </a:lnTo>
                <a:lnTo>
                  <a:pt x="2949" y="674"/>
                </a:lnTo>
                <a:lnTo>
                  <a:pt x="2948" y="673"/>
                </a:lnTo>
                <a:lnTo>
                  <a:pt x="2946" y="670"/>
                </a:lnTo>
                <a:lnTo>
                  <a:pt x="2950" y="667"/>
                </a:lnTo>
                <a:lnTo>
                  <a:pt x="2942" y="668"/>
                </a:lnTo>
                <a:lnTo>
                  <a:pt x="2944" y="668"/>
                </a:lnTo>
                <a:lnTo>
                  <a:pt x="2944" y="669"/>
                </a:lnTo>
                <a:lnTo>
                  <a:pt x="2944" y="671"/>
                </a:lnTo>
                <a:lnTo>
                  <a:pt x="2942" y="676"/>
                </a:lnTo>
                <a:lnTo>
                  <a:pt x="2939" y="676"/>
                </a:lnTo>
                <a:lnTo>
                  <a:pt x="2939" y="672"/>
                </a:lnTo>
                <a:lnTo>
                  <a:pt x="2939" y="672"/>
                </a:lnTo>
                <a:lnTo>
                  <a:pt x="2939" y="673"/>
                </a:lnTo>
                <a:lnTo>
                  <a:pt x="2939" y="672"/>
                </a:lnTo>
                <a:lnTo>
                  <a:pt x="2939" y="672"/>
                </a:lnTo>
                <a:lnTo>
                  <a:pt x="2939" y="668"/>
                </a:lnTo>
                <a:lnTo>
                  <a:pt x="2942" y="665"/>
                </a:lnTo>
                <a:lnTo>
                  <a:pt x="2931" y="663"/>
                </a:lnTo>
                <a:lnTo>
                  <a:pt x="2931" y="663"/>
                </a:lnTo>
                <a:lnTo>
                  <a:pt x="2927" y="663"/>
                </a:lnTo>
                <a:lnTo>
                  <a:pt x="2927" y="660"/>
                </a:lnTo>
                <a:lnTo>
                  <a:pt x="2925" y="662"/>
                </a:lnTo>
                <a:lnTo>
                  <a:pt x="2923" y="658"/>
                </a:lnTo>
                <a:lnTo>
                  <a:pt x="2923" y="652"/>
                </a:lnTo>
                <a:lnTo>
                  <a:pt x="2927" y="644"/>
                </a:lnTo>
                <a:lnTo>
                  <a:pt x="2925" y="640"/>
                </a:lnTo>
                <a:lnTo>
                  <a:pt x="2928" y="640"/>
                </a:lnTo>
                <a:lnTo>
                  <a:pt x="2922" y="629"/>
                </a:lnTo>
                <a:lnTo>
                  <a:pt x="2923" y="624"/>
                </a:lnTo>
                <a:lnTo>
                  <a:pt x="2923" y="621"/>
                </a:lnTo>
                <a:lnTo>
                  <a:pt x="2919" y="617"/>
                </a:lnTo>
                <a:lnTo>
                  <a:pt x="2919" y="613"/>
                </a:lnTo>
                <a:lnTo>
                  <a:pt x="2919" y="610"/>
                </a:lnTo>
                <a:lnTo>
                  <a:pt x="2923" y="608"/>
                </a:lnTo>
                <a:lnTo>
                  <a:pt x="2925" y="608"/>
                </a:lnTo>
                <a:lnTo>
                  <a:pt x="2928" y="608"/>
                </a:lnTo>
                <a:lnTo>
                  <a:pt x="2925" y="599"/>
                </a:lnTo>
                <a:lnTo>
                  <a:pt x="2932" y="599"/>
                </a:lnTo>
                <a:lnTo>
                  <a:pt x="2932" y="600"/>
                </a:lnTo>
                <a:lnTo>
                  <a:pt x="2935" y="598"/>
                </a:lnTo>
                <a:lnTo>
                  <a:pt x="2935" y="598"/>
                </a:lnTo>
                <a:lnTo>
                  <a:pt x="2934" y="595"/>
                </a:lnTo>
                <a:lnTo>
                  <a:pt x="2935" y="595"/>
                </a:lnTo>
                <a:lnTo>
                  <a:pt x="2935" y="595"/>
                </a:lnTo>
                <a:lnTo>
                  <a:pt x="2934" y="592"/>
                </a:lnTo>
                <a:lnTo>
                  <a:pt x="2937" y="592"/>
                </a:lnTo>
                <a:lnTo>
                  <a:pt x="2939" y="593"/>
                </a:lnTo>
                <a:lnTo>
                  <a:pt x="2942" y="587"/>
                </a:lnTo>
                <a:lnTo>
                  <a:pt x="2945" y="589"/>
                </a:lnTo>
                <a:lnTo>
                  <a:pt x="2946" y="585"/>
                </a:lnTo>
                <a:lnTo>
                  <a:pt x="2953" y="583"/>
                </a:lnTo>
                <a:lnTo>
                  <a:pt x="2954" y="579"/>
                </a:lnTo>
                <a:lnTo>
                  <a:pt x="2958" y="579"/>
                </a:lnTo>
                <a:lnTo>
                  <a:pt x="2962" y="571"/>
                </a:lnTo>
                <a:lnTo>
                  <a:pt x="2967" y="567"/>
                </a:lnTo>
                <a:lnTo>
                  <a:pt x="2970" y="560"/>
                </a:lnTo>
                <a:lnTo>
                  <a:pt x="2978" y="559"/>
                </a:lnTo>
                <a:lnTo>
                  <a:pt x="2980" y="560"/>
                </a:lnTo>
                <a:lnTo>
                  <a:pt x="2982" y="559"/>
                </a:lnTo>
                <a:lnTo>
                  <a:pt x="2979" y="559"/>
                </a:lnTo>
                <a:lnTo>
                  <a:pt x="2982" y="559"/>
                </a:lnTo>
                <a:lnTo>
                  <a:pt x="2980" y="553"/>
                </a:lnTo>
                <a:lnTo>
                  <a:pt x="2982" y="546"/>
                </a:lnTo>
                <a:lnTo>
                  <a:pt x="2980" y="544"/>
                </a:lnTo>
                <a:lnTo>
                  <a:pt x="2972" y="541"/>
                </a:lnTo>
                <a:lnTo>
                  <a:pt x="2970" y="537"/>
                </a:lnTo>
                <a:lnTo>
                  <a:pt x="2972" y="535"/>
                </a:lnTo>
                <a:lnTo>
                  <a:pt x="2968" y="537"/>
                </a:lnTo>
                <a:lnTo>
                  <a:pt x="2965" y="536"/>
                </a:lnTo>
                <a:lnTo>
                  <a:pt x="2964" y="532"/>
                </a:lnTo>
                <a:lnTo>
                  <a:pt x="2958" y="533"/>
                </a:lnTo>
                <a:lnTo>
                  <a:pt x="2950" y="533"/>
                </a:lnTo>
                <a:lnTo>
                  <a:pt x="2947" y="536"/>
                </a:lnTo>
                <a:lnTo>
                  <a:pt x="2939" y="531"/>
                </a:lnTo>
                <a:lnTo>
                  <a:pt x="2939" y="533"/>
                </a:lnTo>
                <a:lnTo>
                  <a:pt x="2939" y="535"/>
                </a:lnTo>
                <a:lnTo>
                  <a:pt x="2938" y="535"/>
                </a:lnTo>
                <a:lnTo>
                  <a:pt x="2935" y="539"/>
                </a:lnTo>
                <a:lnTo>
                  <a:pt x="2928" y="536"/>
                </a:lnTo>
                <a:lnTo>
                  <a:pt x="2935" y="539"/>
                </a:lnTo>
                <a:lnTo>
                  <a:pt x="2931" y="542"/>
                </a:lnTo>
                <a:lnTo>
                  <a:pt x="2933" y="544"/>
                </a:lnTo>
                <a:lnTo>
                  <a:pt x="2931" y="547"/>
                </a:lnTo>
                <a:lnTo>
                  <a:pt x="2927" y="547"/>
                </a:lnTo>
                <a:lnTo>
                  <a:pt x="2927" y="547"/>
                </a:lnTo>
                <a:lnTo>
                  <a:pt x="2926" y="547"/>
                </a:lnTo>
                <a:lnTo>
                  <a:pt x="2925" y="547"/>
                </a:lnTo>
                <a:lnTo>
                  <a:pt x="2926" y="548"/>
                </a:lnTo>
                <a:lnTo>
                  <a:pt x="2924" y="552"/>
                </a:lnTo>
                <a:lnTo>
                  <a:pt x="2919" y="554"/>
                </a:lnTo>
                <a:lnTo>
                  <a:pt x="2919" y="559"/>
                </a:lnTo>
                <a:lnTo>
                  <a:pt x="2923" y="559"/>
                </a:lnTo>
                <a:lnTo>
                  <a:pt x="2923" y="563"/>
                </a:lnTo>
                <a:lnTo>
                  <a:pt x="2920" y="563"/>
                </a:lnTo>
                <a:lnTo>
                  <a:pt x="2923" y="564"/>
                </a:lnTo>
                <a:lnTo>
                  <a:pt x="2923" y="567"/>
                </a:lnTo>
                <a:lnTo>
                  <a:pt x="2917" y="574"/>
                </a:lnTo>
                <a:lnTo>
                  <a:pt x="2916" y="580"/>
                </a:lnTo>
                <a:lnTo>
                  <a:pt x="2911" y="582"/>
                </a:lnTo>
                <a:lnTo>
                  <a:pt x="2909" y="586"/>
                </a:lnTo>
                <a:lnTo>
                  <a:pt x="2902" y="586"/>
                </a:lnTo>
                <a:lnTo>
                  <a:pt x="2899" y="590"/>
                </a:lnTo>
                <a:lnTo>
                  <a:pt x="2895" y="589"/>
                </a:lnTo>
                <a:lnTo>
                  <a:pt x="2895" y="591"/>
                </a:lnTo>
                <a:lnTo>
                  <a:pt x="2891" y="591"/>
                </a:lnTo>
                <a:lnTo>
                  <a:pt x="2891" y="594"/>
                </a:lnTo>
                <a:lnTo>
                  <a:pt x="2887" y="595"/>
                </a:lnTo>
                <a:lnTo>
                  <a:pt x="2887" y="597"/>
                </a:lnTo>
                <a:lnTo>
                  <a:pt x="2888" y="599"/>
                </a:lnTo>
                <a:lnTo>
                  <a:pt x="2886" y="599"/>
                </a:lnTo>
                <a:lnTo>
                  <a:pt x="2885" y="599"/>
                </a:lnTo>
                <a:lnTo>
                  <a:pt x="2879" y="603"/>
                </a:lnTo>
                <a:lnTo>
                  <a:pt x="2883" y="603"/>
                </a:lnTo>
                <a:lnTo>
                  <a:pt x="2879" y="608"/>
                </a:lnTo>
                <a:lnTo>
                  <a:pt x="2875" y="607"/>
                </a:lnTo>
                <a:lnTo>
                  <a:pt x="2876" y="608"/>
                </a:lnTo>
                <a:lnTo>
                  <a:pt x="2877" y="608"/>
                </a:lnTo>
                <a:lnTo>
                  <a:pt x="2876" y="612"/>
                </a:lnTo>
                <a:lnTo>
                  <a:pt x="2875" y="612"/>
                </a:lnTo>
                <a:lnTo>
                  <a:pt x="2875" y="613"/>
                </a:lnTo>
                <a:lnTo>
                  <a:pt x="2870" y="614"/>
                </a:lnTo>
                <a:lnTo>
                  <a:pt x="2863" y="613"/>
                </a:lnTo>
                <a:lnTo>
                  <a:pt x="2863" y="614"/>
                </a:lnTo>
                <a:lnTo>
                  <a:pt x="2863" y="618"/>
                </a:lnTo>
                <a:lnTo>
                  <a:pt x="2871" y="620"/>
                </a:lnTo>
                <a:lnTo>
                  <a:pt x="2867" y="620"/>
                </a:lnTo>
                <a:lnTo>
                  <a:pt x="2867" y="628"/>
                </a:lnTo>
                <a:lnTo>
                  <a:pt x="2863" y="628"/>
                </a:lnTo>
                <a:lnTo>
                  <a:pt x="2863" y="629"/>
                </a:lnTo>
                <a:lnTo>
                  <a:pt x="2867" y="633"/>
                </a:lnTo>
                <a:lnTo>
                  <a:pt x="2867" y="634"/>
                </a:lnTo>
                <a:lnTo>
                  <a:pt x="2863" y="633"/>
                </a:lnTo>
                <a:lnTo>
                  <a:pt x="2862" y="634"/>
                </a:lnTo>
                <a:lnTo>
                  <a:pt x="2864" y="638"/>
                </a:lnTo>
                <a:lnTo>
                  <a:pt x="2861" y="639"/>
                </a:lnTo>
                <a:lnTo>
                  <a:pt x="2864" y="641"/>
                </a:lnTo>
                <a:lnTo>
                  <a:pt x="2863" y="649"/>
                </a:lnTo>
                <a:lnTo>
                  <a:pt x="2863" y="652"/>
                </a:lnTo>
                <a:lnTo>
                  <a:pt x="2863" y="656"/>
                </a:lnTo>
                <a:lnTo>
                  <a:pt x="2868" y="657"/>
                </a:lnTo>
                <a:lnTo>
                  <a:pt x="2871" y="661"/>
                </a:lnTo>
                <a:lnTo>
                  <a:pt x="2875" y="659"/>
                </a:lnTo>
                <a:lnTo>
                  <a:pt x="2879" y="668"/>
                </a:lnTo>
                <a:lnTo>
                  <a:pt x="2879" y="668"/>
                </a:lnTo>
                <a:lnTo>
                  <a:pt x="2879" y="667"/>
                </a:lnTo>
                <a:lnTo>
                  <a:pt x="2885" y="668"/>
                </a:lnTo>
                <a:lnTo>
                  <a:pt x="2887" y="672"/>
                </a:lnTo>
                <a:lnTo>
                  <a:pt x="2887" y="673"/>
                </a:lnTo>
                <a:lnTo>
                  <a:pt x="2887" y="676"/>
                </a:lnTo>
                <a:lnTo>
                  <a:pt x="2887" y="673"/>
                </a:lnTo>
                <a:lnTo>
                  <a:pt x="2886" y="676"/>
                </a:lnTo>
                <a:lnTo>
                  <a:pt x="2890" y="677"/>
                </a:lnTo>
                <a:lnTo>
                  <a:pt x="2879" y="683"/>
                </a:lnTo>
                <a:lnTo>
                  <a:pt x="2879" y="684"/>
                </a:lnTo>
                <a:lnTo>
                  <a:pt x="2882" y="685"/>
                </a:lnTo>
                <a:lnTo>
                  <a:pt x="2879" y="686"/>
                </a:lnTo>
                <a:lnTo>
                  <a:pt x="2879" y="684"/>
                </a:lnTo>
                <a:lnTo>
                  <a:pt x="2877" y="684"/>
                </a:lnTo>
                <a:lnTo>
                  <a:pt x="2875" y="685"/>
                </a:lnTo>
                <a:lnTo>
                  <a:pt x="2871" y="684"/>
                </a:lnTo>
                <a:lnTo>
                  <a:pt x="2871" y="683"/>
                </a:lnTo>
                <a:lnTo>
                  <a:pt x="2871" y="682"/>
                </a:lnTo>
                <a:lnTo>
                  <a:pt x="2870" y="684"/>
                </a:lnTo>
                <a:lnTo>
                  <a:pt x="2868" y="683"/>
                </a:lnTo>
                <a:lnTo>
                  <a:pt x="2863" y="679"/>
                </a:lnTo>
                <a:lnTo>
                  <a:pt x="2863" y="683"/>
                </a:lnTo>
                <a:lnTo>
                  <a:pt x="2851" y="681"/>
                </a:lnTo>
                <a:lnTo>
                  <a:pt x="2851" y="684"/>
                </a:lnTo>
                <a:lnTo>
                  <a:pt x="2857" y="684"/>
                </a:lnTo>
                <a:lnTo>
                  <a:pt x="2858" y="684"/>
                </a:lnTo>
                <a:lnTo>
                  <a:pt x="2863" y="685"/>
                </a:lnTo>
                <a:lnTo>
                  <a:pt x="2868" y="686"/>
                </a:lnTo>
                <a:lnTo>
                  <a:pt x="2868" y="684"/>
                </a:lnTo>
                <a:lnTo>
                  <a:pt x="2872" y="689"/>
                </a:lnTo>
                <a:lnTo>
                  <a:pt x="2875" y="689"/>
                </a:lnTo>
                <a:lnTo>
                  <a:pt x="2875" y="691"/>
                </a:lnTo>
                <a:lnTo>
                  <a:pt x="2874" y="692"/>
                </a:lnTo>
                <a:lnTo>
                  <a:pt x="2875" y="698"/>
                </a:lnTo>
                <a:lnTo>
                  <a:pt x="2871" y="689"/>
                </a:lnTo>
                <a:lnTo>
                  <a:pt x="2869" y="696"/>
                </a:lnTo>
                <a:lnTo>
                  <a:pt x="2865" y="700"/>
                </a:lnTo>
                <a:lnTo>
                  <a:pt x="2862" y="700"/>
                </a:lnTo>
                <a:lnTo>
                  <a:pt x="2863" y="701"/>
                </a:lnTo>
                <a:lnTo>
                  <a:pt x="2860" y="704"/>
                </a:lnTo>
                <a:lnTo>
                  <a:pt x="2855" y="704"/>
                </a:lnTo>
                <a:lnTo>
                  <a:pt x="2860" y="708"/>
                </a:lnTo>
                <a:lnTo>
                  <a:pt x="2852" y="708"/>
                </a:lnTo>
                <a:lnTo>
                  <a:pt x="2857" y="709"/>
                </a:lnTo>
                <a:lnTo>
                  <a:pt x="2858" y="711"/>
                </a:lnTo>
                <a:lnTo>
                  <a:pt x="2857" y="716"/>
                </a:lnTo>
                <a:lnTo>
                  <a:pt x="2855" y="716"/>
                </a:lnTo>
                <a:lnTo>
                  <a:pt x="2857" y="719"/>
                </a:lnTo>
                <a:lnTo>
                  <a:pt x="2853" y="715"/>
                </a:lnTo>
                <a:lnTo>
                  <a:pt x="2857" y="721"/>
                </a:lnTo>
                <a:lnTo>
                  <a:pt x="2852" y="718"/>
                </a:lnTo>
                <a:lnTo>
                  <a:pt x="2857" y="722"/>
                </a:lnTo>
                <a:lnTo>
                  <a:pt x="2854" y="724"/>
                </a:lnTo>
                <a:lnTo>
                  <a:pt x="2856" y="726"/>
                </a:lnTo>
                <a:lnTo>
                  <a:pt x="2851" y="730"/>
                </a:lnTo>
                <a:lnTo>
                  <a:pt x="2851" y="734"/>
                </a:lnTo>
                <a:lnTo>
                  <a:pt x="2854" y="735"/>
                </a:lnTo>
                <a:lnTo>
                  <a:pt x="2853" y="737"/>
                </a:lnTo>
                <a:lnTo>
                  <a:pt x="2852" y="744"/>
                </a:lnTo>
                <a:lnTo>
                  <a:pt x="2844" y="757"/>
                </a:lnTo>
                <a:lnTo>
                  <a:pt x="2842" y="756"/>
                </a:lnTo>
                <a:lnTo>
                  <a:pt x="2827" y="756"/>
                </a:lnTo>
                <a:lnTo>
                  <a:pt x="2827" y="758"/>
                </a:lnTo>
                <a:lnTo>
                  <a:pt x="2823" y="757"/>
                </a:lnTo>
                <a:lnTo>
                  <a:pt x="2819" y="762"/>
                </a:lnTo>
                <a:lnTo>
                  <a:pt x="2819" y="764"/>
                </a:lnTo>
                <a:lnTo>
                  <a:pt x="2823" y="769"/>
                </a:lnTo>
                <a:lnTo>
                  <a:pt x="2821" y="773"/>
                </a:lnTo>
                <a:lnTo>
                  <a:pt x="2814" y="771"/>
                </a:lnTo>
                <a:lnTo>
                  <a:pt x="2808" y="776"/>
                </a:lnTo>
                <a:lnTo>
                  <a:pt x="2803" y="776"/>
                </a:lnTo>
                <a:lnTo>
                  <a:pt x="2802" y="770"/>
                </a:lnTo>
                <a:lnTo>
                  <a:pt x="2804" y="764"/>
                </a:lnTo>
                <a:lnTo>
                  <a:pt x="2795" y="752"/>
                </a:lnTo>
                <a:lnTo>
                  <a:pt x="2801" y="753"/>
                </a:lnTo>
                <a:lnTo>
                  <a:pt x="2797" y="750"/>
                </a:lnTo>
                <a:lnTo>
                  <a:pt x="2799" y="748"/>
                </a:lnTo>
                <a:lnTo>
                  <a:pt x="2799" y="748"/>
                </a:lnTo>
                <a:lnTo>
                  <a:pt x="2799" y="748"/>
                </a:lnTo>
                <a:lnTo>
                  <a:pt x="2796" y="742"/>
                </a:lnTo>
                <a:lnTo>
                  <a:pt x="2792" y="738"/>
                </a:lnTo>
                <a:lnTo>
                  <a:pt x="2787" y="732"/>
                </a:lnTo>
                <a:lnTo>
                  <a:pt x="2787" y="730"/>
                </a:lnTo>
                <a:lnTo>
                  <a:pt x="2787" y="729"/>
                </a:lnTo>
                <a:lnTo>
                  <a:pt x="2787" y="726"/>
                </a:lnTo>
                <a:lnTo>
                  <a:pt x="2787" y="724"/>
                </a:lnTo>
                <a:lnTo>
                  <a:pt x="2783" y="724"/>
                </a:lnTo>
                <a:lnTo>
                  <a:pt x="2783" y="719"/>
                </a:lnTo>
                <a:lnTo>
                  <a:pt x="2783" y="715"/>
                </a:lnTo>
                <a:lnTo>
                  <a:pt x="2779" y="718"/>
                </a:lnTo>
                <a:lnTo>
                  <a:pt x="2779" y="715"/>
                </a:lnTo>
                <a:lnTo>
                  <a:pt x="2784" y="714"/>
                </a:lnTo>
                <a:lnTo>
                  <a:pt x="2779" y="714"/>
                </a:lnTo>
                <a:lnTo>
                  <a:pt x="2779" y="711"/>
                </a:lnTo>
                <a:lnTo>
                  <a:pt x="2781" y="710"/>
                </a:lnTo>
                <a:lnTo>
                  <a:pt x="2775" y="707"/>
                </a:lnTo>
                <a:lnTo>
                  <a:pt x="2775" y="700"/>
                </a:lnTo>
                <a:lnTo>
                  <a:pt x="2775" y="698"/>
                </a:lnTo>
                <a:lnTo>
                  <a:pt x="2775" y="696"/>
                </a:lnTo>
                <a:lnTo>
                  <a:pt x="2775" y="694"/>
                </a:lnTo>
                <a:lnTo>
                  <a:pt x="2776" y="694"/>
                </a:lnTo>
                <a:lnTo>
                  <a:pt x="2776" y="692"/>
                </a:lnTo>
                <a:lnTo>
                  <a:pt x="2768" y="690"/>
                </a:lnTo>
                <a:lnTo>
                  <a:pt x="2764" y="678"/>
                </a:lnTo>
                <a:lnTo>
                  <a:pt x="2765" y="675"/>
                </a:lnTo>
                <a:lnTo>
                  <a:pt x="2768" y="677"/>
                </a:lnTo>
                <a:lnTo>
                  <a:pt x="2765" y="674"/>
                </a:lnTo>
                <a:lnTo>
                  <a:pt x="2762" y="675"/>
                </a:lnTo>
                <a:lnTo>
                  <a:pt x="2763" y="682"/>
                </a:lnTo>
                <a:lnTo>
                  <a:pt x="2763" y="684"/>
                </a:lnTo>
                <a:lnTo>
                  <a:pt x="2763" y="684"/>
                </a:lnTo>
                <a:lnTo>
                  <a:pt x="2763" y="684"/>
                </a:lnTo>
                <a:lnTo>
                  <a:pt x="2763" y="687"/>
                </a:lnTo>
                <a:lnTo>
                  <a:pt x="2764" y="692"/>
                </a:lnTo>
                <a:lnTo>
                  <a:pt x="2761" y="692"/>
                </a:lnTo>
                <a:lnTo>
                  <a:pt x="2760" y="695"/>
                </a:lnTo>
                <a:lnTo>
                  <a:pt x="2755" y="696"/>
                </a:lnTo>
                <a:lnTo>
                  <a:pt x="2750" y="692"/>
                </a:lnTo>
                <a:lnTo>
                  <a:pt x="2750" y="696"/>
                </a:lnTo>
                <a:lnTo>
                  <a:pt x="2733" y="710"/>
                </a:lnTo>
                <a:lnTo>
                  <a:pt x="2727" y="712"/>
                </a:lnTo>
                <a:lnTo>
                  <a:pt x="2727" y="713"/>
                </a:lnTo>
                <a:lnTo>
                  <a:pt x="2711" y="717"/>
                </a:lnTo>
                <a:lnTo>
                  <a:pt x="2710" y="716"/>
                </a:lnTo>
                <a:lnTo>
                  <a:pt x="2706" y="716"/>
                </a:lnTo>
                <a:lnTo>
                  <a:pt x="2709" y="713"/>
                </a:lnTo>
                <a:lnTo>
                  <a:pt x="2704" y="710"/>
                </a:lnTo>
                <a:lnTo>
                  <a:pt x="2699" y="709"/>
                </a:lnTo>
                <a:lnTo>
                  <a:pt x="2698" y="708"/>
                </a:lnTo>
                <a:lnTo>
                  <a:pt x="2694" y="708"/>
                </a:lnTo>
                <a:lnTo>
                  <a:pt x="2687" y="701"/>
                </a:lnTo>
                <a:lnTo>
                  <a:pt x="2687" y="693"/>
                </a:lnTo>
                <a:lnTo>
                  <a:pt x="2701" y="700"/>
                </a:lnTo>
                <a:lnTo>
                  <a:pt x="2701" y="700"/>
                </a:lnTo>
                <a:lnTo>
                  <a:pt x="2699" y="698"/>
                </a:lnTo>
                <a:lnTo>
                  <a:pt x="2695" y="693"/>
                </a:lnTo>
                <a:lnTo>
                  <a:pt x="2701" y="689"/>
                </a:lnTo>
                <a:lnTo>
                  <a:pt x="2700" y="688"/>
                </a:lnTo>
                <a:lnTo>
                  <a:pt x="2699" y="689"/>
                </a:lnTo>
                <a:lnTo>
                  <a:pt x="2699" y="688"/>
                </a:lnTo>
                <a:lnTo>
                  <a:pt x="2699" y="688"/>
                </a:lnTo>
                <a:lnTo>
                  <a:pt x="2699" y="688"/>
                </a:lnTo>
                <a:lnTo>
                  <a:pt x="2699" y="688"/>
                </a:lnTo>
                <a:lnTo>
                  <a:pt x="2695" y="688"/>
                </a:lnTo>
                <a:lnTo>
                  <a:pt x="2693" y="688"/>
                </a:lnTo>
                <a:lnTo>
                  <a:pt x="2692" y="688"/>
                </a:lnTo>
                <a:lnTo>
                  <a:pt x="2693" y="686"/>
                </a:lnTo>
                <a:lnTo>
                  <a:pt x="2691" y="687"/>
                </a:lnTo>
                <a:lnTo>
                  <a:pt x="2692" y="688"/>
                </a:lnTo>
                <a:lnTo>
                  <a:pt x="2691" y="688"/>
                </a:lnTo>
                <a:lnTo>
                  <a:pt x="2691" y="688"/>
                </a:lnTo>
                <a:lnTo>
                  <a:pt x="2691" y="688"/>
                </a:lnTo>
                <a:lnTo>
                  <a:pt x="2687" y="687"/>
                </a:lnTo>
                <a:lnTo>
                  <a:pt x="2687" y="686"/>
                </a:lnTo>
                <a:lnTo>
                  <a:pt x="2687" y="686"/>
                </a:lnTo>
                <a:lnTo>
                  <a:pt x="2683" y="685"/>
                </a:lnTo>
                <a:lnTo>
                  <a:pt x="2686" y="681"/>
                </a:lnTo>
                <a:lnTo>
                  <a:pt x="2687" y="682"/>
                </a:lnTo>
                <a:lnTo>
                  <a:pt x="2687" y="685"/>
                </a:lnTo>
                <a:lnTo>
                  <a:pt x="2691" y="681"/>
                </a:lnTo>
                <a:lnTo>
                  <a:pt x="2697" y="678"/>
                </a:lnTo>
                <a:lnTo>
                  <a:pt x="2695" y="676"/>
                </a:lnTo>
                <a:lnTo>
                  <a:pt x="2694" y="676"/>
                </a:lnTo>
                <a:lnTo>
                  <a:pt x="2693" y="672"/>
                </a:lnTo>
                <a:lnTo>
                  <a:pt x="2692" y="672"/>
                </a:lnTo>
                <a:lnTo>
                  <a:pt x="2693" y="670"/>
                </a:lnTo>
                <a:lnTo>
                  <a:pt x="2691" y="671"/>
                </a:lnTo>
                <a:lnTo>
                  <a:pt x="2694" y="665"/>
                </a:lnTo>
                <a:lnTo>
                  <a:pt x="2690" y="670"/>
                </a:lnTo>
                <a:lnTo>
                  <a:pt x="2686" y="668"/>
                </a:lnTo>
                <a:lnTo>
                  <a:pt x="2687" y="668"/>
                </a:lnTo>
                <a:lnTo>
                  <a:pt x="2686" y="667"/>
                </a:lnTo>
                <a:lnTo>
                  <a:pt x="2687" y="661"/>
                </a:lnTo>
                <a:lnTo>
                  <a:pt x="2691" y="663"/>
                </a:lnTo>
                <a:lnTo>
                  <a:pt x="2690" y="662"/>
                </a:lnTo>
                <a:lnTo>
                  <a:pt x="2694" y="658"/>
                </a:lnTo>
                <a:lnTo>
                  <a:pt x="2693" y="655"/>
                </a:lnTo>
                <a:lnTo>
                  <a:pt x="2689" y="658"/>
                </a:lnTo>
                <a:lnTo>
                  <a:pt x="2687" y="655"/>
                </a:lnTo>
                <a:lnTo>
                  <a:pt x="2690" y="651"/>
                </a:lnTo>
                <a:lnTo>
                  <a:pt x="2682" y="654"/>
                </a:lnTo>
                <a:lnTo>
                  <a:pt x="2682" y="649"/>
                </a:lnTo>
                <a:lnTo>
                  <a:pt x="2688" y="650"/>
                </a:lnTo>
                <a:lnTo>
                  <a:pt x="2683" y="648"/>
                </a:lnTo>
                <a:lnTo>
                  <a:pt x="2687" y="648"/>
                </a:lnTo>
                <a:lnTo>
                  <a:pt x="2681" y="646"/>
                </a:lnTo>
                <a:lnTo>
                  <a:pt x="2693" y="644"/>
                </a:lnTo>
                <a:lnTo>
                  <a:pt x="2683" y="644"/>
                </a:lnTo>
                <a:lnTo>
                  <a:pt x="2681" y="641"/>
                </a:lnTo>
                <a:lnTo>
                  <a:pt x="2695" y="640"/>
                </a:lnTo>
                <a:lnTo>
                  <a:pt x="2687" y="640"/>
                </a:lnTo>
                <a:lnTo>
                  <a:pt x="2686" y="636"/>
                </a:lnTo>
                <a:lnTo>
                  <a:pt x="2690" y="636"/>
                </a:lnTo>
                <a:lnTo>
                  <a:pt x="2681" y="635"/>
                </a:lnTo>
                <a:lnTo>
                  <a:pt x="2684" y="632"/>
                </a:lnTo>
                <a:lnTo>
                  <a:pt x="2682" y="632"/>
                </a:lnTo>
                <a:lnTo>
                  <a:pt x="2681" y="632"/>
                </a:lnTo>
                <a:lnTo>
                  <a:pt x="2680" y="631"/>
                </a:lnTo>
                <a:lnTo>
                  <a:pt x="2681" y="629"/>
                </a:lnTo>
                <a:lnTo>
                  <a:pt x="2682" y="629"/>
                </a:lnTo>
                <a:lnTo>
                  <a:pt x="2682" y="627"/>
                </a:lnTo>
                <a:lnTo>
                  <a:pt x="2687" y="627"/>
                </a:lnTo>
                <a:lnTo>
                  <a:pt x="2687" y="627"/>
                </a:lnTo>
                <a:lnTo>
                  <a:pt x="2687" y="627"/>
                </a:lnTo>
                <a:lnTo>
                  <a:pt x="2688" y="627"/>
                </a:lnTo>
                <a:lnTo>
                  <a:pt x="2687" y="626"/>
                </a:lnTo>
                <a:lnTo>
                  <a:pt x="2687" y="624"/>
                </a:lnTo>
                <a:lnTo>
                  <a:pt x="2693" y="624"/>
                </a:lnTo>
                <a:lnTo>
                  <a:pt x="2695" y="624"/>
                </a:lnTo>
                <a:lnTo>
                  <a:pt x="2698" y="624"/>
                </a:lnTo>
                <a:lnTo>
                  <a:pt x="2704" y="627"/>
                </a:lnTo>
                <a:lnTo>
                  <a:pt x="2698" y="623"/>
                </a:lnTo>
                <a:lnTo>
                  <a:pt x="2701" y="617"/>
                </a:lnTo>
                <a:lnTo>
                  <a:pt x="2705" y="624"/>
                </a:lnTo>
                <a:lnTo>
                  <a:pt x="2706" y="624"/>
                </a:lnTo>
                <a:lnTo>
                  <a:pt x="2704" y="617"/>
                </a:lnTo>
                <a:lnTo>
                  <a:pt x="2704" y="616"/>
                </a:lnTo>
                <a:lnTo>
                  <a:pt x="2704" y="616"/>
                </a:lnTo>
                <a:lnTo>
                  <a:pt x="2701" y="614"/>
                </a:lnTo>
                <a:lnTo>
                  <a:pt x="2713" y="611"/>
                </a:lnTo>
                <a:lnTo>
                  <a:pt x="2720" y="616"/>
                </a:lnTo>
                <a:lnTo>
                  <a:pt x="2724" y="615"/>
                </a:lnTo>
                <a:lnTo>
                  <a:pt x="2718" y="613"/>
                </a:lnTo>
                <a:lnTo>
                  <a:pt x="2719" y="612"/>
                </a:lnTo>
                <a:lnTo>
                  <a:pt x="2718" y="612"/>
                </a:lnTo>
                <a:lnTo>
                  <a:pt x="2723" y="608"/>
                </a:lnTo>
                <a:lnTo>
                  <a:pt x="2720" y="608"/>
                </a:lnTo>
                <a:lnTo>
                  <a:pt x="2711" y="608"/>
                </a:lnTo>
                <a:lnTo>
                  <a:pt x="2711" y="608"/>
                </a:lnTo>
                <a:lnTo>
                  <a:pt x="2711" y="608"/>
                </a:lnTo>
                <a:lnTo>
                  <a:pt x="2711" y="608"/>
                </a:lnTo>
                <a:lnTo>
                  <a:pt x="2711" y="608"/>
                </a:lnTo>
                <a:lnTo>
                  <a:pt x="2711" y="608"/>
                </a:lnTo>
                <a:lnTo>
                  <a:pt x="2711" y="605"/>
                </a:lnTo>
                <a:lnTo>
                  <a:pt x="2715" y="603"/>
                </a:lnTo>
                <a:lnTo>
                  <a:pt x="2715" y="604"/>
                </a:lnTo>
                <a:lnTo>
                  <a:pt x="2715" y="603"/>
                </a:lnTo>
                <a:lnTo>
                  <a:pt x="2719" y="602"/>
                </a:lnTo>
                <a:lnTo>
                  <a:pt x="2723" y="604"/>
                </a:lnTo>
                <a:lnTo>
                  <a:pt x="2721" y="607"/>
                </a:lnTo>
                <a:lnTo>
                  <a:pt x="2727" y="605"/>
                </a:lnTo>
                <a:lnTo>
                  <a:pt x="2727" y="605"/>
                </a:lnTo>
                <a:lnTo>
                  <a:pt x="2725" y="603"/>
                </a:lnTo>
                <a:lnTo>
                  <a:pt x="2729" y="600"/>
                </a:lnTo>
                <a:lnTo>
                  <a:pt x="2730" y="602"/>
                </a:lnTo>
                <a:lnTo>
                  <a:pt x="2740" y="599"/>
                </a:lnTo>
                <a:lnTo>
                  <a:pt x="2739" y="599"/>
                </a:lnTo>
                <a:lnTo>
                  <a:pt x="2738" y="595"/>
                </a:lnTo>
                <a:lnTo>
                  <a:pt x="2742" y="591"/>
                </a:lnTo>
                <a:lnTo>
                  <a:pt x="2745" y="593"/>
                </a:lnTo>
                <a:lnTo>
                  <a:pt x="2743" y="591"/>
                </a:lnTo>
                <a:lnTo>
                  <a:pt x="2750" y="588"/>
                </a:lnTo>
                <a:lnTo>
                  <a:pt x="2751" y="587"/>
                </a:lnTo>
                <a:lnTo>
                  <a:pt x="2756" y="593"/>
                </a:lnTo>
                <a:lnTo>
                  <a:pt x="2756" y="593"/>
                </a:lnTo>
                <a:lnTo>
                  <a:pt x="2769" y="591"/>
                </a:lnTo>
                <a:lnTo>
                  <a:pt x="2768" y="590"/>
                </a:lnTo>
                <a:lnTo>
                  <a:pt x="2769" y="588"/>
                </a:lnTo>
                <a:lnTo>
                  <a:pt x="2765" y="590"/>
                </a:lnTo>
                <a:lnTo>
                  <a:pt x="2771" y="585"/>
                </a:lnTo>
                <a:lnTo>
                  <a:pt x="2777" y="584"/>
                </a:lnTo>
                <a:lnTo>
                  <a:pt x="2773" y="582"/>
                </a:lnTo>
                <a:lnTo>
                  <a:pt x="2777" y="579"/>
                </a:lnTo>
                <a:lnTo>
                  <a:pt x="2775" y="579"/>
                </a:lnTo>
                <a:lnTo>
                  <a:pt x="2775" y="575"/>
                </a:lnTo>
                <a:lnTo>
                  <a:pt x="2764" y="584"/>
                </a:lnTo>
                <a:lnTo>
                  <a:pt x="2769" y="583"/>
                </a:lnTo>
                <a:lnTo>
                  <a:pt x="2773" y="583"/>
                </a:lnTo>
                <a:lnTo>
                  <a:pt x="2769" y="586"/>
                </a:lnTo>
                <a:lnTo>
                  <a:pt x="2757" y="591"/>
                </a:lnTo>
                <a:lnTo>
                  <a:pt x="2755" y="591"/>
                </a:lnTo>
                <a:lnTo>
                  <a:pt x="2753" y="588"/>
                </a:lnTo>
                <a:lnTo>
                  <a:pt x="2756" y="585"/>
                </a:lnTo>
                <a:lnTo>
                  <a:pt x="2747" y="587"/>
                </a:lnTo>
                <a:lnTo>
                  <a:pt x="2747" y="585"/>
                </a:lnTo>
                <a:lnTo>
                  <a:pt x="2759" y="580"/>
                </a:lnTo>
                <a:lnTo>
                  <a:pt x="2757" y="579"/>
                </a:lnTo>
                <a:lnTo>
                  <a:pt x="2758" y="574"/>
                </a:lnTo>
                <a:lnTo>
                  <a:pt x="2762" y="571"/>
                </a:lnTo>
                <a:lnTo>
                  <a:pt x="2765" y="571"/>
                </a:lnTo>
                <a:lnTo>
                  <a:pt x="2762" y="569"/>
                </a:lnTo>
                <a:lnTo>
                  <a:pt x="2769" y="569"/>
                </a:lnTo>
                <a:lnTo>
                  <a:pt x="2765" y="568"/>
                </a:lnTo>
                <a:lnTo>
                  <a:pt x="2769" y="567"/>
                </a:lnTo>
                <a:lnTo>
                  <a:pt x="2770" y="564"/>
                </a:lnTo>
                <a:lnTo>
                  <a:pt x="2775" y="565"/>
                </a:lnTo>
                <a:lnTo>
                  <a:pt x="2775" y="567"/>
                </a:lnTo>
                <a:lnTo>
                  <a:pt x="2779" y="565"/>
                </a:lnTo>
                <a:lnTo>
                  <a:pt x="2776" y="562"/>
                </a:lnTo>
                <a:lnTo>
                  <a:pt x="2780" y="560"/>
                </a:lnTo>
                <a:lnTo>
                  <a:pt x="2775" y="562"/>
                </a:lnTo>
                <a:lnTo>
                  <a:pt x="2775" y="562"/>
                </a:lnTo>
                <a:lnTo>
                  <a:pt x="2775" y="562"/>
                </a:lnTo>
                <a:lnTo>
                  <a:pt x="2774" y="563"/>
                </a:lnTo>
                <a:lnTo>
                  <a:pt x="2776" y="559"/>
                </a:lnTo>
                <a:lnTo>
                  <a:pt x="2774" y="559"/>
                </a:lnTo>
                <a:lnTo>
                  <a:pt x="2776" y="558"/>
                </a:lnTo>
                <a:lnTo>
                  <a:pt x="2787" y="553"/>
                </a:lnTo>
                <a:lnTo>
                  <a:pt x="2784" y="552"/>
                </a:lnTo>
                <a:lnTo>
                  <a:pt x="2788" y="548"/>
                </a:lnTo>
                <a:lnTo>
                  <a:pt x="2789" y="551"/>
                </a:lnTo>
                <a:lnTo>
                  <a:pt x="2794" y="549"/>
                </a:lnTo>
                <a:lnTo>
                  <a:pt x="2792" y="547"/>
                </a:lnTo>
                <a:lnTo>
                  <a:pt x="2795" y="547"/>
                </a:lnTo>
                <a:lnTo>
                  <a:pt x="2792" y="542"/>
                </a:lnTo>
                <a:lnTo>
                  <a:pt x="2790" y="538"/>
                </a:lnTo>
                <a:lnTo>
                  <a:pt x="2794" y="537"/>
                </a:lnTo>
                <a:lnTo>
                  <a:pt x="2796" y="538"/>
                </a:lnTo>
                <a:lnTo>
                  <a:pt x="2794" y="535"/>
                </a:lnTo>
                <a:lnTo>
                  <a:pt x="2795" y="532"/>
                </a:lnTo>
                <a:lnTo>
                  <a:pt x="2798" y="531"/>
                </a:lnTo>
                <a:lnTo>
                  <a:pt x="2796" y="531"/>
                </a:lnTo>
                <a:lnTo>
                  <a:pt x="2799" y="529"/>
                </a:lnTo>
                <a:lnTo>
                  <a:pt x="2797" y="530"/>
                </a:lnTo>
                <a:lnTo>
                  <a:pt x="2806" y="525"/>
                </a:lnTo>
                <a:lnTo>
                  <a:pt x="2799" y="526"/>
                </a:lnTo>
                <a:lnTo>
                  <a:pt x="2807" y="523"/>
                </a:lnTo>
                <a:lnTo>
                  <a:pt x="2799" y="523"/>
                </a:lnTo>
                <a:lnTo>
                  <a:pt x="2802" y="520"/>
                </a:lnTo>
                <a:lnTo>
                  <a:pt x="2799" y="518"/>
                </a:lnTo>
                <a:lnTo>
                  <a:pt x="2807" y="515"/>
                </a:lnTo>
                <a:lnTo>
                  <a:pt x="2807" y="515"/>
                </a:lnTo>
                <a:lnTo>
                  <a:pt x="2807" y="515"/>
                </a:lnTo>
                <a:lnTo>
                  <a:pt x="2809" y="514"/>
                </a:lnTo>
                <a:lnTo>
                  <a:pt x="2808" y="514"/>
                </a:lnTo>
                <a:lnTo>
                  <a:pt x="2811" y="511"/>
                </a:lnTo>
                <a:lnTo>
                  <a:pt x="2814" y="511"/>
                </a:lnTo>
                <a:lnTo>
                  <a:pt x="2806" y="506"/>
                </a:lnTo>
                <a:lnTo>
                  <a:pt x="2822" y="504"/>
                </a:lnTo>
                <a:lnTo>
                  <a:pt x="2818" y="503"/>
                </a:lnTo>
                <a:lnTo>
                  <a:pt x="2818" y="503"/>
                </a:lnTo>
                <a:lnTo>
                  <a:pt x="2819" y="503"/>
                </a:lnTo>
                <a:lnTo>
                  <a:pt x="2819" y="499"/>
                </a:lnTo>
                <a:lnTo>
                  <a:pt x="2820" y="499"/>
                </a:lnTo>
                <a:lnTo>
                  <a:pt x="2824" y="495"/>
                </a:lnTo>
                <a:lnTo>
                  <a:pt x="2828" y="495"/>
                </a:lnTo>
                <a:lnTo>
                  <a:pt x="2825" y="495"/>
                </a:lnTo>
                <a:lnTo>
                  <a:pt x="2830" y="495"/>
                </a:lnTo>
                <a:lnTo>
                  <a:pt x="2832" y="495"/>
                </a:lnTo>
                <a:lnTo>
                  <a:pt x="2833" y="495"/>
                </a:lnTo>
                <a:lnTo>
                  <a:pt x="2832" y="490"/>
                </a:lnTo>
                <a:lnTo>
                  <a:pt x="2833" y="487"/>
                </a:lnTo>
                <a:lnTo>
                  <a:pt x="2840" y="488"/>
                </a:lnTo>
                <a:lnTo>
                  <a:pt x="2835" y="484"/>
                </a:lnTo>
                <a:lnTo>
                  <a:pt x="2829" y="486"/>
                </a:lnTo>
                <a:lnTo>
                  <a:pt x="2829" y="486"/>
                </a:lnTo>
                <a:lnTo>
                  <a:pt x="2829" y="486"/>
                </a:lnTo>
                <a:lnTo>
                  <a:pt x="2825" y="484"/>
                </a:lnTo>
                <a:lnTo>
                  <a:pt x="2830" y="483"/>
                </a:lnTo>
                <a:lnTo>
                  <a:pt x="2828" y="483"/>
                </a:lnTo>
                <a:lnTo>
                  <a:pt x="2840" y="481"/>
                </a:lnTo>
                <a:lnTo>
                  <a:pt x="2843" y="480"/>
                </a:lnTo>
                <a:lnTo>
                  <a:pt x="2837" y="479"/>
                </a:lnTo>
                <a:lnTo>
                  <a:pt x="2839" y="479"/>
                </a:lnTo>
                <a:lnTo>
                  <a:pt x="2838" y="479"/>
                </a:lnTo>
                <a:lnTo>
                  <a:pt x="2840" y="476"/>
                </a:lnTo>
                <a:lnTo>
                  <a:pt x="2843" y="472"/>
                </a:lnTo>
                <a:lnTo>
                  <a:pt x="2844" y="475"/>
                </a:lnTo>
                <a:lnTo>
                  <a:pt x="2846" y="483"/>
                </a:lnTo>
                <a:lnTo>
                  <a:pt x="2851" y="484"/>
                </a:lnTo>
                <a:lnTo>
                  <a:pt x="2847" y="483"/>
                </a:lnTo>
                <a:lnTo>
                  <a:pt x="2846" y="479"/>
                </a:lnTo>
                <a:lnTo>
                  <a:pt x="2851" y="481"/>
                </a:lnTo>
                <a:lnTo>
                  <a:pt x="2850" y="479"/>
                </a:lnTo>
                <a:lnTo>
                  <a:pt x="2846" y="479"/>
                </a:lnTo>
                <a:lnTo>
                  <a:pt x="2847" y="475"/>
                </a:lnTo>
                <a:lnTo>
                  <a:pt x="2848" y="475"/>
                </a:lnTo>
                <a:lnTo>
                  <a:pt x="2846" y="474"/>
                </a:lnTo>
                <a:lnTo>
                  <a:pt x="2847" y="471"/>
                </a:lnTo>
                <a:lnTo>
                  <a:pt x="2860" y="471"/>
                </a:lnTo>
                <a:lnTo>
                  <a:pt x="2863" y="476"/>
                </a:lnTo>
                <a:lnTo>
                  <a:pt x="2863" y="475"/>
                </a:lnTo>
                <a:lnTo>
                  <a:pt x="2863" y="472"/>
                </a:lnTo>
                <a:lnTo>
                  <a:pt x="2860" y="471"/>
                </a:lnTo>
                <a:lnTo>
                  <a:pt x="2863" y="471"/>
                </a:lnTo>
                <a:lnTo>
                  <a:pt x="2863" y="466"/>
                </a:lnTo>
                <a:lnTo>
                  <a:pt x="2857" y="467"/>
                </a:lnTo>
                <a:lnTo>
                  <a:pt x="2858" y="467"/>
                </a:lnTo>
                <a:lnTo>
                  <a:pt x="2857" y="467"/>
                </a:lnTo>
                <a:lnTo>
                  <a:pt x="2855" y="468"/>
                </a:lnTo>
                <a:lnTo>
                  <a:pt x="2855" y="467"/>
                </a:lnTo>
                <a:lnTo>
                  <a:pt x="2851" y="467"/>
                </a:lnTo>
                <a:lnTo>
                  <a:pt x="2850" y="467"/>
                </a:lnTo>
                <a:lnTo>
                  <a:pt x="2851" y="467"/>
                </a:lnTo>
                <a:lnTo>
                  <a:pt x="2852" y="464"/>
                </a:lnTo>
                <a:lnTo>
                  <a:pt x="2852" y="463"/>
                </a:lnTo>
                <a:lnTo>
                  <a:pt x="2857" y="461"/>
                </a:lnTo>
                <a:lnTo>
                  <a:pt x="2869" y="463"/>
                </a:lnTo>
                <a:lnTo>
                  <a:pt x="2862" y="461"/>
                </a:lnTo>
                <a:lnTo>
                  <a:pt x="2864" y="459"/>
                </a:lnTo>
                <a:lnTo>
                  <a:pt x="2862" y="460"/>
                </a:lnTo>
                <a:lnTo>
                  <a:pt x="2860" y="459"/>
                </a:lnTo>
                <a:lnTo>
                  <a:pt x="2860" y="459"/>
                </a:lnTo>
                <a:lnTo>
                  <a:pt x="2863" y="459"/>
                </a:lnTo>
                <a:lnTo>
                  <a:pt x="2864" y="455"/>
                </a:lnTo>
                <a:lnTo>
                  <a:pt x="2865" y="455"/>
                </a:lnTo>
                <a:lnTo>
                  <a:pt x="2866" y="451"/>
                </a:lnTo>
                <a:lnTo>
                  <a:pt x="2865" y="451"/>
                </a:lnTo>
                <a:lnTo>
                  <a:pt x="2863" y="452"/>
                </a:lnTo>
                <a:lnTo>
                  <a:pt x="2865" y="453"/>
                </a:lnTo>
                <a:lnTo>
                  <a:pt x="2864" y="455"/>
                </a:lnTo>
                <a:lnTo>
                  <a:pt x="2863" y="455"/>
                </a:lnTo>
                <a:lnTo>
                  <a:pt x="2863" y="453"/>
                </a:lnTo>
                <a:lnTo>
                  <a:pt x="2860" y="455"/>
                </a:lnTo>
                <a:lnTo>
                  <a:pt x="2854" y="455"/>
                </a:lnTo>
                <a:lnTo>
                  <a:pt x="2860" y="451"/>
                </a:lnTo>
                <a:lnTo>
                  <a:pt x="2856" y="451"/>
                </a:lnTo>
                <a:lnTo>
                  <a:pt x="2860" y="448"/>
                </a:lnTo>
                <a:lnTo>
                  <a:pt x="2858" y="447"/>
                </a:lnTo>
                <a:lnTo>
                  <a:pt x="2858" y="447"/>
                </a:lnTo>
                <a:lnTo>
                  <a:pt x="2856" y="443"/>
                </a:lnTo>
                <a:lnTo>
                  <a:pt x="2858" y="443"/>
                </a:lnTo>
                <a:lnTo>
                  <a:pt x="2865" y="442"/>
                </a:lnTo>
                <a:lnTo>
                  <a:pt x="2860" y="440"/>
                </a:lnTo>
                <a:lnTo>
                  <a:pt x="2866" y="441"/>
                </a:lnTo>
                <a:lnTo>
                  <a:pt x="2865" y="438"/>
                </a:lnTo>
                <a:lnTo>
                  <a:pt x="2866" y="439"/>
                </a:lnTo>
                <a:lnTo>
                  <a:pt x="2870" y="439"/>
                </a:lnTo>
                <a:lnTo>
                  <a:pt x="2874" y="442"/>
                </a:lnTo>
                <a:lnTo>
                  <a:pt x="2871" y="445"/>
                </a:lnTo>
                <a:lnTo>
                  <a:pt x="2871" y="446"/>
                </a:lnTo>
                <a:lnTo>
                  <a:pt x="2873" y="451"/>
                </a:lnTo>
                <a:lnTo>
                  <a:pt x="2875" y="451"/>
                </a:lnTo>
                <a:lnTo>
                  <a:pt x="2873" y="446"/>
                </a:lnTo>
                <a:lnTo>
                  <a:pt x="2877" y="440"/>
                </a:lnTo>
                <a:lnTo>
                  <a:pt x="2883" y="446"/>
                </a:lnTo>
                <a:lnTo>
                  <a:pt x="2884" y="445"/>
                </a:lnTo>
                <a:lnTo>
                  <a:pt x="2888" y="446"/>
                </a:lnTo>
                <a:lnTo>
                  <a:pt x="2879" y="441"/>
                </a:lnTo>
                <a:lnTo>
                  <a:pt x="2879" y="440"/>
                </a:lnTo>
                <a:lnTo>
                  <a:pt x="2882" y="439"/>
                </a:lnTo>
                <a:lnTo>
                  <a:pt x="2883" y="439"/>
                </a:lnTo>
                <a:lnTo>
                  <a:pt x="2883" y="439"/>
                </a:lnTo>
                <a:lnTo>
                  <a:pt x="2884" y="438"/>
                </a:lnTo>
                <a:lnTo>
                  <a:pt x="2886" y="440"/>
                </a:lnTo>
                <a:lnTo>
                  <a:pt x="2887" y="440"/>
                </a:lnTo>
                <a:lnTo>
                  <a:pt x="2887" y="438"/>
                </a:lnTo>
                <a:lnTo>
                  <a:pt x="2886" y="440"/>
                </a:lnTo>
                <a:lnTo>
                  <a:pt x="2885" y="436"/>
                </a:lnTo>
                <a:lnTo>
                  <a:pt x="2891" y="433"/>
                </a:lnTo>
                <a:lnTo>
                  <a:pt x="2898" y="430"/>
                </a:lnTo>
                <a:lnTo>
                  <a:pt x="2897" y="436"/>
                </a:lnTo>
                <a:lnTo>
                  <a:pt x="2896" y="442"/>
                </a:lnTo>
                <a:lnTo>
                  <a:pt x="2897" y="441"/>
                </a:lnTo>
                <a:lnTo>
                  <a:pt x="2898" y="434"/>
                </a:lnTo>
                <a:lnTo>
                  <a:pt x="2907" y="429"/>
                </a:lnTo>
                <a:lnTo>
                  <a:pt x="2909" y="429"/>
                </a:lnTo>
                <a:lnTo>
                  <a:pt x="2906" y="441"/>
                </a:lnTo>
                <a:lnTo>
                  <a:pt x="2909" y="438"/>
                </a:lnTo>
                <a:lnTo>
                  <a:pt x="2915" y="440"/>
                </a:lnTo>
                <a:lnTo>
                  <a:pt x="2909" y="436"/>
                </a:lnTo>
                <a:lnTo>
                  <a:pt x="2910" y="433"/>
                </a:lnTo>
                <a:lnTo>
                  <a:pt x="2915" y="430"/>
                </a:lnTo>
                <a:lnTo>
                  <a:pt x="2917" y="430"/>
                </a:lnTo>
                <a:lnTo>
                  <a:pt x="2921" y="426"/>
                </a:lnTo>
                <a:lnTo>
                  <a:pt x="2933" y="433"/>
                </a:lnTo>
                <a:lnTo>
                  <a:pt x="2928" y="425"/>
                </a:lnTo>
                <a:lnTo>
                  <a:pt x="2933" y="423"/>
                </a:lnTo>
                <a:lnTo>
                  <a:pt x="2922" y="423"/>
                </a:lnTo>
                <a:lnTo>
                  <a:pt x="2920" y="421"/>
                </a:lnTo>
                <a:lnTo>
                  <a:pt x="2921" y="419"/>
                </a:lnTo>
                <a:lnTo>
                  <a:pt x="2925" y="418"/>
                </a:lnTo>
                <a:lnTo>
                  <a:pt x="2928" y="419"/>
                </a:lnTo>
                <a:lnTo>
                  <a:pt x="2932" y="419"/>
                </a:lnTo>
                <a:lnTo>
                  <a:pt x="2935" y="419"/>
                </a:lnTo>
                <a:lnTo>
                  <a:pt x="2935" y="421"/>
                </a:lnTo>
                <a:lnTo>
                  <a:pt x="2936" y="419"/>
                </a:lnTo>
                <a:lnTo>
                  <a:pt x="2946" y="421"/>
                </a:lnTo>
                <a:lnTo>
                  <a:pt x="2943" y="423"/>
                </a:lnTo>
                <a:lnTo>
                  <a:pt x="2936" y="425"/>
                </a:lnTo>
                <a:lnTo>
                  <a:pt x="2945" y="423"/>
                </a:lnTo>
                <a:lnTo>
                  <a:pt x="2952" y="429"/>
                </a:lnTo>
                <a:lnTo>
                  <a:pt x="2954" y="426"/>
                </a:lnTo>
                <a:lnTo>
                  <a:pt x="2948" y="425"/>
                </a:lnTo>
                <a:lnTo>
                  <a:pt x="2948" y="424"/>
                </a:lnTo>
                <a:lnTo>
                  <a:pt x="2948" y="423"/>
                </a:lnTo>
                <a:lnTo>
                  <a:pt x="2953" y="423"/>
                </a:lnTo>
                <a:lnTo>
                  <a:pt x="2954" y="419"/>
                </a:lnTo>
                <a:lnTo>
                  <a:pt x="2948" y="419"/>
                </a:lnTo>
                <a:lnTo>
                  <a:pt x="2945" y="414"/>
                </a:lnTo>
                <a:lnTo>
                  <a:pt x="2952" y="411"/>
                </a:lnTo>
                <a:lnTo>
                  <a:pt x="2952" y="410"/>
                </a:lnTo>
                <a:lnTo>
                  <a:pt x="2955" y="413"/>
                </a:lnTo>
                <a:lnTo>
                  <a:pt x="2955" y="415"/>
                </a:lnTo>
                <a:lnTo>
                  <a:pt x="2956" y="414"/>
                </a:lnTo>
                <a:lnTo>
                  <a:pt x="2960" y="413"/>
                </a:lnTo>
                <a:lnTo>
                  <a:pt x="2966" y="414"/>
                </a:lnTo>
                <a:lnTo>
                  <a:pt x="2964" y="411"/>
                </a:lnTo>
                <a:lnTo>
                  <a:pt x="2966" y="408"/>
                </a:lnTo>
                <a:lnTo>
                  <a:pt x="2972" y="410"/>
                </a:lnTo>
                <a:lnTo>
                  <a:pt x="2968" y="407"/>
                </a:lnTo>
                <a:lnTo>
                  <a:pt x="2963" y="405"/>
                </a:lnTo>
                <a:lnTo>
                  <a:pt x="2966" y="403"/>
                </a:lnTo>
                <a:lnTo>
                  <a:pt x="2968" y="405"/>
                </a:lnTo>
                <a:lnTo>
                  <a:pt x="2968" y="399"/>
                </a:lnTo>
                <a:lnTo>
                  <a:pt x="2970" y="399"/>
                </a:lnTo>
                <a:lnTo>
                  <a:pt x="2971" y="399"/>
                </a:lnTo>
                <a:lnTo>
                  <a:pt x="2972" y="400"/>
                </a:lnTo>
                <a:lnTo>
                  <a:pt x="2974" y="402"/>
                </a:lnTo>
                <a:lnTo>
                  <a:pt x="2974" y="400"/>
                </a:lnTo>
                <a:lnTo>
                  <a:pt x="2975" y="399"/>
                </a:lnTo>
                <a:lnTo>
                  <a:pt x="2975" y="399"/>
                </a:lnTo>
                <a:lnTo>
                  <a:pt x="2975" y="399"/>
                </a:lnTo>
                <a:lnTo>
                  <a:pt x="2979" y="404"/>
                </a:lnTo>
                <a:lnTo>
                  <a:pt x="2980" y="403"/>
                </a:lnTo>
                <a:lnTo>
                  <a:pt x="2980" y="400"/>
                </a:lnTo>
                <a:lnTo>
                  <a:pt x="2983" y="399"/>
                </a:lnTo>
                <a:lnTo>
                  <a:pt x="2979" y="399"/>
                </a:lnTo>
                <a:lnTo>
                  <a:pt x="2986" y="396"/>
                </a:lnTo>
                <a:lnTo>
                  <a:pt x="2991" y="396"/>
                </a:lnTo>
                <a:lnTo>
                  <a:pt x="2989" y="400"/>
                </a:lnTo>
                <a:lnTo>
                  <a:pt x="2988" y="400"/>
                </a:lnTo>
                <a:lnTo>
                  <a:pt x="2988" y="400"/>
                </a:lnTo>
                <a:lnTo>
                  <a:pt x="2986" y="402"/>
                </a:lnTo>
                <a:lnTo>
                  <a:pt x="2989" y="403"/>
                </a:lnTo>
                <a:lnTo>
                  <a:pt x="2977" y="415"/>
                </a:lnTo>
                <a:lnTo>
                  <a:pt x="2976" y="415"/>
                </a:lnTo>
                <a:lnTo>
                  <a:pt x="2976" y="417"/>
                </a:lnTo>
                <a:lnTo>
                  <a:pt x="2976" y="423"/>
                </a:lnTo>
                <a:lnTo>
                  <a:pt x="2972" y="423"/>
                </a:lnTo>
                <a:lnTo>
                  <a:pt x="2972" y="427"/>
                </a:lnTo>
                <a:lnTo>
                  <a:pt x="2977" y="427"/>
                </a:lnTo>
                <a:lnTo>
                  <a:pt x="2978" y="427"/>
                </a:lnTo>
                <a:lnTo>
                  <a:pt x="2983" y="420"/>
                </a:lnTo>
                <a:lnTo>
                  <a:pt x="2981" y="418"/>
                </a:lnTo>
                <a:lnTo>
                  <a:pt x="2999" y="403"/>
                </a:lnTo>
                <a:lnTo>
                  <a:pt x="3000" y="403"/>
                </a:lnTo>
                <a:lnTo>
                  <a:pt x="3000" y="407"/>
                </a:lnTo>
                <a:lnTo>
                  <a:pt x="2994" y="411"/>
                </a:lnTo>
                <a:lnTo>
                  <a:pt x="2999" y="411"/>
                </a:lnTo>
                <a:lnTo>
                  <a:pt x="2997" y="418"/>
                </a:lnTo>
                <a:lnTo>
                  <a:pt x="3005" y="413"/>
                </a:lnTo>
                <a:lnTo>
                  <a:pt x="3004" y="411"/>
                </a:lnTo>
                <a:lnTo>
                  <a:pt x="3005" y="410"/>
                </a:lnTo>
                <a:lnTo>
                  <a:pt x="3004" y="410"/>
                </a:lnTo>
                <a:lnTo>
                  <a:pt x="3004" y="407"/>
                </a:lnTo>
                <a:lnTo>
                  <a:pt x="3006" y="405"/>
                </a:lnTo>
                <a:lnTo>
                  <a:pt x="3008" y="403"/>
                </a:lnTo>
                <a:lnTo>
                  <a:pt x="3013" y="405"/>
                </a:lnTo>
                <a:lnTo>
                  <a:pt x="3007" y="400"/>
                </a:lnTo>
                <a:lnTo>
                  <a:pt x="3013" y="396"/>
                </a:lnTo>
                <a:lnTo>
                  <a:pt x="3016" y="398"/>
                </a:lnTo>
                <a:lnTo>
                  <a:pt x="3022" y="397"/>
                </a:lnTo>
                <a:lnTo>
                  <a:pt x="3027" y="401"/>
                </a:lnTo>
                <a:lnTo>
                  <a:pt x="3023" y="407"/>
                </a:lnTo>
                <a:lnTo>
                  <a:pt x="3020" y="407"/>
                </a:lnTo>
                <a:lnTo>
                  <a:pt x="3020" y="408"/>
                </a:lnTo>
                <a:lnTo>
                  <a:pt x="3021" y="408"/>
                </a:lnTo>
                <a:lnTo>
                  <a:pt x="3020" y="408"/>
                </a:lnTo>
                <a:lnTo>
                  <a:pt x="3020" y="410"/>
                </a:lnTo>
                <a:lnTo>
                  <a:pt x="3016" y="415"/>
                </a:lnTo>
                <a:lnTo>
                  <a:pt x="3019" y="415"/>
                </a:lnTo>
                <a:lnTo>
                  <a:pt x="3021" y="415"/>
                </a:lnTo>
                <a:lnTo>
                  <a:pt x="3021" y="415"/>
                </a:lnTo>
                <a:lnTo>
                  <a:pt x="3024" y="407"/>
                </a:lnTo>
                <a:lnTo>
                  <a:pt x="3030" y="403"/>
                </a:lnTo>
                <a:lnTo>
                  <a:pt x="3035" y="403"/>
                </a:lnTo>
                <a:lnTo>
                  <a:pt x="3037" y="403"/>
                </a:lnTo>
                <a:lnTo>
                  <a:pt x="3038" y="407"/>
                </a:lnTo>
                <a:lnTo>
                  <a:pt x="3045" y="407"/>
                </a:lnTo>
                <a:lnTo>
                  <a:pt x="3045" y="408"/>
                </a:lnTo>
                <a:lnTo>
                  <a:pt x="3044" y="410"/>
                </a:lnTo>
                <a:lnTo>
                  <a:pt x="3050" y="408"/>
                </a:lnTo>
                <a:lnTo>
                  <a:pt x="3054" y="411"/>
                </a:lnTo>
                <a:lnTo>
                  <a:pt x="3049" y="415"/>
                </a:lnTo>
                <a:lnTo>
                  <a:pt x="3056" y="415"/>
                </a:lnTo>
                <a:lnTo>
                  <a:pt x="3061" y="416"/>
                </a:lnTo>
                <a:lnTo>
                  <a:pt x="3064" y="418"/>
                </a:lnTo>
                <a:lnTo>
                  <a:pt x="3056" y="419"/>
                </a:lnTo>
                <a:lnTo>
                  <a:pt x="3050" y="425"/>
                </a:lnTo>
                <a:lnTo>
                  <a:pt x="3030" y="421"/>
                </a:lnTo>
                <a:lnTo>
                  <a:pt x="3027" y="423"/>
                </a:lnTo>
                <a:lnTo>
                  <a:pt x="3044" y="429"/>
                </a:lnTo>
                <a:lnTo>
                  <a:pt x="3038" y="431"/>
                </a:lnTo>
                <a:lnTo>
                  <a:pt x="3044" y="431"/>
                </a:lnTo>
                <a:lnTo>
                  <a:pt x="3045" y="431"/>
                </a:lnTo>
                <a:lnTo>
                  <a:pt x="3045" y="430"/>
                </a:lnTo>
                <a:lnTo>
                  <a:pt x="3045" y="430"/>
                </a:lnTo>
                <a:lnTo>
                  <a:pt x="3048" y="431"/>
                </a:lnTo>
                <a:lnTo>
                  <a:pt x="3048" y="429"/>
                </a:lnTo>
                <a:lnTo>
                  <a:pt x="3052" y="430"/>
                </a:lnTo>
                <a:lnTo>
                  <a:pt x="3052" y="431"/>
                </a:lnTo>
                <a:lnTo>
                  <a:pt x="3060" y="431"/>
                </a:lnTo>
                <a:lnTo>
                  <a:pt x="3060" y="432"/>
                </a:lnTo>
                <a:lnTo>
                  <a:pt x="3068" y="434"/>
                </a:lnTo>
                <a:lnTo>
                  <a:pt x="3068" y="435"/>
                </a:lnTo>
                <a:lnTo>
                  <a:pt x="3070" y="435"/>
                </a:lnTo>
                <a:lnTo>
                  <a:pt x="3071" y="435"/>
                </a:lnTo>
                <a:lnTo>
                  <a:pt x="3071" y="435"/>
                </a:lnTo>
                <a:lnTo>
                  <a:pt x="3078" y="435"/>
                </a:lnTo>
                <a:lnTo>
                  <a:pt x="3077" y="432"/>
                </a:lnTo>
                <a:lnTo>
                  <a:pt x="3076" y="430"/>
                </a:lnTo>
                <a:lnTo>
                  <a:pt x="3076" y="430"/>
                </a:lnTo>
                <a:lnTo>
                  <a:pt x="3076" y="429"/>
                </a:lnTo>
                <a:lnTo>
                  <a:pt x="3085" y="435"/>
                </a:lnTo>
                <a:lnTo>
                  <a:pt x="3092" y="435"/>
                </a:lnTo>
                <a:lnTo>
                  <a:pt x="3092" y="437"/>
                </a:lnTo>
                <a:lnTo>
                  <a:pt x="3091" y="438"/>
                </a:lnTo>
                <a:lnTo>
                  <a:pt x="3090" y="438"/>
                </a:lnTo>
                <a:lnTo>
                  <a:pt x="3084" y="438"/>
                </a:lnTo>
                <a:lnTo>
                  <a:pt x="3077" y="437"/>
                </a:lnTo>
                <a:lnTo>
                  <a:pt x="3083" y="442"/>
                </a:lnTo>
                <a:lnTo>
                  <a:pt x="3079" y="443"/>
                </a:lnTo>
                <a:lnTo>
                  <a:pt x="3091" y="443"/>
                </a:lnTo>
                <a:lnTo>
                  <a:pt x="3091" y="443"/>
                </a:lnTo>
                <a:lnTo>
                  <a:pt x="3095" y="443"/>
                </a:lnTo>
                <a:lnTo>
                  <a:pt x="3099" y="442"/>
                </a:lnTo>
                <a:lnTo>
                  <a:pt x="3094" y="447"/>
                </a:lnTo>
                <a:lnTo>
                  <a:pt x="3096" y="447"/>
                </a:lnTo>
                <a:lnTo>
                  <a:pt x="3097" y="447"/>
                </a:lnTo>
                <a:lnTo>
                  <a:pt x="3102" y="447"/>
                </a:lnTo>
                <a:lnTo>
                  <a:pt x="3135" y="450"/>
                </a:lnTo>
                <a:lnTo>
                  <a:pt x="3160" y="461"/>
                </a:lnTo>
                <a:lnTo>
                  <a:pt x="3164" y="466"/>
                </a:lnTo>
                <a:lnTo>
                  <a:pt x="3169" y="472"/>
                </a:lnTo>
                <a:lnTo>
                  <a:pt x="3170" y="471"/>
                </a:lnTo>
                <a:lnTo>
                  <a:pt x="3172" y="470"/>
                </a:lnTo>
                <a:lnTo>
                  <a:pt x="3185" y="479"/>
                </a:lnTo>
                <a:lnTo>
                  <a:pt x="3189" y="479"/>
                </a:lnTo>
                <a:lnTo>
                  <a:pt x="3190" y="479"/>
                </a:lnTo>
                <a:lnTo>
                  <a:pt x="3196" y="481"/>
                </a:lnTo>
                <a:lnTo>
                  <a:pt x="3196" y="483"/>
                </a:lnTo>
                <a:lnTo>
                  <a:pt x="3201" y="487"/>
                </a:lnTo>
                <a:lnTo>
                  <a:pt x="3205" y="487"/>
                </a:lnTo>
                <a:lnTo>
                  <a:pt x="3205" y="492"/>
                </a:lnTo>
                <a:lnTo>
                  <a:pt x="3209" y="494"/>
                </a:lnTo>
                <a:lnTo>
                  <a:pt x="3209" y="503"/>
                </a:lnTo>
                <a:lnTo>
                  <a:pt x="3212" y="503"/>
                </a:lnTo>
                <a:lnTo>
                  <a:pt x="3211" y="510"/>
                </a:lnTo>
                <a:lnTo>
                  <a:pt x="3202" y="519"/>
                </a:lnTo>
                <a:lnTo>
                  <a:pt x="3194" y="522"/>
                </a:lnTo>
                <a:lnTo>
                  <a:pt x="3172" y="529"/>
                </a:lnTo>
                <a:lnTo>
                  <a:pt x="3128" y="521"/>
                </a:lnTo>
                <a:lnTo>
                  <a:pt x="3118" y="514"/>
                </a:lnTo>
                <a:lnTo>
                  <a:pt x="3112" y="516"/>
                </a:lnTo>
                <a:lnTo>
                  <a:pt x="3111" y="515"/>
                </a:lnTo>
                <a:lnTo>
                  <a:pt x="3112" y="515"/>
                </a:lnTo>
                <a:lnTo>
                  <a:pt x="3104" y="512"/>
                </a:lnTo>
                <a:lnTo>
                  <a:pt x="3099" y="510"/>
                </a:lnTo>
                <a:lnTo>
                  <a:pt x="3101" y="510"/>
                </a:lnTo>
                <a:lnTo>
                  <a:pt x="3099" y="511"/>
                </a:lnTo>
                <a:lnTo>
                  <a:pt x="3094" y="510"/>
                </a:lnTo>
                <a:lnTo>
                  <a:pt x="3086" y="503"/>
                </a:lnTo>
                <a:lnTo>
                  <a:pt x="3084" y="502"/>
                </a:lnTo>
                <a:lnTo>
                  <a:pt x="3081" y="502"/>
                </a:lnTo>
                <a:lnTo>
                  <a:pt x="3084" y="504"/>
                </a:lnTo>
                <a:lnTo>
                  <a:pt x="3084" y="508"/>
                </a:lnTo>
                <a:lnTo>
                  <a:pt x="3087" y="509"/>
                </a:lnTo>
                <a:lnTo>
                  <a:pt x="3090" y="511"/>
                </a:lnTo>
                <a:lnTo>
                  <a:pt x="3089" y="511"/>
                </a:lnTo>
                <a:lnTo>
                  <a:pt x="3089" y="512"/>
                </a:lnTo>
                <a:lnTo>
                  <a:pt x="3096" y="515"/>
                </a:lnTo>
                <a:lnTo>
                  <a:pt x="3094" y="516"/>
                </a:lnTo>
                <a:lnTo>
                  <a:pt x="3099" y="519"/>
                </a:lnTo>
                <a:lnTo>
                  <a:pt x="3090" y="519"/>
                </a:lnTo>
                <a:lnTo>
                  <a:pt x="3096" y="519"/>
                </a:lnTo>
                <a:lnTo>
                  <a:pt x="3102" y="519"/>
                </a:lnTo>
                <a:lnTo>
                  <a:pt x="3096" y="522"/>
                </a:lnTo>
                <a:lnTo>
                  <a:pt x="3107" y="523"/>
                </a:lnTo>
                <a:lnTo>
                  <a:pt x="3118" y="532"/>
                </a:lnTo>
                <a:lnTo>
                  <a:pt x="3119" y="537"/>
                </a:lnTo>
                <a:lnTo>
                  <a:pt x="3115" y="533"/>
                </a:lnTo>
                <a:lnTo>
                  <a:pt x="3116" y="541"/>
                </a:lnTo>
                <a:lnTo>
                  <a:pt x="3115" y="544"/>
                </a:lnTo>
                <a:lnTo>
                  <a:pt x="3111" y="545"/>
                </a:lnTo>
                <a:lnTo>
                  <a:pt x="3114" y="549"/>
                </a:lnTo>
                <a:lnTo>
                  <a:pt x="3116" y="558"/>
                </a:lnTo>
                <a:lnTo>
                  <a:pt x="3116" y="564"/>
                </a:lnTo>
                <a:lnTo>
                  <a:pt x="3115" y="565"/>
                </a:lnTo>
                <a:lnTo>
                  <a:pt x="3124" y="570"/>
                </a:lnTo>
                <a:lnTo>
                  <a:pt x="3128" y="569"/>
                </a:lnTo>
                <a:lnTo>
                  <a:pt x="3131" y="571"/>
                </a:lnTo>
                <a:lnTo>
                  <a:pt x="3135" y="575"/>
                </a:lnTo>
                <a:lnTo>
                  <a:pt x="3135" y="575"/>
                </a:lnTo>
                <a:lnTo>
                  <a:pt x="3136" y="575"/>
                </a:lnTo>
                <a:lnTo>
                  <a:pt x="3136" y="578"/>
                </a:lnTo>
                <a:lnTo>
                  <a:pt x="3154" y="583"/>
                </a:lnTo>
                <a:lnTo>
                  <a:pt x="3160" y="580"/>
                </a:lnTo>
                <a:lnTo>
                  <a:pt x="3164" y="578"/>
                </a:lnTo>
                <a:lnTo>
                  <a:pt x="3164" y="575"/>
                </a:lnTo>
                <a:lnTo>
                  <a:pt x="3162" y="574"/>
                </a:lnTo>
                <a:lnTo>
                  <a:pt x="3160" y="572"/>
                </a:lnTo>
                <a:lnTo>
                  <a:pt x="3160" y="569"/>
                </a:lnTo>
                <a:lnTo>
                  <a:pt x="3160" y="569"/>
                </a:lnTo>
                <a:lnTo>
                  <a:pt x="3157" y="569"/>
                </a:lnTo>
                <a:lnTo>
                  <a:pt x="3153" y="569"/>
                </a:lnTo>
                <a:lnTo>
                  <a:pt x="3152" y="569"/>
                </a:lnTo>
                <a:lnTo>
                  <a:pt x="3152" y="569"/>
                </a:lnTo>
                <a:lnTo>
                  <a:pt x="3148" y="565"/>
                </a:lnTo>
                <a:lnTo>
                  <a:pt x="3145" y="560"/>
                </a:lnTo>
                <a:lnTo>
                  <a:pt x="3144" y="559"/>
                </a:lnTo>
                <a:lnTo>
                  <a:pt x="3144" y="559"/>
                </a:lnTo>
                <a:lnTo>
                  <a:pt x="3144" y="550"/>
                </a:lnTo>
                <a:lnTo>
                  <a:pt x="3149" y="549"/>
                </a:lnTo>
                <a:lnTo>
                  <a:pt x="3155" y="551"/>
                </a:lnTo>
                <a:lnTo>
                  <a:pt x="3160" y="554"/>
                </a:lnTo>
                <a:lnTo>
                  <a:pt x="3162" y="556"/>
                </a:lnTo>
                <a:lnTo>
                  <a:pt x="3163" y="559"/>
                </a:lnTo>
                <a:lnTo>
                  <a:pt x="3169" y="559"/>
                </a:lnTo>
                <a:lnTo>
                  <a:pt x="3166" y="559"/>
                </a:lnTo>
                <a:lnTo>
                  <a:pt x="3164" y="560"/>
                </a:lnTo>
                <a:lnTo>
                  <a:pt x="3164" y="564"/>
                </a:lnTo>
                <a:lnTo>
                  <a:pt x="3167" y="561"/>
                </a:lnTo>
                <a:lnTo>
                  <a:pt x="3171" y="559"/>
                </a:lnTo>
                <a:lnTo>
                  <a:pt x="3187" y="566"/>
                </a:lnTo>
                <a:lnTo>
                  <a:pt x="3188" y="567"/>
                </a:lnTo>
                <a:lnTo>
                  <a:pt x="3188" y="561"/>
                </a:lnTo>
                <a:lnTo>
                  <a:pt x="3194" y="563"/>
                </a:lnTo>
                <a:lnTo>
                  <a:pt x="3194" y="562"/>
                </a:lnTo>
                <a:lnTo>
                  <a:pt x="3198" y="565"/>
                </a:lnTo>
                <a:lnTo>
                  <a:pt x="3195" y="563"/>
                </a:lnTo>
                <a:lnTo>
                  <a:pt x="3196" y="563"/>
                </a:lnTo>
                <a:lnTo>
                  <a:pt x="3196" y="563"/>
                </a:lnTo>
                <a:lnTo>
                  <a:pt x="3200" y="564"/>
                </a:lnTo>
                <a:lnTo>
                  <a:pt x="3201" y="565"/>
                </a:lnTo>
                <a:lnTo>
                  <a:pt x="3200" y="564"/>
                </a:lnTo>
                <a:lnTo>
                  <a:pt x="3201" y="565"/>
                </a:lnTo>
                <a:lnTo>
                  <a:pt x="3201" y="565"/>
                </a:lnTo>
                <a:lnTo>
                  <a:pt x="3200" y="564"/>
                </a:lnTo>
                <a:lnTo>
                  <a:pt x="3198" y="555"/>
                </a:lnTo>
                <a:lnTo>
                  <a:pt x="3188" y="545"/>
                </a:lnTo>
                <a:lnTo>
                  <a:pt x="3188" y="541"/>
                </a:lnTo>
                <a:lnTo>
                  <a:pt x="3198" y="535"/>
                </a:lnTo>
                <a:lnTo>
                  <a:pt x="3203" y="530"/>
                </a:lnTo>
                <a:lnTo>
                  <a:pt x="3215" y="527"/>
                </a:lnTo>
                <a:lnTo>
                  <a:pt x="3224" y="517"/>
                </a:lnTo>
                <a:lnTo>
                  <a:pt x="3232" y="521"/>
                </a:lnTo>
                <a:lnTo>
                  <a:pt x="3237" y="520"/>
                </a:lnTo>
                <a:lnTo>
                  <a:pt x="3242" y="519"/>
                </a:lnTo>
                <a:lnTo>
                  <a:pt x="3244" y="521"/>
                </a:lnTo>
                <a:lnTo>
                  <a:pt x="3247" y="523"/>
                </a:lnTo>
                <a:lnTo>
                  <a:pt x="3244" y="525"/>
                </a:lnTo>
                <a:lnTo>
                  <a:pt x="3242" y="527"/>
                </a:lnTo>
                <a:lnTo>
                  <a:pt x="3249" y="526"/>
                </a:lnTo>
                <a:lnTo>
                  <a:pt x="3249" y="526"/>
                </a:lnTo>
                <a:lnTo>
                  <a:pt x="3249" y="527"/>
                </a:lnTo>
                <a:lnTo>
                  <a:pt x="3249" y="529"/>
                </a:lnTo>
                <a:lnTo>
                  <a:pt x="3254" y="532"/>
                </a:lnTo>
                <a:lnTo>
                  <a:pt x="3253" y="526"/>
                </a:lnTo>
                <a:lnTo>
                  <a:pt x="3257" y="511"/>
                </a:lnTo>
                <a:lnTo>
                  <a:pt x="3256" y="510"/>
                </a:lnTo>
                <a:lnTo>
                  <a:pt x="3258" y="508"/>
                </a:lnTo>
                <a:lnTo>
                  <a:pt x="3252" y="500"/>
                </a:lnTo>
                <a:lnTo>
                  <a:pt x="3245" y="499"/>
                </a:lnTo>
                <a:lnTo>
                  <a:pt x="3245" y="498"/>
                </a:lnTo>
                <a:lnTo>
                  <a:pt x="3253" y="488"/>
                </a:lnTo>
                <a:lnTo>
                  <a:pt x="3253" y="483"/>
                </a:lnTo>
                <a:lnTo>
                  <a:pt x="3254" y="483"/>
                </a:lnTo>
                <a:lnTo>
                  <a:pt x="3254" y="473"/>
                </a:lnTo>
                <a:lnTo>
                  <a:pt x="3241" y="465"/>
                </a:lnTo>
                <a:lnTo>
                  <a:pt x="3241" y="461"/>
                </a:lnTo>
                <a:lnTo>
                  <a:pt x="3254" y="467"/>
                </a:lnTo>
                <a:lnTo>
                  <a:pt x="3270" y="467"/>
                </a:lnTo>
                <a:lnTo>
                  <a:pt x="3278" y="467"/>
                </a:lnTo>
                <a:lnTo>
                  <a:pt x="3279" y="471"/>
                </a:lnTo>
                <a:lnTo>
                  <a:pt x="3285" y="476"/>
                </a:lnTo>
                <a:lnTo>
                  <a:pt x="3285" y="480"/>
                </a:lnTo>
                <a:lnTo>
                  <a:pt x="3289" y="481"/>
                </a:lnTo>
                <a:lnTo>
                  <a:pt x="3289" y="484"/>
                </a:lnTo>
                <a:lnTo>
                  <a:pt x="3271" y="487"/>
                </a:lnTo>
                <a:lnTo>
                  <a:pt x="3269" y="488"/>
                </a:lnTo>
                <a:lnTo>
                  <a:pt x="3269" y="489"/>
                </a:lnTo>
                <a:lnTo>
                  <a:pt x="3265" y="492"/>
                </a:lnTo>
                <a:lnTo>
                  <a:pt x="3264" y="495"/>
                </a:lnTo>
                <a:lnTo>
                  <a:pt x="3275" y="500"/>
                </a:lnTo>
                <a:lnTo>
                  <a:pt x="3276" y="508"/>
                </a:lnTo>
                <a:lnTo>
                  <a:pt x="3280" y="511"/>
                </a:lnTo>
                <a:lnTo>
                  <a:pt x="3287" y="511"/>
                </a:lnTo>
                <a:lnTo>
                  <a:pt x="3305" y="506"/>
                </a:lnTo>
                <a:lnTo>
                  <a:pt x="3305" y="503"/>
                </a:lnTo>
                <a:lnTo>
                  <a:pt x="3304" y="501"/>
                </a:lnTo>
                <a:lnTo>
                  <a:pt x="3303" y="499"/>
                </a:lnTo>
                <a:lnTo>
                  <a:pt x="3309" y="492"/>
                </a:lnTo>
                <a:lnTo>
                  <a:pt x="3307" y="489"/>
                </a:lnTo>
                <a:lnTo>
                  <a:pt x="3309" y="488"/>
                </a:lnTo>
                <a:lnTo>
                  <a:pt x="3320" y="487"/>
                </a:lnTo>
                <a:lnTo>
                  <a:pt x="3323" y="488"/>
                </a:lnTo>
                <a:lnTo>
                  <a:pt x="3325" y="489"/>
                </a:lnTo>
                <a:lnTo>
                  <a:pt x="3318" y="481"/>
                </a:lnTo>
                <a:lnTo>
                  <a:pt x="3328" y="483"/>
                </a:lnTo>
                <a:lnTo>
                  <a:pt x="3337" y="478"/>
                </a:lnTo>
                <a:lnTo>
                  <a:pt x="3337" y="478"/>
                </a:lnTo>
                <a:lnTo>
                  <a:pt x="3337" y="478"/>
                </a:lnTo>
                <a:lnTo>
                  <a:pt x="3337" y="478"/>
                </a:lnTo>
                <a:lnTo>
                  <a:pt x="3350" y="471"/>
                </a:lnTo>
                <a:lnTo>
                  <a:pt x="3353" y="471"/>
                </a:lnTo>
                <a:lnTo>
                  <a:pt x="3368" y="466"/>
                </a:lnTo>
                <a:lnTo>
                  <a:pt x="3370" y="465"/>
                </a:lnTo>
                <a:lnTo>
                  <a:pt x="3372" y="466"/>
                </a:lnTo>
                <a:lnTo>
                  <a:pt x="3392" y="456"/>
                </a:lnTo>
                <a:lnTo>
                  <a:pt x="3403" y="454"/>
                </a:lnTo>
                <a:lnTo>
                  <a:pt x="3390" y="459"/>
                </a:lnTo>
                <a:lnTo>
                  <a:pt x="3395" y="459"/>
                </a:lnTo>
                <a:lnTo>
                  <a:pt x="3392" y="465"/>
                </a:lnTo>
                <a:lnTo>
                  <a:pt x="3393" y="467"/>
                </a:lnTo>
                <a:lnTo>
                  <a:pt x="3394" y="470"/>
                </a:lnTo>
                <a:lnTo>
                  <a:pt x="3393" y="471"/>
                </a:lnTo>
                <a:lnTo>
                  <a:pt x="3393" y="471"/>
                </a:lnTo>
                <a:lnTo>
                  <a:pt x="3393" y="471"/>
                </a:lnTo>
                <a:lnTo>
                  <a:pt x="3392" y="471"/>
                </a:lnTo>
                <a:lnTo>
                  <a:pt x="3392" y="471"/>
                </a:lnTo>
                <a:lnTo>
                  <a:pt x="3391" y="471"/>
                </a:lnTo>
                <a:lnTo>
                  <a:pt x="3388" y="469"/>
                </a:lnTo>
                <a:lnTo>
                  <a:pt x="3386" y="471"/>
                </a:lnTo>
                <a:lnTo>
                  <a:pt x="3385" y="472"/>
                </a:lnTo>
                <a:lnTo>
                  <a:pt x="3392" y="474"/>
                </a:lnTo>
                <a:lnTo>
                  <a:pt x="3399" y="475"/>
                </a:lnTo>
                <a:lnTo>
                  <a:pt x="3401" y="471"/>
                </a:lnTo>
                <a:lnTo>
                  <a:pt x="3405" y="475"/>
                </a:lnTo>
                <a:lnTo>
                  <a:pt x="3405" y="472"/>
                </a:lnTo>
                <a:lnTo>
                  <a:pt x="3405" y="471"/>
                </a:lnTo>
                <a:lnTo>
                  <a:pt x="3405" y="470"/>
                </a:lnTo>
                <a:lnTo>
                  <a:pt x="3413" y="465"/>
                </a:lnTo>
                <a:lnTo>
                  <a:pt x="3425" y="462"/>
                </a:lnTo>
                <a:lnTo>
                  <a:pt x="3444" y="466"/>
                </a:lnTo>
                <a:lnTo>
                  <a:pt x="3448" y="463"/>
                </a:lnTo>
                <a:lnTo>
                  <a:pt x="3454" y="463"/>
                </a:lnTo>
                <a:lnTo>
                  <a:pt x="3454" y="458"/>
                </a:lnTo>
                <a:lnTo>
                  <a:pt x="3454" y="458"/>
                </a:lnTo>
                <a:lnTo>
                  <a:pt x="3454" y="458"/>
                </a:lnTo>
                <a:lnTo>
                  <a:pt x="3454" y="458"/>
                </a:lnTo>
                <a:lnTo>
                  <a:pt x="3458" y="457"/>
                </a:lnTo>
                <a:lnTo>
                  <a:pt x="3458" y="457"/>
                </a:lnTo>
                <a:lnTo>
                  <a:pt x="3458" y="457"/>
                </a:lnTo>
                <a:lnTo>
                  <a:pt x="3467" y="455"/>
                </a:lnTo>
                <a:lnTo>
                  <a:pt x="3467" y="455"/>
                </a:lnTo>
                <a:lnTo>
                  <a:pt x="3474" y="460"/>
                </a:lnTo>
                <a:lnTo>
                  <a:pt x="3470" y="464"/>
                </a:lnTo>
                <a:lnTo>
                  <a:pt x="3470" y="469"/>
                </a:lnTo>
                <a:lnTo>
                  <a:pt x="3481" y="470"/>
                </a:lnTo>
                <a:lnTo>
                  <a:pt x="3482" y="469"/>
                </a:lnTo>
                <a:lnTo>
                  <a:pt x="3480" y="465"/>
                </a:lnTo>
                <a:lnTo>
                  <a:pt x="3481" y="463"/>
                </a:lnTo>
                <a:lnTo>
                  <a:pt x="3491" y="463"/>
                </a:lnTo>
                <a:lnTo>
                  <a:pt x="3494" y="457"/>
                </a:lnTo>
                <a:lnTo>
                  <a:pt x="3494" y="451"/>
                </a:lnTo>
                <a:lnTo>
                  <a:pt x="3492" y="451"/>
                </a:lnTo>
                <a:lnTo>
                  <a:pt x="3491" y="446"/>
                </a:lnTo>
                <a:lnTo>
                  <a:pt x="3486" y="440"/>
                </a:lnTo>
                <a:lnTo>
                  <a:pt x="3488" y="439"/>
                </a:lnTo>
                <a:lnTo>
                  <a:pt x="3492" y="439"/>
                </a:lnTo>
                <a:lnTo>
                  <a:pt x="3493" y="433"/>
                </a:lnTo>
                <a:lnTo>
                  <a:pt x="3495" y="431"/>
                </a:lnTo>
                <a:lnTo>
                  <a:pt x="3529" y="435"/>
                </a:lnTo>
                <a:lnTo>
                  <a:pt x="3536" y="437"/>
                </a:lnTo>
                <a:lnTo>
                  <a:pt x="3543" y="438"/>
                </a:lnTo>
                <a:lnTo>
                  <a:pt x="3555" y="445"/>
                </a:lnTo>
                <a:lnTo>
                  <a:pt x="3550" y="447"/>
                </a:lnTo>
                <a:lnTo>
                  <a:pt x="3550" y="450"/>
                </a:lnTo>
                <a:lnTo>
                  <a:pt x="3557" y="447"/>
                </a:lnTo>
                <a:lnTo>
                  <a:pt x="3570" y="450"/>
                </a:lnTo>
                <a:lnTo>
                  <a:pt x="3566" y="453"/>
                </a:lnTo>
                <a:lnTo>
                  <a:pt x="3586" y="459"/>
                </a:lnTo>
                <a:lnTo>
                  <a:pt x="3585" y="459"/>
                </a:lnTo>
                <a:lnTo>
                  <a:pt x="3589" y="461"/>
                </a:lnTo>
                <a:lnTo>
                  <a:pt x="3596" y="465"/>
                </a:lnTo>
                <a:lnTo>
                  <a:pt x="3603" y="469"/>
                </a:lnTo>
                <a:lnTo>
                  <a:pt x="3603" y="470"/>
                </a:lnTo>
                <a:lnTo>
                  <a:pt x="3604" y="472"/>
                </a:lnTo>
                <a:lnTo>
                  <a:pt x="3603" y="472"/>
                </a:lnTo>
                <a:lnTo>
                  <a:pt x="3603" y="473"/>
                </a:lnTo>
                <a:lnTo>
                  <a:pt x="3603" y="474"/>
                </a:lnTo>
                <a:lnTo>
                  <a:pt x="3604" y="476"/>
                </a:lnTo>
                <a:lnTo>
                  <a:pt x="3606" y="473"/>
                </a:lnTo>
                <a:lnTo>
                  <a:pt x="3615" y="459"/>
                </a:lnTo>
                <a:lnTo>
                  <a:pt x="3613" y="459"/>
                </a:lnTo>
                <a:lnTo>
                  <a:pt x="3617" y="455"/>
                </a:lnTo>
                <a:lnTo>
                  <a:pt x="3614" y="456"/>
                </a:lnTo>
                <a:lnTo>
                  <a:pt x="3610" y="457"/>
                </a:lnTo>
                <a:lnTo>
                  <a:pt x="3608" y="455"/>
                </a:lnTo>
                <a:lnTo>
                  <a:pt x="3605" y="453"/>
                </a:lnTo>
                <a:lnTo>
                  <a:pt x="3598" y="447"/>
                </a:lnTo>
                <a:lnTo>
                  <a:pt x="3598" y="441"/>
                </a:lnTo>
                <a:lnTo>
                  <a:pt x="3591" y="438"/>
                </a:lnTo>
                <a:lnTo>
                  <a:pt x="3582" y="435"/>
                </a:lnTo>
                <a:lnTo>
                  <a:pt x="3582" y="442"/>
                </a:lnTo>
                <a:lnTo>
                  <a:pt x="3578" y="438"/>
                </a:lnTo>
                <a:lnTo>
                  <a:pt x="3578" y="433"/>
                </a:lnTo>
                <a:lnTo>
                  <a:pt x="3582" y="427"/>
                </a:lnTo>
                <a:lnTo>
                  <a:pt x="3582" y="427"/>
                </a:lnTo>
                <a:lnTo>
                  <a:pt x="3582" y="430"/>
                </a:lnTo>
                <a:lnTo>
                  <a:pt x="3587" y="427"/>
                </a:lnTo>
                <a:lnTo>
                  <a:pt x="3589" y="425"/>
                </a:lnTo>
                <a:lnTo>
                  <a:pt x="3589" y="424"/>
                </a:lnTo>
                <a:lnTo>
                  <a:pt x="3585" y="422"/>
                </a:lnTo>
                <a:lnTo>
                  <a:pt x="3589" y="408"/>
                </a:lnTo>
                <a:lnTo>
                  <a:pt x="3585" y="404"/>
                </a:lnTo>
                <a:lnTo>
                  <a:pt x="3578" y="408"/>
                </a:lnTo>
                <a:lnTo>
                  <a:pt x="3578" y="403"/>
                </a:lnTo>
                <a:lnTo>
                  <a:pt x="3581" y="400"/>
                </a:lnTo>
                <a:lnTo>
                  <a:pt x="3580" y="399"/>
                </a:lnTo>
                <a:lnTo>
                  <a:pt x="3584" y="393"/>
                </a:lnTo>
                <a:lnTo>
                  <a:pt x="3599" y="386"/>
                </a:lnTo>
                <a:lnTo>
                  <a:pt x="3602" y="382"/>
                </a:lnTo>
                <a:lnTo>
                  <a:pt x="3606" y="377"/>
                </a:lnTo>
                <a:lnTo>
                  <a:pt x="3613" y="353"/>
                </a:lnTo>
                <a:lnTo>
                  <a:pt x="3617" y="349"/>
                </a:lnTo>
                <a:lnTo>
                  <a:pt x="3618" y="347"/>
                </a:lnTo>
                <a:lnTo>
                  <a:pt x="3618" y="346"/>
                </a:lnTo>
                <a:lnTo>
                  <a:pt x="3626" y="344"/>
                </a:lnTo>
                <a:lnTo>
                  <a:pt x="3622" y="346"/>
                </a:lnTo>
                <a:lnTo>
                  <a:pt x="3622" y="347"/>
                </a:lnTo>
                <a:lnTo>
                  <a:pt x="3623" y="347"/>
                </a:lnTo>
                <a:lnTo>
                  <a:pt x="3651" y="347"/>
                </a:lnTo>
                <a:lnTo>
                  <a:pt x="3658" y="350"/>
                </a:lnTo>
                <a:lnTo>
                  <a:pt x="3655" y="350"/>
                </a:lnTo>
                <a:lnTo>
                  <a:pt x="3662" y="351"/>
                </a:lnTo>
                <a:lnTo>
                  <a:pt x="3669" y="353"/>
                </a:lnTo>
                <a:lnTo>
                  <a:pt x="3668" y="357"/>
                </a:lnTo>
                <a:lnTo>
                  <a:pt x="3669" y="361"/>
                </a:lnTo>
                <a:lnTo>
                  <a:pt x="3670" y="365"/>
                </a:lnTo>
                <a:lnTo>
                  <a:pt x="3667" y="370"/>
                </a:lnTo>
                <a:lnTo>
                  <a:pt x="3664" y="374"/>
                </a:lnTo>
                <a:lnTo>
                  <a:pt x="3663" y="375"/>
                </a:lnTo>
                <a:lnTo>
                  <a:pt x="3662" y="376"/>
                </a:lnTo>
                <a:lnTo>
                  <a:pt x="3662" y="381"/>
                </a:lnTo>
                <a:lnTo>
                  <a:pt x="3654" y="388"/>
                </a:lnTo>
                <a:lnTo>
                  <a:pt x="3656" y="390"/>
                </a:lnTo>
                <a:lnTo>
                  <a:pt x="3656" y="393"/>
                </a:lnTo>
                <a:lnTo>
                  <a:pt x="3662" y="397"/>
                </a:lnTo>
                <a:lnTo>
                  <a:pt x="3662" y="399"/>
                </a:lnTo>
                <a:lnTo>
                  <a:pt x="3668" y="404"/>
                </a:lnTo>
                <a:lnTo>
                  <a:pt x="3668" y="411"/>
                </a:lnTo>
                <a:lnTo>
                  <a:pt x="3669" y="415"/>
                </a:lnTo>
                <a:lnTo>
                  <a:pt x="3666" y="418"/>
                </a:lnTo>
                <a:lnTo>
                  <a:pt x="3663" y="420"/>
                </a:lnTo>
                <a:lnTo>
                  <a:pt x="3664" y="421"/>
                </a:lnTo>
                <a:lnTo>
                  <a:pt x="3666" y="422"/>
                </a:lnTo>
                <a:lnTo>
                  <a:pt x="3664" y="426"/>
                </a:lnTo>
                <a:lnTo>
                  <a:pt x="3668" y="431"/>
                </a:lnTo>
                <a:lnTo>
                  <a:pt x="3664" y="437"/>
                </a:lnTo>
                <a:lnTo>
                  <a:pt x="3666" y="442"/>
                </a:lnTo>
                <a:lnTo>
                  <a:pt x="3664" y="450"/>
                </a:lnTo>
                <a:lnTo>
                  <a:pt x="3666" y="454"/>
                </a:lnTo>
                <a:lnTo>
                  <a:pt x="3668" y="458"/>
                </a:lnTo>
                <a:lnTo>
                  <a:pt x="3673" y="461"/>
                </a:lnTo>
                <a:lnTo>
                  <a:pt x="3678" y="464"/>
                </a:lnTo>
                <a:lnTo>
                  <a:pt x="3682" y="467"/>
                </a:lnTo>
                <a:lnTo>
                  <a:pt x="3682" y="467"/>
                </a:lnTo>
                <a:lnTo>
                  <a:pt x="3682" y="467"/>
                </a:lnTo>
                <a:lnTo>
                  <a:pt x="3678" y="465"/>
                </a:lnTo>
                <a:lnTo>
                  <a:pt x="3674" y="475"/>
                </a:lnTo>
                <a:lnTo>
                  <a:pt x="3673" y="476"/>
                </a:lnTo>
                <a:lnTo>
                  <a:pt x="3673" y="476"/>
                </a:lnTo>
                <a:lnTo>
                  <a:pt x="3674" y="483"/>
                </a:lnTo>
                <a:lnTo>
                  <a:pt x="3671" y="487"/>
                </a:lnTo>
                <a:lnTo>
                  <a:pt x="3662" y="489"/>
                </a:lnTo>
                <a:lnTo>
                  <a:pt x="3662" y="491"/>
                </a:lnTo>
                <a:lnTo>
                  <a:pt x="3662" y="492"/>
                </a:lnTo>
                <a:lnTo>
                  <a:pt x="3663" y="492"/>
                </a:lnTo>
                <a:lnTo>
                  <a:pt x="3663" y="493"/>
                </a:lnTo>
                <a:lnTo>
                  <a:pt x="3664" y="494"/>
                </a:lnTo>
                <a:lnTo>
                  <a:pt x="3663" y="495"/>
                </a:lnTo>
                <a:lnTo>
                  <a:pt x="3663" y="495"/>
                </a:lnTo>
                <a:lnTo>
                  <a:pt x="3660" y="497"/>
                </a:lnTo>
                <a:lnTo>
                  <a:pt x="3658" y="498"/>
                </a:lnTo>
                <a:lnTo>
                  <a:pt x="3662" y="500"/>
                </a:lnTo>
                <a:lnTo>
                  <a:pt x="3660" y="500"/>
                </a:lnTo>
                <a:lnTo>
                  <a:pt x="3659" y="500"/>
                </a:lnTo>
                <a:lnTo>
                  <a:pt x="3655" y="507"/>
                </a:lnTo>
                <a:lnTo>
                  <a:pt x="3649" y="507"/>
                </a:lnTo>
                <a:lnTo>
                  <a:pt x="3650" y="511"/>
                </a:lnTo>
                <a:lnTo>
                  <a:pt x="3650" y="515"/>
                </a:lnTo>
                <a:lnTo>
                  <a:pt x="3644" y="515"/>
                </a:lnTo>
                <a:lnTo>
                  <a:pt x="3642" y="516"/>
                </a:lnTo>
                <a:lnTo>
                  <a:pt x="3639" y="517"/>
                </a:lnTo>
                <a:lnTo>
                  <a:pt x="3632" y="514"/>
                </a:lnTo>
                <a:lnTo>
                  <a:pt x="3639" y="511"/>
                </a:lnTo>
                <a:lnTo>
                  <a:pt x="3632" y="512"/>
                </a:lnTo>
                <a:lnTo>
                  <a:pt x="3626" y="511"/>
                </a:lnTo>
                <a:lnTo>
                  <a:pt x="3634" y="522"/>
                </a:lnTo>
                <a:lnTo>
                  <a:pt x="3650" y="521"/>
                </a:lnTo>
                <a:lnTo>
                  <a:pt x="3658" y="523"/>
                </a:lnTo>
                <a:lnTo>
                  <a:pt x="3660" y="522"/>
                </a:lnTo>
                <a:lnTo>
                  <a:pt x="3662" y="522"/>
                </a:lnTo>
                <a:lnTo>
                  <a:pt x="3662" y="517"/>
                </a:lnTo>
                <a:lnTo>
                  <a:pt x="3663" y="516"/>
                </a:lnTo>
                <a:lnTo>
                  <a:pt x="3664" y="515"/>
                </a:lnTo>
                <a:lnTo>
                  <a:pt x="3670" y="515"/>
                </a:lnTo>
                <a:lnTo>
                  <a:pt x="3683" y="506"/>
                </a:lnTo>
                <a:lnTo>
                  <a:pt x="3683" y="502"/>
                </a:lnTo>
                <a:lnTo>
                  <a:pt x="3682" y="499"/>
                </a:lnTo>
                <a:lnTo>
                  <a:pt x="3682" y="498"/>
                </a:lnTo>
                <a:lnTo>
                  <a:pt x="3695" y="488"/>
                </a:lnTo>
                <a:lnTo>
                  <a:pt x="3697" y="484"/>
                </a:lnTo>
                <a:lnTo>
                  <a:pt x="3697" y="481"/>
                </a:lnTo>
                <a:lnTo>
                  <a:pt x="3696" y="479"/>
                </a:lnTo>
                <a:lnTo>
                  <a:pt x="3696" y="476"/>
                </a:lnTo>
                <a:lnTo>
                  <a:pt x="3693" y="473"/>
                </a:lnTo>
                <a:lnTo>
                  <a:pt x="3691" y="470"/>
                </a:lnTo>
                <a:lnTo>
                  <a:pt x="3691" y="468"/>
                </a:lnTo>
                <a:lnTo>
                  <a:pt x="3690" y="466"/>
                </a:lnTo>
                <a:lnTo>
                  <a:pt x="3690" y="461"/>
                </a:lnTo>
                <a:lnTo>
                  <a:pt x="3694" y="460"/>
                </a:lnTo>
                <a:lnTo>
                  <a:pt x="3722" y="454"/>
                </a:lnTo>
                <a:lnTo>
                  <a:pt x="3723" y="457"/>
                </a:lnTo>
                <a:lnTo>
                  <a:pt x="3723" y="460"/>
                </a:lnTo>
                <a:lnTo>
                  <a:pt x="3735" y="466"/>
                </a:lnTo>
                <a:lnTo>
                  <a:pt x="3735" y="470"/>
                </a:lnTo>
                <a:lnTo>
                  <a:pt x="3735" y="471"/>
                </a:lnTo>
                <a:lnTo>
                  <a:pt x="3734" y="472"/>
                </a:lnTo>
                <a:lnTo>
                  <a:pt x="3735" y="472"/>
                </a:lnTo>
                <a:lnTo>
                  <a:pt x="3735" y="472"/>
                </a:lnTo>
                <a:lnTo>
                  <a:pt x="3735" y="476"/>
                </a:lnTo>
                <a:lnTo>
                  <a:pt x="3734" y="480"/>
                </a:lnTo>
                <a:lnTo>
                  <a:pt x="3735" y="481"/>
                </a:lnTo>
                <a:lnTo>
                  <a:pt x="3735" y="481"/>
                </a:lnTo>
                <a:lnTo>
                  <a:pt x="3731" y="485"/>
                </a:lnTo>
                <a:lnTo>
                  <a:pt x="3737" y="489"/>
                </a:lnTo>
                <a:lnTo>
                  <a:pt x="3742" y="495"/>
                </a:lnTo>
                <a:lnTo>
                  <a:pt x="3761" y="495"/>
                </a:lnTo>
                <a:lnTo>
                  <a:pt x="3757" y="491"/>
                </a:lnTo>
                <a:lnTo>
                  <a:pt x="3753" y="491"/>
                </a:lnTo>
                <a:lnTo>
                  <a:pt x="3751" y="491"/>
                </a:lnTo>
                <a:lnTo>
                  <a:pt x="3753" y="489"/>
                </a:lnTo>
                <a:lnTo>
                  <a:pt x="3754" y="488"/>
                </a:lnTo>
                <a:lnTo>
                  <a:pt x="3737" y="487"/>
                </a:lnTo>
                <a:lnTo>
                  <a:pt x="3737" y="481"/>
                </a:lnTo>
                <a:lnTo>
                  <a:pt x="3738" y="476"/>
                </a:lnTo>
                <a:lnTo>
                  <a:pt x="3743" y="474"/>
                </a:lnTo>
                <a:lnTo>
                  <a:pt x="3748" y="472"/>
                </a:lnTo>
                <a:lnTo>
                  <a:pt x="3743" y="470"/>
                </a:lnTo>
                <a:lnTo>
                  <a:pt x="3743" y="467"/>
                </a:lnTo>
                <a:lnTo>
                  <a:pt x="3742" y="467"/>
                </a:lnTo>
                <a:lnTo>
                  <a:pt x="3741" y="462"/>
                </a:lnTo>
                <a:lnTo>
                  <a:pt x="3741" y="457"/>
                </a:lnTo>
                <a:lnTo>
                  <a:pt x="3716" y="447"/>
                </a:lnTo>
                <a:lnTo>
                  <a:pt x="3708" y="447"/>
                </a:lnTo>
                <a:lnTo>
                  <a:pt x="3697" y="453"/>
                </a:lnTo>
                <a:lnTo>
                  <a:pt x="3691" y="450"/>
                </a:lnTo>
                <a:lnTo>
                  <a:pt x="3688" y="451"/>
                </a:lnTo>
                <a:lnTo>
                  <a:pt x="3685" y="452"/>
                </a:lnTo>
                <a:lnTo>
                  <a:pt x="3683" y="451"/>
                </a:lnTo>
                <a:lnTo>
                  <a:pt x="3682" y="449"/>
                </a:lnTo>
                <a:lnTo>
                  <a:pt x="3683" y="445"/>
                </a:lnTo>
                <a:lnTo>
                  <a:pt x="3685" y="442"/>
                </a:lnTo>
                <a:lnTo>
                  <a:pt x="3681" y="438"/>
                </a:lnTo>
                <a:lnTo>
                  <a:pt x="3678" y="433"/>
                </a:lnTo>
                <a:lnTo>
                  <a:pt x="3683" y="426"/>
                </a:lnTo>
                <a:lnTo>
                  <a:pt x="3681" y="424"/>
                </a:lnTo>
                <a:lnTo>
                  <a:pt x="3690" y="414"/>
                </a:lnTo>
                <a:lnTo>
                  <a:pt x="3690" y="409"/>
                </a:lnTo>
                <a:lnTo>
                  <a:pt x="3686" y="406"/>
                </a:lnTo>
                <a:lnTo>
                  <a:pt x="3682" y="404"/>
                </a:lnTo>
                <a:lnTo>
                  <a:pt x="3682" y="400"/>
                </a:lnTo>
                <a:lnTo>
                  <a:pt x="3680" y="396"/>
                </a:lnTo>
                <a:lnTo>
                  <a:pt x="3678" y="393"/>
                </a:lnTo>
                <a:lnTo>
                  <a:pt x="3676" y="391"/>
                </a:lnTo>
                <a:lnTo>
                  <a:pt x="3673" y="389"/>
                </a:lnTo>
                <a:lnTo>
                  <a:pt x="3676" y="386"/>
                </a:lnTo>
                <a:lnTo>
                  <a:pt x="3678" y="383"/>
                </a:lnTo>
                <a:lnTo>
                  <a:pt x="3678" y="380"/>
                </a:lnTo>
                <a:lnTo>
                  <a:pt x="3678" y="377"/>
                </a:lnTo>
                <a:lnTo>
                  <a:pt x="3689" y="374"/>
                </a:lnTo>
                <a:lnTo>
                  <a:pt x="3700" y="370"/>
                </a:lnTo>
                <a:lnTo>
                  <a:pt x="3702" y="366"/>
                </a:lnTo>
                <a:lnTo>
                  <a:pt x="3702" y="361"/>
                </a:lnTo>
                <a:lnTo>
                  <a:pt x="3700" y="353"/>
                </a:lnTo>
                <a:lnTo>
                  <a:pt x="3697" y="349"/>
                </a:lnTo>
                <a:lnTo>
                  <a:pt x="3701" y="347"/>
                </a:lnTo>
                <a:lnTo>
                  <a:pt x="3707" y="349"/>
                </a:lnTo>
                <a:lnTo>
                  <a:pt x="3708" y="351"/>
                </a:lnTo>
                <a:lnTo>
                  <a:pt x="3706" y="353"/>
                </a:lnTo>
                <a:lnTo>
                  <a:pt x="3711" y="357"/>
                </a:lnTo>
                <a:lnTo>
                  <a:pt x="3708" y="358"/>
                </a:lnTo>
                <a:lnTo>
                  <a:pt x="3711" y="365"/>
                </a:lnTo>
                <a:lnTo>
                  <a:pt x="3702" y="376"/>
                </a:lnTo>
                <a:lnTo>
                  <a:pt x="3702" y="380"/>
                </a:lnTo>
                <a:lnTo>
                  <a:pt x="3706" y="383"/>
                </a:lnTo>
                <a:lnTo>
                  <a:pt x="3706" y="386"/>
                </a:lnTo>
                <a:lnTo>
                  <a:pt x="3702" y="388"/>
                </a:lnTo>
                <a:lnTo>
                  <a:pt x="3702" y="389"/>
                </a:lnTo>
                <a:lnTo>
                  <a:pt x="3710" y="393"/>
                </a:lnTo>
                <a:lnTo>
                  <a:pt x="3727" y="394"/>
                </a:lnTo>
                <a:lnTo>
                  <a:pt x="3727" y="397"/>
                </a:lnTo>
                <a:lnTo>
                  <a:pt x="3730" y="399"/>
                </a:lnTo>
                <a:lnTo>
                  <a:pt x="3741" y="399"/>
                </a:lnTo>
                <a:lnTo>
                  <a:pt x="3743" y="399"/>
                </a:lnTo>
                <a:lnTo>
                  <a:pt x="3745" y="401"/>
                </a:lnTo>
                <a:lnTo>
                  <a:pt x="3748" y="402"/>
                </a:lnTo>
                <a:lnTo>
                  <a:pt x="3751" y="404"/>
                </a:lnTo>
                <a:lnTo>
                  <a:pt x="3761" y="403"/>
                </a:lnTo>
                <a:lnTo>
                  <a:pt x="3753" y="403"/>
                </a:lnTo>
                <a:lnTo>
                  <a:pt x="3752" y="403"/>
                </a:lnTo>
                <a:lnTo>
                  <a:pt x="3751" y="403"/>
                </a:lnTo>
                <a:lnTo>
                  <a:pt x="3750" y="400"/>
                </a:lnTo>
                <a:lnTo>
                  <a:pt x="3748" y="398"/>
                </a:lnTo>
                <a:lnTo>
                  <a:pt x="3749" y="396"/>
                </a:lnTo>
                <a:lnTo>
                  <a:pt x="3749" y="395"/>
                </a:lnTo>
                <a:lnTo>
                  <a:pt x="3743" y="395"/>
                </a:lnTo>
                <a:lnTo>
                  <a:pt x="3745" y="390"/>
                </a:lnTo>
                <a:lnTo>
                  <a:pt x="3743" y="391"/>
                </a:lnTo>
                <a:lnTo>
                  <a:pt x="3742" y="393"/>
                </a:lnTo>
                <a:lnTo>
                  <a:pt x="3739" y="392"/>
                </a:lnTo>
                <a:lnTo>
                  <a:pt x="3737" y="392"/>
                </a:lnTo>
                <a:lnTo>
                  <a:pt x="3738" y="392"/>
                </a:lnTo>
                <a:lnTo>
                  <a:pt x="3738" y="393"/>
                </a:lnTo>
                <a:lnTo>
                  <a:pt x="3738" y="393"/>
                </a:lnTo>
                <a:lnTo>
                  <a:pt x="3738" y="393"/>
                </a:lnTo>
                <a:lnTo>
                  <a:pt x="3719" y="385"/>
                </a:lnTo>
                <a:lnTo>
                  <a:pt x="3716" y="376"/>
                </a:lnTo>
                <a:lnTo>
                  <a:pt x="3718" y="374"/>
                </a:lnTo>
                <a:lnTo>
                  <a:pt x="3729" y="372"/>
                </a:lnTo>
                <a:lnTo>
                  <a:pt x="3738" y="377"/>
                </a:lnTo>
                <a:lnTo>
                  <a:pt x="3742" y="377"/>
                </a:lnTo>
                <a:lnTo>
                  <a:pt x="3747" y="377"/>
                </a:lnTo>
                <a:lnTo>
                  <a:pt x="3748" y="373"/>
                </a:lnTo>
                <a:lnTo>
                  <a:pt x="3745" y="371"/>
                </a:lnTo>
                <a:lnTo>
                  <a:pt x="3735" y="371"/>
                </a:lnTo>
                <a:lnTo>
                  <a:pt x="3738" y="367"/>
                </a:lnTo>
                <a:lnTo>
                  <a:pt x="3731" y="367"/>
                </a:lnTo>
                <a:lnTo>
                  <a:pt x="3729" y="364"/>
                </a:lnTo>
                <a:lnTo>
                  <a:pt x="3741" y="353"/>
                </a:lnTo>
                <a:lnTo>
                  <a:pt x="3752" y="358"/>
                </a:lnTo>
                <a:lnTo>
                  <a:pt x="3745" y="363"/>
                </a:lnTo>
                <a:lnTo>
                  <a:pt x="3748" y="362"/>
                </a:lnTo>
                <a:lnTo>
                  <a:pt x="3753" y="361"/>
                </a:lnTo>
                <a:lnTo>
                  <a:pt x="3759" y="362"/>
                </a:lnTo>
                <a:lnTo>
                  <a:pt x="3766" y="363"/>
                </a:lnTo>
                <a:lnTo>
                  <a:pt x="3783" y="370"/>
                </a:lnTo>
                <a:lnTo>
                  <a:pt x="3783" y="375"/>
                </a:lnTo>
                <a:lnTo>
                  <a:pt x="3783" y="375"/>
                </a:lnTo>
                <a:lnTo>
                  <a:pt x="3797" y="383"/>
                </a:lnTo>
                <a:lnTo>
                  <a:pt x="3815" y="380"/>
                </a:lnTo>
                <a:lnTo>
                  <a:pt x="3821" y="381"/>
                </a:lnTo>
                <a:lnTo>
                  <a:pt x="3819" y="385"/>
                </a:lnTo>
                <a:lnTo>
                  <a:pt x="3817" y="386"/>
                </a:lnTo>
                <a:lnTo>
                  <a:pt x="3816" y="388"/>
                </a:lnTo>
                <a:lnTo>
                  <a:pt x="3812" y="390"/>
                </a:lnTo>
                <a:lnTo>
                  <a:pt x="3807" y="393"/>
                </a:lnTo>
                <a:lnTo>
                  <a:pt x="3808" y="395"/>
                </a:lnTo>
                <a:lnTo>
                  <a:pt x="3808" y="397"/>
                </a:lnTo>
                <a:lnTo>
                  <a:pt x="3805" y="400"/>
                </a:lnTo>
                <a:lnTo>
                  <a:pt x="3808" y="405"/>
                </a:lnTo>
                <a:lnTo>
                  <a:pt x="3810" y="403"/>
                </a:lnTo>
                <a:lnTo>
                  <a:pt x="3812" y="400"/>
                </a:lnTo>
                <a:lnTo>
                  <a:pt x="3820" y="403"/>
                </a:lnTo>
                <a:lnTo>
                  <a:pt x="3819" y="409"/>
                </a:lnTo>
                <a:lnTo>
                  <a:pt x="3819" y="409"/>
                </a:lnTo>
                <a:lnTo>
                  <a:pt x="3819" y="414"/>
                </a:lnTo>
                <a:lnTo>
                  <a:pt x="3815" y="415"/>
                </a:lnTo>
                <a:lnTo>
                  <a:pt x="3815" y="415"/>
                </a:lnTo>
                <a:lnTo>
                  <a:pt x="3813" y="418"/>
                </a:lnTo>
                <a:lnTo>
                  <a:pt x="3811" y="420"/>
                </a:lnTo>
                <a:lnTo>
                  <a:pt x="3811" y="422"/>
                </a:lnTo>
                <a:lnTo>
                  <a:pt x="3819" y="426"/>
                </a:lnTo>
                <a:lnTo>
                  <a:pt x="3819" y="424"/>
                </a:lnTo>
                <a:lnTo>
                  <a:pt x="3819" y="423"/>
                </a:lnTo>
                <a:lnTo>
                  <a:pt x="3817" y="423"/>
                </a:lnTo>
                <a:lnTo>
                  <a:pt x="3824" y="423"/>
                </a:lnTo>
                <a:lnTo>
                  <a:pt x="3826" y="417"/>
                </a:lnTo>
                <a:lnTo>
                  <a:pt x="3824" y="414"/>
                </a:lnTo>
                <a:lnTo>
                  <a:pt x="3826" y="412"/>
                </a:lnTo>
                <a:lnTo>
                  <a:pt x="3824" y="403"/>
                </a:lnTo>
                <a:lnTo>
                  <a:pt x="3820" y="394"/>
                </a:lnTo>
                <a:lnTo>
                  <a:pt x="3823" y="389"/>
                </a:lnTo>
                <a:lnTo>
                  <a:pt x="3827" y="383"/>
                </a:lnTo>
                <a:lnTo>
                  <a:pt x="3823" y="377"/>
                </a:lnTo>
                <a:lnTo>
                  <a:pt x="3813" y="376"/>
                </a:lnTo>
                <a:lnTo>
                  <a:pt x="3809" y="373"/>
                </a:lnTo>
                <a:lnTo>
                  <a:pt x="3805" y="370"/>
                </a:lnTo>
                <a:lnTo>
                  <a:pt x="3806" y="369"/>
                </a:lnTo>
                <a:lnTo>
                  <a:pt x="3807" y="369"/>
                </a:lnTo>
                <a:lnTo>
                  <a:pt x="3806" y="367"/>
                </a:lnTo>
                <a:lnTo>
                  <a:pt x="3805" y="365"/>
                </a:lnTo>
                <a:lnTo>
                  <a:pt x="3790" y="363"/>
                </a:lnTo>
                <a:lnTo>
                  <a:pt x="3785" y="358"/>
                </a:lnTo>
                <a:lnTo>
                  <a:pt x="3786" y="353"/>
                </a:lnTo>
                <a:lnTo>
                  <a:pt x="3781" y="351"/>
                </a:lnTo>
                <a:lnTo>
                  <a:pt x="3783" y="347"/>
                </a:lnTo>
                <a:lnTo>
                  <a:pt x="3783" y="344"/>
                </a:lnTo>
                <a:lnTo>
                  <a:pt x="3778" y="343"/>
                </a:lnTo>
                <a:lnTo>
                  <a:pt x="3782" y="342"/>
                </a:lnTo>
                <a:lnTo>
                  <a:pt x="3776" y="342"/>
                </a:lnTo>
                <a:lnTo>
                  <a:pt x="3782" y="339"/>
                </a:lnTo>
                <a:lnTo>
                  <a:pt x="3778" y="335"/>
                </a:lnTo>
                <a:lnTo>
                  <a:pt x="3783" y="330"/>
                </a:lnTo>
                <a:lnTo>
                  <a:pt x="3779" y="330"/>
                </a:lnTo>
                <a:lnTo>
                  <a:pt x="3779" y="328"/>
                </a:lnTo>
                <a:lnTo>
                  <a:pt x="3780" y="327"/>
                </a:lnTo>
                <a:lnTo>
                  <a:pt x="3840" y="322"/>
                </a:lnTo>
                <a:lnTo>
                  <a:pt x="3849" y="324"/>
                </a:lnTo>
                <a:lnTo>
                  <a:pt x="3861" y="322"/>
                </a:lnTo>
                <a:lnTo>
                  <a:pt x="3876" y="322"/>
                </a:lnTo>
                <a:lnTo>
                  <a:pt x="3875" y="323"/>
                </a:lnTo>
                <a:lnTo>
                  <a:pt x="3868" y="325"/>
                </a:lnTo>
                <a:lnTo>
                  <a:pt x="3874" y="324"/>
                </a:lnTo>
                <a:lnTo>
                  <a:pt x="3872" y="326"/>
                </a:lnTo>
                <a:lnTo>
                  <a:pt x="3867" y="326"/>
                </a:lnTo>
                <a:lnTo>
                  <a:pt x="3860" y="330"/>
                </a:lnTo>
                <a:lnTo>
                  <a:pt x="3879" y="326"/>
                </a:lnTo>
                <a:lnTo>
                  <a:pt x="3886" y="319"/>
                </a:lnTo>
                <a:lnTo>
                  <a:pt x="3880" y="321"/>
                </a:lnTo>
                <a:lnTo>
                  <a:pt x="3875" y="318"/>
                </a:lnTo>
                <a:lnTo>
                  <a:pt x="3882" y="318"/>
                </a:lnTo>
                <a:lnTo>
                  <a:pt x="3880" y="314"/>
                </a:lnTo>
                <a:lnTo>
                  <a:pt x="3874" y="314"/>
                </a:lnTo>
                <a:lnTo>
                  <a:pt x="3872" y="310"/>
                </a:lnTo>
                <a:lnTo>
                  <a:pt x="3868" y="310"/>
                </a:lnTo>
                <a:lnTo>
                  <a:pt x="3859" y="307"/>
                </a:lnTo>
                <a:lnTo>
                  <a:pt x="3859" y="304"/>
                </a:lnTo>
                <a:lnTo>
                  <a:pt x="3865" y="307"/>
                </a:lnTo>
                <a:lnTo>
                  <a:pt x="3861" y="303"/>
                </a:lnTo>
                <a:lnTo>
                  <a:pt x="3867" y="301"/>
                </a:lnTo>
                <a:lnTo>
                  <a:pt x="3865" y="301"/>
                </a:lnTo>
                <a:lnTo>
                  <a:pt x="3865" y="301"/>
                </a:lnTo>
                <a:lnTo>
                  <a:pt x="3863" y="300"/>
                </a:lnTo>
                <a:lnTo>
                  <a:pt x="3858" y="298"/>
                </a:lnTo>
                <a:lnTo>
                  <a:pt x="3862" y="293"/>
                </a:lnTo>
                <a:lnTo>
                  <a:pt x="3871" y="296"/>
                </a:lnTo>
                <a:lnTo>
                  <a:pt x="3871" y="298"/>
                </a:lnTo>
                <a:lnTo>
                  <a:pt x="3872" y="298"/>
                </a:lnTo>
                <a:lnTo>
                  <a:pt x="3880" y="288"/>
                </a:lnTo>
                <a:lnTo>
                  <a:pt x="3879" y="285"/>
                </a:lnTo>
                <a:lnTo>
                  <a:pt x="3883" y="287"/>
                </a:lnTo>
                <a:lnTo>
                  <a:pt x="3886" y="285"/>
                </a:lnTo>
                <a:lnTo>
                  <a:pt x="3874" y="284"/>
                </a:lnTo>
                <a:lnTo>
                  <a:pt x="3875" y="280"/>
                </a:lnTo>
                <a:lnTo>
                  <a:pt x="3889" y="281"/>
                </a:lnTo>
                <a:lnTo>
                  <a:pt x="3898" y="275"/>
                </a:lnTo>
                <a:lnTo>
                  <a:pt x="3907" y="270"/>
                </a:lnTo>
                <a:lnTo>
                  <a:pt x="3910" y="271"/>
                </a:lnTo>
                <a:lnTo>
                  <a:pt x="3912" y="273"/>
                </a:lnTo>
                <a:lnTo>
                  <a:pt x="3915" y="271"/>
                </a:lnTo>
                <a:lnTo>
                  <a:pt x="3919" y="269"/>
                </a:lnTo>
                <a:lnTo>
                  <a:pt x="3931" y="266"/>
                </a:lnTo>
                <a:lnTo>
                  <a:pt x="3942" y="266"/>
                </a:lnTo>
                <a:lnTo>
                  <a:pt x="3944" y="265"/>
                </a:lnTo>
                <a:lnTo>
                  <a:pt x="3980" y="258"/>
                </a:lnTo>
                <a:lnTo>
                  <a:pt x="3969" y="258"/>
                </a:lnTo>
                <a:lnTo>
                  <a:pt x="3969" y="258"/>
                </a:lnTo>
                <a:lnTo>
                  <a:pt x="3969" y="258"/>
                </a:lnTo>
                <a:lnTo>
                  <a:pt x="3966" y="254"/>
                </a:lnTo>
                <a:lnTo>
                  <a:pt x="3963" y="257"/>
                </a:lnTo>
                <a:lnTo>
                  <a:pt x="3963" y="258"/>
                </a:lnTo>
                <a:lnTo>
                  <a:pt x="3959" y="258"/>
                </a:lnTo>
                <a:lnTo>
                  <a:pt x="3960" y="256"/>
                </a:lnTo>
                <a:lnTo>
                  <a:pt x="3961" y="254"/>
                </a:lnTo>
                <a:lnTo>
                  <a:pt x="3966" y="254"/>
                </a:lnTo>
                <a:lnTo>
                  <a:pt x="3968" y="256"/>
                </a:lnTo>
                <a:lnTo>
                  <a:pt x="3978" y="255"/>
                </a:lnTo>
                <a:lnTo>
                  <a:pt x="3972" y="254"/>
                </a:lnTo>
                <a:lnTo>
                  <a:pt x="3984" y="254"/>
                </a:lnTo>
                <a:lnTo>
                  <a:pt x="3984" y="254"/>
                </a:lnTo>
                <a:lnTo>
                  <a:pt x="3985" y="254"/>
                </a:lnTo>
                <a:lnTo>
                  <a:pt x="3985" y="254"/>
                </a:lnTo>
                <a:lnTo>
                  <a:pt x="3985" y="254"/>
                </a:lnTo>
                <a:lnTo>
                  <a:pt x="3986" y="254"/>
                </a:lnTo>
                <a:lnTo>
                  <a:pt x="4010" y="256"/>
                </a:lnTo>
                <a:lnTo>
                  <a:pt x="4000" y="262"/>
                </a:lnTo>
                <a:lnTo>
                  <a:pt x="4002" y="262"/>
                </a:lnTo>
                <a:lnTo>
                  <a:pt x="4005" y="259"/>
                </a:lnTo>
                <a:lnTo>
                  <a:pt x="4013" y="255"/>
                </a:lnTo>
                <a:lnTo>
                  <a:pt x="4014" y="258"/>
                </a:lnTo>
                <a:lnTo>
                  <a:pt x="4013" y="259"/>
                </a:lnTo>
                <a:lnTo>
                  <a:pt x="4025" y="254"/>
                </a:lnTo>
                <a:lnTo>
                  <a:pt x="4025" y="254"/>
                </a:lnTo>
                <a:lnTo>
                  <a:pt x="4023" y="258"/>
                </a:lnTo>
                <a:lnTo>
                  <a:pt x="4032" y="255"/>
                </a:lnTo>
                <a:lnTo>
                  <a:pt x="4028" y="254"/>
                </a:lnTo>
                <a:lnTo>
                  <a:pt x="4033" y="254"/>
                </a:lnTo>
                <a:lnTo>
                  <a:pt x="4037" y="254"/>
                </a:lnTo>
                <a:lnTo>
                  <a:pt x="4039" y="254"/>
                </a:lnTo>
                <a:lnTo>
                  <a:pt x="4033" y="252"/>
                </a:lnTo>
                <a:lnTo>
                  <a:pt x="4046" y="248"/>
                </a:lnTo>
                <a:lnTo>
                  <a:pt x="4044" y="250"/>
                </a:lnTo>
                <a:lnTo>
                  <a:pt x="4054" y="250"/>
                </a:lnTo>
                <a:lnTo>
                  <a:pt x="4053" y="252"/>
                </a:lnTo>
                <a:lnTo>
                  <a:pt x="4051" y="254"/>
                </a:lnTo>
                <a:lnTo>
                  <a:pt x="4056" y="254"/>
                </a:lnTo>
                <a:lnTo>
                  <a:pt x="4058" y="253"/>
                </a:lnTo>
                <a:lnTo>
                  <a:pt x="4060" y="253"/>
                </a:lnTo>
                <a:lnTo>
                  <a:pt x="4060" y="253"/>
                </a:lnTo>
                <a:lnTo>
                  <a:pt x="4057" y="247"/>
                </a:lnTo>
                <a:lnTo>
                  <a:pt x="4054" y="245"/>
                </a:lnTo>
                <a:lnTo>
                  <a:pt x="4050" y="243"/>
                </a:lnTo>
                <a:lnTo>
                  <a:pt x="4046" y="241"/>
                </a:lnTo>
                <a:lnTo>
                  <a:pt x="4076" y="239"/>
                </a:lnTo>
                <a:lnTo>
                  <a:pt x="4076" y="238"/>
                </a:lnTo>
                <a:lnTo>
                  <a:pt x="4080" y="238"/>
                </a:lnTo>
                <a:lnTo>
                  <a:pt x="4081" y="232"/>
                </a:lnTo>
                <a:lnTo>
                  <a:pt x="4077" y="228"/>
                </a:lnTo>
                <a:lnTo>
                  <a:pt x="4078" y="226"/>
                </a:lnTo>
                <a:lnTo>
                  <a:pt x="4080" y="226"/>
                </a:lnTo>
                <a:lnTo>
                  <a:pt x="4080" y="220"/>
                </a:lnTo>
                <a:lnTo>
                  <a:pt x="4095" y="212"/>
                </a:lnTo>
                <a:lnTo>
                  <a:pt x="4096" y="212"/>
                </a:lnTo>
                <a:lnTo>
                  <a:pt x="4098" y="213"/>
                </a:lnTo>
                <a:lnTo>
                  <a:pt x="4104" y="208"/>
                </a:lnTo>
                <a:lnTo>
                  <a:pt x="4110" y="204"/>
                </a:lnTo>
                <a:lnTo>
                  <a:pt x="4125" y="202"/>
                </a:lnTo>
                <a:lnTo>
                  <a:pt x="4128" y="202"/>
                </a:lnTo>
                <a:lnTo>
                  <a:pt x="4127" y="203"/>
                </a:lnTo>
                <a:lnTo>
                  <a:pt x="4125" y="204"/>
                </a:lnTo>
                <a:lnTo>
                  <a:pt x="4129" y="203"/>
                </a:lnTo>
                <a:lnTo>
                  <a:pt x="4132" y="203"/>
                </a:lnTo>
                <a:lnTo>
                  <a:pt x="4136" y="210"/>
                </a:lnTo>
                <a:lnTo>
                  <a:pt x="4143" y="210"/>
                </a:lnTo>
                <a:lnTo>
                  <a:pt x="4148" y="210"/>
                </a:lnTo>
                <a:lnTo>
                  <a:pt x="4150" y="211"/>
                </a:lnTo>
                <a:lnTo>
                  <a:pt x="4151" y="212"/>
                </a:lnTo>
                <a:lnTo>
                  <a:pt x="4155" y="214"/>
                </a:lnTo>
                <a:lnTo>
                  <a:pt x="4147" y="214"/>
                </a:lnTo>
                <a:lnTo>
                  <a:pt x="4143" y="217"/>
                </a:lnTo>
                <a:lnTo>
                  <a:pt x="4124" y="220"/>
                </a:lnTo>
                <a:lnTo>
                  <a:pt x="4137" y="220"/>
                </a:lnTo>
                <a:lnTo>
                  <a:pt x="4150" y="219"/>
                </a:lnTo>
                <a:lnTo>
                  <a:pt x="4148" y="223"/>
                </a:lnTo>
                <a:lnTo>
                  <a:pt x="4146" y="224"/>
                </a:lnTo>
                <a:lnTo>
                  <a:pt x="4143" y="224"/>
                </a:lnTo>
                <a:lnTo>
                  <a:pt x="4162" y="223"/>
                </a:lnTo>
                <a:lnTo>
                  <a:pt x="4167" y="225"/>
                </a:lnTo>
                <a:lnTo>
                  <a:pt x="4172" y="227"/>
                </a:lnTo>
                <a:lnTo>
                  <a:pt x="4171" y="228"/>
                </a:lnTo>
                <a:lnTo>
                  <a:pt x="4169" y="230"/>
                </a:lnTo>
                <a:lnTo>
                  <a:pt x="4170" y="230"/>
                </a:lnTo>
                <a:lnTo>
                  <a:pt x="4159" y="238"/>
                </a:lnTo>
                <a:lnTo>
                  <a:pt x="4152" y="238"/>
                </a:lnTo>
                <a:lnTo>
                  <a:pt x="4152" y="242"/>
                </a:lnTo>
                <a:lnTo>
                  <a:pt x="4179" y="242"/>
                </a:lnTo>
                <a:lnTo>
                  <a:pt x="4179" y="237"/>
                </a:lnTo>
                <a:lnTo>
                  <a:pt x="4176" y="235"/>
                </a:lnTo>
                <a:lnTo>
                  <a:pt x="4176" y="232"/>
                </a:lnTo>
                <a:lnTo>
                  <a:pt x="4208" y="235"/>
                </a:lnTo>
                <a:lnTo>
                  <a:pt x="4225" y="232"/>
                </a:lnTo>
                <a:lnTo>
                  <a:pt x="4242" y="241"/>
                </a:lnTo>
                <a:lnTo>
                  <a:pt x="4237" y="243"/>
                </a:lnTo>
                <a:lnTo>
                  <a:pt x="4243" y="241"/>
                </a:lnTo>
                <a:lnTo>
                  <a:pt x="4249" y="246"/>
                </a:lnTo>
                <a:lnTo>
                  <a:pt x="4248" y="248"/>
                </a:lnTo>
                <a:lnTo>
                  <a:pt x="4251" y="251"/>
                </a:lnTo>
                <a:lnTo>
                  <a:pt x="4247" y="254"/>
                </a:lnTo>
                <a:lnTo>
                  <a:pt x="4252" y="253"/>
                </a:lnTo>
                <a:lnTo>
                  <a:pt x="4257" y="252"/>
                </a:lnTo>
                <a:lnTo>
                  <a:pt x="4257" y="258"/>
                </a:lnTo>
                <a:lnTo>
                  <a:pt x="4260" y="258"/>
                </a:lnTo>
                <a:lnTo>
                  <a:pt x="4263" y="257"/>
                </a:lnTo>
                <a:lnTo>
                  <a:pt x="4265" y="260"/>
                </a:lnTo>
                <a:lnTo>
                  <a:pt x="4263" y="267"/>
                </a:lnTo>
                <a:lnTo>
                  <a:pt x="4262" y="268"/>
                </a:lnTo>
                <a:lnTo>
                  <a:pt x="4261" y="270"/>
                </a:lnTo>
                <a:lnTo>
                  <a:pt x="4262" y="270"/>
                </a:lnTo>
                <a:lnTo>
                  <a:pt x="4263" y="272"/>
                </a:lnTo>
                <a:lnTo>
                  <a:pt x="4263" y="274"/>
                </a:lnTo>
                <a:lnTo>
                  <a:pt x="4261" y="274"/>
                </a:lnTo>
                <a:lnTo>
                  <a:pt x="4262" y="276"/>
                </a:lnTo>
                <a:lnTo>
                  <a:pt x="4251" y="286"/>
                </a:lnTo>
                <a:lnTo>
                  <a:pt x="4241" y="289"/>
                </a:lnTo>
                <a:lnTo>
                  <a:pt x="4236" y="298"/>
                </a:lnTo>
                <a:lnTo>
                  <a:pt x="4230" y="298"/>
                </a:lnTo>
                <a:lnTo>
                  <a:pt x="4227" y="298"/>
                </a:lnTo>
                <a:lnTo>
                  <a:pt x="4224" y="299"/>
                </a:lnTo>
                <a:lnTo>
                  <a:pt x="4214" y="302"/>
                </a:lnTo>
                <a:lnTo>
                  <a:pt x="4215" y="302"/>
                </a:lnTo>
                <a:lnTo>
                  <a:pt x="4213" y="306"/>
                </a:lnTo>
                <a:lnTo>
                  <a:pt x="4209" y="307"/>
                </a:lnTo>
                <a:lnTo>
                  <a:pt x="4207" y="310"/>
                </a:lnTo>
                <a:lnTo>
                  <a:pt x="4196" y="314"/>
                </a:lnTo>
                <a:lnTo>
                  <a:pt x="4189" y="319"/>
                </a:lnTo>
                <a:lnTo>
                  <a:pt x="4183" y="324"/>
                </a:lnTo>
                <a:lnTo>
                  <a:pt x="4174" y="325"/>
                </a:lnTo>
                <a:lnTo>
                  <a:pt x="4164" y="326"/>
                </a:lnTo>
                <a:lnTo>
                  <a:pt x="4164" y="327"/>
                </a:lnTo>
                <a:lnTo>
                  <a:pt x="4161" y="334"/>
                </a:lnTo>
                <a:lnTo>
                  <a:pt x="4151" y="335"/>
                </a:lnTo>
                <a:lnTo>
                  <a:pt x="4150" y="340"/>
                </a:lnTo>
                <a:lnTo>
                  <a:pt x="4148" y="344"/>
                </a:lnTo>
                <a:lnTo>
                  <a:pt x="4144" y="347"/>
                </a:lnTo>
                <a:lnTo>
                  <a:pt x="4140" y="351"/>
                </a:lnTo>
                <a:lnTo>
                  <a:pt x="4155" y="344"/>
                </a:lnTo>
                <a:lnTo>
                  <a:pt x="4153" y="341"/>
                </a:lnTo>
                <a:lnTo>
                  <a:pt x="4156" y="337"/>
                </a:lnTo>
                <a:lnTo>
                  <a:pt x="4162" y="339"/>
                </a:lnTo>
                <a:lnTo>
                  <a:pt x="4184" y="337"/>
                </a:lnTo>
                <a:lnTo>
                  <a:pt x="4184" y="336"/>
                </a:lnTo>
                <a:lnTo>
                  <a:pt x="4183" y="335"/>
                </a:lnTo>
                <a:lnTo>
                  <a:pt x="4190" y="334"/>
                </a:lnTo>
                <a:lnTo>
                  <a:pt x="4196" y="334"/>
                </a:lnTo>
                <a:lnTo>
                  <a:pt x="4196" y="330"/>
                </a:lnTo>
                <a:lnTo>
                  <a:pt x="4201" y="330"/>
                </a:lnTo>
                <a:lnTo>
                  <a:pt x="4198" y="326"/>
                </a:lnTo>
                <a:lnTo>
                  <a:pt x="4198" y="326"/>
                </a:lnTo>
                <a:lnTo>
                  <a:pt x="4198" y="326"/>
                </a:lnTo>
                <a:lnTo>
                  <a:pt x="4205" y="330"/>
                </a:lnTo>
                <a:lnTo>
                  <a:pt x="4213" y="327"/>
                </a:lnTo>
                <a:lnTo>
                  <a:pt x="4221" y="324"/>
                </a:lnTo>
                <a:lnTo>
                  <a:pt x="4221" y="322"/>
                </a:lnTo>
                <a:lnTo>
                  <a:pt x="4218" y="322"/>
                </a:lnTo>
                <a:lnTo>
                  <a:pt x="4212" y="323"/>
                </a:lnTo>
                <a:lnTo>
                  <a:pt x="4205" y="324"/>
                </a:lnTo>
                <a:lnTo>
                  <a:pt x="4204" y="323"/>
                </a:lnTo>
                <a:lnTo>
                  <a:pt x="4202" y="321"/>
                </a:lnTo>
                <a:lnTo>
                  <a:pt x="4205" y="318"/>
                </a:lnTo>
                <a:lnTo>
                  <a:pt x="4207" y="315"/>
                </a:lnTo>
                <a:lnTo>
                  <a:pt x="4213" y="314"/>
                </a:lnTo>
                <a:lnTo>
                  <a:pt x="4218" y="316"/>
                </a:lnTo>
                <a:lnTo>
                  <a:pt x="4224" y="318"/>
                </a:lnTo>
                <a:lnTo>
                  <a:pt x="4225" y="316"/>
                </a:lnTo>
                <a:lnTo>
                  <a:pt x="4225" y="314"/>
                </a:lnTo>
                <a:lnTo>
                  <a:pt x="4232" y="313"/>
                </a:lnTo>
                <a:lnTo>
                  <a:pt x="4227" y="315"/>
                </a:lnTo>
                <a:lnTo>
                  <a:pt x="4230" y="319"/>
                </a:lnTo>
                <a:lnTo>
                  <a:pt x="4242" y="323"/>
                </a:lnTo>
                <a:lnTo>
                  <a:pt x="4251" y="321"/>
                </a:lnTo>
                <a:lnTo>
                  <a:pt x="4252" y="320"/>
                </a:lnTo>
                <a:lnTo>
                  <a:pt x="4252" y="319"/>
                </a:lnTo>
                <a:lnTo>
                  <a:pt x="4252" y="317"/>
                </a:lnTo>
                <a:lnTo>
                  <a:pt x="4251" y="314"/>
                </a:lnTo>
                <a:lnTo>
                  <a:pt x="4255" y="319"/>
                </a:lnTo>
                <a:lnTo>
                  <a:pt x="4259" y="324"/>
                </a:lnTo>
                <a:lnTo>
                  <a:pt x="4255" y="331"/>
                </a:lnTo>
                <a:lnTo>
                  <a:pt x="4256" y="333"/>
                </a:lnTo>
                <a:lnTo>
                  <a:pt x="4257" y="334"/>
                </a:lnTo>
                <a:lnTo>
                  <a:pt x="4257" y="335"/>
                </a:lnTo>
                <a:lnTo>
                  <a:pt x="4263" y="337"/>
                </a:lnTo>
                <a:lnTo>
                  <a:pt x="4262" y="334"/>
                </a:lnTo>
                <a:lnTo>
                  <a:pt x="4261" y="330"/>
                </a:lnTo>
                <a:lnTo>
                  <a:pt x="4289" y="323"/>
                </a:lnTo>
                <a:lnTo>
                  <a:pt x="4336" y="327"/>
                </a:lnTo>
                <a:lnTo>
                  <a:pt x="4338" y="328"/>
                </a:lnTo>
                <a:lnTo>
                  <a:pt x="4341" y="330"/>
                </a:lnTo>
                <a:lnTo>
                  <a:pt x="4333" y="330"/>
                </a:lnTo>
                <a:lnTo>
                  <a:pt x="4331" y="330"/>
                </a:lnTo>
                <a:lnTo>
                  <a:pt x="4329" y="331"/>
                </a:lnTo>
                <a:lnTo>
                  <a:pt x="4329" y="337"/>
                </a:lnTo>
                <a:lnTo>
                  <a:pt x="4339" y="340"/>
                </a:lnTo>
                <a:lnTo>
                  <a:pt x="4348" y="342"/>
                </a:lnTo>
                <a:lnTo>
                  <a:pt x="4352" y="346"/>
                </a:lnTo>
                <a:lnTo>
                  <a:pt x="4357" y="347"/>
                </a:lnTo>
                <a:lnTo>
                  <a:pt x="4362" y="347"/>
                </a:lnTo>
                <a:lnTo>
                  <a:pt x="4357" y="346"/>
                </a:lnTo>
                <a:lnTo>
                  <a:pt x="4352" y="346"/>
                </a:lnTo>
                <a:lnTo>
                  <a:pt x="4381" y="346"/>
                </a:lnTo>
                <a:lnTo>
                  <a:pt x="4390" y="348"/>
                </a:lnTo>
                <a:lnTo>
                  <a:pt x="4389" y="346"/>
                </a:lnTo>
                <a:lnTo>
                  <a:pt x="4406" y="350"/>
                </a:lnTo>
                <a:lnTo>
                  <a:pt x="4399" y="350"/>
                </a:lnTo>
                <a:lnTo>
                  <a:pt x="4402" y="354"/>
                </a:lnTo>
                <a:lnTo>
                  <a:pt x="4408" y="354"/>
                </a:lnTo>
                <a:lnTo>
                  <a:pt x="4423" y="355"/>
                </a:lnTo>
                <a:lnTo>
                  <a:pt x="4444" y="365"/>
                </a:lnTo>
                <a:lnTo>
                  <a:pt x="4444" y="365"/>
                </a:lnTo>
                <a:lnTo>
                  <a:pt x="4423" y="352"/>
                </a:lnTo>
                <a:lnTo>
                  <a:pt x="4406" y="348"/>
                </a:lnTo>
                <a:lnTo>
                  <a:pt x="4389" y="344"/>
                </a:lnTo>
                <a:lnTo>
                  <a:pt x="4391" y="343"/>
                </a:lnTo>
                <a:lnTo>
                  <a:pt x="4393" y="342"/>
                </a:lnTo>
                <a:lnTo>
                  <a:pt x="4397" y="344"/>
                </a:lnTo>
                <a:lnTo>
                  <a:pt x="4401" y="346"/>
                </a:lnTo>
                <a:lnTo>
                  <a:pt x="4401" y="345"/>
                </a:lnTo>
                <a:lnTo>
                  <a:pt x="4402" y="344"/>
                </a:lnTo>
                <a:lnTo>
                  <a:pt x="4404" y="339"/>
                </a:lnTo>
                <a:lnTo>
                  <a:pt x="4407" y="338"/>
                </a:lnTo>
                <a:lnTo>
                  <a:pt x="4405" y="338"/>
                </a:lnTo>
                <a:lnTo>
                  <a:pt x="4397" y="333"/>
                </a:lnTo>
                <a:lnTo>
                  <a:pt x="4397" y="327"/>
                </a:lnTo>
                <a:lnTo>
                  <a:pt x="4401" y="325"/>
                </a:lnTo>
                <a:lnTo>
                  <a:pt x="4404" y="324"/>
                </a:lnTo>
                <a:lnTo>
                  <a:pt x="4408" y="325"/>
                </a:lnTo>
                <a:lnTo>
                  <a:pt x="4411" y="326"/>
                </a:lnTo>
                <a:lnTo>
                  <a:pt x="4410" y="323"/>
                </a:lnTo>
                <a:lnTo>
                  <a:pt x="4409" y="321"/>
                </a:lnTo>
                <a:lnTo>
                  <a:pt x="4413" y="324"/>
                </a:lnTo>
                <a:lnTo>
                  <a:pt x="4419" y="321"/>
                </a:lnTo>
                <a:lnTo>
                  <a:pt x="4422" y="324"/>
                </a:lnTo>
                <a:lnTo>
                  <a:pt x="4426" y="326"/>
                </a:lnTo>
                <a:lnTo>
                  <a:pt x="4429" y="325"/>
                </a:lnTo>
                <a:lnTo>
                  <a:pt x="4431" y="330"/>
                </a:lnTo>
                <a:lnTo>
                  <a:pt x="4437" y="330"/>
                </a:lnTo>
                <a:lnTo>
                  <a:pt x="4435" y="330"/>
                </a:lnTo>
                <a:lnTo>
                  <a:pt x="4433" y="330"/>
                </a:lnTo>
                <a:lnTo>
                  <a:pt x="4433" y="333"/>
                </a:lnTo>
                <a:lnTo>
                  <a:pt x="4445" y="327"/>
                </a:lnTo>
                <a:lnTo>
                  <a:pt x="4447" y="330"/>
                </a:lnTo>
                <a:lnTo>
                  <a:pt x="4446" y="332"/>
                </a:lnTo>
                <a:lnTo>
                  <a:pt x="4444" y="334"/>
                </a:lnTo>
                <a:lnTo>
                  <a:pt x="4448" y="334"/>
                </a:lnTo>
                <a:lnTo>
                  <a:pt x="4449" y="341"/>
                </a:lnTo>
                <a:lnTo>
                  <a:pt x="4449" y="339"/>
                </a:lnTo>
                <a:lnTo>
                  <a:pt x="4449" y="337"/>
                </a:lnTo>
                <a:lnTo>
                  <a:pt x="4449" y="335"/>
                </a:lnTo>
                <a:lnTo>
                  <a:pt x="4449" y="333"/>
                </a:lnTo>
                <a:lnTo>
                  <a:pt x="4451" y="332"/>
                </a:lnTo>
                <a:lnTo>
                  <a:pt x="4453" y="330"/>
                </a:lnTo>
                <a:lnTo>
                  <a:pt x="4453" y="332"/>
                </a:lnTo>
                <a:lnTo>
                  <a:pt x="4453" y="334"/>
                </a:lnTo>
                <a:lnTo>
                  <a:pt x="4455" y="330"/>
                </a:lnTo>
                <a:lnTo>
                  <a:pt x="4453" y="330"/>
                </a:lnTo>
                <a:lnTo>
                  <a:pt x="4455" y="328"/>
                </a:lnTo>
                <a:lnTo>
                  <a:pt x="4457" y="327"/>
                </a:lnTo>
                <a:lnTo>
                  <a:pt x="4463" y="328"/>
                </a:lnTo>
                <a:lnTo>
                  <a:pt x="4470" y="329"/>
                </a:lnTo>
                <a:lnTo>
                  <a:pt x="4470" y="331"/>
                </a:lnTo>
                <a:lnTo>
                  <a:pt x="4471" y="333"/>
                </a:lnTo>
                <a:lnTo>
                  <a:pt x="4473" y="334"/>
                </a:lnTo>
                <a:lnTo>
                  <a:pt x="4475" y="334"/>
                </a:lnTo>
                <a:lnTo>
                  <a:pt x="4474" y="335"/>
                </a:lnTo>
                <a:lnTo>
                  <a:pt x="4474" y="335"/>
                </a:lnTo>
                <a:lnTo>
                  <a:pt x="4484" y="339"/>
                </a:lnTo>
                <a:lnTo>
                  <a:pt x="4483" y="340"/>
                </a:lnTo>
                <a:lnTo>
                  <a:pt x="4482" y="342"/>
                </a:lnTo>
                <a:lnTo>
                  <a:pt x="4487" y="341"/>
                </a:lnTo>
                <a:lnTo>
                  <a:pt x="4485" y="342"/>
                </a:lnTo>
                <a:lnTo>
                  <a:pt x="4484" y="344"/>
                </a:lnTo>
                <a:lnTo>
                  <a:pt x="4473" y="346"/>
                </a:lnTo>
                <a:lnTo>
                  <a:pt x="4473" y="347"/>
                </a:lnTo>
                <a:lnTo>
                  <a:pt x="4480" y="348"/>
                </a:lnTo>
                <a:lnTo>
                  <a:pt x="4487" y="350"/>
                </a:lnTo>
                <a:lnTo>
                  <a:pt x="4482" y="350"/>
                </a:lnTo>
                <a:lnTo>
                  <a:pt x="4481" y="350"/>
                </a:lnTo>
                <a:lnTo>
                  <a:pt x="4474" y="349"/>
                </a:lnTo>
                <a:lnTo>
                  <a:pt x="4473" y="349"/>
                </a:lnTo>
                <a:lnTo>
                  <a:pt x="4473" y="349"/>
                </a:lnTo>
                <a:lnTo>
                  <a:pt x="4472" y="349"/>
                </a:lnTo>
                <a:lnTo>
                  <a:pt x="4473" y="349"/>
                </a:lnTo>
                <a:lnTo>
                  <a:pt x="4473" y="350"/>
                </a:lnTo>
                <a:lnTo>
                  <a:pt x="4481" y="350"/>
                </a:lnTo>
                <a:lnTo>
                  <a:pt x="4491" y="352"/>
                </a:lnTo>
                <a:lnTo>
                  <a:pt x="4482" y="353"/>
                </a:lnTo>
                <a:lnTo>
                  <a:pt x="4484" y="357"/>
                </a:lnTo>
                <a:lnTo>
                  <a:pt x="4481" y="358"/>
                </a:lnTo>
                <a:lnTo>
                  <a:pt x="4477" y="355"/>
                </a:lnTo>
                <a:lnTo>
                  <a:pt x="4472" y="353"/>
                </a:lnTo>
                <a:lnTo>
                  <a:pt x="4477" y="353"/>
                </a:lnTo>
                <a:lnTo>
                  <a:pt x="4477" y="353"/>
                </a:lnTo>
                <a:lnTo>
                  <a:pt x="4461" y="353"/>
                </a:lnTo>
                <a:lnTo>
                  <a:pt x="4451" y="358"/>
                </a:lnTo>
                <a:lnTo>
                  <a:pt x="4449" y="358"/>
                </a:lnTo>
                <a:lnTo>
                  <a:pt x="4449" y="359"/>
                </a:lnTo>
                <a:lnTo>
                  <a:pt x="4448" y="359"/>
                </a:lnTo>
                <a:lnTo>
                  <a:pt x="4449" y="360"/>
                </a:lnTo>
                <a:lnTo>
                  <a:pt x="4449" y="361"/>
                </a:lnTo>
                <a:lnTo>
                  <a:pt x="4445" y="358"/>
                </a:lnTo>
                <a:lnTo>
                  <a:pt x="4447" y="361"/>
                </a:lnTo>
                <a:lnTo>
                  <a:pt x="4446" y="363"/>
                </a:lnTo>
                <a:lnTo>
                  <a:pt x="4444" y="365"/>
                </a:lnTo>
                <a:lnTo>
                  <a:pt x="4446" y="364"/>
                </a:lnTo>
                <a:lnTo>
                  <a:pt x="4447" y="363"/>
                </a:lnTo>
                <a:lnTo>
                  <a:pt x="4453" y="371"/>
                </a:lnTo>
                <a:lnTo>
                  <a:pt x="4453" y="365"/>
                </a:lnTo>
                <a:lnTo>
                  <a:pt x="4452" y="363"/>
                </a:lnTo>
                <a:lnTo>
                  <a:pt x="4464" y="363"/>
                </a:lnTo>
                <a:lnTo>
                  <a:pt x="4470" y="366"/>
                </a:lnTo>
                <a:lnTo>
                  <a:pt x="4474" y="370"/>
                </a:lnTo>
                <a:lnTo>
                  <a:pt x="4478" y="375"/>
                </a:lnTo>
                <a:lnTo>
                  <a:pt x="4481" y="380"/>
                </a:lnTo>
                <a:lnTo>
                  <a:pt x="4487" y="377"/>
                </a:lnTo>
                <a:lnTo>
                  <a:pt x="4487" y="375"/>
                </a:lnTo>
                <a:lnTo>
                  <a:pt x="4486" y="373"/>
                </a:lnTo>
                <a:lnTo>
                  <a:pt x="4486" y="373"/>
                </a:lnTo>
                <a:lnTo>
                  <a:pt x="4486" y="372"/>
                </a:lnTo>
                <a:lnTo>
                  <a:pt x="4494" y="383"/>
                </a:lnTo>
                <a:lnTo>
                  <a:pt x="4484" y="383"/>
                </a:lnTo>
                <a:lnTo>
                  <a:pt x="4482" y="383"/>
                </a:lnTo>
                <a:lnTo>
                  <a:pt x="4482" y="387"/>
                </a:lnTo>
                <a:lnTo>
                  <a:pt x="4487" y="387"/>
                </a:lnTo>
                <a:lnTo>
                  <a:pt x="4491" y="393"/>
                </a:lnTo>
                <a:lnTo>
                  <a:pt x="4494" y="393"/>
                </a:lnTo>
                <a:lnTo>
                  <a:pt x="4494" y="399"/>
                </a:lnTo>
                <a:lnTo>
                  <a:pt x="4500" y="399"/>
                </a:lnTo>
                <a:lnTo>
                  <a:pt x="4504" y="403"/>
                </a:lnTo>
                <a:lnTo>
                  <a:pt x="4501" y="403"/>
                </a:lnTo>
                <a:lnTo>
                  <a:pt x="4504" y="403"/>
                </a:lnTo>
                <a:lnTo>
                  <a:pt x="4507" y="404"/>
                </a:lnTo>
                <a:lnTo>
                  <a:pt x="4510" y="400"/>
                </a:lnTo>
                <a:lnTo>
                  <a:pt x="4510" y="400"/>
                </a:lnTo>
                <a:lnTo>
                  <a:pt x="4510" y="400"/>
                </a:lnTo>
                <a:lnTo>
                  <a:pt x="4511" y="406"/>
                </a:lnTo>
                <a:lnTo>
                  <a:pt x="4513" y="411"/>
                </a:lnTo>
                <a:lnTo>
                  <a:pt x="4517" y="411"/>
                </a:lnTo>
                <a:lnTo>
                  <a:pt x="4520" y="408"/>
                </a:lnTo>
                <a:lnTo>
                  <a:pt x="4523" y="404"/>
                </a:lnTo>
                <a:lnTo>
                  <a:pt x="4527" y="395"/>
                </a:lnTo>
                <a:lnTo>
                  <a:pt x="4532" y="395"/>
                </a:lnTo>
                <a:lnTo>
                  <a:pt x="4528" y="393"/>
                </a:lnTo>
                <a:lnTo>
                  <a:pt x="4532" y="381"/>
                </a:lnTo>
                <a:lnTo>
                  <a:pt x="4538" y="376"/>
                </a:lnTo>
                <a:lnTo>
                  <a:pt x="4538" y="380"/>
                </a:lnTo>
                <a:lnTo>
                  <a:pt x="4552" y="388"/>
                </a:lnTo>
                <a:lnTo>
                  <a:pt x="4564" y="392"/>
                </a:lnTo>
                <a:lnTo>
                  <a:pt x="4574" y="387"/>
                </a:lnTo>
                <a:lnTo>
                  <a:pt x="4584" y="383"/>
                </a:lnTo>
                <a:lnTo>
                  <a:pt x="4597" y="388"/>
                </a:lnTo>
                <a:lnTo>
                  <a:pt x="4609" y="393"/>
                </a:lnTo>
                <a:lnTo>
                  <a:pt x="4606" y="395"/>
                </a:lnTo>
                <a:lnTo>
                  <a:pt x="4610" y="395"/>
                </a:lnTo>
                <a:lnTo>
                  <a:pt x="4611" y="396"/>
                </a:lnTo>
                <a:lnTo>
                  <a:pt x="4613" y="397"/>
                </a:lnTo>
                <a:lnTo>
                  <a:pt x="4617" y="397"/>
                </a:lnTo>
                <a:lnTo>
                  <a:pt x="4614" y="396"/>
                </a:lnTo>
                <a:lnTo>
                  <a:pt x="4612" y="396"/>
                </a:lnTo>
                <a:lnTo>
                  <a:pt x="4616" y="395"/>
                </a:lnTo>
                <a:lnTo>
                  <a:pt x="4619" y="393"/>
                </a:lnTo>
                <a:lnTo>
                  <a:pt x="4616" y="390"/>
                </a:lnTo>
                <a:lnTo>
                  <a:pt x="4613" y="389"/>
                </a:lnTo>
                <a:lnTo>
                  <a:pt x="4617" y="385"/>
                </a:lnTo>
                <a:lnTo>
                  <a:pt x="4620" y="384"/>
                </a:lnTo>
                <a:lnTo>
                  <a:pt x="4623" y="383"/>
                </a:lnTo>
                <a:lnTo>
                  <a:pt x="4621" y="385"/>
                </a:lnTo>
                <a:lnTo>
                  <a:pt x="4623" y="386"/>
                </a:lnTo>
                <a:lnTo>
                  <a:pt x="4625" y="385"/>
                </a:lnTo>
                <a:lnTo>
                  <a:pt x="4626" y="383"/>
                </a:lnTo>
                <a:lnTo>
                  <a:pt x="4628" y="384"/>
                </a:lnTo>
                <a:lnTo>
                  <a:pt x="4631" y="385"/>
                </a:lnTo>
                <a:lnTo>
                  <a:pt x="4631" y="388"/>
                </a:lnTo>
                <a:lnTo>
                  <a:pt x="4632" y="391"/>
                </a:lnTo>
                <a:lnTo>
                  <a:pt x="4635" y="391"/>
                </a:lnTo>
                <a:lnTo>
                  <a:pt x="4636" y="388"/>
                </a:lnTo>
                <a:lnTo>
                  <a:pt x="4637" y="386"/>
                </a:lnTo>
                <a:lnTo>
                  <a:pt x="4642" y="388"/>
                </a:lnTo>
                <a:lnTo>
                  <a:pt x="4638" y="381"/>
                </a:lnTo>
                <a:lnTo>
                  <a:pt x="4638" y="376"/>
                </a:lnTo>
                <a:lnTo>
                  <a:pt x="4636" y="375"/>
                </a:lnTo>
                <a:lnTo>
                  <a:pt x="4638" y="375"/>
                </a:lnTo>
                <a:lnTo>
                  <a:pt x="4641" y="372"/>
                </a:lnTo>
                <a:lnTo>
                  <a:pt x="4643" y="369"/>
                </a:lnTo>
                <a:lnTo>
                  <a:pt x="4645" y="370"/>
                </a:lnTo>
                <a:lnTo>
                  <a:pt x="4649" y="367"/>
                </a:lnTo>
                <a:lnTo>
                  <a:pt x="4638" y="367"/>
                </a:lnTo>
                <a:lnTo>
                  <a:pt x="4637" y="368"/>
                </a:lnTo>
                <a:lnTo>
                  <a:pt x="4636" y="370"/>
                </a:lnTo>
                <a:lnTo>
                  <a:pt x="4633" y="368"/>
                </a:lnTo>
                <a:lnTo>
                  <a:pt x="4631" y="366"/>
                </a:lnTo>
                <a:lnTo>
                  <a:pt x="4638" y="359"/>
                </a:lnTo>
                <a:lnTo>
                  <a:pt x="4653" y="359"/>
                </a:lnTo>
                <a:lnTo>
                  <a:pt x="4658" y="357"/>
                </a:lnTo>
                <a:lnTo>
                  <a:pt x="4658" y="353"/>
                </a:lnTo>
                <a:lnTo>
                  <a:pt x="4653" y="350"/>
                </a:lnTo>
                <a:lnTo>
                  <a:pt x="4657" y="350"/>
                </a:lnTo>
                <a:lnTo>
                  <a:pt x="4674" y="352"/>
                </a:lnTo>
                <a:lnTo>
                  <a:pt x="4698" y="354"/>
                </a:lnTo>
                <a:lnTo>
                  <a:pt x="4723" y="359"/>
                </a:lnTo>
                <a:lnTo>
                  <a:pt x="4734" y="363"/>
                </a:lnTo>
                <a:lnTo>
                  <a:pt x="4740" y="365"/>
                </a:lnTo>
                <a:lnTo>
                  <a:pt x="4743" y="365"/>
                </a:lnTo>
                <a:lnTo>
                  <a:pt x="4747" y="364"/>
                </a:lnTo>
                <a:lnTo>
                  <a:pt x="4744" y="367"/>
                </a:lnTo>
                <a:lnTo>
                  <a:pt x="4744" y="367"/>
                </a:lnTo>
                <a:lnTo>
                  <a:pt x="4743" y="367"/>
                </a:lnTo>
                <a:lnTo>
                  <a:pt x="4731" y="375"/>
                </a:lnTo>
                <a:lnTo>
                  <a:pt x="4730" y="375"/>
                </a:lnTo>
                <a:lnTo>
                  <a:pt x="4730" y="371"/>
                </a:lnTo>
                <a:lnTo>
                  <a:pt x="4731" y="371"/>
                </a:lnTo>
                <a:lnTo>
                  <a:pt x="4729" y="367"/>
                </a:lnTo>
                <a:lnTo>
                  <a:pt x="4723" y="367"/>
                </a:lnTo>
                <a:lnTo>
                  <a:pt x="4720" y="363"/>
                </a:lnTo>
                <a:lnTo>
                  <a:pt x="4716" y="359"/>
                </a:lnTo>
                <a:lnTo>
                  <a:pt x="4715" y="360"/>
                </a:lnTo>
                <a:lnTo>
                  <a:pt x="4714" y="361"/>
                </a:lnTo>
                <a:lnTo>
                  <a:pt x="4710" y="366"/>
                </a:lnTo>
                <a:lnTo>
                  <a:pt x="4704" y="365"/>
                </a:lnTo>
                <a:lnTo>
                  <a:pt x="4706" y="367"/>
                </a:lnTo>
                <a:lnTo>
                  <a:pt x="4709" y="369"/>
                </a:lnTo>
                <a:lnTo>
                  <a:pt x="4712" y="369"/>
                </a:lnTo>
                <a:lnTo>
                  <a:pt x="4728" y="369"/>
                </a:lnTo>
                <a:lnTo>
                  <a:pt x="4727" y="375"/>
                </a:lnTo>
                <a:lnTo>
                  <a:pt x="4721" y="376"/>
                </a:lnTo>
                <a:lnTo>
                  <a:pt x="4719" y="375"/>
                </a:lnTo>
                <a:lnTo>
                  <a:pt x="4716" y="374"/>
                </a:lnTo>
                <a:lnTo>
                  <a:pt x="4720" y="377"/>
                </a:lnTo>
                <a:lnTo>
                  <a:pt x="4717" y="379"/>
                </a:lnTo>
                <a:lnTo>
                  <a:pt x="4714" y="380"/>
                </a:lnTo>
                <a:lnTo>
                  <a:pt x="4714" y="381"/>
                </a:lnTo>
                <a:lnTo>
                  <a:pt x="4720" y="383"/>
                </a:lnTo>
                <a:lnTo>
                  <a:pt x="4734" y="377"/>
                </a:lnTo>
                <a:lnTo>
                  <a:pt x="4742" y="370"/>
                </a:lnTo>
                <a:lnTo>
                  <a:pt x="4750" y="363"/>
                </a:lnTo>
                <a:lnTo>
                  <a:pt x="4777" y="366"/>
                </a:lnTo>
                <a:lnTo>
                  <a:pt x="4782" y="368"/>
                </a:lnTo>
                <a:lnTo>
                  <a:pt x="4786" y="370"/>
                </a:lnTo>
                <a:lnTo>
                  <a:pt x="4788" y="373"/>
                </a:lnTo>
                <a:lnTo>
                  <a:pt x="4791" y="376"/>
                </a:lnTo>
                <a:lnTo>
                  <a:pt x="4788" y="378"/>
                </a:lnTo>
                <a:lnTo>
                  <a:pt x="4786" y="380"/>
                </a:lnTo>
                <a:lnTo>
                  <a:pt x="4784" y="377"/>
                </a:lnTo>
                <a:lnTo>
                  <a:pt x="4781" y="374"/>
                </a:lnTo>
                <a:lnTo>
                  <a:pt x="4778" y="379"/>
                </a:lnTo>
                <a:lnTo>
                  <a:pt x="4779" y="379"/>
                </a:lnTo>
                <a:lnTo>
                  <a:pt x="4779" y="380"/>
                </a:lnTo>
                <a:lnTo>
                  <a:pt x="4774" y="377"/>
                </a:lnTo>
                <a:lnTo>
                  <a:pt x="4775" y="379"/>
                </a:lnTo>
                <a:lnTo>
                  <a:pt x="4777" y="380"/>
                </a:lnTo>
                <a:lnTo>
                  <a:pt x="4775" y="381"/>
                </a:lnTo>
                <a:lnTo>
                  <a:pt x="4774" y="382"/>
                </a:lnTo>
                <a:lnTo>
                  <a:pt x="4783" y="384"/>
                </a:lnTo>
                <a:lnTo>
                  <a:pt x="4792" y="387"/>
                </a:lnTo>
                <a:lnTo>
                  <a:pt x="4792" y="387"/>
                </a:lnTo>
                <a:lnTo>
                  <a:pt x="4789" y="387"/>
                </a:lnTo>
                <a:lnTo>
                  <a:pt x="4788" y="387"/>
                </a:lnTo>
                <a:lnTo>
                  <a:pt x="4788" y="388"/>
                </a:lnTo>
                <a:lnTo>
                  <a:pt x="4794" y="387"/>
                </a:lnTo>
                <a:lnTo>
                  <a:pt x="4800" y="386"/>
                </a:lnTo>
                <a:lnTo>
                  <a:pt x="4799" y="387"/>
                </a:lnTo>
                <a:lnTo>
                  <a:pt x="4799" y="387"/>
                </a:lnTo>
                <a:lnTo>
                  <a:pt x="4799" y="387"/>
                </a:lnTo>
                <a:lnTo>
                  <a:pt x="4797" y="390"/>
                </a:lnTo>
                <a:lnTo>
                  <a:pt x="4799" y="388"/>
                </a:lnTo>
                <a:lnTo>
                  <a:pt x="4799" y="389"/>
                </a:lnTo>
                <a:lnTo>
                  <a:pt x="4799" y="391"/>
                </a:lnTo>
                <a:lnTo>
                  <a:pt x="4799" y="393"/>
                </a:lnTo>
                <a:lnTo>
                  <a:pt x="4802" y="391"/>
                </a:lnTo>
                <a:lnTo>
                  <a:pt x="4806" y="389"/>
                </a:lnTo>
                <a:lnTo>
                  <a:pt x="4808" y="391"/>
                </a:lnTo>
                <a:lnTo>
                  <a:pt x="4811" y="392"/>
                </a:lnTo>
                <a:lnTo>
                  <a:pt x="4816" y="397"/>
                </a:lnTo>
                <a:lnTo>
                  <a:pt x="4821" y="403"/>
                </a:lnTo>
                <a:lnTo>
                  <a:pt x="4815" y="403"/>
                </a:lnTo>
                <a:lnTo>
                  <a:pt x="4821" y="405"/>
                </a:lnTo>
                <a:lnTo>
                  <a:pt x="4828" y="407"/>
                </a:lnTo>
                <a:lnTo>
                  <a:pt x="4843" y="407"/>
                </a:lnTo>
                <a:lnTo>
                  <a:pt x="4860" y="402"/>
                </a:lnTo>
                <a:lnTo>
                  <a:pt x="4876" y="397"/>
                </a:lnTo>
                <a:lnTo>
                  <a:pt x="4891" y="398"/>
                </a:lnTo>
                <a:lnTo>
                  <a:pt x="4906" y="399"/>
                </a:lnTo>
                <a:lnTo>
                  <a:pt x="4913" y="402"/>
                </a:lnTo>
                <a:lnTo>
                  <a:pt x="4921" y="404"/>
                </a:lnTo>
                <a:lnTo>
                  <a:pt x="4926" y="406"/>
                </a:lnTo>
                <a:lnTo>
                  <a:pt x="4931" y="409"/>
                </a:lnTo>
                <a:lnTo>
                  <a:pt x="4935" y="415"/>
                </a:lnTo>
                <a:lnTo>
                  <a:pt x="4935" y="420"/>
                </a:lnTo>
                <a:lnTo>
                  <a:pt x="4933" y="427"/>
                </a:lnTo>
                <a:lnTo>
                  <a:pt x="4931" y="427"/>
                </a:lnTo>
                <a:lnTo>
                  <a:pt x="4931" y="428"/>
                </a:lnTo>
                <a:lnTo>
                  <a:pt x="4931" y="431"/>
                </a:lnTo>
                <a:lnTo>
                  <a:pt x="4931" y="432"/>
                </a:lnTo>
                <a:lnTo>
                  <a:pt x="4950" y="438"/>
                </a:lnTo>
                <a:lnTo>
                  <a:pt x="4949" y="440"/>
                </a:lnTo>
                <a:lnTo>
                  <a:pt x="4948" y="442"/>
                </a:lnTo>
                <a:lnTo>
                  <a:pt x="4949" y="445"/>
                </a:lnTo>
                <a:lnTo>
                  <a:pt x="4951" y="449"/>
                </a:lnTo>
                <a:lnTo>
                  <a:pt x="4955" y="449"/>
                </a:lnTo>
                <a:lnTo>
                  <a:pt x="4955" y="443"/>
                </a:lnTo>
                <a:lnTo>
                  <a:pt x="4958" y="442"/>
                </a:lnTo>
                <a:lnTo>
                  <a:pt x="4959" y="442"/>
                </a:lnTo>
                <a:lnTo>
                  <a:pt x="4959" y="442"/>
                </a:lnTo>
                <a:lnTo>
                  <a:pt x="4970" y="437"/>
                </a:lnTo>
                <a:lnTo>
                  <a:pt x="4978" y="436"/>
                </a:lnTo>
                <a:lnTo>
                  <a:pt x="4987" y="435"/>
                </a:lnTo>
                <a:lnTo>
                  <a:pt x="4993" y="433"/>
                </a:lnTo>
                <a:lnTo>
                  <a:pt x="5001" y="437"/>
                </a:lnTo>
                <a:lnTo>
                  <a:pt x="5018" y="439"/>
                </a:lnTo>
                <a:lnTo>
                  <a:pt x="5034" y="441"/>
                </a:lnTo>
                <a:lnTo>
                  <a:pt x="5048" y="433"/>
                </a:lnTo>
                <a:lnTo>
                  <a:pt x="5056" y="438"/>
                </a:lnTo>
                <a:lnTo>
                  <a:pt x="5054" y="443"/>
                </a:lnTo>
                <a:lnTo>
                  <a:pt x="5056" y="447"/>
                </a:lnTo>
                <a:lnTo>
                  <a:pt x="5071" y="452"/>
                </a:lnTo>
                <a:lnTo>
                  <a:pt x="5073" y="458"/>
                </a:lnTo>
                <a:lnTo>
                  <a:pt x="5075" y="460"/>
                </a:lnTo>
                <a:lnTo>
                  <a:pt x="5080" y="459"/>
                </a:lnTo>
                <a:lnTo>
                  <a:pt x="5085" y="458"/>
                </a:lnTo>
                <a:lnTo>
                  <a:pt x="5088" y="457"/>
                </a:lnTo>
                <a:lnTo>
                  <a:pt x="5088" y="454"/>
                </a:lnTo>
                <a:lnTo>
                  <a:pt x="5095" y="452"/>
                </a:lnTo>
                <a:lnTo>
                  <a:pt x="5095" y="449"/>
                </a:lnTo>
                <a:lnTo>
                  <a:pt x="5093" y="445"/>
                </a:lnTo>
                <a:lnTo>
                  <a:pt x="5090" y="438"/>
                </a:lnTo>
                <a:lnTo>
                  <a:pt x="5086" y="438"/>
                </a:lnTo>
                <a:lnTo>
                  <a:pt x="5083" y="438"/>
                </a:lnTo>
                <a:lnTo>
                  <a:pt x="5085" y="435"/>
                </a:lnTo>
                <a:lnTo>
                  <a:pt x="5088" y="435"/>
                </a:lnTo>
                <a:lnTo>
                  <a:pt x="5088" y="427"/>
                </a:lnTo>
                <a:lnTo>
                  <a:pt x="5089" y="427"/>
                </a:lnTo>
                <a:lnTo>
                  <a:pt x="5119" y="431"/>
                </a:lnTo>
                <a:lnTo>
                  <a:pt x="5126" y="431"/>
                </a:lnTo>
                <a:lnTo>
                  <a:pt x="5126" y="431"/>
                </a:lnTo>
                <a:lnTo>
                  <a:pt x="5131" y="431"/>
                </a:lnTo>
                <a:lnTo>
                  <a:pt x="5137" y="432"/>
                </a:lnTo>
                <a:lnTo>
                  <a:pt x="5153" y="431"/>
                </a:lnTo>
                <a:lnTo>
                  <a:pt x="5169" y="431"/>
                </a:lnTo>
                <a:lnTo>
                  <a:pt x="5173" y="433"/>
                </a:lnTo>
                <a:lnTo>
                  <a:pt x="5178" y="435"/>
                </a:lnTo>
                <a:lnTo>
                  <a:pt x="5193" y="439"/>
                </a:lnTo>
                <a:lnTo>
                  <a:pt x="5208" y="443"/>
                </a:lnTo>
                <a:lnTo>
                  <a:pt x="5206" y="444"/>
                </a:lnTo>
                <a:lnTo>
                  <a:pt x="5205" y="445"/>
                </a:lnTo>
                <a:lnTo>
                  <a:pt x="5215" y="447"/>
                </a:lnTo>
                <a:lnTo>
                  <a:pt x="5224" y="453"/>
                </a:lnTo>
                <a:lnTo>
                  <a:pt x="5218" y="450"/>
                </a:lnTo>
                <a:lnTo>
                  <a:pt x="5222" y="455"/>
                </a:lnTo>
                <a:lnTo>
                  <a:pt x="5224" y="455"/>
                </a:lnTo>
                <a:lnTo>
                  <a:pt x="5226" y="456"/>
                </a:lnTo>
                <a:lnTo>
                  <a:pt x="5229" y="458"/>
                </a:lnTo>
                <a:lnTo>
                  <a:pt x="5230" y="455"/>
                </a:lnTo>
                <a:lnTo>
                  <a:pt x="5231" y="457"/>
                </a:lnTo>
                <a:lnTo>
                  <a:pt x="5231" y="458"/>
                </a:lnTo>
                <a:lnTo>
                  <a:pt x="5234" y="459"/>
                </a:lnTo>
                <a:lnTo>
                  <a:pt x="5238" y="460"/>
                </a:lnTo>
                <a:lnTo>
                  <a:pt x="5246" y="465"/>
                </a:lnTo>
                <a:lnTo>
                  <a:pt x="5240" y="464"/>
                </a:lnTo>
                <a:lnTo>
                  <a:pt x="5240" y="465"/>
                </a:lnTo>
                <a:lnTo>
                  <a:pt x="5246" y="467"/>
                </a:lnTo>
                <a:lnTo>
                  <a:pt x="5251" y="470"/>
                </a:lnTo>
                <a:lnTo>
                  <a:pt x="5253" y="472"/>
                </a:lnTo>
                <a:lnTo>
                  <a:pt x="5254" y="475"/>
                </a:lnTo>
                <a:lnTo>
                  <a:pt x="5257" y="475"/>
                </a:lnTo>
                <a:lnTo>
                  <a:pt x="5258" y="475"/>
                </a:lnTo>
                <a:lnTo>
                  <a:pt x="5263" y="475"/>
                </a:lnTo>
                <a:lnTo>
                  <a:pt x="5265" y="478"/>
                </a:lnTo>
                <a:lnTo>
                  <a:pt x="5290" y="488"/>
                </a:lnTo>
                <a:lnTo>
                  <a:pt x="5293" y="494"/>
                </a:lnTo>
                <a:lnTo>
                  <a:pt x="5291" y="499"/>
                </a:lnTo>
                <a:lnTo>
                  <a:pt x="5295" y="499"/>
                </a:lnTo>
                <a:lnTo>
                  <a:pt x="5296" y="495"/>
                </a:lnTo>
                <a:lnTo>
                  <a:pt x="5297" y="495"/>
                </a:lnTo>
                <a:lnTo>
                  <a:pt x="5297" y="499"/>
                </a:lnTo>
                <a:lnTo>
                  <a:pt x="5299" y="499"/>
                </a:lnTo>
                <a:lnTo>
                  <a:pt x="5297" y="501"/>
                </a:lnTo>
                <a:lnTo>
                  <a:pt x="5296" y="503"/>
                </a:lnTo>
                <a:lnTo>
                  <a:pt x="5299" y="510"/>
                </a:lnTo>
                <a:lnTo>
                  <a:pt x="5295" y="511"/>
                </a:lnTo>
                <a:lnTo>
                  <a:pt x="5301" y="515"/>
                </a:lnTo>
                <a:lnTo>
                  <a:pt x="5301" y="522"/>
                </a:lnTo>
                <a:lnTo>
                  <a:pt x="5308" y="518"/>
                </a:lnTo>
                <a:lnTo>
                  <a:pt x="5310" y="517"/>
                </a:lnTo>
                <a:lnTo>
                  <a:pt x="5309" y="516"/>
                </a:lnTo>
                <a:lnTo>
                  <a:pt x="5307" y="515"/>
                </a:lnTo>
                <a:lnTo>
                  <a:pt x="5310" y="511"/>
                </a:lnTo>
                <a:lnTo>
                  <a:pt x="5310" y="509"/>
                </a:lnTo>
                <a:lnTo>
                  <a:pt x="5309" y="506"/>
                </a:lnTo>
                <a:lnTo>
                  <a:pt x="5302" y="503"/>
                </a:lnTo>
                <a:lnTo>
                  <a:pt x="5315" y="500"/>
                </a:lnTo>
                <a:lnTo>
                  <a:pt x="5319" y="501"/>
                </a:lnTo>
                <a:lnTo>
                  <a:pt x="5323" y="503"/>
                </a:lnTo>
                <a:lnTo>
                  <a:pt x="5320" y="504"/>
                </a:lnTo>
                <a:lnTo>
                  <a:pt x="5317" y="506"/>
                </a:lnTo>
                <a:lnTo>
                  <a:pt x="5317" y="511"/>
                </a:lnTo>
                <a:lnTo>
                  <a:pt x="5324" y="511"/>
                </a:lnTo>
                <a:lnTo>
                  <a:pt x="5322" y="506"/>
                </a:lnTo>
                <a:lnTo>
                  <a:pt x="5324" y="504"/>
                </a:lnTo>
                <a:lnTo>
                  <a:pt x="5326" y="506"/>
                </a:lnTo>
                <a:lnTo>
                  <a:pt x="5329" y="508"/>
                </a:lnTo>
                <a:lnTo>
                  <a:pt x="5331" y="507"/>
                </a:lnTo>
                <a:lnTo>
                  <a:pt x="5333" y="506"/>
                </a:lnTo>
                <a:lnTo>
                  <a:pt x="5326" y="503"/>
                </a:lnTo>
                <a:lnTo>
                  <a:pt x="5333" y="504"/>
                </a:lnTo>
                <a:lnTo>
                  <a:pt x="5341" y="506"/>
                </a:lnTo>
                <a:lnTo>
                  <a:pt x="5341" y="510"/>
                </a:lnTo>
                <a:lnTo>
                  <a:pt x="5345" y="510"/>
                </a:lnTo>
                <a:lnTo>
                  <a:pt x="5345" y="514"/>
                </a:lnTo>
                <a:lnTo>
                  <a:pt x="5360" y="522"/>
                </a:lnTo>
                <a:lnTo>
                  <a:pt x="5360" y="523"/>
                </a:lnTo>
                <a:lnTo>
                  <a:pt x="5363" y="522"/>
                </a:lnTo>
                <a:lnTo>
                  <a:pt x="5367" y="524"/>
                </a:lnTo>
                <a:lnTo>
                  <a:pt x="5366" y="527"/>
                </a:lnTo>
                <a:lnTo>
                  <a:pt x="5371" y="527"/>
                </a:lnTo>
                <a:lnTo>
                  <a:pt x="5373" y="529"/>
                </a:lnTo>
                <a:close/>
                <a:moveTo>
                  <a:pt x="4734" y="369"/>
                </a:moveTo>
                <a:lnTo>
                  <a:pt x="4731" y="372"/>
                </a:lnTo>
                <a:lnTo>
                  <a:pt x="4734" y="371"/>
                </a:lnTo>
                <a:lnTo>
                  <a:pt x="4736" y="370"/>
                </a:lnTo>
                <a:lnTo>
                  <a:pt x="4735" y="369"/>
                </a:lnTo>
                <a:lnTo>
                  <a:pt x="4734" y="369"/>
                </a:lnTo>
                <a:close/>
                <a:moveTo>
                  <a:pt x="4728" y="367"/>
                </a:moveTo>
                <a:lnTo>
                  <a:pt x="4729" y="367"/>
                </a:lnTo>
                <a:lnTo>
                  <a:pt x="4729" y="367"/>
                </a:lnTo>
                <a:lnTo>
                  <a:pt x="4729" y="366"/>
                </a:lnTo>
                <a:lnTo>
                  <a:pt x="4728" y="366"/>
                </a:lnTo>
                <a:lnTo>
                  <a:pt x="4728" y="367"/>
                </a:lnTo>
                <a:lnTo>
                  <a:pt x="4728" y="367"/>
                </a:lnTo>
                <a:close/>
                <a:moveTo>
                  <a:pt x="4445" y="347"/>
                </a:moveTo>
                <a:lnTo>
                  <a:pt x="4447" y="349"/>
                </a:lnTo>
                <a:lnTo>
                  <a:pt x="4445" y="358"/>
                </a:lnTo>
                <a:lnTo>
                  <a:pt x="4447" y="352"/>
                </a:lnTo>
                <a:lnTo>
                  <a:pt x="4448" y="349"/>
                </a:lnTo>
                <a:lnTo>
                  <a:pt x="4447" y="346"/>
                </a:lnTo>
                <a:lnTo>
                  <a:pt x="4450" y="343"/>
                </a:lnTo>
                <a:lnTo>
                  <a:pt x="4451" y="341"/>
                </a:lnTo>
                <a:lnTo>
                  <a:pt x="4445" y="347"/>
                </a:lnTo>
                <a:close/>
                <a:moveTo>
                  <a:pt x="4242" y="260"/>
                </a:moveTo>
                <a:lnTo>
                  <a:pt x="4249" y="264"/>
                </a:lnTo>
                <a:lnTo>
                  <a:pt x="4249" y="269"/>
                </a:lnTo>
                <a:lnTo>
                  <a:pt x="4254" y="267"/>
                </a:lnTo>
                <a:lnTo>
                  <a:pt x="4257" y="266"/>
                </a:lnTo>
                <a:lnTo>
                  <a:pt x="4257" y="269"/>
                </a:lnTo>
                <a:lnTo>
                  <a:pt x="4260" y="269"/>
                </a:lnTo>
                <a:lnTo>
                  <a:pt x="4260" y="269"/>
                </a:lnTo>
                <a:lnTo>
                  <a:pt x="4261" y="268"/>
                </a:lnTo>
                <a:lnTo>
                  <a:pt x="4262" y="265"/>
                </a:lnTo>
                <a:lnTo>
                  <a:pt x="4242" y="260"/>
                </a:lnTo>
                <a:close/>
                <a:moveTo>
                  <a:pt x="3870" y="302"/>
                </a:moveTo>
                <a:lnTo>
                  <a:pt x="3871" y="302"/>
                </a:lnTo>
                <a:lnTo>
                  <a:pt x="3870" y="302"/>
                </a:lnTo>
                <a:lnTo>
                  <a:pt x="3870" y="302"/>
                </a:lnTo>
                <a:close/>
                <a:moveTo>
                  <a:pt x="3876" y="305"/>
                </a:moveTo>
                <a:lnTo>
                  <a:pt x="3874" y="304"/>
                </a:lnTo>
                <a:lnTo>
                  <a:pt x="3871" y="307"/>
                </a:lnTo>
                <a:lnTo>
                  <a:pt x="3876" y="305"/>
                </a:lnTo>
                <a:close/>
                <a:moveTo>
                  <a:pt x="3739" y="366"/>
                </a:moveTo>
                <a:lnTo>
                  <a:pt x="3738" y="366"/>
                </a:lnTo>
                <a:lnTo>
                  <a:pt x="3738" y="366"/>
                </a:lnTo>
                <a:lnTo>
                  <a:pt x="3739" y="366"/>
                </a:lnTo>
                <a:close/>
                <a:moveTo>
                  <a:pt x="3742" y="367"/>
                </a:moveTo>
                <a:lnTo>
                  <a:pt x="3739" y="367"/>
                </a:lnTo>
                <a:lnTo>
                  <a:pt x="3741" y="369"/>
                </a:lnTo>
                <a:lnTo>
                  <a:pt x="3742" y="367"/>
                </a:lnTo>
                <a:close/>
                <a:moveTo>
                  <a:pt x="3753" y="397"/>
                </a:moveTo>
                <a:lnTo>
                  <a:pt x="3749" y="397"/>
                </a:lnTo>
                <a:lnTo>
                  <a:pt x="3751" y="398"/>
                </a:lnTo>
                <a:lnTo>
                  <a:pt x="3752" y="399"/>
                </a:lnTo>
                <a:lnTo>
                  <a:pt x="3753" y="398"/>
                </a:lnTo>
                <a:lnTo>
                  <a:pt x="3753" y="397"/>
                </a:lnTo>
                <a:close/>
                <a:moveTo>
                  <a:pt x="2850" y="479"/>
                </a:moveTo>
                <a:lnTo>
                  <a:pt x="2850" y="478"/>
                </a:lnTo>
                <a:lnTo>
                  <a:pt x="2847" y="478"/>
                </a:lnTo>
                <a:lnTo>
                  <a:pt x="2850" y="479"/>
                </a:lnTo>
                <a:close/>
                <a:moveTo>
                  <a:pt x="2776" y="567"/>
                </a:moveTo>
                <a:lnTo>
                  <a:pt x="2774" y="567"/>
                </a:lnTo>
                <a:lnTo>
                  <a:pt x="2774" y="569"/>
                </a:lnTo>
                <a:lnTo>
                  <a:pt x="2776" y="567"/>
                </a:lnTo>
                <a:close/>
                <a:moveTo>
                  <a:pt x="2686" y="631"/>
                </a:moveTo>
                <a:lnTo>
                  <a:pt x="2686" y="631"/>
                </a:lnTo>
                <a:lnTo>
                  <a:pt x="2686" y="631"/>
                </a:lnTo>
                <a:lnTo>
                  <a:pt x="2686" y="631"/>
                </a:lnTo>
                <a:close/>
                <a:moveTo>
                  <a:pt x="2693" y="664"/>
                </a:moveTo>
                <a:lnTo>
                  <a:pt x="2692" y="664"/>
                </a:lnTo>
                <a:lnTo>
                  <a:pt x="2693" y="665"/>
                </a:lnTo>
                <a:lnTo>
                  <a:pt x="2693" y="664"/>
                </a:lnTo>
                <a:close/>
                <a:moveTo>
                  <a:pt x="2712" y="619"/>
                </a:moveTo>
                <a:lnTo>
                  <a:pt x="2713" y="621"/>
                </a:lnTo>
                <a:lnTo>
                  <a:pt x="2718" y="621"/>
                </a:lnTo>
                <a:lnTo>
                  <a:pt x="2712" y="619"/>
                </a:lnTo>
                <a:close/>
                <a:moveTo>
                  <a:pt x="2701" y="632"/>
                </a:moveTo>
                <a:lnTo>
                  <a:pt x="2705" y="633"/>
                </a:lnTo>
                <a:lnTo>
                  <a:pt x="2709" y="632"/>
                </a:lnTo>
                <a:lnTo>
                  <a:pt x="2701" y="632"/>
                </a:lnTo>
                <a:close/>
                <a:moveTo>
                  <a:pt x="2699" y="685"/>
                </a:moveTo>
                <a:lnTo>
                  <a:pt x="2698" y="685"/>
                </a:lnTo>
                <a:lnTo>
                  <a:pt x="2698" y="686"/>
                </a:lnTo>
                <a:lnTo>
                  <a:pt x="2699" y="685"/>
                </a:lnTo>
                <a:close/>
                <a:moveTo>
                  <a:pt x="2700" y="668"/>
                </a:moveTo>
                <a:lnTo>
                  <a:pt x="2698" y="668"/>
                </a:lnTo>
                <a:lnTo>
                  <a:pt x="2695" y="675"/>
                </a:lnTo>
                <a:lnTo>
                  <a:pt x="2698" y="675"/>
                </a:lnTo>
                <a:lnTo>
                  <a:pt x="2700" y="668"/>
                </a:lnTo>
                <a:close/>
                <a:moveTo>
                  <a:pt x="2705" y="684"/>
                </a:moveTo>
                <a:lnTo>
                  <a:pt x="2701" y="684"/>
                </a:lnTo>
                <a:lnTo>
                  <a:pt x="2700" y="686"/>
                </a:lnTo>
                <a:lnTo>
                  <a:pt x="2701" y="686"/>
                </a:lnTo>
                <a:lnTo>
                  <a:pt x="2705" y="684"/>
                </a:lnTo>
                <a:close/>
                <a:moveTo>
                  <a:pt x="2716" y="664"/>
                </a:moveTo>
                <a:lnTo>
                  <a:pt x="2712" y="664"/>
                </a:lnTo>
                <a:lnTo>
                  <a:pt x="2713" y="661"/>
                </a:lnTo>
                <a:lnTo>
                  <a:pt x="2709" y="662"/>
                </a:lnTo>
                <a:lnTo>
                  <a:pt x="2701" y="664"/>
                </a:lnTo>
                <a:lnTo>
                  <a:pt x="2701" y="666"/>
                </a:lnTo>
                <a:lnTo>
                  <a:pt x="2706" y="665"/>
                </a:lnTo>
                <a:lnTo>
                  <a:pt x="2716" y="664"/>
                </a:lnTo>
                <a:close/>
                <a:moveTo>
                  <a:pt x="2720" y="646"/>
                </a:moveTo>
                <a:lnTo>
                  <a:pt x="2717" y="643"/>
                </a:lnTo>
                <a:lnTo>
                  <a:pt x="2718" y="646"/>
                </a:lnTo>
                <a:lnTo>
                  <a:pt x="2712" y="647"/>
                </a:lnTo>
                <a:lnTo>
                  <a:pt x="2707" y="644"/>
                </a:lnTo>
                <a:lnTo>
                  <a:pt x="2704" y="647"/>
                </a:lnTo>
                <a:lnTo>
                  <a:pt x="2694" y="646"/>
                </a:lnTo>
                <a:lnTo>
                  <a:pt x="2691" y="648"/>
                </a:lnTo>
                <a:lnTo>
                  <a:pt x="2698" y="647"/>
                </a:lnTo>
                <a:lnTo>
                  <a:pt x="2704" y="649"/>
                </a:lnTo>
                <a:lnTo>
                  <a:pt x="2710" y="647"/>
                </a:lnTo>
                <a:lnTo>
                  <a:pt x="2715" y="651"/>
                </a:lnTo>
                <a:lnTo>
                  <a:pt x="2715" y="650"/>
                </a:lnTo>
                <a:lnTo>
                  <a:pt x="2713" y="647"/>
                </a:lnTo>
                <a:lnTo>
                  <a:pt x="2720" y="646"/>
                </a:lnTo>
                <a:close/>
                <a:moveTo>
                  <a:pt x="2729" y="613"/>
                </a:moveTo>
                <a:lnTo>
                  <a:pt x="2728" y="612"/>
                </a:lnTo>
                <a:lnTo>
                  <a:pt x="2728" y="612"/>
                </a:lnTo>
                <a:lnTo>
                  <a:pt x="2729" y="613"/>
                </a:lnTo>
                <a:close/>
                <a:moveTo>
                  <a:pt x="2736" y="609"/>
                </a:moveTo>
                <a:lnTo>
                  <a:pt x="2735" y="608"/>
                </a:lnTo>
                <a:lnTo>
                  <a:pt x="2734" y="608"/>
                </a:lnTo>
                <a:lnTo>
                  <a:pt x="2735" y="608"/>
                </a:lnTo>
                <a:lnTo>
                  <a:pt x="2729" y="608"/>
                </a:lnTo>
                <a:lnTo>
                  <a:pt x="2735" y="611"/>
                </a:lnTo>
                <a:lnTo>
                  <a:pt x="2735" y="609"/>
                </a:lnTo>
                <a:lnTo>
                  <a:pt x="2736" y="609"/>
                </a:lnTo>
                <a:close/>
                <a:moveTo>
                  <a:pt x="2759" y="595"/>
                </a:moveTo>
                <a:lnTo>
                  <a:pt x="2756" y="593"/>
                </a:lnTo>
                <a:lnTo>
                  <a:pt x="2759" y="596"/>
                </a:lnTo>
                <a:lnTo>
                  <a:pt x="2759" y="595"/>
                </a:lnTo>
                <a:close/>
                <a:moveTo>
                  <a:pt x="2761" y="678"/>
                </a:moveTo>
                <a:lnTo>
                  <a:pt x="2760" y="678"/>
                </a:lnTo>
                <a:lnTo>
                  <a:pt x="2762" y="681"/>
                </a:lnTo>
                <a:lnTo>
                  <a:pt x="2761" y="678"/>
                </a:lnTo>
                <a:close/>
                <a:moveTo>
                  <a:pt x="2799" y="547"/>
                </a:moveTo>
                <a:lnTo>
                  <a:pt x="2792" y="551"/>
                </a:lnTo>
                <a:lnTo>
                  <a:pt x="2790" y="551"/>
                </a:lnTo>
                <a:lnTo>
                  <a:pt x="2789" y="551"/>
                </a:lnTo>
                <a:lnTo>
                  <a:pt x="2790" y="552"/>
                </a:lnTo>
                <a:lnTo>
                  <a:pt x="2795" y="550"/>
                </a:lnTo>
                <a:lnTo>
                  <a:pt x="2799" y="547"/>
                </a:lnTo>
                <a:close/>
                <a:moveTo>
                  <a:pt x="2802" y="534"/>
                </a:moveTo>
                <a:lnTo>
                  <a:pt x="2801" y="531"/>
                </a:lnTo>
                <a:lnTo>
                  <a:pt x="2801" y="531"/>
                </a:lnTo>
                <a:lnTo>
                  <a:pt x="2799" y="531"/>
                </a:lnTo>
                <a:lnTo>
                  <a:pt x="2802" y="534"/>
                </a:lnTo>
                <a:close/>
                <a:moveTo>
                  <a:pt x="2818" y="522"/>
                </a:moveTo>
                <a:lnTo>
                  <a:pt x="2807" y="524"/>
                </a:lnTo>
                <a:lnTo>
                  <a:pt x="2807" y="527"/>
                </a:lnTo>
                <a:lnTo>
                  <a:pt x="2809" y="524"/>
                </a:lnTo>
                <a:lnTo>
                  <a:pt x="2818" y="522"/>
                </a:lnTo>
                <a:close/>
                <a:moveTo>
                  <a:pt x="2827" y="500"/>
                </a:moveTo>
                <a:lnTo>
                  <a:pt x="2827" y="500"/>
                </a:lnTo>
                <a:lnTo>
                  <a:pt x="2827" y="503"/>
                </a:lnTo>
                <a:lnTo>
                  <a:pt x="2827" y="500"/>
                </a:lnTo>
                <a:lnTo>
                  <a:pt x="2827" y="500"/>
                </a:lnTo>
                <a:close/>
                <a:moveTo>
                  <a:pt x="2837" y="503"/>
                </a:moveTo>
                <a:lnTo>
                  <a:pt x="2835" y="499"/>
                </a:lnTo>
                <a:lnTo>
                  <a:pt x="2830" y="499"/>
                </a:lnTo>
                <a:lnTo>
                  <a:pt x="2832" y="498"/>
                </a:lnTo>
                <a:lnTo>
                  <a:pt x="2824" y="499"/>
                </a:lnTo>
                <a:lnTo>
                  <a:pt x="2827" y="499"/>
                </a:lnTo>
                <a:lnTo>
                  <a:pt x="2827" y="499"/>
                </a:lnTo>
                <a:lnTo>
                  <a:pt x="2827" y="499"/>
                </a:lnTo>
                <a:lnTo>
                  <a:pt x="2828" y="499"/>
                </a:lnTo>
                <a:lnTo>
                  <a:pt x="2828" y="499"/>
                </a:lnTo>
                <a:lnTo>
                  <a:pt x="2832" y="500"/>
                </a:lnTo>
                <a:lnTo>
                  <a:pt x="2837" y="503"/>
                </a:lnTo>
                <a:close/>
                <a:moveTo>
                  <a:pt x="2839" y="499"/>
                </a:moveTo>
                <a:lnTo>
                  <a:pt x="2837" y="495"/>
                </a:lnTo>
                <a:lnTo>
                  <a:pt x="2835" y="495"/>
                </a:lnTo>
                <a:lnTo>
                  <a:pt x="2838" y="499"/>
                </a:lnTo>
                <a:lnTo>
                  <a:pt x="2839" y="499"/>
                </a:lnTo>
                <a:close/>
                <a:moveTo>
                  <a:pt x="2869" y="677"/>
                </a:moveTo>
                <a:lnTo>
                  <a:pt x="2869" y="677"/>
                </a:lnTo>
                <a:lnTo>
                  <a:pt x="2869" y="679"/>
                </a:lnTo>
                <a:lnTo>
                  <a:pt x="2871" y="680"/>
                </a:lnTo>
                <a:lnTo>
                  <a:pt x="2871" y="679"/>
                </a:lnTo>
                <a:lnTo>
                  <a:pt x="2869" y="679"/>
                </a:lnTo>
                <a:lnTo>
                  <a:pt x="2871" y="677"/>
                </a:lnTo>
                <a:lnTo>
                  <a:pt x="2869" y="676"/>
                </a:lnTo>
                <a:lnTo>
                  <a:pt x="2869" y="677"/>
                </a:lnTo>
                <a:close/>
                <a:moveTo>
                  <a:pt x="2868" y="679"/>
                </a:moveTo>
                <a:lnTo>
                  <a:pt x="2869" y="681"/>
                </a:lnTo>
                <a:lnTo>
                  <a:pt x="2868" y="678"/>
                </a:lnTo>
                <a:lnTo>
                  <a:pt x="2868" y="679"/>
                </a:lnTo>
                <a:close/>
                <a:moveTo>
                  <a:pt x="2875" y="607"/>
                </a:moveTo>
                <a:lnTo>
                  <a:pt x="2872" y="603"/>
                </a:lnTo>
                <a:lnTo>
                  <a:pt x="2871" y="603"/>
                </a:lnTo>
                <a:lnTo>
                  <a:pt x="2875" y="607"/>
                </a:lnTo>
                <a:close/>
                <a:moveTo>
                  <a:pt x="2891" y="446"/>
                </a:moveTo>
                <a:lnTo>
                  <a:pt x="2889" y="447"/>
                </a:lnTo>
                <a:lnTo>
                  <a:pt x="2891" y="447"/>
                </a:lnTo>
                <a:lnTo>
                  <a:pt x="2891" y="446"/>
                </a:lnTo>
                <a:close/>
                <a:moveTo>
                  <a:pt x="2891" y="445"/>
                </a:moveTo>
                <a:lnTo>
                  <a:pt x="2891" y="445"/>
                </a:lnTo>
                <a:lnTo>
                  <a:pt x="2891" y="445"/>
                </a:lnTo>
                <a:lnTo>
                  <a:pt x="2891" y="445"/>
                </a:lnTo>
                <a:close/>
                <a:moveTo>
                  <a:pt x="2925" y="546"/>
                </a:moveTo>
                <a:lnTo>
                  <a:pt x="2922" y="544"/>
                </a:lnTo>
                <a:lnTo>
                  <a:pt x="2925" y="547"/>
                </a:lnTo>
                <a:lnTo>
                  <a:pt x="2925" y="546"/>
                </a:lnTo>
                <a:close/>
                <a:moveTo>
                  <a:pt x="3001" y="660"/>
                </a:moveTo>
                <a:lnTo>
                  <a:pt x="3000" y="658"/>
                </a:lnTo>
                <a:lnTo>
                  <a:pt x="2998" y="662"/>
                </a:lnTo>
                <a:lnTo>
                  <a:pt x="3000" y="660"/>
                </a:lnTo>
                <a:lnTo>
                  <a:pt x="3001" y="660"/>
                </a:lnTo>
                <a:close/>
                <a:moveTo>
                  <a:pt x="3007" y="411"/>
                </a:moveTo>
                <a:lnTo>
                  <a:pt x="3006" y="410"/>
                </a:lnTo>
                <a:lnTo>
                  <a:pt x="3006" y="410"/>
                </a:lnTo>
                <a:lnTo>
                  <a:pt x="3007" y="411"/>
                </a:lnTo>
                <a:close/>
                <a:moveTo>
                  <a:pt x="3016" y="407"/>
                </a:moveTo>
                <a:lnTo>
                  <a:pt x="3018" y="407"/>
                </a:lnTo>
                <a:lnTo>
                  <a:pt x="3019" y="407"/>
                </a:lnTo>
                <a:lnTo>
                  <a:pt x="3016" y="407"/>
                </a:lnTo>
                <a:close/>
                <a:moveTo>
                  <a:pt x="3023" y="414"/>
                </a:moveTo>
                <a:lnTo>
                  <a:pt x="3022" y="415"/>
                </a:lnTo>
                <a:lnTo>
                  <a:pt x="3022" y="415"/>
                </a:lnTo>
                <a:lnTo>
                  <a:pt x="3023" y="414"/>
                </a:lnTo>
                <a:close/>
                <a:moveTo>
                  <a:pt x="3045" y="432"/>
                </a:moveTo>
                <a:lnTo>
                  <a:pt x="3043" y="433"/>
                </a:lnTo>
                <a:lnTo>
                  <a:pt x="3041" y="436"/>
                </a:lnTo>
                <a:lnTo>
                  <a:pt x="3043" y="435"/>
                </a:lnTo>
                <a:lnTo>
                  <a:pt x="3044" y="434"/>
                </a:lnTo>
                <a:lnTo>
                  <a:pt x="3045" y="432"/>
                </a:lnTo>
                <a:close/>
                <a:moveTo>
                  <a:pt x="3048" y="432"/>
                </a:moveTo>
                <a:lnTo>
                  <a:pt x="3046" y="434"/>
                </a:lnTo>
                <a:lnTo>
                  <a:pt x="3048" y="434"/>
                </a:lnTo>
                <a:lnTo>
                  <a:pt x="3048" y="433"/>
                </a:lnTo>
                <a:lnTo>
                  <a:pt x="3048" y="432"/>
                </a:lnTo>
                <a:close/>
                <a:moveTo>
                  <a:pt x="2764" y="754"/>
                </a:moveTo>
                <a:lnTo>
                  <a:pt x="2765" y="754"/>
                </a:lnTo>
                <a:lnTo>
                  <a:pt x="2765" y="753"/>
                </a:lnTo>
                <a:lnTo>
                  <a:pt x="2764" y="754"/>
                </a:lnTo>
                <a:close/>
                <a:moveTo>
                  <a:pt x="2749" y="745"/>
                </a:moveTo>
                <a:lnTo>
                  <a:pt x="2746" y="745"/>
                </a:lnTo>
                <a:lnTo>
                  <a:pt x="2745" y="747"/>
                </a:lnTo>
                <a:lnTo>
                  <a:pt x="2749" y="746"/>
                </a:lnTo>
                <a:lnTo>
                  <a:pt x="2749" y="747"/>
                </a:lnTo>
                <a:lnTo>
                  <a:pt x="2749" y="745"/>
                </a:lnTo>
                <a:close/>
                <a:moveTo>
                  <a:pt x="2393" y="1526"/>
                </a:moveTo>
                <a:lnTo>
                  <a:pt x="2390" y="1529"/>
                </a:lnTo>
                <a:lnTo>
                  <a:pt x="2390" y="1530"/>
                </a:lnTo>
                <a:lnTo>
                  <a:pt x="2393" y="1529"/>
                </a:lnTo>
                <a:lnTo>
                  <a:pt x="2393" y="1526"/>
                </a:lnTo>
                <a:close/>
                <a:moveTo>
                  <a:pt x="2412" y="1449"/>
                </a:moveTo>
                <a:lnTo>
                  <a:pt x="2411" y="1450"/>
                </a:lnTo>
                <a:lnTo>
                  <a:pt x="2411" y="1450"/>
                </a:lnTo>
                <a:lnTo>
                  <a:pt x="2412" y="1449"/>
                </a:lnTo>
                <a:close/>
                <a:moveTo>
                  <a:pt x="3355" y="1533"/>
                </a:moveTo>
                <a:lnTo>
                  <a:pt x="3356" y="1533"/>
                </a:lnTo>
                <a:lnTo>
                  <a:pt x="3356" y="1531"/>
                </a:lnTo>
                <a:lnTo>
                  <a:pt x="3355" y="1532"/>
                </a:lnTo>
                <a:lnTo>
                  <a:pt x="3355" y="1533"/>
                </a:lnTo>
                <a:close/>
                <a:moveTo>
                  <a:pt x="3233" y="1507"/>
                </a:moveTo>
                <a:lnTo>
                  <a:pt x="3235" y="1506"/>
                </a:lnTo>
                <a:lnTo>
                  <a:pt x="3235" y="1505"/>
                </a:lnTo>
                <a:lnTo>
                  <a:pt x="3233" y="1507"/>
                </a:lnTo>
                <a:lnTo>
                  <a:pt x="3233" y="1507"/>
                </a:lnTo>
                <a:close/>
                <a:moveTo>
                  <a:pt x="3003" y="1029"/>
                </a:moveTo>
                <a:lnTo>
                  <a:pt x="3006" y="1029"/>
                </a:lnTo>
                <a:lnTo>
                  <a:pt x="3007" y="1029"/>
                </a:lnTo>
                <a:lnTo>
                  <a:pt x="3007" y="1029"/>
                </a:lnTo>
                <a:lnTo>
                  <a:pt x="3011" y="1029"/>
                </a:lnTo>
                <a:lnTo>
                  <a:pt x="3007" y="1025"/>
                </a:lnTo>
                <a:lnTo>
                  <a:pt x="3004" y="1025"/>
                </a:lnTo>
                <a:lnTo>
                  <a:pt x="3004" y="1027"/>
                </a:lnTo>
                <a:lnTo>
                  <a:pt x="3003" y="1029"/>
                </a:lnTo>
                <a:close/>
                <a:moveTo>
                  <a:pt x="2997" y="1033"/>
                </a:moveTo>
                <a:lnTo>
                  <a:pt x="3000" y="1033"/>
                </a:lnTo>
                <a:lnTo>
                  <a:pt x="3002" y="1029"/>
                </a:lnTo>
                <a:lnTo>
                  <a:pt x="2999" y="1029"/>
                </a:lnTo>
                <a:lnTo>
                  <a:pt x="2997" y="1033"/>
                </a:lnTo>
                <a:close/>
                <a:moveTo>
                  <a:pt x="2948" y="1041"/>
                </a:moveTo>
                <a:lnTo>
                  <a:pt x="2955" y="1041"/>
                </a:lnTo>
                <a:lnTo>
                  <a:pt x="2964" y="1036"/>
                </a:lnTo>
                <a:lnTo>
                  <a:pt x="2977" y="1040"/>
                </a:lnTo>
                <a:lnTo>
                  <a:pt x="2988" y="1038"/>
                </a:lnTo>
                <a:lnTo>
                  <a:pt x="2988" y="1036"/>
                </a:lnTo>
                <a:lnTo>
                  <a:pt x="2977" y="1039"/>
                </a:lnTo>
                <a:lnTo>
                  <a:pt x="2965" y="1033"/>
                </a:lnTo>
                <a:lnTo>
                  <a:pt x="2961" y="1035"/>
                </a:lnTo>
                <a:lnTo>
                  <a:pt x="2956" y="1037"/>
                </a:lnTo>
                <a:lnTo>
                  <a:pt x="2948" y="1037"/>
                </a:lnTo>
                <a:lnTo>
                  <a:pt x="2948" y="1041"/>
                </a:lnTo>
                <a:close/>
                <a:moveTo>
                  <a:pt x="2911" y="1079"/>
                </a:moveTo>
                <a:lnTo>
                  <a:pt x="2911" y="1080"/>
                </a:lnTo>
                <a:lnTo>
                  <a:pt x="2911" y="1080"/>
                </a:lnTo>
                <a:lnTo>
                  <a:pt x="2915" y="1082"/>
                </a:lnTo>
                <a:lnTo>
                  <a:pt x="2915" y="1079"/>
                </a:lnTo>
                <a:lnTo>
                  <a:pt x="2911" y="1078"/>
                </a:lnTo>
                <a:lnTo>
                  <a:pt x="2911" y="1079"/>
                </a:lnTo>
                <a:close/>
                <a:moveTo>
                  <a:pt x="2894" y="793"/>
                </a:moveTo>
                <a:lnTo>
                  <a:pt x="2895" y="795"/>
                </a:lnTo>
                <a:lnTo>
                  <a:pt x="2901" y="793"/>
                </a:lnTo>
                <a:lnTo>
                  <a:pt x="2900" y="792"/>
                </a:lnTo>
                <a:lnTo>
                  <a:pt x="2894" y="793"/>
                </a:lnTo>
                <a:close/>
                <a:moveTo>
                  <a:pt x="2588" y="1161"/>
                </a:moveTo>
                <a:lnTo>
                  <a:pt x="2588" y="1158"/>
                </a:lnTo>
                <a:lnTo>
                  <a:pt x="2586" y="1159"/>
                </a:lnTo>
                <a:lnTo>
                  <a:pt x="2588" y="1164"/>
                </a:lnTo>
                <a:lnTo>
                  <a:pt x="2588" y="1161"/>
                </a:lnTo>
                <a:close/>
                <a:moveTo>
                  <a:pt x="2739" y="1119"/>
                </a:moveTo>
                <a:lnTo>
                  <a:pt x="2738" y="1117"/>
                </a:lnTo>
                <a:lnTo>
                  <a:pt x="2731" y="1121"/>
                </a:lnTo>
                <a:lnTo>
                  <a:pt x="2734" y="1122"/>
                </a:lnTo>
                <a:lnTo>
                  <a:pt x="2739" y="1119"/>
                </a:lnTo>
                <a:close/>
                <a:moveTo>
                  <a:pt x="3119" y="1241"/>
                </a:moveTo>
                <a:lnTo>
                  <a:pt x="3119" y="1241"/>
                </a:lnTo>
                <a:lnTo>
                  <a:pt x="3119" y="1241"/>
                </a:lnTo>
                <a:lnTo>
                  <a:pt x="3119" y="1241"/>
                </a:lnTo>
                <a:close/>
                <a:moveTo>
                  <a:pt x="3136" y="1134"/>
                </a:moveTo>
                <a:lnTo>
                  <a:pt x="3135" y="1134"/>
                </a:lnTo>
                <a:lnTo>
                  <a:pt x="3135" y="1134"/>
                </a:lnTo>
                <a:lnTo>
                  <a:pt x="3135" y="1134"/>
                </a:lnTo>
                <a:lnTo>
                  <a:pt x="3136" y="1134"/>
                </a:lnTo>
                <a:close/>
                <a:moveTo>
                  <a:pt x="3136" y="1120"/>
                </a:moveTo>
                <a:lnTo>
                  <a:pt x="3135" y="1117"/>
                </a:lnTo>
                <a:lnTo>
                  <a:pt x="3130" y="1121"/>
                </a:lnTo>
                <a:lnTo>
                  <a:pt x="3132" y="1123"/>
                </a:lnTo>
                <a:lnTo>
                  <a:pt x="3126" y="1125"/>
                </a:lnTo>
                <a:lnTo>
                  <a:pt x="3118" y="1120"/>
                </a:lnTo>
                <a:lnTo>
                  <a:pt x="3113" y="1125"/>
                </a:lnTo>
                <a:lnTo>
                  <a:pt x="3108" y="1130"/>
                </a:lnTo>
                <a:lnTo>
                  <a:pt x="3106" y="1128"/>
                </a:lnTo>
                <a:lnTo>
                  <a:pt x="3103" y="1132"/>
                </a:lnTo>
                <a:lnTo>
                  <a:pt x="3091" y="1133"/>
                </a:lnTo>
                <a:lnTo>
                  <a:pt x="3084" y="1132"/>
                </a:lnTo>
                <a:lnTo>
                  <a:pt x="3080" y="1126"/>
                </a:lnTo>
                <a:lnTo>
                  <a:pt x="3065" y="1122"/>
                </a:lnTo>
                <a:lnTo>
                  <a:pt x="3059" y="1122"/>
                </a:lnTo>
                <a:lnTo>
                  <a:pt x="3058" y="1125"/>
                </a:lnTo>
                <a:lnTo>
                  <a:pt x="3058" y="1128"/>
                </a:lnTo>
                <a:lnTo>
                  <a:pt x="3055" y="1132"/>
                </a:lnTo>
                <a:lnTo>
                  <a:pt x="3053" y="1128"/>
                </a:lnTo>
                <a:lnTo>
                  <a:pt x="3045" y="1132"/>
                </a:lnTo>
                <a:lnTo>
                  <a:pt x="3036" y="1128"/>
                </a:lnTo>
                <a:lnTo>
                  <a:pt x="3036" y="1126"/>
                </a:lnTo>
                <a:lnTo>
                  <a:pt x="3032" y="1126"/>
                </a:lnTo>
                <a:lnTo>
                  <a:pt x="3032" y="1123"/>
                </a:lnTo>
                <a:lnTo>
                  <a:pt x="3032" y="1122"/>
                </a:lnTo>
                <a:lnTo>
                  <a:pt x="3032" y="1122"/>
                </a:lnTo>
                <a:lnTo>
                  <a:pt x="3032" y="1122"/>
                </a:lnTo>
                <a:lnTo>
                  <a:pt x="3032" y="1123"/>
                </a:lnTo>
                <a:lnTo>
                  <a:pt x="3032" y="1122"/>
                </a:lnTo>
                <a:lnTo>
                  <a:pt x="3032" y="1121"/>
                </a:lnTo>
                <a:lnTo>
                  <a:pt x="3030" y="1120"/>
                </a:lnTo>
                <a:lnTo>
                  <a:pt x="3028" y="1118"/>
                </a:lnTo>
                <a:lnTo>
                  <a:pt x="3026" y="1122"/>
                </a:lnTo>
                <a:lnTo>
                  <a:pt x="3024" y="1122"/>
                </a:lnTo>
                <a:lnTo>
                  <a:pt x="3023" y="1122"/>
                </a:lnTo>
                <a:lnTo>
                  <a:pt x="3024" y="1121"/>
                </a:lnTo>
                <a:lnTo>
                  <a:pt x="3024" y="1120"/>
                </a:lnTo>
                <a:lnTo>
                  <a:pt x="3016" y="1122"/>
                </a:lnTo>
                <a:lnTo>
                  <a:pt x="3016" y="1122"/>
                </a:lnTo>
                <a:lnTo>
                  <a:pt x="3017" y="1121"/>
                </a:lnTo>
                <a:lnTo>
                  <a:pt x="3020" y="1120"/>
                </a:lnTo>
                <a:lnTo>
                  <a:pt x="3020" y="1117"/>
                </a:lnTo>
                <a:lnTo>
                  <a:pt x="3024" y="1117"/>
                </a:lnTo>
                <a:lnTo>
                  <a:pt x="3014" y="1117"/>
                </a:lnTo>
                <a:lnTo>
                  <a:pt x="3014" y="1115"/>
                </a:lnTo>
                <a:lnTo>
                  <a:pt x="3012" y="1112"/>
                </a:lnTo>
                <a:lnTo>
                  <a:pt x="3012" y="1110"/>
                </a:lnTo>
                <a:lnTo>
                  <a:pt x="3009" y="1112"/>
                </a:lnTo>
                <a:lnTo>
                  <a:pt x="3011" y="1100"/>
                </a:lnTo>
                <a:lnTo>
                  <a:pt x="3006" y="1098"/>
                </a:lnTo>
                <a:lnTo>
                  <a:pt x="3004" y="1096"/>
                </a:lnTo>
                <a:lnTo>
                  <a:pt x="3003" y="1095"/>
                </a:lnTo>
                <a:lnTo>
                  <a:pt x="3009" y="1094"/>
                </a:lnTo>
                <a:lnTo>
                  <a:pt x="3006" y="1094"/>
                </a:lnTo>
                <a:lnTo>
                  <a:pt x="3003" y="1091"/>
                </a:lnTo>
                <a:lnTo>
                  <a:pt x="3000" y="1088"/>
                </a:lnTo>
                <a:lnTo>
                  <a:pt x="3000" y="1086"/>
                </a:lnTo>
                <a:lnTo>
                  <a:pt x="3007" y="1085"/>
                </a:lnTo>
                <a:lnTo>
                  <a:pt x="3004" y="1085"/>
                </a:lnTo>
                <a:lnTo>
                  <a:pt x="3004" y="1080"/>
                </a:lnTo>
                <a:lnTo>
                  <a:pt x="3000" y="1076"/>
                </a:lnTo>
                <a:lnTo>
                  <a:pt x="3004" y="1073"/>
                </a:lnTo>
                <a:lnTo>
                  <a:pt x="3004" y="1071"/>
                </a:lnTo>
                <a:lnTo>
                  <a:pt x="2998" y="1072"/>
                </a:lnTo>
                <a:lnTo>
                  <a:pt x="2993" y="1073"/>
                </a:lnTo>
                <a:lnTo>
                  <a:pt x="2995" y="1065"/>
                </a:lnTo>
                <a:lnTo>
                  <a:pt x="3002" y="1057"/>
                </a:lnTo>
                <a:lnTo>
                  <a:pt x="2995" y="1062"/>
                </a:lnTo>
                <a:lnTo>
                  <a:pt x="2996" y="1059"/>
                </a:lnTo>
                <a:lnTo>
                  <a:pt x="2995" y="1058"/>
                </a:lnTo>
                <a:lnTo>
                  <a:pt x="3004" y="1054"/>
                </a:lnTo>
                <a:lnTo>
                  <a:pt x="3002" y="1051"/>
                </a:lnTo>
                <a:lnTo>
                  <a:pt x="2992" y="1054"/>
                </a:lnTo>
                <a:lnTo>
                  <a:pt x="2992" y="1051"/>
                </a:lnTo>
                <a:lnTo>
                  <a:pt x="2998" y="1047"/>
                </a:lnTo>
                <a:lnTo>
                  <a:pt x="2995" y="1042"/>
                </a:lnTo>
                <a:lnTo>
                  <a:pt x="3000" y="1039"/>
                </a:lnTo>
                <a:lnTo>
                  <a:pt x="3000" y="1035"/>
                </a:lnTo>
                <a:lnTo>
                  <a:pt x="2996" y="1034"/>
                </a:lnTo>
                <a:lnTo>
                  <a:pt x="2996" y="1033"/>
                </a:lnTo>
                <a:lnTo>
                  <a:pt x="2995" y="1033"/>
                </a:lnTo>
                <a:lnTo>
                  <a:pt x="2995" y="1033"/>
                </a:lnTo>
                <a:lnTo>
                  <a:pt x="2996" y="1034"/>
                </a:lnTo>
                <a:lnTo>
                  <a:pt x="2996" y="1038"/>
                </a:lnTo>
                <a:lnTo>
                  <a:pt x="2992" y="1040"/>
                </a:lnTo>
                <a:lnTo>
                  <a:pt x="2994" y="1043"/>
                </a:lnTo>
                <a:lnTo>
                  <a:pt x="2995" y="1045"/>
                </a:lnTo>
                <a:lnTo>
                  <a:pt x="2989" y="1049"/>
                </a:lnTo>
                <a:lnTo>
                  <a:pt x="2988" y="1049"/>
                </a:lnTo>
                <a:lnTo>
                  <a:pt x="2988" y="1049"/>
                </a:lnTo>
                <a:lnTo>
                  <a:pt x="2977" y="1045"/>
                </a:lnTo>
                <a:lnTo>
                  <a:pt x="2971" y="1046"/>
                </a:lnTo>
                <a:lnTo>
                  <a:pt x="2966" y="1045"/>
                </a:lnTo>
                <a:lnTo>
                  <a:pt x="2961" y="1050"/>
                </a:lnTo>
                <a:lnTo>
                  <a:pt x="2956" y="1049"/>
                </a:lnTo>
                <a:lnTo>
                  <a:pt x="2955" y="1050"/>
                </a:lnTo>
                <a:lnTo>
                  <a:pt x="2957" y="1053"/>
                </a:lnTo>
                <a:lnTo>
                  <a:pt x="2958" y="1056"/>
                </a:lnTo>
                <a:lnTo>
                  <a:pt x="2962" y="1057"/>
                </a:lnTo>
                <a:lnTo>
                  <a:pt x="2958" y="1057"/>
                </a:lnTo>
                <a:lnTo>
                  <a:pt x="2952" y="1057"/>
                </a:lnTo>
                <a:lnTo>
                  <a:pt x="2952" y="1058"/>
                </a:lnTo>
                <a:lnTo>
                  <a:pt x="2956" y="1059"/>
                </a:lnTo>
                <a:lnTo>
                  <a:pt x="2956" y="1061"/>
                </a:lnTo>
                <a:lnTo>
                  <a:pt x="2956" y="1063"/>
                </a:lnTo>
                <a:lnTo>
                  <a:pt x="2955" y="1061"/>
                </a:lnTo>
                <a:lnTo>
                  <a:pt x="2953" y="1061"/>
                </a:lnTo>
                <a:lnTo>
                  <a:pt x="2952" y="1060"/>
                </a:lnTo>
                <a:lnTo>
                  <a:pt x="2952" y="1060"/>
                </a:lnTo>
                <a:lnTo>
                  <a:pt x="2952" y="1060"/>
                </a:lnTo>
                <a:lnTo>
                  <a:pt x="2951" y="1061"/>
                </a:lnTo>
                <a:lnTo>
                  <a:pt x="2951" y="1061"/>
                </a:lnTo>
                <a:lnTo>
                  <a:pt x="2947" y="1058"/>
                </a:lnTo>
                <a:lnTo>
                  <a:pt x="2944" y="1056"/>
                </a:lnTo>
                <a:lnTo>
                  <a:pt x="2944" y="1052"/>
                </a:lnTo>
                <a:lnTo>
                  <a:pt x="2935" y="1053"/>
                </a:lnTo>
                <a:lnTo>
                  <a:pt x="2935" y="1061"/>
                </a:lnTo>
                <a:lnTo>
                  <a:pt x="2949" y="1076"/>
                </a:lnTo>
                <a:lnTo>
                  <a:pt x="2949" y="1077"/>
                </a:lnTo>
                <a:lnTo>
                  <a:pt x="2947" y="1078"/>
                </a:lnTo>
                <a:lnTo>
                  <a:pt x="2948" y="1077"/>
                </a:lnTo>
                <a:lnTo>
                  <a:pt x="2948" y="1076"/>
                </a:lnTo>
                <a:lnTo>
                  <a:pt x="2945" y="1073"/>
                </a:lnTo>
                <a:lnTo>
                  <a:pt x="2945" y="1074"/>
                </a:lnTo>
                <a:lnTo>
                  <a:pt x="2944" y="1076"/>
                </a:lnTo>
                <a:lnTo>
                  <a:pt x="2947" y="1080"/>
                </a:lnTo>
                <a:lnTo>
                  <a:pt x="2944" y="1081"/>
                </a:lnTo>
                <a:lnTo>
                  <a:pt x="2938" y="1083"/>
                </a:lnTo>
                <a:lnTo>
                  <a:pt x="2945" y="1085"/>
                </a:lnTo>
                <a:lnTo>
                  <a:pt x="2947" y="1082"/>
                </a:lnTo>
                <a:lnTo>
                  <a:pt x="2950" y="1079"/>
                </a:lnTo>
                <a:lnTo>
                  <a:pt x="2953" y="1084"/>
                </a:lnTo>
                <a:lnTo>
                  <a:pt x="2960" y="1086"/>
                </a:lnTo>
                <a:lnTo>
                  <a:pt x="2960" y="1093"/>
                </a:lnTo>
                <a:lnTo>
                  <a:pt x="2964" y="1095"/>
                </a:lnTo>
                <a:lnTo>
                  <a:pt x="2964" y="1098"/>
                </a:lnTo>
                <a:lnTo>
                  <a:pt x="2961" y="1094"/>
                </a:lnTo>
                <a:lnTo>
                  <a:pt x="2957" y="1091"/>
                </a:lnTo>
                <a:lnTo>
                  <a:pt x="2956" y="1091"/>
                </a:lnTo>
                <a:lnTo>
                  <a:pt x="2961" y="1095"/>
                </a:lnTo>
                <a:lnTo>
                  <a:pt x="2959" y="1097"/>
                </a:lnTo>
                <a:lnTo>
                  <a:pt x="2961" y="1103"/>
                </a:lnTo>
                <a:lnTo>
                  <a:pt x="2959" y="1104"/>
                </a:lnTo>
                <a:lnTo>
                  <a:pt x="2954" y="1098"/>
                </a:lnTo>
                <a:lnTo>
                  <a:pt x="2945" y="1102"/>
                </a:lnTo>
                <a:lnTo>
                  <a:pt x="2945" y="1100"/>
                </a:lnTo>
                <a:lnTo>
                  <a:pt x="2944" y="1098"/>
                </a:lnTo>
                <a:lnTo>
                  <a:pt x="2948" y="1098"/>
                </a:lnTo>
                <a:lnTo>
                  <a:pt x="2948" y="1095"/>
                </a:lnTo>
                <a:lnTo>
                  <a:pt x="2943" y="1093"/>
                </a:lnTo>
                <a:lnTo>
                  <a:pt x="2937" y="1091"/>
                </a:lnTo>
                <a:lnTo>
                  <a:pt x="2935" y="1092"/>
                </a:lnTo>
                <a:lnTo>
                  <a:pt x="2931" y="1091"/>
                </a:lnTo>
                <a:lnTo>
                  <a:pt x="2924" y="1092"/>
                </a:lnTo>
                <a:lnTo>
                  <a:pt x="2920" y="1091"/>
                </a:lnTo>
                <a:lnTo>
                  <a:pt x="2917" y="1092"/>
                </a:lnTo>
                <a:lnTo>
                  <a:pt x="2916" y="1086"/>
                </a:lnTo>
                <a:lnTo>
                  <a:pt x="2911" y="1083"/>
                </a:lnTo>
                <a:lnTo>
                  <a:pt x="2911" y="1081"/>
                </a:lnTo>
                <a:lnTo>
                  <a:pt x="2911" y="1081"/>
                </a:lnTo>
                <a:lnTo>
                  <a:pt x="2910" y="1081"/>
                </a:lnTo>
                <a:lnTo>
                  <a:pt x="2911" y="1081"/>
                </a:lnTo>
                <a:lnTo>
                  <a:pt x="2909" y="1077"/>
                </a:lnTo>
                <a:lnTo>
                  <a:pt x="2903" y="1077"/>
                </a:lnTo>
                <a:lnTo>
                  <a:pt x="2903" y="1073"/>
                </a:lnTo>
                <a:lnTo>
                  <a:pt x="2903" y="1073"/>
                </a:lnTo>
                <a:lnTo>
                  <a:pt x="2903" y="1072"/>
                </a:lnTo>
                <a:lnTo>
                  <a:pt x="2903" y="1069"/>
                </a:lnTo>
                <a:lnTo>
                  <a:pt x="2904" y="1069"/>
                </a:lnTo>
                <a:lnTo>
                  <a:pt x="2902" y="1061"/>
                </a:lnTo>
                <a:lnTo>
                  <a:pt x="2896" y="1056"/>
                </a:lnTo>
                <a:lnTo>
                  <a:pt x="2892" y="1054"/>
                </a:lnTo>
                <a:lnTo>
                  <a:pt x="2895" y="1055"/>
                </a:lnTo>
                <a:lnTo>
                  <a:pt x="2895" y="1053"/>
                </a:lnTo>
                <a:lnTo>
                  <a:pt x="2891" y="1053"/>
                </a:lnTo>
                <a:lnTo>
                  <a:pt x="2891" y="1049"/>
                </a:lnTo>
                <a:lnTo>
                  <a:pt x="2895" y="1049"/>
                </a:lnTo>
                <a:lnTo>
                  <a:pt x="2895" y="1044"/>
                </a:lnTo>
                <a:lnTo>
                  <a:pt x="2895" y="1040"/>
                </a:lnTo>
                <a:lnTo>
                  <a:pt x="2895" y="1037"/>
                </a:lnTo>
                <a:lnTo>
                  <a:pt x="2895" y="1034"/>
                </a:lnTo>
                <a:lnTo>
                  <a:pt x="2895" y="1030"/>
                </a:lnTo>
                <a:lnTo>
                  <a:pt x="2891" y="1029"/>
                </a:lnTo>
                <a:lnTo>
                  <a:pt x="2891" y="1027"/>
                </a:lnTo>
                <a:lnTo>
                  <a:pt x="2889" y="1025"/>
                </a:lnTo>
                <a:lnTo>
                  <a:pt x="2887" y="1020"/>
                </a:lnTo>
                <a:lnTo>
                  <a:pt x="2882" y="1018"/>
                </a:lnTo>
                <a:lnTo>
                  <a:pt x="2883" y="1019"/>
                </a:lnTo>
                <a:lnTo>
                  <a:pt x="2883" y="1020"/>
                </a:lnTo>
                <a:lnTo>
                  <a:pt x="2879" y="1018"/>
                </a:lnTo>
                <a:lnTo>
                  <a:pt x="2879" y="1017"/>
                </a:lnTo>
                <a:lnTo>
                  <a:pt x="2875" y="1015"/>
                </a:lnTo>
                <a:lnTo>
                  <a:pt x="2875" y="1015"/>
                </a:lnTo>
                <a:lnTo>
                  <a:pt x="2875" y="1015"/>
                </a:lnTo>
                <a:lnTo>
                  <a:pt x="2875" y="1015"/>
                </a:lnTo>
                <a:lnTo>
                  <a:pt x="2872" y="1013"/>
                </a:lnTo>
                <a:lnTo>
                  <a:pt x="2869" y="1013"/>
                </a:lnTo>
                <a:lnTo>
                  <a:pt x="2867" y="1013"/>
                </a:lnTo>
                <a:lnTo>
                  <a:pt x="2867" y="1011"/>
                </a:lnTo>
                <a:lnTo>
                  <a:pt x="2860" y="1005"/>
                </a:lnTo>
                <a:lnTo>
                  <a:pt x="2852" y="1005"/>
                </a:lnTo>
                <a:lnTo>
                  <a:pt x="2843" y="1005"/>
                </a:lnTo>
                <a:lnTo>
                  <a:pt x="2843" y="998"/>
                </a:lnTo>
                <a:lnTo>
                  <a:pt x="2837" y="995"/>
                </a:lnTo>
                <a:lnTo>
                  <a:pt x="2834" y="991"/>
                </a:lnTo>
                <a:lnTo>
                  <a:pt x="2832" y="989"/>
                </a:lnTo>
                <a:lnTo>
                  <a:pt x="2831" y="989"/>
                </a:lnTo>
                <a:lnTo>
                  <a:pt x="2831" y="986"/>
                </a:lnTo>
                <a:lnTo>
                  <a:pt x="2837" y="987"/>
                </a:lnTo>
                <a:lnTo>
                  <a:pt x="2831" y="982"/>
                </a:lnTo>
                <a:lnTo>
                  <a:pt x="2829" y="980"/>
                </a:lnTo>
                <a:lnTo>
                  <a:pt x="2831" y="975"/>
                </a:lnTo>
                <a:lnTo>
                  <a:pt x="2829" y="972"/>
                </a:lnTo>
                <a:lnTo>
                  <a:pt x="2823" y="969"/>
                </a:lnTo>
                <a:lnTo>
                  <a:pt x="2821" y="969"/>
                </a:lnTo>
                <a:lnTo>
                  <a:pt x="2820" y="976"/>
                </a:lnTo>
                <a:lnTo>
                  <a:pt x="2815" y="979"/>
                </a:lnTo>
                <a:lnTo>
                  <a:pt x="2811" y="971"/>
                </a:lnTo>
                <a:lnTo>
                  <a:pt x="2809" y="965"/>
                </a:lnTo>
                <a:lnTo>
                  <a:pt x="2811" y="965"/>
                </a:lnTo>
                <a:lnTo>
                  <a:pt x="2812" y="965"/>
                </a:lnTo>
                <a:lnTo>
                  <a:pt x="2814" y="963"/>
                </a:lnTo>
                <a:lnTo>
                  <a:pt x="2817" y="961"/>
                </a:lnTo>
                <a:lnTo>
                  <a:pt x="2814" y="960"/>
                </a:lnTo>
                <a:lnTo>
                  <a:pt x="2812" y="961"/>
                </a:lnTo>
                <a:lnTo>
                  <a:pt x="2811" y="958"/>
                </a:lnTo>
                <a:lnTo>
                  <a:pt x="2807" y="960"/>
                </a:lnTo>
                <a:lnTo>
                  <a:pt x="2807" y="961"/>
                </a:lnTo>
                <a:lnTo>
                  <a:pt x="2805" y="961"/>
                </a:lnTo>
                <a:lnTo>
                  <a:pt x="2804" y="961"/>
                </a:lnTo>
                <a:lnTo>
                  <a:pt x="2794" y="964"/>
                </a:lnTo>
                <a:lnTo>
                  <a:pt x="2796" y="961"/>
                </a:lnTo>
                <a:lnTo>
                  <a:pt x="2793" y="962"/>
                </a:lnTo>
                <a:lnTo>
                  <a:pt x="2790" y="968"/>
                </a:lnTo>
                <a:lnTo>
                  <a:pt x="2796" y="972"/>
                </a:lnTo>
                <a:lnTo>
                  <a:pt x="2794" y="976"/>
                </a:lnTo>
                <a:lnTo>
                  <a:pt x="2793" y="974"/>
                </a:lnTo>
                <a:lnTo>
                  <a:pt x="2790" y="977"/>
                </a:lnTo>
                <a:lnTo>
                  <a:pt x="2793" y="985"/>
                </a:lnTo>
                <a:lnTo>
                  <a:pt x="2797" y="991"/>
                </a:lnTo>
                <a:lnTo>
                  <a:pt x="2811" y="999"/>
                </a:lnTo>
                <a:lnTo>
                  <a:pt x="2816" y="1016"/>
                </a:lnTo>
                <a:lnTo>
                  <a:pt x="2827" y="1027"/>
                </a:lnTo>
                <a:lnTo>
                  <a:pt x="2834" y="1033"/>
                </a:lnTo>
                <a:lnTo>
                  <a:pt x="2844" y="1033"/>
                </a:lnTo>
                <a:lnTo>
                  <a:pt x="2843" y="1034"/>
                </a:lnTo>
                <a:lnTo>
                  <a:pt x="2843" y="1037"/>
                </a:lnTo>
                <a:lnTo>
                  <a:pt x="2874" y="1052"/>
                </a:lnTo>
                <a:lnTo>
                  <a:pt x="2882" y="1061"/>
                </a:lnTo>
                <a:lnTo>
                  <a:pt x="2879" y="1067"/>
                </a:lnTo>
                <a:lnTo>
                  <a:pt x="2875" y="1063"/>
                </a:lnTo>
                <a:lnTo>
                  <a:pt x="2871" y="1057"/>
                </a:lnTo>
                <a:lnTo>
                  <a:pt x="2863" y="1056"/>
                </a:lnTo>
                <a:lnTo>
                  <a:pt x="2863" y="1053"/>
                </a:lnTo>
                <a:lnTo>
                  <a:pt x="2859" y="1056"/>
                </a:lnTo>
                <a:lnTo>
                  <a:pt x="2853" y="1062"/>
                </a:lnTo>
                <a:lnTo>
                  <a:pt x="2851" y="1067"/>
                </a:lnTo>
                <a:lnTo>
                  <a:pt x="2851" y="1068"/>
                </a:lnTo>
                <a:lnTo>
                  <a:pt x="2859" y="1073"/>
                </a:lnTo>
                <a:lnTo>
                  <a:pt x="2859" y="1080"/>
                </a:lnTo>
                <a:lnTo>
                  <a:pt x="2851" y="1083"/>
                </a:lnTo>
                <a:lnTo>
                  <a:pt x="2852" y="1084"/>
                </a:lnTo>
                <a:lnTo>
                  <a:pt x="2853" y="1091"/>
                </a:lnTo>
                <a:lnTo>
                  <a:pt x="2848" y="1096"/>
                </a:lnTo>
                <a:lnTo>
                  <a:pt x="2845" y="1100"/>
                </a:lnTo>
                <a:lnTo>
                  <a:pt x="2841" y="1101"/>
                </a:lnTo>
                <a:lnTo>
                  <a:pt x="2839" y="1100"/>
                </a:lnTo>
                <a:lnTo>
                  <a:pt x="2839" y="1096"/>
                </a:lnTo>
                <a:lnTo>
                  <a:pt x="2841" y="1094"/>
                </a:lnTo>
                <a:lnTo>
                  <a:pt x="2843" y="1094"/>
                </a:lnTo>
                <a:lnTo>
                  <a:pt x="2844" y="1089"/>
                </a:lnTo>
                <a:lnTo>
                  <a:pt x="2842" y="1086"/>
                </a:lnTo>
                <a:lnTo>
                  <a:pt x="2847" y="1084"/>
                </a:lnTo>
                <a:lnTo>
                  <a:pt x="2847" y="1081"/>
                </a:lnTo>
                <a:lnTo>
                  <a:pt x="2843" y="1080"/>
                </a:lnTo>
                <a:lnTo>
                  <a:pt x="2843" y="1073"/>
                </a:lnTo>
                <a:lnTo>
                  <a:pt x="2841" y="1065"/>
                </a:lnTo>
                <a:lnTo>
                  <a:pt x="2838" y="1065"/>
                </a:lnTo>
                <a:lnTo>
                  <a:pt x="2837" y="1065"/>
                </a:lnTo>
                <a:lnTo>
                  <a:pt x="2827" y="1058"/>
                </a:lnTo>
                <a:lnTo>
                  <a:pt x="2827" y="1056"/>
                </a:lnTo>
                <a:lnTo>
                  <a:pt x="2826" y="1050"/>
                </a:lnTo>
                <a:lnTo>
                  <a:pt x="2821" y="1052"/>
                </a:lnTo>
                <a:lnTo>
                  <a:pt x="2823" y="1048"/>
                </a:lnTo>
                <a:lnTo>
                  <a:pt x="2821" y="1046"/>
                </a:lnTo>
                <a:lnTo>
                  <a:pt x="2818" y="1048"/>
                </a:lnTo>
                <a:lnTo>
                  <a:pt x="2812" y="1041"/>
                </a:lnTo>
                <a:lnTo>
                  <a:pt x="2802" y="1041"/>
                </a:lnTo>
                <a:lnTo>
                  <a:pt x="2801" y="1037"/>
                </a:lnTo>
                <a:lnTo>
                  <a:pt x="2796" y="1035"/>
                </a:lnTo>
                <a:lnTo>
                  <a:pt x="2789" y="1029"/>
                </a:lnTo>
                <a:lnTo>
                  <a:pt x="2786" y="1025"/>
                </a:lnTo>
                <a:lnTo>
                  <a:pt x="2783" y="1022"/>
                </a:lnTo>
                <a:lnTo>
                  <a:pt x="2778" y="1019"/>
                </a:lnTo>
                <a:lnTo>
                  <a:pt x="2775" y="1020"/>
                </a:lnTo>
                <a:lnTo>
                  <a:pt x="2775" y="1018"/>
                </a:lnTo>
                <a:lnTo>
                  <a:pt x="2767" y="1007"/>
                </a:lnTo>
                <a:lnTo>
                  <a:pt x="2767" y="1003"/>
                </a:lnTo>
                <a:lnTo>
                  <a:pt x="2763" y="1000"/>
                </a:lnTo>
                <a:lnTo>
                  <a:pt x="2763" y="995"/>
                </a:lnTo>
                <a:lnTo>
                  <a:pt x="2761" y="991"/>
                </a:lnTo>
                <a:lnTo>
                  <a:pt x="2748" y="984"/>
                </a:lnTo>
                <a:lnTo>
                  <a:pt x="2742" y="982"/>
                </a:lnTo>
                <a:lnTo>
                  <a:pt x="2737" y="985"/>
                </a:lnTo>
                <a:lnTo>
                  <a:pt x="2730" y="992"/>
                </a:lnTo>
                <a:lnTo>
                  <a:pt x="2723" y="995"/>
                </a:lnTo>
                <a:lnTo>
                  <a:pt x="2723" y="995"/>
                </a:lnTo>
                <a:lnTo>
                  <a:pt x="2723" y="997"/>
                </a:lnTo>
                <a:lnTo>
                  <a:pt x="2721" y="997"/>
                </a:lnTo>
                <a:lnTo>
                  <a:pt x="2719" y="998"/>
                </a:lnTo>
                <a:lnTo>
                  <a:pt x="2710" y="1003"/>
                </a:lnTo>
                <a:lnTo>
                  <a:pt x="2712" y="1005"/>
                </a:lnTo>
                <a:lnTo>
                  <a:pt x="2710" y="1009"/>
                </a:lnTo>
                <a:lnTo>
                  <a:pt x="2705" y="1009"/>
                </a:lnTo>
                <a:lnTo>
                  <a:pt x="2701" y="1009"/>
                </a:lnTo>
                <a:lnTo>
                  <a:pt x="2699" y="1009"/>
                </a:lnTo>
                <a:lnTo>
                  <a:pt x="2698" y="1008"/>
                </a:lnTo>
                <a:lnTo>
                  <a:pt x="2693" y="1005"/>
                </a:lnTo>
                <a:lnTo>
                  <a:pt x="2690" y="1005"/>
                </a:lnTo>
                <a:lnTo>
                  <a:pt x="2687" y="1005"/>
                </a:lnTo>
                <a:lnTo>
                  <a:pt x="2690" y="1002"/>
                </a:lnTo>
                <a:lnTo>
                  <a:pt x="2687" y="999"/>
                </a:lnTo>
                <a:lnTo>
                  <a:pt x="2687" y="1001"/>
                </a:lnTo>
                <a:lnTo>
                  <a:pt x="2682" y="1002"/>
                </a:lnTo>
                <a:lnTo>
                  <a:pt x="2678" y="997"/>
                </a:lnTo>
                <a:lnTo>
                  <a:pt x="2678" y="1002"/>
                </a:lnTo>
                <a:lnTo>
                  <a:pt x="2678" y="1002"/>
                </a:lnTo>
                <a:lnTo>
                  <a:pt x="2670" y="999"/>
                </a:lnTo>
                <a:lnTo>
                  <a:pt x="2662" y="1004"/>
                </a:lnTo>
                <a:lnTo>
                  <a:pt x="2658" y="1007"/>
                </a:lnTo>
                <a:lnTo>
                  <a:pt x="2656" y="1013"/>
                </a:lnTo>
                <a:lnTo>
                  <a:pt x="2658" y="1019"/>
                </a:lnTo>
                <a:lnTo>
                  <a:pt x="2659" y="1021"/>
                </a:lnTo>
                <a:lnTo>
                  <a:pt x="2660" y="1021"/>
                </a:lnTo>
                <a:lnTo>
                  <a:pt x="2662" y="1021"/>
                </a:lnTo>
                <a:lnTo>
                  <a:pt x="2658" y="1022"/>
                </a:lnTo>
                <a:lnTo>
                  <a:pt x="2658" y="1025"/>
                </a:lnTo>
                <a:lnTo>
                  <a:pt x="2658" y="1028"/>
                </a:lnTo>
                <a:lnTo>
                  <a:pt x="2647" y="1037"/>
                </a:lnTo>
                <a:lnTo>
                  <a:pt x="2645" y="1041"/>
                </a:lnTo>
                <a:lnTo>
                  <a:pt x="2629" y="1044"/>
                </a:lnTo>
                <a:lnTo>
                  <a:pt x="2623" y="1048"/>
                </a:lnTo>
                <a:lnTo>
                  <a:pt x="2627" y="1050"/>
                </a:lnTo>
                <a:lnTo>
                  <a:pt x="2623" y="1053"/>
                </a:lnTo>
                <a:lnTo>
                  <a:pt x="2622" y="1053"/>
                </a:lnTo>
                <a:lnTo>
                  <a:pt x="2614" y="1061"/>
                </a:lnTo>
                <a:lnTo>
                  <a:pt x="2609" y="1071"/>
                </a:lnTo>
                <a:lnTo>
                  <a:pt x="2611" y="1080"/>
                </a:lnTo>
                <a:lnTo>
                  <a:pt x="2617" y="1085"/>
                </a:lnTo>
                <a:lnTo>
                  <a:pt x="2606" y="1092"/>
                </a:lnTo>
                <a:lnTo>
                  <a:pt x="2601" y="1104"/>
                </a:lnTo>
                <a:lnTo>
                  <a:pt x="2604" y="1106"/>
                </a:lnTo>
                <a:lnTo>
                  <a:pt x="2595" y="1106"/>
                </a:lnTo>
                <a:lnTo>
                  <a:pt x="2590" y="1109"/>
                </a:lnTo>
                <a:lnTo>
                  <a:pt x="2584" y="1120"/>
                </a:lnTo>
                <a:lnTo>
                  <a:pt x="2580" y="1119"/>
                </a:lnTo>
                <a:lnTo>
                  <a:pt x="2573" y="1123"/>
                </a:lnTo>
                <a:lnTo>
                  <a:pt x="2571" y="1122"/>
                </a:lnTo>
                <a:lnTo>
                  <a:pt x="2551" y="1122"/>
                </a:lnTo>
                <a:lnTo>
                  <a:pt x="2547" y="1126"/>
                </a:lnTo>
                <a:lnTo>
                  <a:pt x="2539" y="1127"/>
                </a:lnTo>
                <a:lnTo>
                  <a:pt x="2536" y="1134"/>
                </a:lnTo>
                <a:lnTo>
                  <a:pt x="2535" y="1134"/>
                </a:lnTo>
                <a:lnTo>
                  <a:pt x="2534" y="1134"/>
                </a:lnTo>
                <a:lnTo>
                  <a:pt x="2534" y="1135"/>
                </a:lnTo>
                <a:lnTo>
                  <a:pt x="2536" y="1139"/>
                </a:lnTo>
                <a:lnTo>
                  <a:pt x="2544" y="1146"/>
                </a:lnTo>
                <a:lnTo>
                  <a:pt x="2549" y="1146"/>
                </a:lnTo>
                <a:lnTo>
                  <a:pt x="2559" y="1145"/>
                </a:lnTo>
                <a:lnTo>
                  <a:pt x="2564" y="1146"/>
                </a:lnTo>
                <a:lnTo>
                  <a:pt x="2566" y="1145"/>
                </a:lnTo>
                <a:lnTo>
                  <a:pt x="2571" y="1150"/>
                </a:lnTo>
                <a:lnTo>
                  <a:pt x="2572" y="1150"/>
                </a:lnTo>
                <a:lnTo>
                  <a:pt x="2571" y="1147"/>
                </a:lnTo>
                <a:lnTo>
                  <a:pt x="2573" y="1150"/>
                </a:lnTo>
                <a:lnTo>
                  <a:pt x="2580" y="1150"/>
                </a:lnTo>
                <a:lnTo>
                  <a:pt x="2586" y="1154"/>
                </a:lnTo>
                <a:lnTo>
                  <a:pt x="2585" y="1156"/>
                </a:lnTo>
                <a:lnTo>
                  <a:pt x="2588" y="1157"/>
                </a:lnTo>
                <a:lnTo>
                  <a:pt x="2588" y="1157"/>
                </a:lnTo>
                <a:lnTo>
                  <a:pt x="2588" y="1155"/>
                </a:lnTo>
                <a:lnTo>
                  <a:pt x="2586" y="1154"/>
                </a:lnTo>
                <a:lnTo>
                  <a:pt x="2588" y="1151"/>
                </a:lnTo>
                <a:lnTo>
                  <a:pt x="2581" y="1146"/>
                </a:lnTo>
                <a:lnTo>
                  <a:pt x="2588" y="1146"/>
                </a:lnTo>
                <a:lnTo>
                  <a:pt x="2594" y="1140"/>
                </a:lnTo>
                <a:lnTo>
                  <a:pt x="2599" y="1136"/>
                </a:lnTo>
                <a:lnTo>
                  <a:pt x="2602" y="1134"/>
                </a:lnTo>
                <a:lnTo>
                  <a:pt x="2604" y="1136"/>
                </a:lnTo>
                <a:lnTo>
                  <a:pt x="2608" y="1132"/>
                </a:lnTo>
                <a:lnTo>
                  <a:pt x="2611" y="1134"/>
                </a:lnTo>
                <a:lnTo>
                  <a:pt x="2617" y="1128"/>
                </a:lnTo>
                <a:lnTo>
                  <a:pt x="2630" y="1121"/>
                </a:lnTo>
                <a:lnTo>
                  <a:pt x="2647" y="1120"/>
                </a:lnTo>
                <a:lnTo>
                  <a:pt x="2650" y="1121"/>
                </a:lnTo>
                <a:lnTo>
                  <a:pt x="2655" y="1116"/>
                </a:lnTo>
                <a:lnTo>
                  <a:pt x="2664" y="1117"/>
                </a:lnTo>
                <a:lnTo>
                  <a:pt x="2669" y="1114"/>
                </a:lnTo>
                <a:lnTo>
                  <a:pt x="2682" y="1114"/>
                </a:lnTo>
                <a:lnTo>
                  <a:pt x="2690" y="1120"/>
                </a:lnTo>
                <a:lnTo>
                  <a:pt x="2696" y="1116"/>
                </a:lnTo>
                <a:lnTo>
                  <a:pt x="2703" y="1114"/>
                </a:lnTo>
                <a:lnTo>
                  <a:pt x="2703" y="1112"/>
                </a:lnTo>
                <a:lnTo>
                  <a:pt x="2708" y="1111"/>
                </a:lnTo>
                <a:lnTo>
                  <a:pt x="2709" y="1114"/>
                </a:lnTo>
                <a:lnTo>
                  <a:pt x="2715" y="1114"/>
                </a:lnTo>
                <a:lnTo>
                  <a:pt x="2718" y="1114"/>
                </a:lnTo>
                <a:lnTo>
                  <a:pt x="2715" y="1112"/>
                </a:lnTo>
                <a:lnTo>
                  <a:pt x="2715" y="1111"/>
                </a:lnTo>
                <a:lnTo>
                  <a:pt x="2726" y="1114"/>
                </a:lnTo>
                <a:lnTo>
                  <a:pt x="2729" y="1116"/>
                </a:lnTo>
                <a:lnTo>
                  <a:pt x="2733" y="1114"/>
                </a:lnTo>
                <a:lnTo>
                  <a:pt x="2738" y="1114"/>
                </a:lnTo>
                <a:lnTo>
                  <a:pt x="2740" y="1117"/>
                </a:lnTo>
                <a:lnTo>
                  <a:pt x="2753" y="1114"/>
                </a:lnTo>
                <a:lnTo>
                  <a:pt x="2755" y="1114"/>
                </a:lnTo>
                <a:lnTo>
                  <a:pt x="2755" y="1115"/>
                </a:lnTo>
                <a:lnTo>
                  <a:pt x="2755" y="1114"/>
                </a:lnTo>
                <a:lnTo>
                  <a:pt x="2756" y="1114"/>
                </a:lnTo>
                <a:lnTo>
                  <a:pt x="2756" y="1113"/>
                </a:lnTo>
                <a:lnTo>
                  <a:pt x="2756" y="1112"/>
                </a:lnTo>
                <a:lnTo>
                  <a:pt x="2759" y="1112"/>
                </a:lnTo>
                <a:lnTo>
                  <a:pt x="2762" y="1114"/>
                </a:lnTo>
                <a:lnTo>
                  <a:pt x="2760" y="1117"/>
                </a:lnTo>
                <a:lnTo>
                  <a:pt x="2764" y="1122"/>
                </a:lnTo>
                <a:lnTo>
                  <a:pt x="2762" y="1122"/>
                </a:lnTo>
                <a:lnTo>
                  <a:pt x="2764" y="1122"/>
                </a:lnTo>
                <a:lnTo>
                  <a:pt x="2774" y="1115"/>
                </a:lnTo>
                <a:lnTo>
                  <a:pt x="2775" y="1117"/>
                </a:lnTo>
                <a:lnTo>
                  <a:pt x="2770" y="1126"/>
                </a:lnTo>
                <a:lnTo>
                  <a:pt x="2766" y="1127"/>
                </a:lnTo>
                <a:lnTo>
                  <a:pt x="2764" y="1130"/>
                </a:lnTo>
                <a:lnTo>
                  <a:pt x="2766" y="1137"/>
                </a:lnTo>
                <a:lnTo>
                  <a:pt x="2771" y="1139"/>
                </a:lnTo>
                <a:lnTo>
                  <a:pt x="2771" y="1142"/>
                </a:lnTo>
                <a:lnTo>
                  <a:pt x="2774" y="1146"/>
                </a:lnTo>
                <a:lnTo>
                  <a:pt x="2770" y="1154"/>
                </a:lnTo>
                <a:lnTo>
                  <a:pt x="2760" y="1161"/>
                </a:lnTo>
                <a:lnTo>
                  <a:pt x="2759" y="1162"/>
                </a:lnTo>
                <a:lnTo>
                  <a:pt x="2760" y="1167"/>
                </a:lnTo>
                <a:lnTo>
                  <a:pt x="2764" y="1171"/>
                </a:lnTo>
                <a:lnTo>
                  <a:pt x="2764" y="1172"/>
                </a:lnTo>
                <a:lnTo>
                  <a:pt x="2767" y="1171"/>
                </a:lnTo>
                <a:lnTo>
                  <a:pt x="2767" y="1173"/>
                </a:lnTo>
                <a:lnTo>
                  <a:pt x="2770" y="1176"/>
                </a:lnTo>
                <a:lnTo>
                  <a:pt x="2771" y="1173"/>
                </a:lnTo>
                <a:lnTo>
                  <a:pt x="2771" y="1174"/>
                </a:lnTo>
                <a:lnTo>
                  <a:pt x="2774" y="1174"/>
                </a:lnTo>
                <a:lnTo>
                  <a:pt x="2776" y="1180"/>
                </a:lnTo>
                <a:lnTo>
                  <a:pt x="2780" y="1180"/>
                </a:lnTo>
                <a:lnTo>
                  <a:pt x="2781" y="1180"/>
                </a:lnTo>
                <a:lnTo>
                  <a:pt x="2792" y="1186"/>
                </a:lnTo>
                <a:lnTo>
                  <a:pt x="2801" y="1186"/>
                </a:lnTo>
                <a:lnTo>
                  <a:pt x="2807" y="1183"/>
                </a:lnTo>
                <a:lnTo>
                  <a:pt x="2820" y="1184"/>
                </a:lnTo>
                <a:lnTo>
                  <a:pt x="2823" y="1188"/>
                </a:lnTo>
                <a:lnTo>
                  <a:pt x="2834" y="1189"/>
                </a:lnTo>
                <a:lnTo>
                  <a:pt x="2838" y="1194"/>
                </a:lnTo>
                <a:lnTo>
                  <a:pt x="2839" y="1204"/>
                </a:lnTo>
                <a:lnTo>
                  <a:pt x="2842" y="1209"/>
                </a:lnTo>
                <a:lnTo>
                  <a:pt x="2849" y="1210"/>
                </a:lnTo>
                <a:lnTo>
                  <a:pt x="2857" y="1210"/>
                </a:lnTo>
                <a:lnTo>
                  <a:pt x="2865" y="1214"/>
                </a:lnTo>
                <a:lnTo>
                  <a:pt x="2877" y="1219"/>
                </a:lnTo>
                <a:lnTo>
                  <a:pt x="2890" y="1230"/>
                </a:lnTo>
                <a:lnTo>
                  <a:pt x="2895" y="1230"/>
                </a:lnTo>
                <a:lnTo>
                  <a:pt x="2899" y="1224"/>
                </a:lnTo>
                <a:lnTo>
                  <a:pt x="2905" y="1216"/>
                </a:lnTo>
                <a:lnTo>
                  <a:pt x="2906" y="1211"/>
                </a:lnTo>
                <a:lnTo>
                  <a:pt x="2902" y="1201"/>
                </a:lnTo>
                <a:lnTo>
                  <a:pt x="2906" y="1194"/>
                </a:lnTo>
                <a:lnTo>
                  <a:pt x="2913" y="1188"/>
                </a:lnTo>
                <a:lnTo>
                  <a:pt x="2919" y="1184"/>
                </a:lnTo>
                <a:lnTo>
                  <a:pt x="2925" y="1183"/>
                </a:lnTo>
                <a:lnTo>
                  <a:pt x="2928" y="1182"/>
                </a:lnTo>
                <a:lnTo>
                  <a:pt x="2937" y="1183"/>
                </a:lnTo>
                <a:lnTo>
                  <a:pt x="2948" y="1186"/>
                </a:lnTo>
                <a:lnTo>
                  <a:pt x="2948" y="1192"/>
                </a:lnTo>
                <a:lnTo>
                  <a:pt x="2950" y="1193"/>
                </a:lnTo>
                <a:lnTo>
                  <a:pt x="2961" y="1194"/>
                </a:lnTo>
                <a:lnTo>
                  <a:pt x="2966" y="1198"/>
                </a:lnTo>
                <a:lnTo>
                  <a:pt x="2979" y="1198"/>
                </a:lnTo>
                <a:lnTo>
                  <a:pt x="2982" y="1204"/>
                </a:lnTo>
                <a:lnTo>
                  <a:pt x="2978" y="1207"/>
                </a:lnTo>
                <a:lnTo>
                  <a:pt x="2979" y="1207"/>
                </a:lnTo>
                <a:lnTo>
                  <a:pt x="2989" y="1205"/>
                </a:lnTo>
                <a:lnTo>
                  <a:pt x="2999" y="1208"/>
                </a:lnTo>
                <a:lnTo>
                  <a:pt x="3008" y="1210"/>
                </a:lnTo>
                <a:lnTo>
                  <a:pt x="3010" y="1211"/>
                </a:lnTo>
                <a:lnTo>
                  <a:pt x="3012" y="1214"/>
                </a:lnTo>
                <a:lnTo>
                  <a:pt x="3016" y="1213"/>
                </a:lnTo>
                <a:lnTo>
                  <a:pt x="3018" y="1218"/>
                </a:lnTo>
                <a:lnTo>
                  <a:pt x="3023" y="1218"/>
                </a:lnTo>
                <a:lnTo>
                  <a:pt x="3034" y="1220"/>
                </a:lnTo>
                <a:lnTo>
                  <a:pt x="3040" y="1217"/>
                </a:lnTo>
                <a:lnTo>
                  <a:pt x="3048" y="1211"/>
                </a:lnTo>
                <a:lnTo>
                  <a:pt x="3049" y="1214"/>
                </a:lnTo>
                <a:lnTo>
                  <a:pt x="3052" y="1214"/>
                </a:lnTo>
                <a:lnTo>
                  <a:pt x="3053" y="1208"/>
                </a:lnTo>
                <a:lnTo>
                  <a:pt x="3055" y="1207"/>
                </a:lnTo>
                <a:lnTo>
                  <a:pt x="3064" y="1206"/>
                </a:lnTo>
                <a:lnTo>
                  <a:pt x="3063" y="1206"/>
                </a:lnTo>
                <a:lnTo>
                  <a:pt x="3067" y="1207"/>
                </a:lnTo>
                <a:lnTo>
                  <a:pt x="3071" y="1207"/>
                </a:lnTo>
                <a:lnTo>
                  <a:pt x="3073" y="1207"/>
                </a:lnTo>
                <a:lnTo>
                  <a:pt x="3076" y="1206"/>
                </a:lnTo>
                <a:lnTo>
                  <a:pt x="3074" y="1211"/>
                </a:lnTo>
                <a:lnTo>
                  <a:pt x="3076" y="1212"/>
                </a:lnTo>
                <a:lnTo>
                  <a:pt x="3078" y="1210"/>
                </a:lnTo>
                <a:lnTo>
                  <a:pt x="3078" y="1214"/>
                </a:lnTo>
                <a:lnTo>
                  <a:pt x="3082" y="1213"/>
                </a:lnTo>
                <a:lnTo>
                  <a:pt x="3079" y="1211"/>
                </a:lnTo>
                <a:lnTo>
                  <a:pt x="3086" y="1215"/>
                </a:lnTo>
                <a:lnTo>
                  <a:pt x="3092" y="1213"/>
                </a:lnTo>
                <a:lnTo>
                  <a:pt x="3092" y="1215"/>
                </a:lnTo>
                <a:lnTo>
                  <a:pt x="3098" y="1214"/>
                </a:lnTo>
                <a:lnTo>
                  <a:pt x="3102" y="1214"/>
                </a:lnTo>
                <a:lnTo>
                  <a:pt x="3109" y="1211"/>
                </a:lnTo>
                <a:lnTo>
                  <a:pt x="3110" y="1211"/>
                </a:lnTo>
                <a:lnTo>
                  <a:pt x="3109" y="1210"/>
                </a:lnTo>
                <a:lnTo>
                  <a:pt x="3109" y="1210"/>
                </a:lnTo>
                <a:lnTo>
                  <a:pt x="3108" y="1209"/>
                </a:lnTo>
                <a:lnTo>
                  <a:pt x="3108" y="1209"/>
                </a:lnTo>
                <a:lnTo>
                  <a:pt x="3111" y="1205"/>
                </a:lnTo>
                <a:lnTo>
                  <a:pt x="3116" y="1199"/>
                </a:lnTo>
                <a:lnTo>
                  <a:pt x="3120" y="1186"/>
                </a:lnTo>
                <a:lnTo>
                  <a:pt x="3120" y="1186"/>
                </a:lnTo>
                <a:lnTo>
                  <a:pt x="3120" y="1182"/>
                </a:lnTo>
                <a:lnTo>
                  <a:pt x="3118" y="1180"/>
                </a:lnTo>
                <a:lnTo>
                  <a:pt x="3124" y="1167"/>
                </a:lnTo>
                <a:lnTo>
                  <a:pt x="3128" y="1165"/>
                </a:lnTo>
                <a:lnTo>
                  <a:pt x="3128" y="1160"/>
                </a:lnTo>
                <a:lnTo>
                  <a:pt x="3132" y="1157"/>
                </a:lnTo>
                <a:lnTo>
                  <a:pt x="3132" y="1158"/>
                </a:lnTo>
                <a:lnTo>
                  <a:pt x="3135" y="1158"/>
                </a:lnTo>
                <a:lnTo>
                  <a:pt x="3132" y="1152"/>
                </a:lnTo>
                <a:lnTo>
                  <a:pt x="3132" y="1146"/>
                </a:lnTo>
                <a:lnTo>
                  <a:pt x="3132" y="1143"/>
                </a:lnTo>
                <a:lnTo>
                  <a:pt x="3132" y="1141"/>
                </a:lnTo>
                <a:lnTo>
                  <a:pt x="3132" y="1140"/>
                </a:lnTo>
                <a:lnTo>
                  <a:pt x="3134" y="1137"/>
                </a:lnTo>
                <a:lnTo>
                  <a:pt x="3135" y="1134"/>
                </a:lnTo>
                <a:lnTo>
                  <a:pt x="3132" y="1128"/>
                </a:lnTo>
                <a:lnTo>
                  <a:pt x="3136" y="1123"/>
                </a:lnTo>
                <a:lnTo>
                  <a:pt x="3136" y="1120"/>
                </a:lnTo>
                <a:close/>
                <a:moveTo>
                  <a:pt x="2946" y="1087"/>
                </a:moveTo>
                <a:lnTo>
                  <a:pt x="2947" y="1089"/>
                </a:lnTo>
                <a:lnTo>
                  <a:pt x="2948" y="1089"/>
                </a:lnTo>
                <a:lnTo>
                  <a:pt x="2948" y="1087"/>
                </a:lnTo>
                <a:lnTo>
                  <a:pt x="2950" y="1088"/>
                </a:lnTo>
                <a:lnTo>
                  <a:pt x="2952" y="1089"/>
                </a:lnTo>
                <a:lnTo>
                  <a:pt x="2952" y="1087"/>
                </a:lnTo>
                <a:lnTo>
                  <a:pt x="2950" y="1086"/>
                </a:lnTo>
                <a:lnTo>
                  <a:pt x="2948" y="1085"/>
                </a:lnTo>
                <a:lnTo>
                  <a:pt x="2945" y="1085"/>
                </a:lnTo>
                <a:lnTo>
                  <a:pt x="2946" y="1087"/>
                </a:lnTo>
                <a:close/>
                <a:moveTo>
                  <a:pt x="3216" y="1035"/>
                </a:moveTo>
                <a:lnTo>
                  <a:pt x="3219" y="1030"/>
                </a:lnTo>
                <a:lnTo>
                  <a:pt x="3214" y="1016"/>
                </a:lnTo>
                <a:lnTo>
                  <a:pt x="3211" y="1015"/>
                </a:lnTo>
                <a:lnTo>
                  <a:pt x="3209" y="1014"/>
                </a:lnTo>
                <a:lnTo>
                  <a:pt x="3208" y="1011"/>
                </a:lnTo>
                <a:lnTo>
                  <a:pt x="3204" y="1010"/>
                </a:lnTo>
                <a:lnTo>
                  <a:pt x="3198" y="1010"/>
                </a:lnTo>
                <a:lnTo>
                  <a:pt x="3196" y="1009"/>
                </a:lnTo>
                <a:lnTo>
                  <a:pt x="3188" y="1009"/>
                </a:lnTo>
                <a:lnTo>
                  <a:pt x="3188" y="1003"/>
                </a:lnTo>
                <a:lnTo>
                  <a:pt x="3173" y="987"/>
                </a:lnTo>
                <a:lnTo>
                  <a:pt x="3170" y="986"/>
                </a:lnTo>
                <a:lnTo>
                  <a:pt x="3166" y="985"/>
                </a:lnTo>
                <a:lnTo>
                  <a:pt x="3163" y="982"/>
                </a:lnTo>
                <a:lnTo>
                  <a:pt x="3160" y="980"/>
                </a:lnTo>
                <a:lnTo>
                  <a:pt x="3160" y="981"/>
                </a:lnTo>
                <a:lnTo>
                  <a:pt x="3158" y="981"/>
                </a:lnTo>
                <a:lnTo>
                  <a:pt x="3156" y="980"/>
                </a:lnTo>
                <a:lnTo>
                  <a:pt x="3154" y="977"/>
                </a:lnTo>
                <a:lnTo>
                  <a:pt x="3152" y="975"/>
                </a:lnTo>
                <a:lnTo>
                  <a:pt x="3144" y="971"/>
                </a:lnTo>
                <a:lnTo>
                  <a:pt x="3146" y="970"/>
                </a:lnTo>
                <a:lnTo>
                  <a:pt x="3148" y="969"/>
                </a:lnTo>
                <a:lnTo>
                  <a:pt x="3148" y="970"/>
                </a:lnTo>
                <a:lnTo>
                  <a:pt x="3152" y="969"/>
                </a:lnTo>
                <a:lnTo>
                  <a:pt x="3156" y="967"/>
                </a:lnTo>
                <a:lnTo>
                  <a:pt x="3160" y="968"/>
                </a:lnTo>
                <a:lnTo>
                  <a:pt x="3160" y="963"/>
                </a:lnTo>
                <a:lnTo>
                  <a:pt x="3159" y="963"/>
                </a:lnTo>
                <a:lnTo>
                  <a:pt x="3157" y="963"/>
                </a:lnTo>
                <a:lnTo>
                  <a:pt x="3161" y="960"/>
                </a:lnTo>
                <a:lnTo>
                  <a:pt x="3163" y="957"/>
                </a:lnTo>
                <a:lnTo>
                  <a:pt x="3164" y="957"/>
                </a:lnTo>
                <a:lnTo>
                  <a:pt x="3164" y="957"/>
                </a:lnTo>
                <a:lnTo>
                  <a:pt x="3166" y="953"/>
                </a:lnTo>
                <a:lnTo>
                  <a:pt x="3168" y="954"/>
                </a:lnTo>
                <a:lnTo>
                  <a:pt x="3171" y="956"/>
                </a:lnTo>
                <a:lnTo>
                  <a:pt x="3171" y="955"/>
                </a:lnTo>
                <a:lnTo>
                  <a:pt x="3172" y="953"/>
                </a:lnTo>
                <a:lnTo>
                  <a:pt x="3164" y="949"/>
                </a:lnTo>
                <a:lnTo>
                  <a:pt x="3163" y="949"/>
                </a:lnTo>
                <a:lnTo>
                  <a:pt x="3162" y="947"/>
                </a:lnTo>
                <a:lnTo>
                  <a:pt x="3160" y="945"/>
                </a:lnTo>
                <a:lnTo>
                  <a:pt x="3164" y="945"/>
                </a:lnTo>
                <a:lnTo>
                  <a:pt x="3168" y="942"/>
                </a:lnTo>
                <a:lnTo>
                  <a:pt x="3168" y="942"/>
                </a:lnTo>
                <a:lnTo>
                  <a:pt x="3168" y="941"/>
                </a:lnTo>
                <a:lnTo>
                  <a:pt x="3178" y="937"/>
                </a:lnTo>
                <a:lnTo>
                  <a:pt x="3180" y="937"/>
                </a:lnTo>
                <a:lnTo>
                  <a:pt x="3180" y="936"/>
                </a:lnTo>
                <a:lnTo>
                  <a:pt x="3180" y="933"/>
                </a:lnTo>
                <a:lnTo>
                  <a:pt x="3178" y="933"/>
                </a:lnTo>
                <a:lnTo>
                  <a:pt x="3175" y="934"/>
                </a:lnTo>
                <a:lnTo>
                  <a:pt x="3172" y="936"/>
                </a:lnTo>
                <a:lnTo>
                  <a:pt x="3171" y="934"/>
                </a:lnTo>
                <a:lnTo>
                  <a:pt x="3170" y="935"/>
                </a:lnTo>
                <a:lnTo>
                  <a:pt x="3167" y="937"/>
                </a:lnTo>
                <a:lnTo>
                  <a:pt x="3167" y="937"/>
                </a:lnTo>
                <a:lnTo>
                  <a:pt x="3164" y="937"/>
                </a:lnTo>
                <a:lnTo>
                  <a:pt x="3159" y="937"/>
                </a:lnTo>
                <a:lnTo>
                  <a:pt x="3156" y="941"/>
                </a:lnTo>
                <a:lnTo>
                  <a:pt x="3155" y="941"/>
                </a:lnTo>
                <a:lnTo>
                  <a:pt x="3139" y="945"/>
                </a:lnTo>
                <a:lnTo>
                  <a:pt x="3135" y="945"/>
                </a:lnTo>
                <a:lnTo>
                  <a:pt x="3126" y="949"/>
                </a:lnTo>
                <a:lnTo>
                  <a:pt x="3126" y="948"/>
                </a:lnTo>
                <a:lnTo>
                  <a:pt x="3126" y="948"/>
                </a:lnTo>
                <a:lnTo>
                  <a:pt x="3126" y="948"/>
                </a:lnTo>
                <a:lnTo>
                  <a:pt x="3126" y="948"/>
                </a:lnTo>
                <a:lnTo>
                  <a:pt x="3125" y="945"/>
                </a:lnTo>
                <a:lnTo>
                  <a:pt x="3123" y="948"/>
                </a:lnTo>
                <a:lnTo>
                  <a:pt x="3117" y="949"/>
                </a:lnTo>
                <a:lnTo>
                  <a:pt x="3115" y="953"/>
                </a:lnTo>
                <a:lnTo>
                  <a:pt x="3114" y="953"/>
                </a:lnTo>
                <a:lnTo>
                  <a:pt x="3112" y="951"/>
                </a:lnTo>
                <a:lnTo>
                  <a:pt x="3112" y="953"/>
                </a:lnTo>
                <a:lnTo>
                  <a:pt x="3112" y="953"/>
                </a:lnTo>
                <a:lnTo>
                  <a:pt x="3111" y="951"/>
                </a:lnTo>
                <a:lnTo>
                  <a:pt x="3110" y="949"/>
                </a:lnTo>
                <a:lnTo>
                  <a:pt x="3109" y="953"/>
                </a:lnTo>
                <a:lnTo>
                  <a:pt x="3110" y="954"/>
                </a:lnTo>
                <a:lnTo>
                  <a:pt x="3110" y="953"/>
                </a:lnTo>
                <a:lnTo>
                  <a:pt x="3112" y="953"/>
                </a:lnTo>
                <a:lnTo>
                  <a:pt x="3113" y="954"/>
                </a:lnTo>
                <a:lnTo>
                  <a:pt x="3114" y="954"/>
                </a:lnTo>
                <a:lnTo>
                  <a:pt x="3113" y="955"/>
                </a:lnTo>
                <a:lnTo>
                  <a:pt x="3112" y="957"/>
                </a:lnTo>
                <a:lnTo>
                  <a:pt x="3117" y="956"/>
                </a:lnTo>
                <a:lnTo>
                  <a:pt x="3114" y="961"/>
                </a:lnTo>
                <a:lnTo>
                  <a:pt x="3117" y="961"/>
                </a:lnTo>
                <a:lnTo>
                  <a:pt x="3121" y="962"/>
                </a:lnTo>
                <a:lnTo>
                  <a:pt x="3122" y="962"/>
                </a:lnTo>
                <a:lnTo>
                  <a:pt x="3117" y="953"/>
                </a:lnTo>
                <a:lnTo>
                  <a:pt x="3120" y="953"/>
                </a:lnTo>
                <a:lnTo>
                  <a:pt x="3123" y="960"/>
                </a:lnTo>
                <a:lnTo>
                  <a:pt x="3129" y="965"/>
                </a:lnTo>
                <a:lnTo>
                  <a:pt x="3135" y="964"/>
                </a:lnTo>
                <a:lnTo>
                  <a:pt x="3135" y="965"/>
                </a:lnTo>
                <a:lnTo>
                  <a:pt x="3136" y="965"/>
                </a:lnTo>
                <a:lnTo>
                  <a:pt x="3139" y="961"/>
                </a:lnTo>
                <a:lnTo>
                  <a:pt x="3144" y="964"/>
                </a:lnTo>
                <a:lnTo>
                  <a:pt x="3140" y="965"/>
                </a:lnTo>
                <a:lnTo>
                  <a:pt x="3140" y="971"/>
                </a:lnTo>
                <a:lnTo>
                  <a:pt x="3133" y="972"/>
                </a:lnTo>
                <a:lnTo>
                  <a:pt x="3129" y="968"/>
                </a:lnTo>
                <a:lnTo>
                  <a:pt x="3123" y="975"/>
                </a:lnTo>
                <a:lnTo>
                  <a:pt x="3121" y="973"/>
                </a:lnTo>
                <a:lnTo>
                  <a:pt x="3115" y="975"/>
                </a:lnTo>
                <a:lnTo>
                  <a:pt x="3112" y="980"/>
                </a:lnTo>
                <a:lnTo>
                  <a:pt x="3109" y="982"/>
                </a:lnTo>
                <a:lnTo>
                  <a:pt x="3106" y="984"/>
                </a:lnTo>
                <a:lnTo>
                  <a:pt x="3102" y="983"/>
                </a:lnTo>
                <a:lnTo>
                  <a:pt x="3098" y="981"/>
                </a:lnTo>
                <a:lnTo>
                  <a:pt x="3100" y="981"/>
                </a:lnTo>
                <a:lnTo>
                  <a:pt x="3100" y="975"/>
                </a:lnTo>
                <a:lnTo>
                  <a:pt x="3102" y="973"/>
                </a:lnTo>
                <a:lnTo>
                  <a:pt x="3101" y="969"/>
                </a:lnTo>
                <a:lnTo>
                  <a:pt x="3096" y="969"/>
                </a:lnTo>
                <a:lnTo>
                  <a:pt x="3091" y="969"/>
                </a:lnTo>
                <a:lnTo>
                  <a:pt x="3086" y="969"/>
                </a:lnTo>
                <a:lnTo>
                  <a:pt x="3084" y="966"/>
                </a:lnTo>
                <a:lnTo>
                  <a:pt x="3090" y="960"/>
                </a:lnTo>
                <a:lnTo>
                  <a:pt x="3102" y="954"/>
                </a:lnTo>
                <a:lnTo>
                  <a:pt x="3100" y="953"/>
                </a:lnTo>
                <a:lnTo>
                  <a:pt x="3100" y="951"/>
                </a:lnTo>
                <a:lnTo>
                  <a:pt x="3097" y="953"/>
                </a:lnTo>
                <a:lnTo>
                  <a:pt x="3096" y="949"/>
                </a:lnTo>
                <a:lnTo>
                  <a:pt x="3086" y="951"/>
                </a:lnTo>
                <a:lnTo>
                  <a:pt x="3075" y="948"/>
                </a:lnTo>
                <a:lnTo>
                  <a:pt x="3079" y="946"/>
                </a:lnTo>
                <a:lnTo>
                  <a:pt x="3076" y="946"/>
                </a:lnTo>
                <a:lnTo>
                  <a:pt x="3073" y="945"/>
                </a:lnTo>
                <a:lnTo>
                  <a:pt x="3072" y="945"/>
                </a:lnTo>
                <a:lnTo>
                  <a:pt x="3072" y="945"/>
                </a:lnTo>
                <a:lnTo>
                  <a:pt x="3069" y="945"/>
                </a:lnTo>
                <a:lnTo>
                  <a:pt x="3060" y="942"/>
                </a:lnTo>
                <a:lnTo>
                  <a:pt x="3060" y="946"/>
                </a:lnTo>
                <a:lnTo>
                  <a:pt x="3052" y="957"/>
                </a:lnTo>
                <a:lnTo>
                  <a:pt x="3046" y="957"/>
                </a:lnTo>
                <a:lnTo>
                  <a:pt x="3045" y="959"/>
                </a:lnTo>
                <a:lnTo>
                  <a:pt x="3044" y="961"/>
                </a:lnTo>
                <a:lnTo>
                  <a:pt x="3040" y="956"/>
                </a:lnTo>
                <a:lnTo>
                  <a:pt x="3040" y="961"/>
                </a:lnTo>
                <a:lnTo>
                  <a:pt x="3045" y="964"/>
                </a:lnTo>
                <a:lnTo>
                  <a:pt x="3044" y="967"/>
                </a:lnTo>
                <a:lnTo>
                  <a:pt x="3041" y="965"/>
                </a:lnTo>
                <a:lnTo>
                  <a:pt x="3039" y="964"/>
                </a:lnTo>
                <a:lnTo>
                  <a:pt x="3029" y="967"/>
                </a:lnTo>
                <a:lnTo>
                  <a:pt x="3023" y="965"/>
                </a:lnTo>
                <a:lnTo>
                  <a:pt x="3022" y="965"/>
                </a:lnTo>
                <a:lnTo>
                  <a:pt x="3022" y="964"/>
                </a:lnTo>
                <a:lnTo>
                  <a:pt x="3021" y="965"/>
                </a:lnTo>
                <a:lnTo>
                  <a:pt x="3021" y="966"/>
                </a:lnTo>
                <a:lnTo>
                  <a:pt x="3021" y="966"/>
                </a:lnTo>
                <a:lnTo>
                  <a:pt x="3021" y="966"/>
                </a:lnTo>
                <a:lnTo>
                  <a:pt x="3021" y="966"/>
                </a:lnTo>
                <a:lnTo>
                  <a:pt x="3023" y="967"/>
                </a:lnTo>
                <a:lnTo>
                  <a:pt x="3028" y="970"/>
                </a:lnTo>
                <a:lnTo>
                  <a:pt x="3037" y="967"/>
                </a:lnTo>
                <a:lnTo>
                  <a:pt x="3041" y="968"/>
                </a:lnTo>
                <a:lnTo>
                  <a:pt x="3042" y="971"/>
                </a:lnTo>
                <a:lnTo>
                  <a:pt x="3041" y="981"/>
                </a:lnTo>
                <a:lnTo>
                  <a:pt x="3033" y="981"/>
                </a:lnTo>
                <a:lnTo>
                  <a:pt x="3032" y="982"/>
                </a:lnTo>
                <a:lnTo>
                  <a:pt x="3026" y="986"/>
                </a:lnTo>
                <a:lnTo>
                  <a:pt x="3028" y="994"/>
                </a:lnTo>
                <a:lnTo>
                  <a:pt x="3025" y="999"/>
                </a:lnTo>
                <a:lnTo>
                  <a:pt x="3024" y="999"/>
                </a:lnTo>
                <a:lnTo>
                  <a:pt x="3024" y="1005"/>
                </a:lnTo>
                <a:lnTo>
                  <a:pt x="3020" y="1005"/>
                </a:lnTo>
                <a:lnTo>
                  <a:pt x="3016" y="1007"/>
                </a:lnTo>
                <a:lnTo>
                  <a:pt x="3016" y="1017"/>
                </a:lnTo>
                <a:lnTo>
                  <a:pt x="3014" y="1017"/>
                </a:lnTo>
                <a:lnTo>
                  <a:pt x="3011" y="1021"/>
                </a:lnTo>
                <a:lnTo>
                  <a:pt x="3014" y="1021"/>
                </a:lnTo>
                <a:lnTo>
                  <a:pt x="3016" y="1024"/>
                </a:lnTo>
                <a:lnTo>
                  <a:pt x="3019" y="1026"/>
                </a:lnTo>
                <a:lnTo>
                  <a:pt x="3012" y="1028"/>
                </a:lnTo>
                <a:lnTo>
                  <a:pt x="3015" y="1031"/>
                </a:lnTo>
                <a:lnTo>
                  <a:pt x="3021" y="1028"/>
                </a:lnTo>
                <a:lnTo>
                  <a:pt x="3020" y="1032"/>
                </a:lnTo>
                <a:lnTo>
                  <a:pt x="3021" y="1035"/>
                </a:lnTo>
                <a:lnTo>
                  <a:pt x="3026" y="1038"/>
                </a:lnTo>
                <a:lnTo>
                  <a:pt x="3032" y="1042"/>
                </a:lnTo>
                <a:lnTo>
                  <a:pt x="3032" y="1045"/>
                </a:lnTo>
                <a:lnTo>
                  <a:pt x="3033" y="1049"/>
                </a:lnTo>
                <a:lnTo>
                  <a:pt x="3030" y="1049"/>
                </a:lnTo>
                <a:lnTo>
                  <a:pt x="3028" y="1045"/>
                </a:lnTo>
                <a:lnTo>
                  <a:pt x="3028" y="1045"/>
                </a:lnTo>
                <a:lnTo>
                  <a:pt x="3024" y="1045"/>
                </a:lnTo>
                <a:lnTo>
                  <a:pt x="3021" y="1049"/>
                </a:lnTo>
                <a:lnTo>
                  <a:pt x="3014" y="1049"/>
                </a:lnTo>
                <a:lnTo>
                  <a:pt x="3011" y="1052"/>
                </a:lnTo>
                <a:lnTo>
                  <a:pt x="3003" y="1057"/>
                </a:lnTo>
                <a:lnTo>
                  <a:pt x="3009" y="1057"/>
                </a:lnTo>
                <a:lnTo>
                  <a:pt x="3014" y="1061"/>
                </a:lnTo>
                <a:lnTo>
                  <a:pt x="3019" y="1061"/>
                </a:lnTo>
                <a:lnTo>
                  <a:pt x="3018" y="1059"/>
                </a:lnTo>
                <a:lnTo>
                  <a:pt x="3018" y="1057"/>
                </a:lnTo>
                <a:lnTo>
                  <a:pt x="3020" y="1057"/>
                </a:lnTo>
                <a:lnTo>
                  <a:pt x="3020" y="1061"/>
                </a:lnTo>
                <a:lnTo>
                  <a:pt x="3036" y="1061"/>
                </a:lnTo>
                <a:lnTo>
                  <a:pt x="3038" y="1058"/>
                </a:lnTo>
                <a:lnTo>
                  <a:pt x="3033" y="1055"/>
                </a:lnTo>
                <a:lnTo>
                  <a:pt x="3038" y="1054"/>
                </a:lnTo>
                <a:lnTo>
                  <a:pt x="3043" y="1053"/>
                </a:lnTo>
                <a:lnTo>
                  <a:pt x="3048" y="1053"/>
                </a:lnTo>
                <a:lnTo>
                  <a:pt x="3041" y="1051"/>
                </a:lnTo>
                <a:lnTo>
                  <a:pt x="3038" y="1048"/>
                </a:lnTo>
                <a:lnTo>
                  <a:pt x="3036" y="1045"/>
                </a:lnTo>
                <a:lnTo>
                  <a:pt x="3038" y="1042"/>
                </a:lnTo>
                <a:lnTo>
                  <a:pt x="3051" y="1044"/>
                </a:lnTo>
                <a:lnTo>
                  <a:pt x="3054" y="1043"/>
                </a:lnTo>
                <a:lnTo>
                  <a:pt x="3058" y="1046"/>
                </a:lnTo>
                <a:lnTo>
                  <a:pt x="3062" y="1049"/>
                </a:lnTo>
                <a:lnTo>
                  <a:pt x="3068" y="1049"/>
                </a:lnTo>
                <a:lnTo>
                  <a:pt x="3073" y="1042"/>
                </a:lnTo>
                <a:lnTo>
                  <a:pt x="3082" y="1034"/>
                </a:lnTo>
                <a:lnTo>
                  <a:pt x="3099" y="1029"/>
                </a:lnTo>
                <a:lnTo>
                  <a:pt x="3119" y="1029"/>
                </a:lnTo>
                <a:lnTo>
                  <a:pt x="3121" y="1028"/>
                </a:lnTo>
                <a:lnTo>
                  <a:pt x="3122" y="1027"/>
                </a:lnTo>
                <a:lnTo>
                  <a:pt x="3126" y="1034"/>
                </a:lnTo>
                <a:lnTo>
                  <a:pt x="3130" y="1036"/>
                </a:lnTo>
                <a:lnTo>
                  <a:pt x="3137" y="1037"/>
                </a:lnTo>
                <a:lnTo>
                  <a:pt x="3136" y="1037"/>
                </a:lnTo>
                <a:lnTo>
                  <a:pt x="3136" y="1038"/>
                </a:lnTo>
                <a:lnTo>
                  <a:pt x="3139" y="1040"/>
                </a:lnTo>
                <a:lnTo>
                  <a:pt x="3143" y="1042"/>
                </a:lnTo>
                <a:lnTo>
                  <a:pt x="3145" y="1041"/>
                </a:lnTo>
                <a:lnTo>
                  <a:pt x="3147" y="1039"/>
                </a:lnTo>
                <a:lnTo>
                  <a:pt x="3148" y="1042"/>
                </a:lnTo>
                <a:lnTo>
                  <a:pt x="3148" y="1043"/>
                </a:lnTo>
                <a:lnTo>
                  <a:pt x="3157" y="1045"/>
                </a:lnTo>
                <a:lnTo>
                  <a:pt x="3160" y="1044"/>
                </a:lnTo>
                <a:lnTo>
                  <a:pt x="3162" y="1043"/>
                </a:lnTo>
                <a:lnTo>
                  <a:pt x="3163" y="1045"/>
                </a:lnTo>
                <a:lnTo>
                  <a:pt x="3163" y="1047"/>
                </a:lnTo>
                <a:lnTo>
                  <a:pt x="3171" y="1048"/>
                </a:lnTo>
                <a:lnTo>
                  <a:pt x="3186" y="1045"/>
                </a:lnTo>
                <a:lnTo>
                  <a:pt x="3198" y="1048"/>
                </a:lnTo>
                <a:lnTo>
                  <a:pt x="3216" y="1039"/>
                </a:lnTo>
                <a:lnTo>
                  <a:pt x="3218" y="1037"/>
                </a:lnTo>
                <a:lnTo>
                  <a:pt x="3216" y="1035"/>
                </a:lnTo>
                <a:close/>
                <a:moveTo>
                  <a:pt x="3032" y="981"/>
                </a:moveTo>
                <a:lnTo>
                  <a:pt x="3032" y="980"/>
                </a:lnTo>
                <a:lnTo>
                  <a:pt x="3031" y="981"/>
                </a:lnTo>
                <a:lnTo>
                  <a:pt x="3033" y="981"/>
                </a:lnTo>
                <a:lnTo>
                  <a:pt x="3032" y="981"/>
                </a:lnTo>
                <a:close/>
                <a:moveTo>
                  <a:pt x="3123" y="969"/>
                </a:moveTo>
                <a:lnTo>
                  <a:pt x="3126" y="969"/>
                </a:lnTo>
                <a:lnTo>
                  <a:pt x="3123" y="963"/>
                </a:lnTo>
                <a:lnTo>
                  <a:pt x="3121" y="966"/>
                </a:lnTo>
                <a:lnTo>
                  <a:pt x="3123" y="969"/>
                </a:lnTo>
                <a:close/>
                <a:moveTo>
                  <a:pt x="3245" y="529"/>
                </a:moveTo>
                <a:lnTo>
                  <a:pt x="3244" y="528"/>
                </a:lnTo>
                <a:lnTo>
                  <a:pt x="3242" y="527"/>
                </a:lnTo>
                <a:lnTo>
                  <a:pt x="3242" y="529"/>
                </a:lnTo>
                <a:lnTo>
                  <a:pt x="3244" y="530"/>
                </a:lnTo>
                <a:lnTo>
                  <a:pt x="3245" y="530"/>
                </a:lnTo>
                <a:lnTo>
                  <a:pt x="3245" y="529"/>
                </a:lnTo>
                <a:close/>
                <a:moveTo>
                  <a:pt x="3361" y="1326"/>
                </a:moveTo>
                <a:lnTo>
                  <a:pt x="3361" y="1326"/>
                </a:lnTo>
                <a:lnTo>
                  <a:pt x="3361" y="1326"/>
                </a:lnTo>
                <a:lnTo>
                  <a:pt x="3361" y="1326"/>
                </a:lnTo>
                <a:close/>
                <a:moveTo>
                  <a:pt x="3369" y="470"/>
                </a:moveTo>
                <a:lnTo>
                  <a:pt x="3369" y="471"/>
                </a:lnTo>
                <a:lnTo>
                  <a:pt x="3370" y="472"/>
                </a:lnTo>
                <a:lnTo>
                  <a:pt x="3373" y="470"/>
                </a:lnTo>
                <a:lnTo>
                  <a:pt x="3376" y="469"/>
                </a:lnTo>
                <a:lnTo>
                  <a:pt x="3375" y="467"/>
                </a:lnTo>
                <a:lnTo>
                  <a:pt x="3375" y="467"/>
                </a:lnTo>
                <a:lnTo>
                  <a:pt x="3371" y="467"/>
                </a:lnTo>
                <a:lnTo>
                  <a:pt x="3369" y="470"/>
                </a:lnTo>
                <a:close/>
                <a:moveTo>
                  <a:pt x="3409" y="1043"/>
                </a:moveTo>
                <a:lnTo>
                  <a:pt x="3399" y="1036"/>
                </a:lnTo>
                <a:lnTo>
                  <a:pt x="3397" y="1025"/>
                </a:lnTo>
                <a:lnTo>
                  <a:pt x="3395" y="1023"/>
                </a:lnTo>
                <a:lnTo>
                  <a:pt x="3387" y="1025"/>
                </a:lnTo>
                <a:lnTo>
                  <a:pt x="3383" y="1026"/>
                </a:lnTo>
                <a:lnTo>
                  <a:pt x="3382" y="1027"/>
                </a:lnTo>
                <a:lnTo>
                  <a:pt x="3381" y="1033"/>
                </a:lnTo>
                <a:lnTo>
                  <a:pt x="3382" y="1033"/>
                </a:lnTo>
                <a:lnTo>
                  <a:pt x="3381" y="1037"/>
                </a:lnTo>
                <a:lnTo>
                  <a:pt x="3381" y="1037"/>
                </a:lnTo>
                <a:lnTo>
                  <a:pt x="3377" y="1034"/>
                </a:lnTo>
                <a:lnTo>
                  <a:pt x="3377" y="1032"/>
                </a:lnTo>
                <a:lnTo>
                  <a:pt x="3374" y="1031"/>
                </a:lnTo>
                <a:lnTo>
                  <a:pt x="3369" y="1035"/>
                </a:lnTo>
                <a:lnTo>
                  <a:pt x="3369" y="1032"/>
                </a:lnTo>
                <a:lnTo>
                  <a:pt x="3370" y="1028"/>
                </a:lnTo>
                <a:lnTo>
                  <a:pt x="3376" y="1017"/>
                </a:lnTo>
                <a:lnTo>
                  <a:pt x="3368" y="1013"/>
                </a:lnTo>
                <a:lnTo>
                  <a:pt x="3365" y="1014"/>
                </a:lnTo>
                <a:lnTo>
                  <a:pt x="3363" y="1011"/>
                </a:lnTo>
                <a:lnTo>
                  <a:pt x="3361" y="1009"/>
                </a:lnTo>
                <a:lnTo>
                  <a:pt x="3353" y="1009"/>
                </a:lnTo>
                <a:lnTo>
                  <a:pt x="3353" y="1002"/>
                </a:lnTo>
                <a:lnTo>
                  <a:pt x="3353" y="1000"/>
                </a:lnTo>
                <a:lnTo>
                  <a:pt x="3352" y="997"/>
                </a:lnTo>
                <a:lnTo>
                  <a:pt x="3351" y="993"/>
                </a:lnTo>
                <a:lnTo>
                  <a:pt x="3349" y="990"/>
                </a:lnTo>
                <a:lnTo>
                  <a:pt x="3341" y="986"/>
                </a:lnTo>
                <a:lnTo>
                  <a:pt x="3341" y="982"/>
                </a:lnTo>
                <a:lnTo>
                  <a:pt x="3341" y="980"/>
                </a:lnTo>
                <a:lnTo>
                  <a:pt x="3349" y="982"/>
                </a:lnTo>
                <a:lnTo>
                  <a:pt x="3353" y="985"/>
                </a:lnTo>
                <a:lnTo>
                  <a:pt x="3360" y="985"/>
                </a:lnTo>
                <a:lnTo>
                  <a:pt x="3353" y="982"/>
                </a:lnTo>
                <a:lnTo>
                  <a:pt x="3353" y="980"/>
                </a:lnTo>
                <a:lnTo>
                  <a:pt x="3349" y="976"/>
                </a:lnTo>
                <a:lnTo>
                  <a:pt x="3349" y="975"/>
                </a:lnTo>
                <a:lnTo>
                  <a:pt x="3356" y="972"/>
                </a:lnTo>
                <a:lnTo>
                  <a:pt x="3357" y="969"/>
                </a:lnTo>
                <a:lnTo>
                  <a:pt x="3372" y="969"/>
                </a:lnTo>
                <a:lnTo>
                  <a:pt x="3383" y="969"/>
                </a:lnTo>
                <a:lnTo>
                  <a:pt x="3375" y="963"/>
                </a:lnTo>
                <a:lnTo>
                  <a:pt x="3381" y="955"/>
                </a:lnTo>
                <a:lnTo>
                  <a:pt x="3381" y="953"/>
                </a:lnTo>
                <a:lnTo>
                  <a:pt x="3381" y="953"/>
                </a:lnTo>
                <a:lnTo>
                  <a:pt x="3381" y="950"/>
                </a:lnTo>
                <a:lnTo>
                  <a:pt x="3380" y="951"/>
                </a:lnTo>
                <a:lnTo>
                  <a:pt x="3380" y="949"/>
                </a:lnTo>
                <a:lnTo>
                  <a:pt x="3383" y="951"/>
                </a:lnTo>
                <a:lnTo>
                  <a:pt x="3379" y="947"/>
                </a:lnTo>
                <a:lnTo>
                  <a:pt x="3381" y="945"/>
                </a:lnTo>
                <a:lnTo>
                  <a:pt x="3381" y="943"/>
                </a:lnTo>
                <a:lnTo>
                  <a:pt x="3381" y="942"/>
                </a:lnTo>
                <a:lnTo>
                  <a:pt x="3381" y="940"/>
                </a:lnTo>
                <a:lnTo>
                  <a:pt x="3380" y="939"/>
                </a:lnTo>
                <a:lnTo>
                  <a:pt x="3379" y="937"/>
                </a:lnTo>
                <a:lnTo>
                  <a:pt x="3372" y="937"/>
                </a:lnTo>
                <a:lnTo>
                  <a:pt x="3368" y="940"/>
                </a:lnTo>
                <a:lnTo>
                  <a:pt x="3364" y="939"/>
                </a:lnTo>
                <a:lnTo>
                  <a:pt x="3360" y="937"/>
                </a:lnTo>
                <a:lnTo>
                  <a:pt x="3353" y="937"/>
                </a:lnTo>
                <a:lnTo>
                  <a:pt x="3349" y="941"/>
                </a:lnTo>
                <a:lnTo>
                  <a:pt x="3343" y="941"/>
                </a:lnTo>
                <a:lnTo>
                  <a:pt x="3334" y="945"/>
                </a:lnTo>
                <a:lnTo>
                  <a:pt x="3327" y="945"/>
                </a:lnTo>
                <a:lnTo>
                  <a:pt x="3328" y="947"/>
                </a:lnTo>
                <a:lnTo>
                  <a:pt x="3329" y="948"/>
                </a:lnTo>
                <a:lnTo>
                  <a:pt x="3329" y="948"/>
                </a:lnTo>
                <a:lnTo>
                  <a:pt x="3329" y="948"/>
                </a:lnTo>
                <a:lnTo>
                  <a:pt x="3328" y="948"/>
                </a:lnTo>
                <a:lnTo>
                  <a:pt x="3327" y="947"/>
                </a:lnTo>
                <a:lnTo>
                  <a:pt x="3326" y="948"/>
                </a:lnTo>
                <a:lnTo>
                  <a:pt x="3325" y="949"/>
                </a:lnTo>
                <a:lnTo>
                  <a:pt x="3326" y="949"/>
                </a:lnTo>
                <a:lnTo>
                  <a:pt x="3328" y="953"/>
                </a:lnTo>
                <a:lnTo>
                  <a:pt x="3326" y="953"/>
                </a:lnTo>
                <a:lnTo>
                  <a:pt x="3324" y="953"/>
                </a:lnTo>
                <a:lnTo>
                  <a:pt x="3323" y="953"/>
                </a:lnTo>
                <a:lnTo>
                  <a:pt x="3317" y="953"/>
                </a:lnTo>
                <a:lnTo>
                  <a:pt x="3317" y="954"/>
                </a:lnTo>
                <a:lnTo>
                  <a:pt x="3317" y="956"/>
                </a:lnTo>
                <a:lnTo>
                  <a:pt x="3317" y="957"/>
                </a:lnTo>
                <a:lnTo>
                  <a:pt x="3315" y="958"/>
                </a:lnTo>
                <a:lnTo>
                  <a:pt x="3313" y="960"/>
                </a:lnTo>
                <a:lnTo>
                  <a:pt x="3307" y="963"/>
                </a:lnTo>
                <a:lnTo>
                  <a:pt x="3304" y="961"/>
                </a:lnTo>
                <a:lnTo>
                  <a:pt x="3302" y="960"/>
                </a:lnTo>
                <a:lnTo>
                  <a:pt x="3303" y="962"/>
                </a:lnTo>
                <a:lnTo>
                  <a:pt x="3303" y="965"/>
                </a:lnTo>
                <a:lnTo>
                  <a:pt x="3301" y="960"/>
                </a:lnTo>
                <a:lnTo>
                  <a:pt x="3301" y="962"/>
                </a:lnTo>
                <a:lnTo>
                  <a:pt x="3301" y="963"/>
                </a:lnTo>
                <a:lnTo>
                  <a:pt x="3301" y="967"/>
                </a:lnTo>
                <a:lnTo>
                  <a:pt x="3298" y="972"/>
                </a:lnTo>
                <a:lnTo>
                  <a:pt x="3295" y="977"/>
                </a:lnTo>
                <a:lnTo>
                  <a:pt x="3295" y="977"/>
                </a:lnTo>
                <a:lnTo>
                  <a:pt x="3293" y="977"/>
                </a:lnTo>
                <a:lnTo>
                  <a:pt x="3293" y="976"/>
                </a:lnTo>
                <a:lnTo>
                  <a:pt x="3292" y="978"/>
                </a:lnTo>
                <a:lnTo>
                  <a:pt x="3291" y="980"/>
                </a:lnTo>
                <a:lnTo>
                  <a:pt x="3290" y="981"/>
                </a:lnTo>
                <a:lnTo>
                  <a:pt x="3290" y="983"/>
                </a:lnTo>
                <a:lnTo>
                  <a:pt x="3290" y="984"/>
                </a:lnTo>
                <a:lnTo>
                  <a:pt x="3291" y="985"/>
                </a:lnTo>
                <a:lnTo>
                  <a:pt x="3293" y="986"/>
                </a:lnTo>
                <a:lnTo>
                  <a:pt x="3295" y="987"/>
                </a:lnTo>
                <a:lnTo>
                  <a:pt x="3299" y="993"/>
                </a:lnTo>
                <a:lnTo>
                  <a:pt x="3302" y="997"/>
                </a:lnTo>
                <a:lnTo>
                  <a:pt x="3302" y="997"/>
                </a:lnTo>
                <a:lnTo>
                  <a:pt x="3306" y="997"/>
                </a:lnTo>
                <a:lnTo>
                  <a:pt x="3301" y="1002"/>
                </a:lnTo>
                <a:lnTo>
                  <a:pt x="3301" y="1004"/>
                </a:lnTo>
                <a:lnTo>
                  <a:pt x="3302" y="1005"/>
                </a:lnTo>
                <a:lnTo>
                  <a:pt x="3303" y="1006"/>
                </a:lnTo>
                <a:lnTo>
                  <a:pt x="3303" y="1007"/>
                </a:lnTo>
                <a:lnTo>
                  <a:pt x="3302" y="1008"/>
                </a:lnTo>
                <a:lnTo>
                  <a:pt x="3301" y="1010"/>
                </a:lnTo>
                <a:lnTo>
                  <a:pt x="3301" y="1011"/>
                </a:lnTo>
                <a:lnTo>
                  <a:pt x="3303" y="1012"/>
                </a:lnTo>
                <a:lnTo>
                  <a:pt x="3305" y="1013"/>
                </a:lnTo>
                <a:lnTo>
                  <a:pt x="3305" y="1018"/>
                </a:lnTo>
                <a:lnTo>
                  <a:pt x="3309" y="1021"/>
                </a:lnTo>
                <a:lnTo>
                  <a:pt x="3312" y="1026"/>
                </a:lnTo>
                <a:lnTo>
                  <a:pt x="3314" y="1031"/>
                </a:lnTo>
                <a:lnTo>
                  <a:pt x="3315" y="1031"/>
                </a:lnTo>
                <a:lnTo>
                  <a:pt x="3317" y="1028"/>
                </a:lnTo>
                <a:lnTo>
                  <a:pt x="3324" y="1036"/>
                </a:lnTo>
                <a:lnTo>
                  <a:pt x="3324" y="1043"/>
                </a:lnTo>
                <a:lnTo>
                  <a:pt x="3329" y="1048"/>
                </a:lnTo>
                <a:lnTo>
                  <a:pt x="3329" y="1049"/>
                </a:lnTo>
                <a:lnTo>
                  <a:pt x="3340" y="1053"/>
                </a:lnTo>
                <a:lnTo>
                  <a:pt x="3342" y="1058"/>
                </a:lnTo>
                <a:lnTo>
                  <a:pt x="3335" y="1057"/>
                </a:lnTo>
                <a:lnTo>
                  <a:pt x="3331" y="1061"/>
                </a:lnTo>
                <a:lnTo>
                  <a:pt x="3327" y="1073"/>
                </a:lnTo>
                <a:lnTo>
                  <a:pt x="3328" y="1075"/>
                </a:lnTo>
                <a:lnTo>
                  <a:pt x="3327" y="1078"/>
                </a:lnTo>
                <a:lnTo>
                  <a:pt x="3325" y="1085"/>
                </a:lnTo>
                <a:lnTo>
                  <a:pt x="3324" y="1085"/>
                </a:lnTo>
                <a:lnTo>
                  <a:pt x="3325" y="1082"/>
                </a:lnTo>
                <a:lnTo>
                  <a:pt x="3323" y="1078"/>
                </a:lnTo>
                <a:lnTo>
                  <a:pt x="3321" y="1091"/>
                </a:lnTo>
                <a:lnTo>
                  <a:pt x="3323" y="1089"/>
                </a:lnTo>
                <a:lnTo>
                  <a:pt x="3325" y="1099"/>
                </a:lnTo>
                <a:lnTo>
                  <a:pt x="3326" y="1103"/>
                </a:lnTo>
                <a:lnTo>
                  <a:pt x="3331" y="1106"/>
                </a:lnTo>
                <a:lnTo>
                  <a:pt x="3341" y="1107"/>
                </a:lnTo>
                <a:lnTo>
                  <a:pt x="3345" y="1113"/>
                </a:lnTo>
                <a:lnTo>
                  <a:pt x="3356" y="1119"/>
                </a:lnTo>
                <a:lnTo>
                  <a:pt x="3367" y="1123"/>
                </a:lnTo>
                <a:lnTo>
                  <a:pt x="3393" y="1116"/>
                </a:lnTo>
                <a:lnTo>
                  <a:pt x="3393" y="1115"/>
                </a:lnTo>
                <a:lnTo>
                  <a:pt x="3396" y="1110"/>
                </a:lnTo>
                <a:lnTo>
                  <a:pt x="3397" y="1110"/>
                </a:lnTo>
                <a:lnTo>
                  <a:pt x="3393" y="1099"/>
                </a:lnTo>
                <a:lnTo>
                  <a:pt x="3393" y="1086"/>
                </a:lnTo>
                <a:lnTo>
                  <a:pt x="3395" y="1083"/>
                </a:lnTo>
                <a:lnTo>
                  <a:pt x="3398" y="1080"/>
                </a:lnTo>
                <a:lnTo>
                  <a:pt x="3395" y="1078"/>
                </a:lnTo>
                <a:lnTo>
                  <a:pt x="3393" y="1077"/>
                </a:lnTo>
                <a:lnTo>
                  <a:pt x="3392" y="1074"/>
                </a:lnTo>
                <a:lnTo>
                  <a:pt x="3390" y="1073"/>
                </a:lnTo>
                <a:lnTo>
                  <a:pt x="3392" y="1073"/>
                </a:lnTo>
                <a:lnTo>
                  <a:pt x="3395" y="1073"/>
                </a:lnTo>
                <a:lnTo>
                  <a:pt x="3392" y="1070"/>
                </a:lnTo>
                <a:lnTo>
                  <a:pt x="3390" y="1068"/>
                </a:lnTo>
                <a:lnTo>
                  <a:pt x="3392" y="1065"/>
                </a:lnTo>
                <a:lnTo>
                  <a:pt x="3382" y="1065"/>
                </a:lnTo>
                <a:lnTo>
                  <a:pt x="3383" y="1067"/>
                </a:lnTo>
                <a:lnTo>
                  <a:pt x="3377" y="1060"/>
                </a:lnTo>
                <a:lnTo>
                  <a:pt x="3377" y="1054"/>
                </a:lnTo>
                <a:lnTo>
                  <a:pt x="3381" y="1048"/>
                </a:lnTo>
                <a:lnTo>
                  <a:pt x="3381" y="1042"/>
                </a:lnTo>
                <a:lnTo>
                  <a:pt x="3385" y="1047"/>
                </a:lnTo>
                <a:lnTo>
                  <a:pt x="3388" y="1048"/>
                </a:lnTo>
                <a:lnTo>
                  <a:pt x="3390" y="1048"/>
                </a:lnTo>
                <a:lnTo>
                  <a:pt x="3392" y="1045"/>
                </a:lnTo>
                <a:lnTo>
                  <a:pt x="3395" y="1051"/>
                </a:lnTo>
                <a:lnTo>
                  <a:pt x="3404" y="1048"/>
                </a:lnTo>
                <a:lnTo>
                  <a:pt x="3400" y="1045"/>
                </a:lnTo>
                <a:lnTo>
                  <a:pt x="3403" y="1043"/>
                </a:lnTo>
                <a:lnTo>
                  <a:pt x="3403" y="1043"/>
                </a:lnTo>
                <a:lnTo>
                  <a:pt x="3403" y="1043"/>
                </a:lnTo>
                <a:lnTo>
                  <a:pt x="3404" y="1047"/>
                </a:lnTo>
                <a:lnTo>
                  <a:pt x="3408" y="1045"/>
                </a:lnTo>
                <a:lnTo>
                  <a:pt x="3409" y="1043"/>
                </a:lnTo>
                <a:close/>
                <a:moveTo>
                  <a:pt x="3302" y="998"/>
                </a:moveTo>
                <a:lnTo>
                  <a:pt x="3302" y="997"/>
                </a:lnTo>
                <a:lnTo>
                  <a:pt x="3302" y="998"/>
                </a:lnTo>
                <a:lnTo>
                  <a:pt x="3301" y="999"/>
                </a:lnTo>
                <a:lnTo>
                  <a:pt x="3302" y="998"/>
                </a:lnTo>
                <a:close/>
                <a:moveTo>
                  <a:pt x="3599" y="1330"/>
                </a:moveTo>
                <a:lnTo>
                  <a:pt x="3598" y="1329"/>
                </a:lnTo>
                <a:lnTo>
                  <a:pt x="3598" y="1330"/>
                </a:lnTo>
                <a:lnTo>
                  <a:pt x="3599" y="1330"/>
                </a:lnTo>
                <a:close/>
                <a:moveTo>
                  <a:pt x="3808" y="422"/>
                </a:moveTo>
                <a:lnTo>
                  <a:pt x="3804" y="412"/>
                </a:lnTo>
                <a:lnTo>
                  <a:pt x="3806" y="411"/>
                </a:lnTo>
                <a:lnTo>
                  <a:pt x="3807" y="411"/>
                </a:lnTo>
                <a:lnTo>
                  <a:pt x="3807" y="408"/>
                </a:lnTo>
                <a:lnTo>
                  <a:pt x="3806" y="409"/>
                </a:lnTo>
                <a:lnTo>
                  <a:pt x="3804" y="412"/>
                </a:lnTo>
                <a:lnTo>
                  <a:pt x="3806" y="417"/>
                </a:lnTo>
                <a:lnTo>
                  <a:pt x="3808" y="422"/>
                </a:lnTo>
                <a:close/>
                <a:moveTo>
                  <a:pt x="3929" y="1344"/>
                </a:moveTo>
                <a:lnTo>
                  <a:pt x="3929" y="1344"/>
                </a:lnTo>
                <a:lnTo>
                  <a:pt x="3929" y="1344"/>
                </a:lnTo>
                <a:lnTo>
                  <a:pt x="3929" y="1344"/>
                </a:lnTo>
                <a:close/>
                <a:moveTo>
                  <a:pt x="3959" y="1382"/>
                </a:moveTo>
                <a:lnTo>
                  <a:pt x="3957" y="1379"/>
                </a:lnTo>
                <a:lnTo>
                  <a:pt x="3959" y="1383"/>
                </a:lnTo>
                <a:lnTo>
                  <a:pt x="3959" y="1382"/>
                </a:lnTo>
                <a:close/>
                <a:moveTo>
                  <a:pt x="4182" y="1451"/>
                </a:moveTo>
                <a:lnTo>
                  <a:pt x="4183" y="1451"/>
                </a:lnTo>
                <a:lnTo>
                  <a:pt x="4184" y="1452"/>
                </a:lnTo>
                <a:lnTo>
                  <a:pt x="4184" y="1451"/>
                </a:lnTo>
                <a:lnTo>
                  <a:pt x="4184" y="1451"/>
                </a:lnTo>
                <a:lnTo>
                  <a:pt x="4184" y="1450"/>
                </a:lnTo>
                <a:lnTo>
                  <a:pt x="4183" y="1450"/>
                </a:lnTo>
                <a:lnTo>
                  <a:pt x="4182" y="1451"/>
                </a:lnTo>
                <a:close/>
                <a:moveTo>
                  <a:pt x="4168" y="1448"/>
                </a:moveTo>
                <a:lnTo>
                  <a:pt x="4168" y="1448"/>
                </a:lnTo>
                <a:lnTo>
                  <a:pt x="4168" y="1448"/>
                </a:lnTo>
                <a:lnTo>
                  <a:pt x="4168" y="1448"/>
                </a:lnTo>
                <a:close/>
                <a:moveTo>
                  <a:pt x="4155" y="1540"/>
                </a:moveTo>
                <a:lnTo>
                  <a:pt x="4157" y="1543"/>
                </a:lnTo>
                <a:lnTo>
                  <a:pt x="4157" y="1543"/>
                </a:lnTo>
                <a:lnTo>
                  <a:pt x="4155" y="1540"/>
                </a:lnTo>
                <a:close/>
                <a:moveTo>
                  <a:pt x="4163" y="1375"/>
                </a:moveTo>
                <a:lnTo>
                  <a:pt x="4160" y="1375"/>
                </a:lnTo>
                <a:lnTo>
                  <a:pt x="4162" y="1376"/>
                </a:lnTo>
                <a:lnTo>
                  <a:pt x="4163" y="1377"/>
                </a:lnTo>
                <a:lnTo>
                  <a:pt x="4163" y="1375"/>
                </a:lnTo>
                <a:close/>
                <a:moveTo>
                  <a:pt x="4193" y="1365"/>
                </a:moveTo>
                <a:lnTo>
                  <a:pt x="4192" y="1365"/>
                </a:lnTo>
                <a:lnTo>
                  <a:pt x="4192" y="1365"/>
                </a:lnTo>
                <a:lnTo>
                  <a:pt x="4193" y="1365"/>
                </a:lnTo>
                <a:close/>
                <a:moveTo>
                  <a:pt x="4226" y="1369"/>
                </a:moveTo>
                <a:lnTo>
                  <a:pt x="4226" y="1369"/>
                </a:lnTo>
                <a:lnTo>
                  <a:pt x="4226" y="1369"/>
                </a:lnTo>
                <a:lnTo>
                  <a:pt x="4226" y="1369"/>
                </a:lnTo>
                <a:lnTo>
                  <a:pt x="4225" y="1369"/>
                </a:lnTo>
                <a:lnTo>
                  <a:pt x="4225" y="1369"/>
                </a:lnTo>
                <a:lnTo>
                  <a:pt x="4226" y="1369"/>
                </a:lnTo>
                <a:lnTo>
                  <a:pt x="4226" y="1369"/>
                </a:lnTo>
                <a:lnTo>
                  <a:pt x="4226" y="1370"/>
                </a:lnTo>
                <a:lnTo>
                  <a:pt x="4226" y="1369"/>
                </a:lnTo>
                <a:lnTo>
                  <a:pt x="4226" y="1369"/>
                </a:lnTo>
                <a:close/>
                <a:moveTo>
                  <a:pt x="4381" y="1238"/>
                </a:moveTo>
                <a:lnTo>
                  <a:pt x="4381" y="1238"/>
                </a:lnTo>
                <a:lnTo>
                  <a:pt x="4381" y="1237"/>
                </a:lnTo>
                <a:lnTo>
                  <a:pt x="4381" y="1237"/>
                </a:lnTo>
                <a:lnTo>
                  <a:pt x="4381" y="1238"/>
                </a:lnTo>
                <a:close/>
                <a:moveTo>
                  <a:pt x="4380" y="1240"/>
                </a:moveTo>
                <a:lnTo>
                  <a:pt x="4381" y="1240"/>
                </a:lnTo>
                <a:lnTo>
                  <a:pt x="4381" y="1241"/>
                </a:lnTo>
                <a:lnTo>
                  <a:pt x="4382" y="1241"/>
                </a:lnTo>
                <a:lnTo>
                  <a:pt x="4381" y="1240"/>
                </a:lnTo>
                <a:lnTo>
                  <a:pt x="4381" y="1239"/>
                </a:lnTo>
                <a:lnTo>
                  <a:pt x="4380" y="1240"/>
                </a:lnTo>
                <a:close/>
                <a:moveTo>
                  <a:pt x="4361" y="1228"/>
                </a:moveTo>
                <a:lnTo>
                  <a:pt x="4363" y="1226"/>
                </a:lnTo>
                <a:lnTo>
                  <a:pt x="4363" y="1226"/>
                </a:lnTo>
                <a:lnTo>
                  <a:pt x="4361" y="1226"/>
                </a:lnTo>
                <a:lnTo>
                  <a:pt x="4361" y="1228"/>
                </a:lnTo>
                <a:close/>
                <a:moveTo>
                  <a:pt x="4343" y="1294"/>
                </a:moveTo>
                <a:lnTo>
                  <a:pt x="4344" y="1295"/>
                </a:lnTo>
                <a:lnTo>
                  <a:pt x="4345" y="1297"/>
                </a:lnTo>
                <a:lnTo>
                  <a:pt x="4346" y="1297"/>
                </a:lnTo>
                <a:lnTo>
                  <a:pt x="4347" y="1297"/>
                </a:lnTo>
                <a:lnTo>
                  <a:pt x="4345" y="1295"/>
                </a:lnTo>
                <a:lnTo>
                  <a:pt x="4343" y="1294"/>
                </a:lnTo>
                <a:close/>
                <a:moveTo>
                  <a:pt x="4339" y="1309"/>
                </a:moveTo>
                <a:lnTo>
                  <a:pt x="4342" y="1310"/>
                </a:lnTo>
                <a:lnTo>
                  <a:pt x="4342" y="1309"/>
                </a:lnTo>
                <a:lnTo>
                  <a:pt x="4339" y="1309"/>
                </a:lnTo>
                <a:close/>
                <a:moveTo>
                  <a:pt x="4475" y="1036"/>
                </a:moveTo>
                <a:lnTo>
                  <a:pt x="4474" y="1035"/>
                </a:lnTo>
                <a:lnTo>
                  <a:pt x="4474" y="1035"/>
                </a:lnTo>
                <a:lnTo>
                  <a:pt x="4473" y="1037"/>
                </a:lnTo>
                <a:lnTo>
                  <a:pt x="4467" y="1037"/>
                </a:lnTo>
                <a:lnTo>
                  <a:pt x="4461" y="1037"/>
                </a:lnTo>
                <a:lnTo>
                  <a:pt x="4458" y="1033"/>
                </a:lnTo>
                <a:lnTo>
                  <a:pt x="4456" y="1029"/>
                </a:lnTo>
                <a:lnTo>
                  <a:pt x="4453" y="1031"/>
                </a:lnTo>
                <a:lnTo>
                  <a:pt x="4450" y="1033"/>
                </a:lnTo>
                <a:lnTo>
                  <a:pt x="4450" y="1036"/>
                </a:lnTo>
                <a:lnTo>
                  <a:pt x="4449" y="1038"/>
                </a:lnTo>
                <a:lnTo>
                  <a:pt x="4446" y="1043"/>
                </a:lnTo>
                <a:lnTo>
                  <a:pt x="4442" y="1049"/>
                </a:lnTo>
                <a:lnTo>
                  <a:pt x="4443" y="1049"/>
                </a:lnTo>
                <a:lnTo>
                  <a:pt x="4450" y="1041"/>
                </a:lnTo>
                <a:lnTo>
                  <a:pt x="4450" y="1038"/>
                </a:lnTo>
                <a:lnTo>
                  <a:pt x="4451" y="1036"/>
                </a:lnTo>
                <a:lnTo>
                  <a:pt x="4457" y="1033"/>
                </a:lnTo>
                <a:lnTo>
                  <a:pt x="4460" y="1040"/>
                </a:lnTo>
                <a:lnTo>
                  <a:pt x="4466" y="1040"/>
                </a:lnTo>
                <a:lnTo>
                  <a:pt x="4472" y="1041"/>
                </a:lnTo>
                <a:lnTo>
                  <a:pt x="4475" y="1036"/>
                </a:lnTo>
                <a:close/>
                <a:moveTo>
                  <a:pt x="4490" y="1022"/>
                </a:moveTo>
                <a:lnTo>
                  <a:pt x="4487" y="1025"/>
                </a:lnTo>
                <a:lnTo>
                  <a:pt x="4484" y="1029"/>
                </a:lnTo>
                <a:lnTo>
                  <a:pt x="4472" y="1029"/>
                </a:lnTo>
                <a:lnTo>
                  <a:pt x="4472" y="1030"/>
                </a:lnTo>
                <a:lnTo>
                  <a:pt x="4473" y="1031"/>
                </a:lnTo>
                <a:lnTo>
                  <a:pt x="4473" y="1033"/>
                </a:lnTo>
                <a:lnTo>
                  <a:pt x="4484" y="1033"/>
                </a:lnTo>
                <a:lnTo>
                  <a:pt x="4487" y="1029"/>
                </a:lnTo>
                <a:lnTo>
                  <a:pt x="4489" y="1025"/>
                </a:lnTo>
                <a:lnTo>
                  <a:pt x="4490" y="1022"/>
                </a:lnTo>
                <a:close/>
                <a:moveTo>
                  <a:pt x="4496" y="1018"/>
                </a:moveTo>
                <a:lnTo>
                  <a:pt x="4495" y="1018"/>
                </a:lnTo>
                <a:lnTo>
                  <a:pt x="4494" y="1018"/>
                </a:lnTo>
                <a:lnTo>
                  <a:pt x="4492" y="1018"/>
                </a:lnTo>
                <a:lnTo>
                  <a:pt x="4490" y="1021"/>
                </a:lnTo>
                <a:lnTo>
                  <a:pt x="4493" y="1023"/>
                </a:lnTo>
                <a:lnTo>
                  <a:pt x="4494" y="1022"/>
                </a:lnTo>
                <a:lnTo>
                  <a:pt x="4495" y="1021"/>
                </a:lnTo>
                <a:lnTo>
                  <a:pt x="4496" y="1018"/>
                </a:lnTo>
                <a:close/>
                <a:moveTo>
                  <a:pt x="4514" y="1010"/>
                </a:moveTo>
                <a:lnTo>
                  <a:pt x="4510" y="1011"/>
                </a:lnTo>
                <a:lnTo>
                  <a:pt x="4506" y="1013"/>
                </a:lnTo>
                <a:lnTo>
                  <a:pt x="4506" y="1015"/>
                </a:lnTo>
                <a:lnTo>
                  <a:pt x="4506" y="1015"/>
                </a:lnTo>
                <a:lnTo>
                  <a:pt x="4506" y="1015"/>
                </a:lnTo>
                <a:lnTo>
                  <a:pt x="4502" y="1013"/>
                </a:lnTo>
                <a:lnTo>
                  <a:pt x="4502" y="1010"/>
                </a:lnTo>
                <a:lnTo>
                  <a:pt x="4501" y="1008"/>
                </a:lnTo>
                <a:lnTo>
                  <a:pt x="4499" y="1007"/>
                </a:lnTo>
                <a:lnTo>
                  <a:pt x="4497" y="1011"/>
                </a:lnTo>
                <a:lnTo>
                  <a:pt x="4502" y="1013"/>
                </a:lnTo>
                <a:lnTo>
                  <a:pt x="4502" y="1017"/>
                </a:lnTo>
                <a:lnTo>
                  <a:pt x="4506" y="1020"/>
                </a:lnTo>
                <a:lnTo>
                  <a:pt x="4506" y="1018"/>
                </a:lnTo>
                <a:lnTo>
                  <a:pt x="4505" y="1016"/>
                </a:lnTo>
                <a:lnTo>
                  <a:pt x="4507" y="1015"/>
                </a:lnTo>
                <a:lnTo>
                  <a:pt x="4506" y="1015"/>
                </a:lnTo>
                <a:lnTo>
                  <a:pt x="4508" y="1014"/>
                </a:lnTo>
                <a:lnTo>
                  <a:pt x="4514" y="1013"/>
                </a:lnTo>
                <a:lnTo>
                  <a:pt x="4514" y="1010"/>
                </a:lnTo>
                <a:close/>
                <a:moveTo>
                  <a:pt x="4519" y="1004"/>
                </a:moveTo>
                <a:lnTo>
                  <a:pt x="4519" y="1003"/>
                </a:lnTo>
                <a:lnTo>
                  <a:pt x="4519" y="1004"/>
                </a:lnTo>
                <a:lnTo>
                  <a:pt x="4517" y="1006"/>
                </a:lnTo>
                <a:lnTo>
                  <a:pt x="4517" y="1009"/>
                </a:lnTo>
                <a:lnTo>
                  <a:pt x="4518" y="1007"/>
                </a:lnTo>
                <a:lnTo>
                  <a:pt x="4519" y="1004"/>
                </a:lnTo>
                <a:close/>
                <a:moveTo>
                  <a:pt x="4977" y="748"/>
                </a:moveTo>
                <a:lnTo>
                  <a:pt x="4979" y="747"/>
                </a:lnTo>
                <a:lnTo>
                  <a:pt x="4980" y="746"/>
                </a:lnTo>
                <a:lnTo>
                  <a:pt x="4978" y="746"/>
                </a:lnTo>
                <a:lnTo>
                  <a:pt x="4978" y="747"/>
                </a:lnTo>
                <a:lnTo>
                  <a:pt x="4977" y="748"/>
                </a:lnTo>
                <a:close/>
                <a:moveTo>
                  <a:pt x="4970" y="751"/>
                </a:moveTo>
                <a:lnTo>
                  <a:pt x="4971" y="752"/>
                </a:lnTo>
                <a:lnTo>
                  <a:pt x="4971" y="751"/>
                </a:lnTo>
                <a:lnTo>
                  <a:pt x="4970" y="751"/>
                </a:lnTo>
                <a:close/>
                <a:moveTo>
                  <a:pt x="5131" y="432"/>
                </a:moveTo>
                <a:lnTo>
                  <a:pt x="5126" y="431"/>
                </a:lnTo>
                <a:lnTo>
                  <a:pt x="5127" y="434"/>
                </a:lnTo>
                <a:lnTo>
                  <a:pt x="5131" y="432"/>
                </a:lnTo>
                <a:close/>
                <a:moveTo>
                  <a:pt x="5314" y="519"/>
                </a:moveTo>
                <a:lnTo>
                  <a:pt x="5310" y="517"/>
                </a:lnTo>
                <a:lnTo>
                  <a:pt x="5310" y="519"/>
                </a:lnTo>
                <a:lnTo>
                  <a:pt x="5309" y="523"/>
                </a:lnTo>
                <a:lnTo>
                  <a:pt x="5310" y="523"/>
                </a:lnTo>
                <a:lnTo>
                  <a:pt x="5314" y="519"/>
                </a:lnTo>
                <a:close/>
                <a:moveTo>
                  <a:pt x="4690" y="829"/>
                </a:moveTo>
                <a:lnTo>
                  <a:pt x="4690" y="832"/>
                </a:lnTo>
                <a:lnTo>
                  <a:pt x="4691" y="832"/>
                </a:lnTo>
                <a:lnTo>
                  <a:pt x="4691" y="831"/>
                </a:lnTo>
                <a:lnTo>
                  <a:pt x="4690" y="829"/>
                </a:lnTo>
                <a:close/>
                <a:moveTo>
                  <a:pt x="3338" y="974"/>
                </a:moveTo>
                <a:lnTo>
                  <a:pt x="3335" y="975"/>
                </a:lnTo>
                <a:lnTo>
                  <a:pt x="3339" y="979"/>
                </a:lnTo>
                <a:lnTo>
                  <a:pt x="3339" y="979"/>
                </a:lnTo>
                <a:lnTo>
                  <a:pt x="3339" y="976"/>
                </a:lnTo>
                <a:lnTo>
                  <a:pt x="3338" y="975"/>
                </a:lnTo>
                <a:lnTo>
                  <a:pt x="3339" y="974"/>
                </a:lnTo>
                <a:lnTo>
                  <a:pt x="3338" y="974"/>
                </a:lnTo>
                <a:close/>
                <a:moveTo>
                  <a:pt x="4174" y="1377"/>
                </a:moveTo>
                <a:lnTo>
                  <a:pt x="4175" y="1375"/>
                </a:lnTo>
                <a:lnTo>
                  <a:pt x="4173" y="1376"/>
                </a:lnTo>
                <a:lnTo>
                  <a:pt x="4171" y="1377"/>
                </a:lnTo>
                <a:lnTo>
                  <a:pt x="4174" y="1377"/>
                </a:lnTo>
                <a:close/>
                <a:moveTo>
                  <a:pt x="4043" y="1501"/>
                </a:moveTo>
                <a:lnTo>
                  <a:pt x="4041" y="1501"/>
                </a:lnTo>
                <a:lnTo>
                  <a:pt x="4041" y="1506"/>
                </a:lnTo>
                <a:lnTo>
                  <a:pt x="4043" y="1505"/>
                </a:lnTo>
                <a:lnTo>
                  <a:pt x="4043" y="1501"/>
                </a:lnTo>
                <a:close/>
                <a:moveTo>
                  <a:pt x="3221" y="1440"/>
                </a:moveTo>
                <a:lnTo>
                  <a:pt x="3220" y="1442"/>
                </a:lnTo>
                <a:lnTo>
                  <a:pt x="3224" y="1443"/>
                </a:lnTo>
                <a:lnTo>
                  <a:pt x="3221" y="1440"/>
                </a:lnTo>
                <a:close/>
                <a:moveTo>
                  <a:pt x="3380" y="949"/>
                </a:moveTo>
                <a:lnTo>
                  <a:pt x="3380" y="949"/>
                </a:lnTo>
                <a:lnTo>
                  <a:pt x="3380" y="949"/>
                </a:lnTo>
                <a:lnTo>
                  <a:pt x="3380" y="949"/>
                </a:lnTo>
                <a:lnTo>
                  <a:pt x="3380" y="949"/>
                </a:lnTo>
                <a:close/>
                <a:moveTo>
                  <a:pt x="3234" y="1483"/>
                </a:moveTo>
                <a:lnTo>
                  <a:pt x="3234" y="1480"/>
                </a:lnTo>
                <a:lnTo>
                  <a:pt x="3232" y="1480"/>
                </a:lnTo>
                <a:lnTo>
                  <a:pt x="3234" y="1483"/>
                </a:lnTo>
                <a:close/>
                <a:moveTo>
                  <a:pt x="3191" y="1460"/>
                </a:moveTo>
                <a:lnTo>
                  <a:pt x="3198" y="1460"/>
                </a:lnTo>
                <a:lnTo>
                  <a:pt x="3196" y="1459"/>
                </a:lnTo>
                <a:lnTo>
                  <a:pt x="3194" y="1459"/>
                </a:lnTo>
                <a:lnTo>
                  <a:pt x="3194" y="1456"/>
                </a:lnTo>
                <a:lnTo>
                  <a:pt x="3193" y="1455"/>
                </a:lnTo>
                <a:lnTo>
                  <a:pt x="3193" y="1456"/>
                </a:lnTo>
                <a:lnTo>
                  <a:pt x="3191" y="1456"/>
                </a:lnTo>
                <a:lnTo>
                  <a:pt x="3193" y="1459"/>
                </a:lnTo>
                <a:lnTo>
                  <a:pt x="3191" y="1459"/>
                </a:lnTo>
                <a:lnTo>
                  <a:pt x="3191" y="1460"/>
                </a:lnTo>
                <a:close/>
                <a:moveTo>
                  <a:pt x="3224" y="1443"/>
                </a:moveTo>
                <a:lnTo>
                  <a:pt x="3221" y="1443"/>
                </a:lnTo>
                <a:lnTo>
                  <a:pt x="3220" y="1442"/>
                </a:lnTo>
                <a:lnTo>
                  <a:pt x="3220" y="1443"/>
                </a:lnTo>
                <a:lnTo>
                  <a:pt x="3225" y="1445"/>
                </a:lnTo>
                <a:lnTo>
                  <a:pt x="3225" y="1442"/>
                </a:lnTo>
                <a:lnTo>
                  <a:pt x="3225" y="1442"/>
                </a:lnTo>
                <a:lnTo>
                  <a:pt x="3225" y="1442"/>
                </a:lnTo>
                <a:lnTo>
                  <a:pt x="3224" y="1443"/>
                </a:lnTo>
                <a:close/>
                <a:moveTo>
                  <a:pt x="3183" y="1781"/>
                </a:moveTo>
                <a:lnTo>
                  <a:pt x="3180" y="1785"/>
                </a:lnTo>
                <a:lnTo>
                  <a:pt x="3180" y="1788"/>
                </a:lnTo>
                <a:lnTo>
                  <a:pt x="3184" y="1790"/>
                </a:lnTo>
                <a:lnTo>
                  <a:pt x="3188" y="1792"/>
                </a:lnTo>
                <a:lnTo>
                  <a:pt x="3188" y="1792"/>
                </a:lnTo>
                <a:lnTo>
                  <a:pt x="3188" y="1792"/>
                </a:lnTo>
                <a:lnTo>
                  <a:pt x="3189" y="1790"/>
                </a:lnTo>
                <a:lnTo>
                  <a:pt x="3188" y="1788"/>
                </a:lnTo>
                <a:lnTo>
                  <a:pt x="3186" y="1785"/>
                </a:lnTo>
                <a:lnTo>
                  <a:pt x="3183" y="1781"/>
                </a:lnTo>
                <a:close/>
                <a:moveTo>
                  <a:pt x="3192" y="1780"/>
                </a:moveTo>
                <a:lnTo>
                  <a:pt x="3192" y="1773"/>
                </a:lnTo>
                <a:lnTo>
                  <a:pt x="3192" y="1768"/>
                </a:lnTo>
                <a:lnTo>
                  <a:pt x="3188" y="1768"/>
                </a:lnTo>
                <a:lnTo>
                  <a:pt x="3188" y="1773"/>
                </a:lnTo>
                <a:lnTo>
                  <a:pt x="3189" y="1780"/>
                </a:lnTo>
                <a:lnTo>
                  <a:pt x="3192" y="1780"/>
                </a:lnTo>
                <a:close/>
                <a:moveTo>
                  <a:pt x="3194" y="1452"/>
                </a:moveTo>
                <a:lnTo>
                  <a:pt x="3193" y="1452"/>
                </a:lnTo>
                <a:lnTo>
                  <a:pt x="3193" y="1453"/>
                </a:lnTo>
                <a:lnTo>
                  <a:pt x="3194" y="1453"/>
                </a:lnTo>
                <a:lnTo>
                  <a:pt x="3194" y="1452"/>
                </a:lnTo>
                <a:close/>
                <a:moveTo>
                  <a:pt x="4044" y="1524"/>
                </a:moveTo>
                <a:lnTo>
                  <a:pt x="4043" y="1525"/>
                </a:lnTo>
                <a:lnTo>
                  <a:pt x="4044" y="1528"/>
                </a:lnTo>
                <a:lnTo>
                  <a:pt x="4044" y="1524"/>
                </a:lnTo>
                <a:close/>
                <a:moveTo>
                  <a:pt x="4102" y="1517"/>
                </a:moveTo>
                <a:lnTo>
                  <a:pt x="4102" y="1520"/>
                </a:lnTo>
                <a:lnTo>
                  <a:pt x="4103" y="1520"/>
                </a:lnTo>
                <a:lnTo>
                  <a:pt x="4102" y="1517"/>
                </a:lnTo>
                <a:lnTo>
                  <a:pt x="4102" y="1517"/>
                </a:lnTo>
                <a:close/>
                <a:moveTo>
                  <a:pt x="4099" y="1513"/>
                </a:moveTo>
                <a:lnTo>
                  <a:pt x="4099" y="1514"/>
                </a:lnTo>
                <a:lnTo>
                  <a:pt x="4101" y="1514"/>
                </a:lnTo>
                <a:lnTo>
                  <a:pt x="4099" y="1513"/>
                </a:lnTo>
                <a:lnTo>
                  <a:pt x="4099" y="1513"/>
                </a:lnTo>
                <a:close/>
                <a:moveTo>
                  <a:pt x="4072" y="1588"/>
                </a:moveTo>
                <a:lnTo>
                  <a:pt x="4072" y="1588"/>
                </a:lnTo>
                <a:lnTo>
                  <a:pt x="4072" y="1587"/>
                </a:lnTo>
                <a:lnTo>
                  <a:pt x="4072" y="1588"/>
                </a:lnTo>
                <a:lnTo>
                  <a:pt x="4072" y="1588"/>
                </a:lnTo>
                <a:close/>
                <a:moveTo>
                  <a:pt x="4123" y="1544"/>
                </a:moveTo>
                <a:lnTo>
                  <a:pt x="4123" y="1544"/>
                </a:lnTo>
                <a:lnTo>
                  <a:pt x="4123" y="1539"/>
                </a:lnTo>
                <a:lnTo>
                  <a:pt x="4123" y="1536"/>
                </a:lnTo>
                <a:lnTo>
                  <a:pt x="4123" y="1536"/>
                </a:lnTo>
                <a:lnTo>
                  <a:pt x="4121" y="1539"/>
                </a:lnTo>
                <a:lnTo>
                  <a:pt x="4123" y="1544"/>
                </a:lnTo>
                <a:close/>
                <a:moveTo>
                  <a:pt x="4066" y="1555"/>
                </a:moveTo>
                <a:lnTo>
                  <a:pt x="4066" y="1552"/>
                </a:lnTo>
                <a:lnTo>
                  <a:pt x="4066" y="1552"/>
                </a:lnTo>
                <a:lnTo>
                  <a:pt x="4066" y="1555"/>
                </a:lnTo>
                <a:close/>
                <a:moveTo>
                  <a:pt x="4166" y="1377"/>
                </a:moveTo>
                <a:lnTo>
                  <a:pt x="4167" y="1380"/>
                </a:lnTo>
                <a:lnTo>
                  <a:pt x="4168" y="1379"/>
                </a:lnTo>
                <a:lnTo>
                  <a:pt x="4168" y="1378"/>
                </a:lnTo>
                <a:lnTo>
                  <a:pt x="4167" y="1378"/>
                </a:lnTo>
                <a:lnTo>
                  <a:pt x="4166" y="1377"/>
                </a:lnTo>
                <a:close/>
                <a:moveTo>
                  <a:pt x="4066" y="1547"/>
                </a:moveTo>
                <a:lnTo>
                  <a:pt x="4066" y="1549"/>
                </a:lnTo>
                <a:lnTo>
                  <a:pt x="4066" y="1549"/>
                </a:lnTo>
                <a:lnTo>
                  <a:pt x="4066" y="1547"/>
                </a:lnTo>
                <a:close/>
                <a:moveTo>
                  <a:pt x="4069" y="1579"/>
                </a:moveTo>
                <a:lnTo>
                  <a:pt x="4071" y="1586"/>
                </a:lnTo>
                <a:lnTo>
                  <a:pt x="4072" y="1587"/>
                </a:lnTo>
                <a:lnTo>
                  <a:pt x="4071" y="1586"/>
                </a:lnTo>
                <a:lnTo>
                  <a:pt x="4069" y="1579"/>
                </a:lnTo>
                <a:close/>
                <a:moveTo>
                  <a:pt x="3341" y="974"/>
                </a:moveTo>
                <a:lnTo>
                  <a:pt x="3341" y="975"/>
                </a:lnTo>
                <a:lnTo>
                  <a:pt x="3343" y="974"/>
                </a:lnTo>
                <a:lnTo>
                  <a:pt x="3341" y="974"/>
                </a:lnTo>
                <a:close/>
                <a:moveTo>
                  <a:pt x="2961" y="1141"/>
                </a:moveTo>
                <a:lnTo>
                  <a:pt x="2962" y="1139"/>
                </a:lnTo>
                <a:lnTo>
                  <a:pt x="2957" y="1141"/>
                </a:lnTo>
                <a:lnTo>
                  <a:pt x="2952" y="1138"/>
                </a:lnTo>
                <a:lnTo>
                  <a:pt x="2952" y="1138"/>
                </a:lnTo>
                <a:lnTo>
                  <a:pt x="2952" y="1140"/>
                </a:lnTo>
                <a:lnTo>
                  <a:pt x="2952" y="1144"/>
                </a:lnTo>
                <a:lnTo>
                  <a:pt x="2955" y="1146"/>
                </a:lnTo>
                <a:lnTo>
                  <a:pt x="2965" y="1146"/>
                </a:lnTo>
                <a:lnTo>
                  <a:pt x="2963" y="1143"/>
                </a:lnTo>
                <a:lnTo>
                  <a:pt x="2961" y="1141"/>
                </a:lnTo>
                <a:close/>
                <a:moveTo>
                  <a:pt x="2984" y="1145"/>
                </a:moveTo>
                <a:lnTo>
                  <a:pt x="2984" y="1146"/>
                </a:lnTo>
                <a:lnTo>
                  <a:pt x="2980" y="1146"/>
                </a:lnTo>
                <a:lnTo>
                  <a:pt x="2971" y="1146"/>
                </a:lnTo>
                <a:lnTo>
                  <a:pt x="2966" y="1146"/>
                </a:lnTo>
                <a:lnTo>
                  <a:pt x="2968" y="1148"/>
                </a:lnTo>
                <a:lnTo>
                  <a:pt x="2968" y="1150"/>
                </a:lnTo>
                <a:lnTo>
                  <a:pt x="2974" y="1150"/>
                </a:lnTo>
                <a:lnTo>
                  <a:pt x="2989" y="1149"/>
                </a:lnTo>
                <a:lnTo>
                  <a:pt x="2990" y="1149"/>
                </a:lnTo>
                <a:lnTo>
                  <a:pt x="2992" y="1148"/>
                </a:lnTo>
                <a:lnTo>
                  <a:pt x="2992" y="1146"/>
                </a:lnTo>
                <a:lnTo>
                  <a:pt x="2987" y="1149"/>
                </a:lnTo>
                <a:lnTo>
                  <a:pt x="2984" y="1145"/>
                </a:lnTo>
                <a:close/>
                <a:moveTo>
                  <a:pt x="2967" y="1119"/>
                </a:moveTo>
                <a:lnTo>
                  <a:pt x="2965" y="1119"/>
                </a:lnTo>
                <a:lnTo>
                  <a:pt x="2965" y="1121"/>
                </a:lnTo>
                <a:lnTo>
                  <a:pt x="2967" y="1121"/>
                </a:lnTo>
                <a:lnTo>
                  <a:pt x="2967" y="1119"/>
                </a:lnTo>
                <a:close/>
                <a:moveTo>
                  <a:pt x="2954" y="1099"/>
                </a:moveTo>
                <a:lnTo>
                  <a:pt x="2952" y="1099"/>
                </a:lnTo>
                <a:lnTo>
                  <a:pt x="2954" y="1099"/>
                </a:lnTo>
                <a:lnTo>
                  <a:pt x="2954" y="1099"/>
                </a:lnTo>
                <a:close/>
                <a:moveTo>
                  <a:pt x="2952" y="1102"/>
                </a:moveTo>
                <a:lnTo>
                  <a:pt x="2952" y="1103"/>
                </a:lnTo>
                <a:lnTo>
                  <a:pt x="2952" y="1103"/>
                </a:lnTo>
                <a:lnTo>
                  <a:pt x="2954" y="1102"/>
                </a:lnTo>
                <a:lnTo>
                  <a:pt x="2952" y="1102"/>
                </a:lnTo>
                <a:close/>
                <a:moveTo>
                  <a:pt x="2992" y="1146"/>
                </a:moveTo>
                <a:lnTo>
                  <a:pt x="2993" y="1146"/>
                </a:lnTo>
                <a:lnTo>
                  <a:pt x="2992" y="1146"/>
                </a:lnTo>
                <a:lnTo>
                  <a:pt x="2992" y="1146"/>
                </a:lnTo>
                <a:close/>
                <a:moveTo>
                  <a:pt x="3003" y="1103"/>
                </a:moveTo>
                <a:lnTo>
                  <a:pt x="2999" y="1102"/>
                </a:lnTo>
                <a:lnTo>
                  <a:pt x="2999" y="1103"/>
                </a:lnTo>
                <a:lnTo>
                  <a:pt x="2998" y="1103"/>
                </a:lnTo>
                <a:lnTo>
                  <a:pt x="3000" y="1104"/>
                </a:lnTo>
                <a:lnTo>
                  <a:pt x="3003" y="1103"/>
                </a:lnTo>
                <a:close/>
                <a:moveTo>
                  <a:pt x="2995" y="1121"/>
                </a:moveTo>
                <a:lnTo>
                  <a:pt x="2994" y="1122"/>
                </a:lnTo>
                <a:lnTo>
                  <a:pt x="2993" y="1122"/>
                </a:lnTo>
                <a:lnTo>
                  <a:pt x="2996" y="1122"/>
                </a:lnTo>
                <a:lnTo>
                  <a:pt x="2995" y="1122"/>
                </a:lnTo>
                <a:lnTo>
                  <a:pt x="2995" y="1121"/>
                </a:lnTo>
                <a:close/>
                <a:moveTo>
                  <a:pt x="2962" y="1057"/>
                </a:moveTo>
                <a:lnTo>
                  <a:pt x="2965" y="1059"/>
                </a:lnTo>
                <a:lnTo>
                  <a:pt x="2966" y="1059"/>
                </a:lnTo>
                <a:lnTo>
                  <a:pt x="2962" y="1057"/>
                </a:lnTo>
                <a:close/>
                <a:moveTo>
                  <a:pt x="2971" y="1052"/>
                </a:moveTo>
                <a:lnTo>
                  <a:pt x="2971" y="1049"/>
                </a:lnTo>
                <a:lnTo>
                  <a:pt x="2969" y="1049"/>
                </a:lnTo>
                <a:lnTo>
                  <a:pt x="2967" y="1050"/>
                </a:lnTo>
                <a:lnTo>
                  <a:pt x="2969" y="1052"/>
                </a:lnTo>
                <a:lnTo>
                  <a:pt x="2971" y="1052"/>
                </a:lnTo>
                <a:close/>
                <a:moveTo>
                  <a:pt x="2972" y="1118"/>
                </a:moveTo>
                <a:lnTo>
                  <a:pt x="2974" y="1118"/>
                </a:lnTo>
                <a:lnTo>
                  <a:pt x="2972" y="1116"/>
                </a:lnTo>
                <a:lnTo>
                  <a:pt x="2972" y="1118"/>
                </a:lnTo>
                <a:close/>
                <a:moveTo>
                  <a:pt x="2973" y="1106"/>
                </a:moveTo>
                <a:lnTo>
                  <a:pt x="2973" y="1108"/>
                </a:lnTo>
                <a:lnTo>
                  <a:pt x="2974" y="1108"/>
                </a:lnTo>
                <a:lnTo>
                  <a:pt x="2973" y="1106"/>
                </a:lnTo>
                <a:close/>
                <a:moveTo>
                  <a:pt x="2967" y="1084"/>
                </a:moveTo>
                <a:lnTo>
                  <a:pt x="2969" y="1082"/>
                </a:lnTo>
                <a:lnTo>
                  <a:pt x="2967" y="1079"/>
                </a:lnTo>
                <a:lnTo>
                  <a:pt x="2966" y="1080"/>
                </a:lnTo>
                <a:lnTo>
                  <a:pt x="2967" y="1084"/>
                </a:lnTo>
                <a:close/>
                <a:moveTo>
                  <a:pt x="3002" y="1142"/>
                </a:moveTo>
                <a:lnTo>
                  <a:pt x="3003" y="1140"/>
                </a:lnTo>
                <a:lnTo>
                  <a:pt x="3000" y="1142"/>
                </a:lnTo>
                <a:lnTo>
                  <a:pt x="3002" y="1142"/>
                </a:lnTo>
                <a:close/>
                <a:moveTo>
                  <a:pt x="3020" y="1057"/>
                </a:moveTo>
                <a:lnTo>
                  <a:pt x="3020" y="1057"/>
                </a:lnTo>
                <a:lnTo>
                  <a:pt x="3022" y="1057"/>
                </a:lnTo>
                <a:lnTo>
                  <a:pt x="3020" y="1057"/>
                </a:lnTo>
                <a:close/>
                <a:moveTo>
                  <a:pt x="2965" y="1103"/>
                </a:moveTo>
                <a:lnTo>
                  <a:pt x="2965" y="1106"/>
                </a:lnTo>
                <a:lnTo>
                  <a:pt x="2965" y="1106"/>
                </a:lnTo>
                <a:lnTo>
                  <a:pt x="2966" y="1103"/>
                </a:lnTo>
                <a:lnTo>
                  <a:pt x="2965" y="1103"/>
                </a:lnTo>
                <a:close/>
                <a:moveTo>
                  <a:pt x="2966" y="1110"/>
                </a:moveTo>
                <a:lnTo>
                  <a:pt x="2967" y="1108"/>
                </a:lnTo>
                <a:lnTo>
                  <a:pt x="2966" y="1106"/>
                </a:lnTo>
                <a:lnTo>
                  <a:pt x="2966" y="1110"/>
                </a:lnTo>
                <a:close/>
                <a:moveTo>
                  <a:pt x="2966" y="1114"/>
                </a:moveTo>
                <a:lnTo>
                  <a:pt x="2967" y="1114"/>
                </a:lnTo>
                <a:lnTo>
                  <a:pt x="2967" y="1111"/>
                </a:lnTo>
                <a:lnTo>
                  <a:pt x="2966" y="1111"/>
                </a:lnTo>
                <a:lnTo>
                  <a:pt x="2966" y="1114"/>
                </a:lnTo>
                <a:close/>
                <a:moveTo>
                  <a:pt x="3145" y="967"/>
                </a:moveTo>
                <a:lnTo>
                  <a:pt x="3145" y="967"/>
                </a:lnTo>
                <a:lnTo>
                  <a:pt x="3145" y="968"/>
                </a:lnTo>
                <a:lnTo>
                  <a:pt x="3144" y="968"/>
                </a:lnTo>
                <a:lnTo>
                  <a:pt x="3145" y="967"/>
                </a:lnTo>
                <a:lnTo>
                  <a:pt x="3145" y="967"/>
                </a:lnTo>
                <a:lnTo>
                  <a:pt x="3145" y="967"/>
                </a:lnTo>
                <a:close/>
                <a:moveTo>
                  <a:pt x="3146" y="967"/>
                </a:moveTo>
                <a:lnTo>
                  <a:pt x="3145" y="967"/>
                </a:lnTo>
                <a:lnTo>
                  <a:pt x="3146" y="967"/>
                </a:lnTo>
                <a:lnTo>
                  <a:pt x="3146" y="967"/>
                </a:lnTo>
                <a:close/>
                <a:moveTo>
                  <a:pt x="3145" y="967"/>
                </a:moveTo>
                <a:lnTo>
                  <a:pt x="3147" y="968"/>
                </a:lnTo>
                <a:lnTo>
                  <a:pt x="3146" y="967"/>
                </a:lnTo>
                <a:lnTo>
                  <a:pt x="3145" y="967"/>
                </a:lnTo>
                <a:close/>
                <a:moveTo>
                  <a:pt x="3145" y="967"/>
                </a:moveTo>
                <a:lnTo>
                  <a:pt x="3145" y="967"/>
                </a:lnTo>
                <a:lnTo>
                  <a:pt x="3145" y="967"/>
                </a:lnTo>
                <a:lnTo>
                  <a:pt x="3145" y="967"/>
                </a:lnTo>
                <a:close/>
                <a:moveTo>
                  <a:pt x="3126" y="948"/>
                </a:moveTo>
                <a:lnTo>
                  <a:pt x="3126" y="948"/>
                </a:lnTo>
                <a:lnTo>
                  <a:pt x="3121" y="951"/>
                </a:lnTo>
                <a:lnTo>
                  <a:pt x="3126" y="948"/>
                </a:lnTo>
                <a:close/>
                <a:moveTo>
                  <a:pt x="3147" y="968"/>
                </a:moveTo>
                <a:lnTo>
                  <a:pt x="3148" y="968"/>
                </a:lnTo>
                <a:lnTo>
                  <a:pt x="3148" y="969"/>
                </a:lnTo>
                <a:lnTo>
                  <a:pt x="3149" y="968"/>
                </a:lnTo>
                <a:lnTo>
                  <a:pt x="3147" y="968"/>
                </a:lnTo>
                <a:close/>
                <a:moveTo>
                  <a:pt x="3044" y="961"/>
                </a:moveTo>
                <a:lnTo>
                  <a:pt x="3045" y="961"/>
                </a:lnTo>
                <a:lnTo>
                  <a:pt x="3044" y="961"/>
                </a:lnTo>
                <a:lnTo>
                  <a:pt x="3044" y="961"/>
                </a:lnTo>
                <a:lnTo>
                  <a:pt x="3044" y="961"/>
                </a:lnTo>
                <a:close/>
                <a:moveTo>
                  <a:pt x="3115" y="1138"/>
                </a:moveTo>
                <a:lnTo>
                  <a:pt x="3115" y="1138"/>
                </a:lnTo>
                <a:lnTo>
                  <a:pt x="3115" y="1138"/>
                </a:lnTo>
                <a:lnTo>
                  <a:pt x="3115" y="1138"/>
                </a:lnTo>
                <a:close/>
                <a:moveTo>
                  <a:pt x="3115" y="1140"/>
                </a:moveTo>
                <a:lnTo>
                  <a:pt x="3115" y="1138"/>
                </a:lnTo>
                <a:lnTo>
                  <a:pt x="3104" y="1145"/>
                </a:lnTo>
                <a:lnTo>
                  <a:pt x="3115" y="1140"/>
                </a:lnTo>
                <a:close/>
                <a:moveTo>
                  <a:pt x="3015" y="1122"/>
                </a:moveTo>
                <a:lnTo>
                  <a:pt x="3015" y="1122"/>
                </a:lnTo>
                <a:lnTo>
                  <a:pt x="3014" y="1122"/>
                </a:lnTo>
                <a:lnTo>
                  <a:pt x="3014" y="1122"/>
                </a:lnTo>
                <a:lnTo>
                  <a:pt x="3015" y="1122"/>
                </a:lnTo>
                <a:close/>
                <a:moveTo>
                  <a:pt x="3015" y="1121"/>
                </a:moveTo>
                <a:lnTo>
                  <a:pt x="3014" y="1122"/>
                </a:lnTo>
                <a:lnTo>
                  <a:pt x="3015" y="1122"/>
                </a:lnTo>
                <a:lnTo>
                  <a:pt x="3015" y="1121"/>
                </a:lnTo>
                <a:close/>
                <a:moveTo>
                  <a:pt x="3009" y="1126"/>
                </a:moveTo>
                <a:lnTo>
                  <a:pt x="3009" y="1126"/>
                </a:lnTo>
                <a:lnTo>
                  <a:pt x="3010" y="1125"/>
                </a:lnTo>
                <a:lnTo>
                  <a:pt x="3007" y="1125"/>
                </a:lnTo>
                <a:lnTo>
                  <a:pt x="3009" y="1126"/>
                </a:lnTo>
                <a:close/>
                <a:moveTo>
                  <a:pt x="3006" y="1142"/>
                </a:moveTo>
                <a:lnTo>
                  <a:pt x="3007" y="1134"/>
                </a:lnTo>
                <a:lnTo>
                  <a:pt x="3003" y="1138"/>
                </a:lnTo>
                <a:lnTo>
                  <a:pt x="3006" y="1142"/>
                </a:lnTo>
                <a:close/>
                <a:moveTo>
                  <a:pt x="3088" y="1146"/>
                </a:moveTo>
                <a:lnTo>
                  <a:pt x="3088" y="1150"/>
                </a:lnTo>
                <a:lnTo>
                  <a:pt x="3088" y="1150"/>
                </a:lnTo>
                <a:lnTo>
                  <a:pt x="3084" y="1151"/>
                </a:lnTo>
                <a:lnTo>
                  <a:pt x="3081" y="1150"/>
                </a:lnTo>
                <a:lnTo>
                  <a:pt x="3084" y="1154"/>
                </a:lnTo>
                <a:lnTo>
                  <a:pt x="3091" y="1154"/>
                </a:lnTo>
                <a:lnTo>
                  <a:pt x="3092" y="1155"/>
                </a:lnTo>
                <a:lnTo>
                  <a:pt x="3092" y="1155"/>
                </a:lnTo>
                <a:lnTo>
                  <a:pt x="3095" y="1154"/>
                </a:lnTo>
                <a:lnTo>
                  <a:pt x="3096" y="1154"/>
                </a:lnTo>
                <a:lnTo>
                  <a:pt x="3100" y="1152"/>
                </a:lnTo>
                <a:lnTo>
                  <a:pt x="3100" y="1150"/>
                </a:lnTo>
                <a:lnTo>
                  <a:pt x="3109" y="1150"/>
                </a:lnTo>
                <a:lnTo>
                  <a:pt x="3104" y="1146"/>
                </a:lnTo>
                <a:lnTo>
                  <a:pt x="3104" y="1145"/>
                </a:lnTo>
                <a:lnTo>
                  <a:pt x="3104" y="1145"/>
                </a:lnTo>
                <a:lnTo>
                  <a:pt x="3102" y="1146"/>
                </a:lnTo>
                <a:lnTo>
                  <a:pt x="3088" y="1146"/>
                </a:lnTo>
                <a:close/>
                <a:moveTo>
                  <a:pt x="3014" y="1122"/>
                </a:moveTo>
                <a:lnTo>
                  <a:pt x="3014" y="1122"/>
                </a:lnTo>
                <a:lnTo>
                  <a:pt x="3013" y="1122"/>
                </a:lnTo>
                <a:lnTo>
                  <a:pt x="3014" y="1122"/>
                </a:lnTo>
                <a:lnTo>
                  <a:pt x="3014" y="1122"/>
                </a:lnTo>
                <a:close/>
                <a:moveTo>
                  <a:pt x="3012" y="1129"/>
                </a:moveTo>
                <a:lnTo>
                  <a:pt x="3012" y="1134"/>
                </a:lnTo>
                <a:lnTo>
                  <a:pt x="3014" y="1133"/>
                </a:lnTo>
                <a:lnTo>
                  <a:pt x="3018" y="1129"/>
                </a:lnTo>
                <a:lnTo>
                  <a:pt x="3020" y="1125"/>
                </a:lnTo>
                <a:lnTo>
                  <a:pt x="3014" y="1127"/>
                </a:lnTo>
                <a:lnTo>
                  <a:pt x="3012" y="1129"/>
                </a:lnTo>
                <a:close/>
                <a:moveTo>
                  <a:pt x="2918" y="768"/>
                </a:moveTo>
                <a:lnTo>
                  <a:pt x="2918" y="767"/>
                </a:lnTo>
                <a:lnTo>
                  <a:pt x="2914" y="772"/>
                </a:lnTo>
                <a:lnTo>
                  <a:pt x="2917" y="772"/>
                </a:lnTo>
                <a:lnTo>
                  <a:pt x="2918" y="768"/>
                </a:lnTo>
                <a:close/>
                <a:moveTo>
                  <a:pt x="2974" y="1103"/>
                </a:moveTo>
                <a:lnTo>
                  <a:pt x="2974" y="1099"/>
                </a:lnTo>
                <a:lnTo>
                  <a:pt x="2971" y="1099"/>
                </a:lnTo>
                <a:lnTo>
                  <a:pt x="2974" y="1103"/>
                </a:lnTo>
                <a:close/>
                <a:moveTo>
                  <a:pt x="2908" y="673"/>
                </a:moveTo>
                <a:lnTo>
                  <a:pt x="2908" y="671"/>
                </a:lnTo>
                <a:lnTo>
                  <a:pt x="2906" y="671"/>
                </a:lnTo>
                <a:lnTo>
                  <a:pt x="2905" y="671"/>
                </a:lnTo>
                <a:lnTo>
                  <a:pt x="2908" y="673"/>
                </a:lnTo>
                <a:close/>
                <a:moveTo>
                  <a:pt x="2910" y="669"/>
                </a:moveTo>
                <a:lnTo>
                  <a:pt x="2912" y="668"/>
                </a:lnTo>
                <a:lnTo>
                  <a:pt x="2910" y="668"/>
                </a:lnTo>
                <a:lnTo>
                  <a:pt x="2910" y="669"/>
                </a:lnTo>
                <a:close/>
                <a:moveTo>
                  <a:pt x="3092" y="2090"/>
                </a:moveTo>
                <a:lnTo>
                  <a:pt x="3091" y="2090"/>
                </a:lnTo>
                <a:lnTo>
                  <a:pt x="3092" y="2091"/>
                </a:lnTo>
                <a:lnTo>
                  <a:pt x="3092" y="2090"/>
                </a:lnTo>
                <a:close/>
                <a:moveTo>
                  <a:pt x="2925" y="662"/>
                </a:moveTo>
                <a:lnTo>
                  <a:pt x="2923" y="662"/>
                </a:lnTo>
                <a:lnTo>
                  <a:pt x="2925" y="663"/>
                </a:lnTo>
                <a:lnTo>
                  <a:pt x="2925" y="662"/>
                </a:lnTo>
                <a:close/>
                <a:moveTo>
                  <a:pt x="2934" y="705"/>
                </a:moveTo>
                <a:lnTo>
                  <a:pt x="2932" y="707"/>
                </a:lnTo>
                <a:lnTo>
                  <a:pt x="2934" y="708"/>
                </a:lnTo>
                <a:lnTo>
                  <a:pt x="2931" y="712"/>
                </a:lnTo>
                <a:lnTo>
                  <a:pt x="2931" y="714"/>
                </a:lnTo>
                <a:lnTo>
                  <a:pt x="2934" y="712"/>
                </a:lnTo>
                <a:lnTo>
                  <a:pt x="2938" y="708"/>
                </a:lnTo>
                <a:lnTo>
                  <a:pt x="2945" y="708"/>
                </a:lnTo>
                <a:lnTo>
                  <a:pt x="2950" y="704"/>
                </a:lnTo>
                <a:lnTo>
                  <a:pt x="2953" y="704"/>
                </a:lnTo>
                <a:lnTo>
                  <a:pt x="2947" y="700"/>
                </a:lnTo>
                <a:lnTo>
                  <a:pt x="2931" y="701"/>
                </a:lnTo>
                <a:lnTo>
                  <a:pt x="2934" y="705"/>
                </a:lnTo>
                <a:close/>
                <a:moveTo>
                  <a:pt x="2935" y="667"/>
                </a:moveTo>
                <a:lnTo>
                  <a:pt x="2936" y="668"/>
                </a:lnTo>
                <a:lnTo>
                  <a:pt x="2937" y="667"/>
                </a:lnTo>
                <a:lnTo>
                  <a:pt x="2935" y="667"/>
                </a:lnTo>
                <a:close/>
                <a:moveTo>
                  <a:pt x="2939" y="696"/>
                </a:moveTo>
                <a:lnTo>
                  <a:pt x="2940" y="700"/>
                </a:lnTo>
                <a:lnTo>
                  <a:pt x="2943" y="700"/>
                </a:lnTo>
                <a:lnTo>
                  <a:pt x="2945" y="700"/>
                </a:lnTo>
                <a:lnTo>
                  <a:pt x="2950" y="700"/>
                </a:lnTo>
                <a:lnTo>
                  <a:pt x="2947" y="694"/>
                </a:lnTo>
                <a:lnTo>
                  <a:pt x="2943" y="691"/>
                </a:lnTo>
                <a:lnTo>
                  <a:pt x="2939" y="694"/>
                </a:lnTo>
                <a:lnTo>
                  <a:pt x="2934" y="696"/>
                </a:lnTo>
                <a:lnTo>
                  <a:pt x="2939" y="696"/>
                </a:lnTo>
                <a:close/>
                <a:moveTo>
                  <a:pt x="2908" y="669"/>
                </a:moveTo>
                <a:lnTo>
                  <a:pt x="2908" y="671"/>
                </a:lnTo>
                <a:lnTo>
                  <a:pt x="2910" y="671"/>
                </a:lnTo>
                <a:lnTo>
                  <a:pt x="2908" y="669"/>
                </a:lnTo>
                <a:close/>
                <a:moveTo>
                  <a:pt x="2860" y="732"/>
                </a:moveTo>
                <a:lnTo>
                  <a:pt x="2851" y="745"/>
                </a:lnTo>
                <a:lnTo>
                  <a:pt x="2851" y="753"/>
                </a:lnTo>
                <a:lnTo>
                  <a:pt x="2863" y="732"/>
                </a:lnTo>
                <a:lnTo>
                  <a:pt x="2860" y="732"/>
                </a:lnTo>
                <a:close/>
                <a:moveTo>
                  <a:pt x="2880" y="687"/>
                </a:moveTo>
                <a:lnTo>
                  <a:pt x="2882" y="688"/>
                </a:lnTo>
                <a:lnTo>
                  <a:pt x="2883" y="687"/>
                </a:lnTo>
                <a:lnTo>
                  <a:pt x="2880" y="687"/>
                </a:lnTo>
                <a:close/>
                <a:moveTo>
                  <a:pt x="2879" y="740"/>
                </a:moveTo>
                <a:lnTo>
                  <a:pt x="2880" y="735"/>
                </a:lnTo>
                <a:lnTo>
                  <a:pt x="2885" y="733"/>
                </a:lnTo>
                <a:lnTo>
                  <a:pt x="2885" y="722"/>
                </a:lnTo>
                <a:lnTo>
                  <a:pt x="2886" y="720"/>
                </a:lnTo>
                <a:lnTo>
                  <a:pt x="2885" y="720"/>
                </a:lnTo>
                <a:lnTo>
                  <a:pt x="2877" y="727"/>
                </a:lnTo>
                <a:lnTo>
                  <a:pt x="2879" y="739"/>
                </a:lnTo>
                <a:lnTo>
                  <a:pt x="2877" y="740"/>
                </a:lnTo>
                <a:lnTo>
                  <a:pt x="2879" y="740"/>
                </a:lnTo>
                <a:close/>
                <a:moveTo>
                  <a:pt x="2887" y="719"/>
                </a:moveTo>
                <a:lnTo>
                  <a:pt x="2886" y="720"/>
                </a:lnTo>
                <a:lnTo>
                  <a:pt x="2887" y="720"/>
                </a:lnTo>
                <a:lnTo>
                  <a:pt x="2887" y="719"/>
                </a:lnTo>
                <a:close/>
                <a:moveTo>
                  <a:pt x="2883" y="683"/>
                </a:moveTo>
                <a:lnTo>
                  <a:pt x="2883" y="684"/>
                </a:lnTo>
                <a:lnTo>
                  <a:pt x="2885" y="681"/>
                </a:lnTo>
                <a:lnTo>
                  <a:pt x="2883" y="683"/>
                </a:lnTo>
                <a:close/>
                <a:moveTo>
                  <a:pt x="2900" y="668"/>
                </a:moveTo>
                <a:lnTo>
                  <a:pt x="2902" y="671"/>
                </a:lnTo>
                <a:lnTo>
                  <a:pt x="2903" y="673"/>
                </a:lnTo>
                <a:lnTo>
                  <a:pt x="2905" y="671"/>
                </a:lnTo>
                <a:lnTo>
                  <a:pt x="2903" y="668"/>
                </a:lnTo>
                <a:lnTo>
                  <a:pt x="2905" y="667"/>
                </a:lnTo>
                <a:lnTo>
                  <a:pt x="2905" y="668"/>
                </a:lnTo>
                <a:lnTo>
                  <a:pt x="2905" y="669"/>
                </a:lnTo>
                <a:lnTo>
                  <a:pt x="2907" y="667"/>
                </a:lnTo>
                <a:lnTo>
                  <a:pt x="2903" y="666"/>
                </a:lnTo>
                <a:lnTo>
                  <a:pt x="2902" y="666"/>
                </a:lnTo>
                <a:lnTo>
                  <a:pt x="2903" y="667"/>
                </a:lnTo>
                <a:lnTo>
                  <a:pt x="2901" y="669"/>
                </a:lnTo>
                <a:lnTo>
                  <a:pt x="2901" y="667"/>
                </a:lnTo>
                <a:lnTo>
                  <a:pt x="2900" y="668"/>
                </a:lnTo>
                <a:close/>
                <a:moveTo>
                  <a:pt x="2890" y="718"/>
                </a:moveTo>
                <a:lnTo>
                  <a:pt x="2891" y="719"/>
                </a:lnTo>
                <a:lnTo>
                  <a:pt x="2891" y="718"/>
                </a:lnTo>
                <a:lnTo>
                  <a:pt x="2894" y="715"/>
                </a:lnTo>
                <a:lnTo>
                  <a:pt x="2891" y="715"/>
                </a:lnTo>
                <a:lnTo>
                  <a:pt x="2890" y="718"/>
                </a:lnTo>
                <a:close/>
                <a:moveTo>
                  <a:pt x="2891" y="707"/>
                </a:moveTo>
                <a:lnTo>
                  <a:pt x="2893" y="709"/>
                </a:lnTo>
                <a:lnTo>
                  <a:pt x="2894" y="707"/>
                </a:lnTo>
                <a:lnTo>
                  <a:pt x="2891" y="707"/>
                </a:lnTo>
                <a:close/>
                <a:moveTo>
                  <a:pt x="2954" y="701"/>
                </a:moveTo>
                <a:lnTo>
                  <a:pt x="2951" y="698"/>
                </a:lnTo>
                <a:lnTo>
                  <a:pt x="2950" y="700"/>
                </a:lnTo>
                <a:lnTo>
                  <a:pt x="2954" y="701"/>
                </a:lnTo>
                <a:close/>
                <a:moveTo>
                  <a:pt x="2704" y="617"/>
                </a:moveTo>
                <a:lnTo>
                  <a:pt x="2704" y="617"/>
                </a:lnTo>
                <a:lnTo>
                  <a:pt x="2699" y="616"/>
                </a:lnTo>
                <a:lnTo>
                  <a:pt x="2701" y="617"/>
                </a:lnTo>
                <a:lnTo>
                  <a:pt x="2704" y="617"/>
                </a:lnTo>
                <a:close/>
                <a:moveTo>
                  <a:pt x="3135" y="569"/>
                </a:moveTo>
                <a:lnTo>
                  <a:pt x="3133" y="569"/>
                </a:lnTo>
                <a:lnTo>
                  <a:pt x="3136" y="569"/>
                </a:lnTo>
                <a:lnTo>
                  <a:pt x="3135" y="569"/>
                </a:lnTo>
                <a:close/>
                <a:moveTo>
                  <a:pt x="2951" y="690"/>
                </a:moveTo>
                <a:lnTo>
                  <a:pt x="2950" y="690"/>
                </a:lnTo>
                <a:lnTo>
                  <a:pt x="2950" y="692"/>
                </a:lnTo>
                <a:lnTo>
                  <a:pt x="2954" y="692"/>
                </a:lnTo>
                <a:lnTo>
                  <a:pt x="2951" y="690"/>
                </a:lnTo>
                <a:close/>
                <a:moveTo>
                  <a:pt x="2776" y="562"/>
                </a:moveTo>
                <a:lnTo>
                  <a:pt x="2775" y="562"/>
                </a:lnTo>
                <a:lnTo>
                  <a:pt x="2774" y="564"/>
                </a:lnTo>
                <a:lnTo>
                  <a:pt x="2776" y="564"/>
                </a:lnTo>
                <a:lnTo>
                  <a:pt x="2776" y="562"/>
                </a:lnTo>
                <a:close/>
                <a:moveTo>
                  <a:pt x="3128" y="549"/>
                </a:moveTo>
                <a:lnTo>
                  <a:pt x="3131" y="555"/>
                </a:lnTo>
                <a:lnTo>
                  <a:pt x="3133" y="553"/>
                </a:lnTo>
                <a:lnTo>
                  <a:pt x="3133" y="549"/>
                </a:lnTo>
                <a:lnTo>
                  <a:pt x="3128" y="549"/>
                </a:lnTo>
                <a:close/>
                <a:moveTo>
                  <a:pt x="3585" y="443"/>
                </a:moveTo>
                <a:lnTo>
                  <a:pt x="3589" y="443"/>
                </a:lnTo>
                <a:lnTo>
                  <a:pt x="3585" y="442"/>
                </a:lnTo>
                <a:lnTo>
                  <a:pt x="3585" y="443"/>
                </a:lnTo>
                <a:close/>
                <a:moveTo>
                  <a:pt x="4241" y="298"/>
                </a:moveTo>
                <a:lnTo>
                  <a:pt x="4239" y="302"/>
                </a:lnTo>
                <a:lnTo>
                  <a:pt x="4237" y="306"/>
                </a:lnTo>
                <a:lnTo>
                  <a:pt x="4230" y="306"/>
                </a:lnTo>
                <a:lnTo>
                  <a:pt x="4242" y="313"/>
                </a:lnTo>
                <a:lnTo>
                  <a:pt x="4245" y="313"/>
                </a:lnTo>
                <a:lnTo>
                  <a:pt x="4249" y="313"/>
                </a:lnTo>
                <a:lnTo>
                  <a:pt x="4252" y="310"/>
                </a:lnTo>
                <a:lnTo>
                  <a:pt x="4256" y="308"/>
                </a:lnTo>
                <a:lnTo>
                  <a:pt x="4258" y="305"/>
                </a:lnTo>
                <a:lnTo>
                  <a:pt x="4259" y="303"/>
                </a:lnTo>
                <a:lnTo>
                  <a:pt x="4250" y="301"/>
                </a:lnTo>
                <a:lnTo>
                  <a:pt x="4241" y="298"/>
                </a:lnTo>
                <a:close/>
                <a:moveTo>
                  <a:pt x="3590" y="438"/>
                </a:moveTo>
                <a:lnTo>
                  <a:pt x="3585" y="441"/>
                </a:lnTo>
                <a:lnTo>
                  <a:pt x="3589" y="442"/>
                </a:lnTo>
                <a:lnTo>
                  <a:pt x="3590" y="438"/>
                </a:lnTo>
                <a:close/>
                <a:moveTo>
                  <a:pt x="3140" y="559"/>
                </a:moveTo>
                <a:lnTo>
                  <a:pt x="3142" y="559"/>
                </a:lnTo>
                <a:lnTo>
                  <a:pt x="3141" y="559"/>
                </a:lnTo>
                <a:lnTo>
                  <a:pt x="3140" y="559"/>
                </a:lnTo>
                <a:lnTo>
                  <a:pt x="3140" y="559"/>
                </a:lnTo>
                <a:close/>
                <a:moveTo>
                  <a:pt x="2930" y="663"/>
                </a:moveTo>
                <a:lnTo>
                  <a:pt x="2930" y="663"/>
                </a:lnTo>
                <a:lnTo>
                  <a:pt x="2930" y="665"/>
                </a:lnTo>
                <a:lnTo>
                  <a:pt x="2934" y="667"/>
                </a:lnTo>
                <a:lnTo>
                  <a:pt x="2930" y="663"/>
                </a:lnTo>
                <a:close/>
                <a:moveTo>
                  <a:pt x="2920" y="597"/>
                </a:moveTo>
                <a:lnTo>
                  <a:pt x="2922" y="600"/>
                </a:lnTo>
                <a:lnTo>
                  <a:pt x="2925" y="598"/>
                </a:lnTo>
                <a:lnTo>
                  <a:pt x="2920" y="597"/>
                </a:lnTo>
                <a:close/>
                <a:moveTo>
                  <a:pt x="2930" y="671"/>
                </a:moveTo>
                <a:lnTo>
                  <a:pt x="2932" y="669"/>
                </a:lnTo>
                <a:lnTo>
                  <a:pt x="2928" y="669"/>
                </a:lnTo>
                <a:lnTo>
                  <a:pt x="2930" y="671"/>
                </a:lnTo>
                <a:close/>
                <a:moveTo>
                  <a:pt x="2868" y="615"/>
                </a:moveTo>
                <a:lnTo>
                  <a:pt x="2868" y="614"/>
                </a:lnTo>
                <a:lnTo>
                  <a:pt x="2865" y="614"/>
                </a:lnTo>
                <a:lnTo>
                  <a:pt x="2868" y="618"/>
                </a:lnTo>
                <a:lnTo>
                  <a:pt x="2868" y="615"/>
                </a:lnTo>
                <a:close/>
                <a:moveTo>
                  <a:pt x="2883" y="666"/>
                </a:moveTo>
                <a:lnTo>
                  <a:pt x="2882" y="665"/>
                </a:lnTo>
                <a:lnTo>
                  <a:pt x="2880" y="665"/>
                </a:lnTo>
                <a:lnTo>
                  <a:pt x="2883" y="666"/>
                </a:lnTo>
                <a:close/>
                <a:moveTo>
                  <a:pt x="2880" y="660"/>
                </a:moveTo>
                <a:lnTo>
                  <a:pt x="2880" y="662"/>
                </a:lnTo>
                <a:lnTo>
                  <a:pt x="2883" y="665"/>
                </a:lnTo>
                <a:lnTo>
                  <a:pt x="2880" y="660"/>
                </a:lnTo>
                <a:close/>
                <a:moveTo>
                  <a:pt x="2946" y="583"/>
                </a:moveTo>
                <a:lnTo>
                  <a:pt x="2943" y="585"/>
                </a:lnTo>
                <a:lnTo>
                  <a:pt x="2946" y="585"/>
                </a:lnTo>
                <a:lnTo>
                  <a:pt x="2946" y="583"/>
                </a:lnTo>
                <a:close/>
                <a:moveTo>
                  <a:pt x="2897" y="669"/>
                </a:moveTo>
                <a:lnTo>
                  <a:pt x="2898" y="671"/>
                </a:lnTo>
                <a:lnTo>
                  <a:pt x="2900" y="669"/>
                </a:lnTo>
                <a:lnTo>
                  <a:pt x="2898" y="668"/>
                </a:lnTo>
                <a:lnTo>
                  <a:pt x="2897" y="669"/>
                </a:lnTo>
                <a:close/>
                <a:moveTo>
                  <a:pt x="2686" y="687"/>
                </a:moveTo>
                <a:lnTo>
                  <a:pt x="2686" y="686"/>
                </a:lnTo>
                <a:lnTo>
                  <a:pt x="2686" y="692"/>
                </a:lnTo>
                <a:lnTo>
                  <a:pt x="2687" y="690"/>
                </a:lnTo>
                <a:lnTo>
                  <a:pt x="2686" y="687"/>
                </a:lnTo>
                <a:close/>
                <a:moveTo>
                  <a:pt x="2734" y="784"/>
                </a:moveTo>
                <a:lnTo>
                  <a:pt x="2735" y="780"/>
                </a:lnTo>
                <a:lnTo>
                  <a:pt x="2734" y="780"/>
                </a:lnTo>
                <a:lnTo>
                  <a:pt x="2734" y="784"/>
                </a:lnTo>
                <a:close/>
                <a:moveTo>
                  <a:pt x="2712" y="808"/>
                </a:moveTo>
                <a:lnTo>
                  <a:pt x="2713" y="806"/>
                </a:lnTo>
                <a:lnTo>
                  <a:pt x="2712" y="806"/>
                </a:lnTo>
                <a:lnTo>
                  <a:pt x="2712" y="808"/>
                </a:lnTo>
                <a:close/>
                <a:moveTo>
                  <a:pt x="2684" y="820"/>
                </a:moveTo>
                <a:lnTo>
                  <a:pt x="2688" y="818"/>
                </a:lnTo>
                <a:lnTo>
                  <a:pt x="2687" y="815"/>
                </a:lnTo>
                <a:lnTo>
                  <a:pt x="2684" y="818"/>
                </a:lnTo>
                <a:lnTo>
                  <a:pt x="2684" y="820"/>
                </a:lnTo>
                <a:close/>
                <a:moveTo>
                  <a:pt x="2735" y="778"/>
                </a:moveTo>
                <a:lnTo>
                  <a:pt x="2735" y="780"/>
                </a:lnTo>
                <a:lnTo>
                  <a:pt x="2737" y="780"/>
                </a:lnTo>
                <a:lnTo>
                  <a:pt x="2735" y="779"/>
                </a:lnTo>
                <a:lnTo>
                  <a:pt x="2737" y="778"/>
                </a:lnTo>
                <a:lnTo>
                  <a:pt x="2735" y="778"/>
                </a:lnTo>
                <a:close/>
                <a:moveTo>
                  <a:pt x="2681" y="666"/>
                </a:moveTo>
                <a:lnTo>
                  <a:pt x="2683" y="669"/>
                </a:lnTo>
                <a:lnTo>
                  <a:pt x="2683" y="666"/>
                </a:lnTo>
                <a:lnTo>
                  <a:pt x="2681" y="662"/>
                </a:lnTo>
                <a:lnTo>
                  <a:pt x="2681" y="666"/>
                </a:lnTo>
                <a:close/>
                <a:moveTo>
                  <a:pt x="2735" y="786"/>
                </a:moveTo>
                <a:lnTo>
                  <a:pt x="2735" y="784"/>
                </a:lnTo>
                <a:lnTo>
                  <a:pt x="2734" y="785"/>
                </a:lnTo>
                <a:lnTo>
                  <a:pt x="2735" y="786"/>
                </a:lnTo>
                <a:close/>
                <a:moveTo>
                  <a:pt x="2739" y="784"/>
                </a:moveTo>
                <a:lnTo>
                  <a:pt x="2735" y="784"/>
                </a:lnTo>
                <a:lnTo>
                  <a:pt x="2739" y="785"/>
                </a:lnTo>
                <a:lnTo>
                  <a:pt x="2739" y="784"/>
                </a:lnTo>
                <a:close/>
                <a:moveTo>
                  <a:pt x="2566" y="927"/>
                </a:moveTo>
                <a:lnTo>
                  <a:pt x="2565" y="926"/>
                </a:lnTo>
                <a:lnTo>
                  <a:pt x="2567" y="930"/>
                </a:lnTo>
                <a:lnTo>
                  <a:pt x="2566" y="927"/>
                </a:lnTo>
                <a:close/>
                <a:moveTo>
                  <a:pt x="2741" y="789"/>
                </a:moveTo>
                <a:lnTo>
                  <a:pt x="2741" y="786"/>
                </a:lnTo>
                <a:lnTo>
                  <a:pt x="2739" y="789"/>
                </a:lnTo>
                <a:lnTo>
                  <a:pt x="2741" y="789"/>
                </a:lnTo>
                <a:close/>
                <a:moveTo>
                  <a:pt x="2740" y="1704"/>
                </a:moveTo>
                <a:lnTo>
                  <a:pt x="2741" y="1702"/>
                </a:lnTo>
                <a:lnTo>
                  <a:pt x="2740" y="1703"/>
                </a:lnTo>
                <a:lnTo>
                  <a:pt x="2740" y="1704"/>
                </a:lnTo>
                <a:close/>
                <a:moveTo>
                  <a:pt x="2742" y="1638"/>
                </a:moveTo>
                <a:lnTo>
                  <a:pt x="2741" y="1638"/>
                </a:lnTo>
                <a:lnTo>
                  <a:pt x="2739" y="1642"/>
                </a:lnTo>
                <a:lnTo>
                  <a:pt x="2737" y="1642"/>
                </a:lnTo>
                <a:lnTo>
                  <a:pt x="2737" y="1645"/>
                </a:lnTo>
                <a:lnTo>
                  <a:pt x="2741" y="1646"/>
                </a:lnTo>
                <a:lnTo>
                  <a:pt x="2742" y="1642"/>
                </a:lnTo>
                <a:lnTo>
                  <a:pt x="2742" y="1638"/>
                </a:lnTo>
                <a:close/>
                <a:moveTo>
                  <a:pt x="2681" y="654"/>
                </a:moveTo>
                <a:lnTo>
                  <a:pt x="2687" y="657"/>
                </a:lnTo>
                <a:lnTo>
                  <a:pt x="2686" y="655"/>
                </a:lnTo>
                <a:lnTo>
                  <a:pt x="2681" y="654"/>
                </a:lnTo>
                <a:close/>
                <a:moveTo>
                  <a:pt x="2686" y="664"/>
                </a:moveTo>
                <a:lnTo>
                  <a:pt x="2686" y="662"/>
                </a:lnTo>
                <a:lnTo>
                  <a:pt x="2681" y="661"/>
                </a:lnTo>
                <a:lnTo>
                  <a:pt x="2686" y="664"/>
                </a:lnTo>
                <a:close/>
                <a:moveTo>
                  <a:pt x="2686" y="670"/>
                </a:moveTo>
                <a:lnTo>
                  <a:pt x="2686" y="672"/>
                </a:lnTo>
                <a:lnTo>
                  <a:pt x="2687" y="672"/>
                </a:lnTo>
                <a:lnTo>
                  <a:pt x="2686" y="670"/>
                </a:lnTo>
                <a:close/>
                <a:moveTo>
                  <a:pt x="2690" y="658"/>
                </a:moveTo>
                <a:lnTo>
                  <a:pt x="2689" y="658"/>
                </a:lnTo>
                <a:lnTo>
                  <a:pt x="2690" y="659"/>
                </a:lnTo>
                <a:lnTo>
                  <a:pt x="2690" y="658"/>
                </a:lnTo>
                <a:close/>
                <a:moveTo>
                  <a:pt x="2687" y="661"/>
                </a:moveTo>
                <a:lnTo>
                  <a:pt x="2689" y="658"/>
                </a:lnTo>
                <a:lnTo>
                  <a:pt x="2687" y="657"/>
                </a:lnTo>
                <a:lnTo>
                  <a:pt x="2687" y="659"/>
                </a:lnTo>
                <a:lnTo>
                  <a:pt x="2683" y="658"/>
                </a:lnTo>
                <a:lnTo>
                  <a:pt x="2687" y="661"/>
                </a:lnTo>
                <a:close/>
                <a:moveTo>
                  <a:pt x="2756" y="782"/>
                </a:moveTo>
                <a:lnTo>
                  <a:pt x="2757" y="782"/>
                </a:lnTo>
                <a:lnTo>
                  <a:pt x="2760" y="782"/>
                </a:lnTo>
                <a:lnTo>
                  <a:pt x="2759" y="781"/>
                </a:lnTo>
                <a:lnTo>
                  <a:pt x="2756" y="780"/>
                </a:lnTo>
                <a:lnTo>
                  <a:pt x="2756" y="781"/>
                </a:lnTo>
                <a:lnTo>
                  <a:pt x="2756" y="782"/>
                </a:lnTo>
                <a:close/>
                <a:moveTo>
                  <a:pt x="2753" y="779"/>
                </a:moveTo>
                <a:lnTo>
                  <a:pt x="2756" y="780"/>
                </a:lnTo>
                <a:lnTo>
                  <a:pt x="2756" y="779"/>
                </a:lnTo>
                <a:lnTo>
                  <a:pt x="2753" y="779"/>
                </a:lnTo>
                <a:close/>
                <a:moveTo>
                  <a:pt x="2808" y="785"/>
                </a:moveTo>
                <a:lnTo>
                  <a:pt x="2805" y="785"/>
                </a:lnTo>
                <a:lnTo>
                  <a:pt x="2805" y="786"/>
                </a:lnTo>
                <a:lnTo>
                  <a:pt x="2808" y="786"/>
                </a:lnTo>
                <a:lnTo>
                  <a:pt x="2808" y="785"/>
                </a:lnTo>
                <a:close/>
                <a:moveTo>
                  <a:pt x="2825" y="773"/>
                </a:moveTo>
                <a:lnTo>
                  <a:pt x="2824" y="777"/>
                </a:lnTo>
                <a:lnTo>
                  <a:pt x="2829" y="781"/>
                </a:lnTo>
                <a:lnTo>
                  <a:pt x="2831" y="777"/>
                </a:lnTo>
                <a:lnTo>
                  <a:pt x="2825" y="773"/>
                </a:lnTo>
                <a:close/>
                <a:moveTo>
                  <a:pt x="2773" y="733"/>
                </a:moveTo>
                <a:lnTo>
                  <a:pt x="2775" y="731"/>
                </a:lnTo>
                <a:lnTo>
                  <a:pt x="2771" y="733"/>
                </a:lnTo>
                <a:lnTo>
                  <a:pt x="2773" y="733"/>
                </a:lnTo>
                <a:close/>
                <a:moveTo>
                  <a:pt x="2767" y="765"/>
                </a:moveTo>
                <a:lnTo>
                  <a:pt x="2768" y="761"/>
                </a:lnTo>
                <a:lnTo>
                  <a:pt x="2767" y="759"/>
                </a:lnTo>
                <a:lnTo>
                  <a:pt x="2767" y="765"/>
                </a:lnTo>
                <a:close/>
                <a:moveTo>
                  <a:pt x="2816" y="797"/>
                </a:moveTo>
                <a:lnTo>
                  <a:pt x="2815" y="798"/>
                </a:lnTo>
                <a:lnTo>
                  <a:pt x="2817" y="799"/>
                </a:lnTo>
                <a:lnTo>
                  <a:pt x="2818" y="798"/>
                </a:lnTo>
                <a:lnTo>
                  <a:pt x="2816" y="797"/>
                </a:lnTo>
                <a:close/>
                <a:moveTo>
                  <a:pt x="2815" y="798"/>
                </a:moveTo>
                <a:lnTo>
                  <a:pt x="2815" y="798"/>
                </a:lnTo>
                <a:lnTo>
                  <a:pt x="2812" y="795"/>
                </a:lnTo>
                <a:lnTo>
                  <a:pt x="2815" y="798"/>
                </a:lnTo>
                <a:close/>
                <a:moveTo>
                  <a:pt x="2819" y="802"/>
                </a:moveTo>
                <a:lnTo>
                  <a:pt x="2819" y="801"/>
                </a:lnTo>
                <a:lnTo>
                  <a:pt x="2817" y="799"/>
                </a:lnTo>
                <a:lnTo>
                  <a:pt x="2815" y="802"/>
                </a:lnTo>
                <a:lnTo>
                  <a:pt x="2819" y="802"/>
                </a:lnTo>
                <a:close/>
                <a:moveTo>
                  <a:pt x="2776" y="790"/>
                </a:moveTo>
                <a:lnTo>
                  <a:pt x="2775" y="789"/>
                </a:lnTo>
                <a:lnTo>
                  <a:pt x="2774" y="790"/>
                </a:lnTo>
                <a:lnTo>
                  <a:pt x="2776" y="790"/>
                </a:lnTo>
                <a:close/>
                <a:moveTo>
                  <a:pt x="2785" y="784"/>
                </a:moveTo>
                <a:lnTo>
                  <a:pt x="2784" y="781"/>
                </a:lnTo>
                <a:lnTo>
                  <a:pt x="2782" y="782"/>
                </a:lnTo>
                <a:lnTo>
                  <a:pt x="2786" y="788"/>
                </a:lnTo>
                <a:lnTo>
                  <a:pt x="2786" y="787"/>
                </a:lnTo>
                <a:lnTo>
                  <a:pt x="2789" y="784"/>
                </a:lnTo>
                <a:lnTo>
                  <a:pt x="2789" y="783"/>
                </a:lnTo>
                <a:lnTo>
                  <a:pt x="2788" y="784"/>
                </a:lnTo>
                <a:lnTo>
                  <a:pt x="2785" y="784"/>
                </a:lnTo>
                <a:close/>
                <a:moveTo>
                  <a:pt x="2795" y="767"/>
                </a:moveTo>
                <a:lnTo>
                  <a:pt x="2796" y="767"/>
                </a:lnTo>
                <a:lnTo>
                  <a:pt x="2796" y="766"/>
                </a:lnTo>
                <a:lnTo>
                  <a:pt x="2796" y="766"/>
                </a:lnTo>
                <a:lnTo>
                  <a:pt x="2795" y="767"/>
                </a:lnTo>
                <a:close/>
                <a:moveTo>
                  <a:pt x="2784" y="760"/>
                </a:moveTo>
                <a:lnTo>
                  <a:pt x="2782" y="763"/>
                </a:lnTo>
                <a:lnTo>
                  <a:pt x="2784" y="766"/>
                </a:lnTo>
                <a:lnTo>
                  <a:pt x="2785" y="761"/>
                </a:lnTo>
                <a:lnTo>
                  <a:pt x="2787" y="763"/>
                </a:lnTo>
                <a:lnTo>
                  <a:pt x="2786" y="761"/>
                </a:lnTo>
                <a:lnTo>
                  <a:pt x="2785" y="759"/>
                </a:lnTo>
                <a:lnTo>
                  <a:pt x="2791" y="757"/>
                </a:lnTo>
                <a:lnTo>
                  <a:pt x="2796" y="758"/>
                </a:lnTo>
                <a:lnTo>
                  <a:pt x="2795" y="761"/>
                </a:lnTo>
                <a:lnTo>
                  <a:pt x="2796" y="766"/>
                </a:lnTo>
                <a:lnTo>
                  <a:pt x="2796" y="766"/>
                </a:lnTo>
                <a:lnTo>
                  <a:pt x="2789" y="771"/>
                </a:lnTo>
                <a:lnTo>
                  <a:pt x="2792" y="775"/>
                </a:lnTo>
                <a:lnTo>
                  <a:pt x="2786" y="780"/>
                </a:lnTo>
                <a:lnTo>
                  <a:pt x="2787" y="780"/>
                </a:lnTo>
                <a:lnTo>
                  <a:pt x="2787" y="780"/>
                </a:lnTo>
                <a:lnTo>
                  <a:pt x="2790" y="779"/>
                </a:lnTo>
                <a:lnTo>
                  <a:pt x="2795" y="782"/>
                </a:lnTo>
                <a:lnTo>
                  <a:pt x="2789" y="783"/>
                </a:lnTo>
                <a:lnTo>
                  <a:pt x="2789" y="783"/>
                </a:lnTo>
                <a:lnTo>
                  <a:pt x="2785" y="781"/>
                </a:lnTo>
                <a:lnTo>
                  <a:pt x="2784" y="781"/>
                </a:lnTo>
                <a:lnTo>
                  <a:pt x="2783" y="779"/>
                </a:lnTo>
                <a:lnTo>
                  <a:pt x="2783" y="780"/>
                </a:lnTo>
                <a:lnTo>
                  <a:pt x="2781" y="780"/>
                </a:lnTo>
                <a:lnTo>
                  <a:pt x="2775" y="780"/>
                </a:lnTo>
                <a:lnTo>
                  <a:pt x="2774" y="768"/>
                </a:lnTo>
                <a:lnTo>
                  <a:pt x="2771" y="765"/>
                </a:lnTo>
                <a:lnTo>
                  <a:pt x="2775" y="766"/>
                </a:lnTo>
                <a:lnTo>
                  <a:pt x="2781" y="763"/>
                </a:lnTo>
                <a:lnTo>
                  <a:pt x="2775" y="760"/>
                </a:lnTo>
                <a:lnTo>
                  <a:pt x="2784" y="760"/>
                </a:lnTo>
                <a:close/>
                <a:moveTo>
                  <a:pt x="2786" y="766"/>
                </a:moveTo>
                <a:lnTo>
                  <a:pt x="2788" y="766"/>
                </a:lnTo>
                <a:lnTo>
                  <a:pt x="2788" y="765"/>
                </a:lnTo>
                <a:lnTo>
                  <a:pt x="2786" y="766"/>
                </a:lnTo>
                <a:close/>
                <a:moveTo>
                  <a:pt x="2782" y="782"/>
                </a:moveTo>
                <a:lnTo>
                  <a:pt x="2781" y="784"/>
                </a:lnTo>
                <a:lnTo>
                  <a:pt x="2775" y="781"/>
                </a:lnTo>
                <a:lnTo>
                  <a:pt x="2774" y="782"/>
                </a:lnTo>
                <a:lnTo>
                  <a:pt x="2773" y="784"/>
                </a:lnTo>
                <a:lnTo>
                  <a:pt x="2779" y="788"/>
                </a:lnTo>
                <a:lnTo>
                  <a:pt x="2785" y="788"/>
                </a:lnTo>
                <a:lnTo>
                  <a:pt x="2782" y="782"/>
                </a:lnTo>
                <a:close/>
                <a:moveTo>
                  <a:pt x="2796" y="766"/>
                </a:moveTo>
                <a:lnTo>
                  <a:pt x="2796" y="766"/>
                </a:lnTo>
                <a:lnTo>
                  <a:pt x="2796" y="766"/>
                </a:lnTo>
                <a:lnTo>
                  <a:pt x="2796" y="766"/>
                </a:lnTo>
                <a:close/>
                <a:moveTo>
                  <a:pt x="2767" y="786"/>
                </a:moveTo>
                <a:lnTo>
                  <a:pt x="2773" y="777"/>
                </a:lnTo>
                <a:lnTo>
                  <a:pt x="2767" y="782"/>
                </a:lnTo>
                <a:lnTo>
                  <a:pt x="2767" y="786"/>
                </a:lnTo>
                <a:close/>
                <a:moveTo>
                  <a:pt x="2780" y="801"/>
                </a:moveTo>
                <a:lnTo>
                  <a:pt x="2780" y="798"/>
                </a:lnTo>
                <a:lnTo>
                  <a:pt x="2778" y="798"/>
                </a:lnTo>
                <a:lnTo>
                  <a:pt x="2780" y="801"/>
                </a:lnTo>
                <a:close/>
                <a:moveTo>
                  <a:pt x="2860" y="459"/>
                </a:moveTo>
                <a:lnTo>
                  <a:pt x="2858" y="456"/>
                </a:lnTo>
                <a:lnTo>
                  <a:pt x="2856" y="461"/>
                </a:lnTo>
                <a:lnTo>
                  <a:pt x="2860" y="460"/>
                </a:lnTo>
                <a:lnTo>
                  <a:pt x="2860" y="459"/>
                </a:lnTo>
                <a:lnTo>
                  <a:pt x="2858" y="459"/>
                </a:lnTo>
                <a:lnTo>
                  <a:pt x="2860" y="459"/>
                </a:lnTo>
                <a:close/>
                <a:moveTo>
                  <a:pt x="2797" y="530"/>
                </a:moveTo>
                <a:lnTo>
                  <a:pt x="2794" y="530"/>
                </a:lnTo>
                <a:lnTo>
                  <a:pt x="2792" y="534"/>
                </a:lnTo>
                <a:lnTo>
                  <a:pt x="2796" y="531"/>
                </a:lnTo>
                <a:lnTo>
                  <a:pt x="2795" y="531"/>
                </a:lnTo>
                <a:lnTo>
                  <a:pt x="2797" y="530"/>
                </a:lnTo>
                <a:close/>
                <a:moveTo>
                  <a:pt x="2808" y="514"/>
                </a:moveTo>
                <a:lnTo>
                  <a:pt x="2800" y="515"/>
                </a:lnTo>
                <a:lnTo>
                  <a:pt x="2802" y="515"/>
                </a:lnTo>
                <a:lnTo>
                  <a:pt x="2807" y="515"/>
                </a:lnTo>
                <a:lnTo>
                  <a:pt x="2807" y="515"/>
                </a:lnTo>
                <a:lnTo>
                  <a:pt x="2808" y="514"/>
                </a:lnTo>
                <a:close/>
                <a:moveTo>
                  <a:pt x="2829" y="486"/>
                </a:moveTo>
                <a:lnTo>
                  <a:pt x="2828" y="487"/>
                </a:lnTo>
                <a:lnTo>
                  <a:pt x="2830" y="487"/>
                </a:lnTo>
                <a:lnTo>
                  <a:pt x="2829" y="486"/>
                </a:lnTo>
                <a:lnTo>
                  <a:pt x="2829" y="486"/>
                </a:lnTo>
                <a:lnTo>
                  <a:pt x="2829" y="486"/>
                </a:lnTo>
                <a:close/>
                <a:moveTo>
                  <a:pt x="5086" y="427"/>
                </a:moveTo>
                <a:lnTo>
                  <a:pt x="5088" y="427"/>
                </a:lnTo>
                <a:lnTo>
                  <a:pt x="5088" y="426"/>
                </a:lnTo>
                <a:lnTo>
                  <a:pt x="5086" y="427"/>
                </a:lnTo>
                <a:close/>
                <a:moveTo>
                  <a:pt x="2687" y="626"/>
                </a:moveTo>
                <a:lnTo>
                  <a:pt x="2687" y="626"/>
                </a:lnTo>
                <a:lnTo>
                  <a:pt x="2687" y="627"/>
                </a:lnTo>
                <a:lnTo>
                  <a:pt x="2687" y="627"/>
                </a:lnTo>
                <a:lnTo>
                  <a:pt x="2687" y="626"/>
                </a:lnTo>
                <a:close/>
                <a:moveTo>
                  <a:pt x="2875" y="689"/>
                </a:moveTo>
                <a:lnTo>
                  <a:pt x="2879" y="688"/>
                </a:lnTo>
                <a:lnTo>
                  <a:pt x="2879" y="688"/>
                </a:lnTo>
                <a:lnTo>
                  <a:pt x="2879" y="686"/>
                </a:lnTo>
                <a:lnTo>
                  <a:pt x="2875" y="687"/>
                </a:lnTo>
                <a:lnTo>
                  <a:pt x="2875" y="689"/>
                </a:lnTo>
                <a:close/>
                <a:moveTo>
                  <a:pt x="2691" y="671"/>
                </a:moveTo>
                <a:lnTo>
                  <a:pt x="2690" y="672"/>
                </a:lnTo>
                <a:lnTo>
                  <a:pt x="2691" y="675"/>
                </a:lnTo>
                <a:lnTo>
                  <a:pt x="2692" y="672"/>
                </a:lnTo>
                <a:lnTo>
                  <a:pt x="2691" y="672"/>
                </a:lnTo>
                <a:lnTo>
                  <a:pt x="2691" y="671"/>
                </a:lnTo>
                <a:close/>
                <a:moveTo>
                  <a:pt x="3071" y="435"/>
                </a:moveTo>
                <a:lnTo>
                  <a:pt x="3068" y="433"/>
                </a:lnTo>
                <a:lnTo>
                  <a:pt x="3068" y="434"/>
                </a:lnTo>
                <a:lnTo>
                  <a:pt x="3070" y="435"/>
                </a:lnTo>
                <a:lnTo>
                  <a:pt x="3071" y="435"/>
                </a:lnTo>
                <a:close/>
                <a:moveTo>
                  <a:pt x="5230" y="455"/>
                </a:moveTo>
                <a:lnTo>
                  <a:pt x="5230" y="455"/>
                </a:lnTo>
                <a:lnTo>
                  <a:pt x="5230" y="455"/>
                </a:lnTo>
                <a:lnTo>
                  <a:pt x="5230" y="455"/>
                </a:lnTo>
                <a:lnTo>
                  <a:pt x="5230" y="455"/>
                </a:lnTo>
                <a:close/>
                <a:moveTo>
                  <a:pt x="5258" y="472"/>
                </a:moveTo>
                <a:lnTo>
                  <a:pt x="5254" y="468"/>
                </a:lnTo>
                <a:lnTo>
                  <a:pt x="5249" y="465"/>
                </a:lnTo>
                <a:lnTo>
                  <a:pt x="5249" y="466"/>
                </a:lnTo>
                <a:lnTo>
                  <a:pt x="5257" y="475"/>
                </a:lnTo>
                <a:lnTo>
                  <a:pt x="5258" y="473"/>
                </a:lnTo>
                <a:lnTo>
                  <a:pt x="5258" y="472"/>
                </a:lnTo>
                <a:close/>
                <a:moveTo>
                  <a:pt x="2864" y="685"/>
                </a:moveTo>
                <a:lnTo>
                  <a:pt x="2864" y="684"/>
                </a:lnTo>
                <a:lnTo>
                  <a:pt x="2862" y="684"/>
                </a:lnTo>
                <a:lnTo>
                  <a:pt x="2864" y="685"/>
                </a:lnTo>
                <a:close/>
                <a:moveTo>
                  <a:pt x="5224" y="453"/>
                </a:moveTo>
                <a:lnTo>
                  <a:pt x="5224" y="453"/>
                </a:lnTo>
                <a:lnTo>
                  <a:pt x="5224" y="453"/>
                </a:lnTo>
                <a:lnTo>
                  <a:pt x="5224" y="453"/>
                </a:lnTo>
                <a:lnTo>
                  <a:pt x="5224" y="453"/>
                </a:lnTo>
                <a:close/>
                <a:moveTo>
                  <a:pt x="4453" y="1159"/>
                </a:moveTo>
                <a:lnTo>
                  <a:pt x="4454" y="1158"/>
                </a:lnTo>
                <a:lnTo>
                  <a:pt x="4453" y="1158"/>
                </a:lnTo>
                <a:lnTo>
                  <a:pt x="4453" y="1158"/>
                </a:lnTo>
                <a:lnTo>
                  <a:pt x="4453" y="1159"/>
                </a:lnTo>
                <a:close/>
                <a:moveTo>
                  <a:pt x="3200" y="564"/>
                </a:moveTo>
                <a:lnTo>
                  <a:pt x="3200" y="564"/>
                </a:lnTo>
                <a:lnTo>
                  <a:pt x="3199" y="564"/>
                </a:lnTo>
                <a:lnTo>
                  <a:pt x="3200" y="564"/>
                </a:lnTo>
                <a:lnTo>
                  <a:pt x="3200" y="564"/>
                </a:lnTo>
                <a:close/>
                <a:moveTo>
                  <a:pt x="3199" y="564"/>
                </a:moveTo>
                <a:lnTo>
                  <a:pt x="3199" y="563"/>
                </a:lnTo>
                <a:lnTo>
                  <a:pt x="3196" y="563"/>
                </a:lnTo>
                <a:lnTo>
                  <a:pt x="3198" y="563"/>
                </a:lnTo>
                <a:lnTo>
                  <a:pt x="3199" y="564"/>
                </a:lnTo>
                <a:close/>
                <a:moveTo>
                  <a:pt x="4449" y="359"/>
                </a:moveTo>
                <a:lnTo>
                  <a:pt x="4449" y="360"/>
                </a:lnTo>
                <a:lnTo>
                  <a:pt x="4450" y="361"/>
                </a:lnTo>
                <a:lnTo>
                  <a:pt x="4450" y="361"/>
                </a:lnTo>
                <a:lnTo>
                  <a:pt x="4450" y="361"/>
                </a:lnTo>
                <a:lnTo>
                  <a:pt x="4449" y="361"/>
                </a:lnTo>
                <a:lnTo>
                  <a:pt x="4449" y="363"/>
                </a:lnTo>
                <a:lnTo>
                  <a:pt x="4452" y="363"/>
                </a:lnTo>
                <a:lnTo>
                  <a:pt x="4451" y="361"/>
                </a:lnTo>
                <a:lnTo>
                  <a:pt x="4459" y="362"/>
                </a:lnTo>
                <a:lnTo>
                  <a:pt x="4466" y="363"/>
                </a:lnTo>
                <a:lnTo>
                  <a:pt x="4470" y="366"/>
                </a:lnTo>
                <a:lnTo>
                  <a:pt x="4482" y="373"/>
                </a:lnTo>
                <a:lnTo>
                  <a:pt x="4487" y="372"/>
                </a:lnTo>
                <a:lnTo>
                  <a:pt x="4491" y="371"/>
                </a:lnTo>
                <a:lnTo>
                  <a:pt x="4493" y="371"/>
                </a:lnTo>
                <a:lnTo>
                  <a:pt x="4491" y="370"/>
                </a:lnTo>
                <a:lnTo>
                  <a:pt x="4489" y="369"/>
                </a:lnTo>
                <a:lnTo>
                  <a:pt x="4494" y="366"/>
                </a:lnTo>
                <a:lnTo>
                  <a:pt x="4492" y="365"/>
                </a:lnTo>
                <a:lnTo>
                  <a:pt x="4491" y="365"/>
                </a:lnTo>
                <a:lnTo>
                  <a:pt x="4493" y="363"/>
                </a:lnTo>
                <a:lnTo>
                  <a:pt x="4491" y="363"/>
                </a:lnTo>
                <a:lnTo>
                  <a:pt x="4489" y="363"/>
                </a:lnTo>
                <a:lnTo>
                  <a:pt x="4481" y="363"/>
                </a:lnTo>
                <a:lnTo>
                  <a:pt x="4467" y="355"/>
                </a:lnTo>
                <a:lnTo>
                  <a:pt x="4458" y="357"/>
                </a:lnTo>
                <a:lnTo>
                  <a:pt x="4451" y="358"/>
                </a:lnTo>
                <a:lnTo>
                  <a:pt x="4450" y="358"/>
                </a:lnTo>
                <a:lnTo>
                  <a:pt x="4449" y="359"/>
                </a:lnTo>
                <a:close/>
                <a:moveTo>
                  <a:pt x="4799" y="388"/>
                </a:moveTo>
                <a:lnTo>
                  <a:pt x="4800" y="387"/>
                </a:lnTo>
                <a:lnTo>
                  <a:pt x="4799" y="387"/>
                </a:lnTo>
                <a:lnTo>
                  <a:pt x="4799" y="387"/>
                </a:lnTo>
                <a:lnTo>
                  <a:pt x="4799" y="388"/>
                </a:lnTo>
                <a:close/>
                <a:moveTo>
                  <a:pt x="2847" y="467"/>
                </a:moveTo>
                <a:lnTo>
                  <a:pt x="2850" y="467"/>
                </a:lnTo>
                <a:lnTo>
                  <a:pt x="2847" y="466"/>
                </a:lnTo>
                <a:lnTo>
                  <a:pt x="2847" y="466"/>
                </a:lnTo>
                <a:lnTo>
                  <a:pt x="2847" y="466"/>
                </a:lnTo>
                <a:lnTo>
                  <a:pt x="2851" y="465"/>
                </a:lnTo>
                <a:lnTo>
                  <a:pt x="2851" y="463"/>
                </a:lnTo>
                <a:lnTo>
                  <a:pt x="2852" y="463"/>
                </a:lnTo>
                <a:lnTo>
                  <a:pt x="2851" y="458"/>
                </a:lnTo>
                <a:lnTo>
                  <a:pt x="2846" y="456"/>
                </a:lnTo>
                <a:lnTo>
                  <a:pt x="2839" y="466"/>
                </a:lnTo>
                <a:lnTo>
                  <a:pt x="2843" y="460"/>
                </a:lnTo>
                <a:lnTo>
                  <a:pt x="2840" y="457"/>
                </a:lnTo>
                <a:lnTo>
                  <a:pt x="2843" y="455"/>
                </a:lnTo>
                <a:lnTo>
                  <a:pt x="2839" y="455"/>
                </a:lnTo>
                <a:lnTo>
                  <a:pt x="2844" y="450"/>
                </a:lnTo>
                <a:lnTo>
                  <a:pt x="2846" y="446"/>
                </a:lnTo>
                <a:lnTo>
                  <a:pt x="2837" y="451"/>
                </a:lnTo>
                <a:lnTo>
                  <a:pt x="2835" y="452"/>
                </a:lnTo>
                <a:lnTo>
                  <a:pt x="2837" y="456"/>
                </a:lnTo>
                <a:lnTo>
                  <a:pt x="2838" y="455"/>
                </a:lnTo>
                <a:lnTo>
                  <a:pt x="2835" y="460"/>
                </a:lnTo>
                <a:lnTo>
                  <a:pt x="2837" y="463"/>
                </a:lnTo>
                <a:lnTo>
                  <a:pt x="2832" y="467"/>
                </a:lnTo>
                <a:lnTo>
                  <a:pt x="2833" y="467"/>
                </a:lnTo>
                <a:lnTo>
                  <a:pt x="2831" y="468"/>
                </a:lnTo>
                <a:lnTo>
                  <a:pt x="2831" y="468"/>
                </a:lnTo>
                <a:lnTo>
                  <a:pt x="2831" y="468"/>
                </a:lnTo>
                <a:lnTo>
                  <a:pt x="2831" y="468"/>
                </a:lnTo>
                <a:lnTo>
                  <a:pt x="2831" y="468"/>
                </a:lnTo>
                <a:lnTo>
                  <a:pt x="2825" y="471"/>
                </a:lnTo>
                <a:lnTo>
                  <a:pt x="2827" y="469"/>
                </a:lnTo>
                <a:lnTo>
                  <a:pt x="2821" y="471"/>
                </a:lnTo>
                <a:lnTo>
                  <a:pt x="2820" y="471"/>
                </a:lnTo>
                <a:lnTo>
                  <a:pt x="2821" y="475"/>
                </a:lnTo>
                <a:lnTo>
                  <a:pt x="2819" y="475"/>
                </a:lnTo>
                <a:lnTo>
                  <a:pt x="2818" y="478"/>
                </a:lnTo>
                <a:lnTo>
                  <a:pt x="2827" y="473"/>
                </a:lnTo>
                <a:lnTo>
                  <a:pt x="2830" y="469"/>
                </a:lnTo>
                <a:lnTo>
                  <a:pt x="2828" y="473"/>
                </a:lnTo>
                <a:lnTo>
                  <a:pt x="2837" y="467"/>
                </a:lnTo>
                <a:lnTo>
                  <a:pt x="2838" y="467"/>
                </a:lnTo>
                <a:lnTo>
                  <a:pt x="2833" y="475"/>
                </a:lnTo>
                <a:lnTo>
                  <a:pt x="2838" y="475"/>
                </a:lnTo>
                <a:lnTo>
                  <a:pt x="2840" y="469"/>
                </a:lnTo>
                <a:lnTo>
                  <a:pt x="2843" y="471"/>
                </a:lnTo>
                <a:lnTo>
                  <a:pt x="2846" y="467"/>
                </a:lnTo>
                <a:lnTo>
                  <a:pt x="2847" y="467"/>
                </a:lnTo>
                <a:lnTo>
                  <a:pt x="2846" y="469"/>
                </a:lnTo>
                <a:lnTo>
                  <a:pt x="2851" y="468"/>
                </a:lnTo>
                <a:lnTo>
                  <a:pt x="2851" y="467"/>
                </a:lnTo>
                <a:lnTo>
                  <a:pt x="2847" y="468"/>
                </a:lnTo>
                <a:lnTo>
                  <a:pt x="2847" y="467"/>
                </a:lnTo>
                <a:close/>
                <a:moveTo>
                  <a:pt x="2950" y="674"/>
                </a:moveTo>
                <a:lnTo>
                  <a:pt x="2949" y="674"/>
                </a:lnTo>
                <a:lnTo>
                  <a:pt x="2949" y="674"/>
                </a:lnTo>
                <a:lnTo>
                  <a:pt x="2948" y="674"/>
                </a:lnTo>
                <a:lnTo>
                  <a:pt x="2945" y="674"/>
                </a:lnTo>
                <a:lnTo>
                  <a:pt x="2948" y="675"/>
                </a:lnTo>
                <a:lnTo>
                  <a:pt x="2949" y="675"/>
                </a:lnTo>
                <a:lnTo>
                  <a:pt x="2949" y="675"/>
                </a:lnTo>
                <a:lnTo>
                  <a:pt x="2949" y="675"/>
                </a:lnTo>
                <a:lnTo>
                  <a:pt x="2950" y="674"/>
                </a:lnTo>
                <a:close/>
                <a:moveTo>
                  <a:pt x="4252" y="1362"/>
                </a:moveTo>
                <a:lnTo>
                  <a:pt x="4252" y="1363"/>
                </a:lnTo>
                <a:lnTo>
                  <a:pt x="4253" y="1363"/>
                </a:lnTo>
                <a:lnTo>
                  <a:pt x="4253" y="1363"/>
                </a:lnTo>
                <a:lnTo>
                  <a:pt x="4252" y="1362"/>
                </a:lnTo>
                <a:close/>
                <a:moveTo>
                  <a:pt x="4198" y="1515"/>
                </a:moveTo>
                <a:lnTo>
                  <a:pt x="4198" y="1514"/>
                </a:lnTo>
                <a:lnTo>
                  <a:pt x="4198" y="1514"/>
                </a:lnTo>
                <a:lnTo>
                  <a:pt x="4198" y="1515"/>
                </a:lnTo>
                <a:lnTo>
                  <a:pt x="4198" y="1515"/>
                </a:lnTo>
                <a:close/>
                <a:moveTo>
                  <a:pt x="4350" y="1290"/>
                </a:moveTo>
                <a:lnTo>
                  <a:pt x="4350" y="1290"/>
                </a:lnTo>
                <a:lnTo>
                  <a:pt x="4350" y="1290"/>
                </a:lnTo>
                <a:lnTo>
                  <a:pt x="4350" y="1290"/>
                </a:lnTo>
                <a:lnTo>
                  <a:pt x="4350" y="1290"/>
                </a:lnTo>
                <a:lnTo>
                  <a:pt x="4353" y="1291"/>
                </a:lnTo>
                <a:lnTo>
                  <a:pt x="4353" y="1291"/>
                </a:lnTo>
                <a:lnTo>
                  <a:pt x="4351" y="1288"/>
                </a:lnTo>
                <a:lnTo>
                  <a:pt x="4350" y="1289"/>
                </a:lnTo>
                <a:lnTo>
                  <a:pt x="4350" y="1290"/>
                </a:lnTo>
                <a:lnTo>
                  <a:pt x="4350" y="1290"/>
                </a:lnTo>
                <a:lnTo>
                  <a:pt x="4350" y="1290"/>
                </a:lnTo>
                <a:close/>
                <a:moveTo>
                  <a:pt x="4197" y="1515"/>
                </a:moveTo>
                <a:lnTo>
                  <a:pt x="4197" y="1515"/>
                </a:lnTo>
                <a:lnTo>
                  <a:pt x="4197" y="1515"/>
                </a:lnTo>
                <a:lnTo>
                  <a:pt x="4199" y="1515"/>
                </a:lnTo>
                <a:lnTo>
                  <a:pt x="4198" y="1515"/>
                </a:lnTo>
                <a:lnTo>
                  <a:pt x="4198" y="1515"/>
                </a:lnTo>
                <a:lnTo>
                  <a:pt x="4197" y="1515"/>
                </a:lnTo>
                <a:close/>
                <a:moveTo>
                  <a:pt x="4452" y="1159"/>
                </a:moveTo>
                <a:lnTo>
                  <a:pt x="4453" y="1160"/>
                </a:lnTo>
                <a:lnTo>
                  <a:pt x="4453" y="1159"/>
                </a:lnTo>
                <a:lnTo>
                  <a:pt x="4453" y="1159"/>
                </a:lnTo>
                <a:lnTo>
                  <a:pt x="4452" y="1159"/>
                </a:lnTo>
                <a:close/>
                <a:moveTo>
                  <a:pt x="4453" y="1113"/>
                </a:moveTo>
                <a:lnTo>
                  <a:pt x="4453" y="1113"/>
                </a:lnTo>
                <a:lnTo>
                  <a:pt x="4453" y="1113"/>
                </a:lnTo>
                <a:lnTo>
                  <a:pt x="4453" y="1113"/>
                </a:lnTo>
                <a:close/>
                <a:moveTo>
                  <a:pt x="4372" y="1261"/>
                </a:moveTo>
                <a:lnTo>
                  <a:pt x="4371" y="1263"/>
                </a:lnTo>
                <a:lnTo>
                  <a:pt x="4372" y="1264"/>
                </a:lnTo>
                <a:lnTo>
                  <a:pt x="4372" y="1264"/>
                </a:lnTo>
                <a:lnTo>
                  <a:pt x="4372" y="1263"/>
                </a:lnTo>
                <a:lnTo>
                  <a:pt x="4372" y="1261"/>
                </a:lnTo>
                <a:lnTo>
                  <a:pt x="4372" y="1261"/>
                </a:lnTo>
                <a:lnTo>
                  <a:pt x="4372" y="1261"/>
                </a:lnTo>
                <a:close/>
                <a:moveTo>
                  <a:pt x="4350" y="1290"/>
                </a:moveTo>
                <a:lnTo>
                  <a:pt x="4350" y="1290"/>
                </a:lnTo>
                <a:lnTo>
                  <a:pt x="4350" y="1290"/>
                </a:lnTo>
                <a:lnTo>
                  <a:pt x="4350" y="1290"/>
                </a:lnTo>
                <a:close/>
                <a:moveTo>
                  <a:pt x="2736" y="745"/>
                </a:moveTo>
                <a:lnTo>
                  <a:pt x="2738" y="743"/>
                </a:lnTo>
                <a:lnTo>
                  <a:pt x="2741" y="745"/>
                </a:lnTo>
                <a:lnTo>
                  <a:pt x="2742" y="743"/>
                </a:lnTo>
                <a:lnTo>
                  <a:pt x="2743" y="739"/>
                </a:lnTo>
                <a:lnTo>
                  <a:pt x="2739" y="742"/>
                </a:lnTo>
                <a:lnTo>
                  <a:pt x="2741" y="739"/>
                </a:lnTo>
                <a:lnTo>
                  <a:pt x="2746" y="736"/>
                </a:lnTo>
                <a:lnTo>
                  <a:pt x="2738" y="736"/>
                </a:lnTo>
                <a:lnTo>
                  <a:pt x="2731" y="743"/>
                </a:lnTo>
                <a:lnTo>
                  <a:pt x="2731" y="745"/>
                </a:lnTo>
                <a:lnTo>
                  <a:pt x="2736" y="746"/>
                </a:lnTo>
                <a:lnTo>
                  <a:pt x="2736" y="745"/>
                </a:lnTo>
                <a:close/>
                <a:moveTo>
                  <a:pt x="4045" y="1529"/>
                </a:moveTo>
                <a:lnTo>
                  <a:pt x="4044" y="1530"/>
                </a:lnTo>
                <a:lnTo>
                  <a:pt x="4044" y="1531"/>
                </a:lnTo>
                <a:lnTo>
                  <a:pt x="4045" y="1530"/>
                </a:lnTo>
                <a:lnTo>
                  <a:pt x="4045" y="1529"/>
                </a:lnTo>
                <a:close/>
                <a:moveTo>
                  <a:pt x="2691" y="832"/>
                </a:moveTo>
                <a:lnTo>
                  <a:pt x="2692" y="831"/>
                </a:lnTo>
                <a:lnTo>
                  <a:pt x="2691" y="830"/>
                </a:lnTo>
                <a:lnTo>
                  <a:pt x="2694" y="830"/>
                </a:lnTo>
                <a:lnTo>
                  <a:pt x="2695" y="828"/>
                </a:lnTo>
                <a:lnTo>
                  <a:pt x="2695" y="828"/>
                </a:lnTo>
                <a:lnTo>
                  <a:pt x="2695" y="828"/>
                </a:lnTo>
                <a:lnTo>
                  <a:pt x="2695" y="828"/>
                </a:lnTo>
                <a:lnTo>
                  <a:pt x="2692" y="825"/>
                </a:lnTo>
                <a:lnTo>
                  <a:pt x="2691" y="824"/>
                </a:lnTo>
                <a:lnTo>
                  <a:pt x="2688" y="820"/>
                </a:lnTo>
                <a:lnTo>
                  <a:pt x="2687" y="821"/>
                </a:lnTo>
                <a:lnTo>
                  <a:pt x="2684" y="820"/>
                </a:lnTo>
                <a:lnTo>
                  <a:pt x="2682" y="828"/>
                </a:lnTo>
                <a:lnTo>
                  <a:pt x="2690" y="832"/>
                </a:lnTo>
                <a:lnTo>
                  <a:pt x="2691" y="832"/>
                </a:lnTo>
                <a:close/>
                <a:moveTo>
                  <a:pt x="2794" y="792"/>
                </a:moveTo>
                <a:lnTo>
                  <a:pt x="2795" y="792"/>
                </a:lnTo>
                <a:lnTo>
                  <a:pt x="2795" y="791"/>
                </a:lnTo>
                <a:lnTo>
                  <a:pt x="2794" y="791"/>
                </a:lnTo>
                <a:lnTo>
                  <a:pt x="2793" y="793"/>
                </a:lnTo>
                <a:lnTo>
                  <a:pt x="2794" y="792"/>
                </a:lnTo>
                <a:lnTo>
                  <a:pt x="2794" y="792"/>
                </a:lnTo>
                <a:close/>
                <a:moveTo>
                  <a:pt x="2720" y="1628"/>
                </a:moveTo>
                <a:lnTo>
                  <a:pt x="2719" y="1630"/>
                </a:lnTo>
                <a:lnTo>
                  <a:pt x="2722" y="1630"/>
                </a:lnTo>
                <a:lnTo>
                  <a:pt x="2721" y="1628"/>
                </a:lnTo>
                <a:lnTo>
                  <a:pt x="2721" y="1628"/>
                </a:lnTo>
                <a:lnTo>
                  <a:pt x="2720" y="1628"/>
                </a:lnTo>
                <a:close/>
                <a:moveTo>
                  <a:pt x="3927" y="1348"/>
                </a:moveTo>
                <a:lnTo>
                  <a:pt x="3928" y="1348"/>
                </a:lnTo>
                <a:lnTo>
                  <a:pt x="3927" y="1348"/>
                </a:lnTo>
                <a:lnTo>
                  <a:pt x="3927" y="1348"/>
                </a:lnTo>
                <a:lnTo>
                  <a:pt x="3927" y="1348"/>
                </a:lnTo>
                <a:close/>
                <a:moveTo>
                  <a:pt x="3927" y="1349"/>
                </a:moveTo>
                <a:lnTo>
                  <a:pt x="3927" y="1352"/>
                </a:lnTo>
                <a:lnTo>
                  <a:pt x="3927" y="1352"/>
                </a:lnTo>
                <a:lnTo>
                  <a:pt x="3928" y="1355"/>
                </a:lnTo>
                <a:lnTo>
                  <a:pt x="3927" y="1356"/>
                </a:lnTo>
                <a:lnTo>
                  <a:pt x="3927" y="1358"/>
                </a:lnTo>
                <a:lnTo>
                  <a:pt x="3927" y="1359"/>
                </a:lnTo>
                <a:lnTo>
                  <a:pt x="3927" y="1359"/>
                </a:lnTo>
                <a:lnTo>
                  <a:pt x="3928" y="1359"/>
                </a:lnTo>
                <a:lnTo>
                  <a:pt x="3928" y="1359"/>
                </a:lnTo>
                <a:lnTo>
                  <a:pt x="3931" y="1358"/>
                </a:lnTo>
                <a:lnTo>
                  <a:pt x="3931" y="1352"/>
                </a:lnTo>
                <a:lnTo>
                  <a:pt x="3928" y="1348"/>
                </a:lnTo>
                <a:lnTo>
                  <a:pt x="3928" y="1348"/>
                </a:lnTo>
                <a:lnTo>
                  <a:pt x="3928" y="1348"/>
                </a:lnTo>
                <a:lnTo>
                  <a:pt x="3927" y="1349"/>
                </a:lnTo>
                <a:close/>
                <a:moveTo>
                  <a:pt x="5326" y="503"/>
                </a:moveTo>
                <a:lnTo>
                  <a:pt x="5325" y="503"/>
                </a:lnTo>
                <a:lnTo>
                  <a:pt x="5326" y="503"/>
                </a:lnTo>
                <a:lnTo>
                  <a:pt x="5326" y="503"/>
                </a:lnTo>
                <a:lnTo>
                  <a:pt x="5326" y="503"/>
                </a:lnTo>
                <a:close/>
                <a:moveTo>
                  <a:pt x="3584" y="443"/>
                </a:moveTo>
                <a:lnTo>
                  <a:pt x="3582" y="442"/>
                </a:lnTo>
                <a:lnTo>
                  <a:pt x="3582" y="443"/>
                </a:lnTo>
                <a:lnTo>
                  <a:pt x="3584" y="443"/>
                </a:lnTo>
                <a:close/>
                <a:moveTo>
                  <a:pt x="3582" y="427"/>
                </a:moveTo>
                <a:lnTo>
                  <a:pt x="3582" y="427"/>
                </a:lnTo>
                <a:lnTo>
                  <a:pt x="3583" y="427"/>
                </a:lnTo>
                <a:lnTo>
                  <a:pt x="3582" y="427"/>
                </a:lnTo>
                <a:close/>
                <a:moveTo>
                  <a:pt x="3585" y="427"/>
                </a:moveTo>
                <a:lnTo>
                  <a:pt x="3584" y="427"/>
                </a:lnTo>
                <a:lnTo>
                  <a:pt x="3583" y="427"/>
                </a:lnTo>
                <a:lnTo>
                  <a:pt x="3584" y="427"/>
                </a:lnTo>
                <a:lnTo>
                  <a:pt x="3585" y="427"/>
                </a:lnTo>
                <a:close/>
                <a:moveTo>
                  <a:pt x="3819" y="409"/>
                </a:moveTo>
                <a:lnTo>
                  <a:pt x="3819" y="409"/>
                </a:lnTo>
                <a:lnTo>
                  <a:pt x="3819" y="409"/>
                </a:lnTo>
                <a:lnTo>
                  <a:pt x="3819" y="409"/>
                </a:lnTo>
                <a:close/>
                <a:moveTo>
                  <a:pt x="3444" y="460"/>
                </a:moveTo>
                <a:lnTo>
                  <a:pt x="3442" y="461"/>
                </a:lnTo>
                <a:lnTo>
                  <a:pt x="3454" y="458"/>
                </a:lnTo>
                <a:lnTo>
                  <a:pt x="3454" y="458"/>
                </a:lnTo>
                <a:lnTo>
                  <a:pt x="3444" y="460"/>
                </a:lnTo>
                <a:close/>
                <a:moveTo>
                  <a:pt x="3819" y="409"/>
                </a:moveTo>
                <a:lnTo>
                  <a:pt x="3819" y="409"/>
                </a:lnTo>
                <a:lnTo>
                  <a:pt x="3819" y="409"/>
                </a:lnTo>
                <a:lnTo>
                  <a:pt x="3819" y="409"/>
                </a:lnTo>
                <a:close/>
                <a:moveTo>
                  <a:pt x="4728" y="375"/>
                </a:moveTo>
                <a:lnTo>
                  <a:pt x="4728" y="375"/>
                </a:lnTo>
                <a:lnTo>
                  <a:pt x="4729" y="374"/>
                </a:lnTo>
                <a:lnTo>
                  <a:pt x="4727" y="375"/>
                </a:lnTo>
                <a:lnTo>
                  <a:pt x="4727" y="375"/>
                </a:lnTo>
                <a:lnTo>
                  <a:pt x="4728" y="375"/>
                </a:lnTo>
                <a:close/>
                <a:moveTo>
                  <a:pt x="3821" y="403"/>
                </a:moveTo>
                <a:lnTo>
                  <a:pt x="3821" y="403"/>
                </a:lnTo>
                <a:lnTo>
                  <a:pt x="3821" y="403"/>
                </a:lnTo>
                <a:lnTo>
                  <a:pt x="3820" y="405"/>
                </a:lnTo>
                <a:lnTo>
                  <a:pt x="3819" y="409"/>
                </a:lnTo>
                <a:lnTo>
                  <a:pt x="3823" y="407"/>
                </a:lnTo>
                <a:lnTo>
                  <a:pt x="3821" y="403"/>
                </a:lnTo>
                <a:close/>
                <a:moveTo>
                  <a:pt x="3470" y="455"/>
                </a:moveTo>
                <a:lnTo>
                  <a:pt x="3467" y="454"/>
                </a:lnTo>
                <a:lnTo>
                  <a:pt x="3467" y="455"/>
                </a:lnTo>
                <a:lnTo>
                  <a:pt x="3473" y="455"/>
                </a:lnTo>
                <a:lnTo>
                  <a:pt x="3470" y="455"/>
                </a:lnTo>
                <a:close/>
                <a:moveTo>
                  <a:pt x="2948" y="423"/>
                </a:moveTo>
                <a:lnTo>
                  <a:pt x="2948" y="423"/>
                </a:lnTo>
                <a:lnTo>
                  <a:pt x="2948" y="423"/>
                </a:lnTo>
                <a:lnTo>
                  <a:pt x="2948" y="423"/>
                </a:lnTo>
                <a:close/>
                <a:moveTo>
                  <a:pt x="2860" y="455"/>
                </a:moveTo>
                <a:lnTo>
                  <a:pt x="2860" y="455"/>
                </a:lnTo>
                <a:lnTo>
                  <a:pt x="2858" y="456"/>
                </a:lnTo>
                <a:lnTo>
                  <a:pt x="2860" y="455"/>
                </a:lnTo>
                <a:close/>
                <a:moveTo>
                  <a:pt x="2883" y="434"/>
                </a:moveTo>
                <a:lnTo>
                  <a:pt x="2875" y="430"/>
                </a:lnTo>
                <a:lnTo>
                  <a:pt x="2875" y="435"/>
                </a:lnTo>
                <a:lnTo>
                  <a:pt x="2875" y="435"/>
                </a:lnTo>
                <a:lnTo>
                  <a:pt x="2877" y="437"/>
                </a:lnTo>
                <a:lnTo>
                  <a:pt x="2873" y="439"/>
                </a:lnTo>
                <a:lnTo>
                  <a:pt x="2882" y="439"/>
                </a:lnTo>
                <a:lnTo>
                  <a:pt x="2883" y="439"/>
                </a:lnTo>
                <a:lnTo>
                  <a:pt x="2883" y="434"/>
                </a:lnTo>
                <a:close/>
                <a:moveTo>
                  <a:pt x="3393" y="471"/>
                </a:moveTo>
                <a:lnTo>
                  <a:pt x="3393" y="471"/>
                </a:lnTo>
                <a:lnTo>
                  <a:pt x="3393" y="471"/>
                </a:lnTo>
                <a:lnTo>
                  <a:pt x="3393" y="471"/>
                </a:lnTo>
                <a:lnTo>
                  <a:pt x="3393" y="471"/>
                </a:lnTo>
                <a:close/>
                <a:moveTo>
                  <a:pt x="2837" y="479"/>
                </a:moveTo>
                <a:lnTo>
                  <a:pt x="2837" y="479"/>
                </a:lnTo>
                <a:lnTo>
                  <a:pt x="2833" y="479"/>
                </a:lnTo>
                <a:lnTo>
                  <a:pt x="2837" y="479"/>
                </a:lnTo>
                <a:close/>
                <a:moveTo>
                  <a:pt x="2992" y="398"/>
                </a:moveTo>
                <a:lnTo>
                  <a:pt x="2989" y="400"/>
                </a:lnTo>
                <a:lnTo>
                  <a:pt x="2989" y="400"/>
                </a:lnTo>
                <a:lnTo>
                  <a:pt x="2992" y="398"/>
                </a:lnTo>
                <a:close/>
                <a:moveTo>
                  <a:pt x="3192" y="561"/>
                </a:moveTo>
                <a:lnTo>
                  <a:pt x="3192" y="561"/>
                </a:lnTo>
                <a:lnTo>
                  <a:pt x="3194" y="562"/>
                </a:lnTo>
                <a:lnTo>
                  <a:pt x="3192" y="561"/>
                </a:lnTo>
                <a:lnTo>
                  <a:pt x="3192" y="561"/>
                </a:lnTo>
                <a:close/>
                <a:moveTo>
                  <a:pt x="3213" y="500"/>
                </a:moveTo>
                <a:lnTo>
                  <a:pt x="3212" y="503"/>
                </a:lnTo>
                <a:lnTo>
                  <a:pt x="3213" y="503"/>
                </a:lnTo>
                <a:lnTo>
                  <a:pt x="3213" y="500"/>
                </a:lnTo>
                <a:close/>
                <a:moveTo>
                  <a:pt x="3662" y="500"/>
                </a:moveTo>
                <a:lnTo>
                  <a:pt x="3662" y="500"/>
                </a:lnTo>
                <a:lnTo>
                  <a:pt x="3662" y="500"/>
                </a:lnTo>
                <a:lnTo>
                  <a:pt x="3662" y="500"/>
                </a:lnTo>
                <a:lnTo>
                  <a:pt x="3662" y="500"/>
                </a:lnTo>
                <a:close/>
                <a:moveTo>
                  <a:pt x="4232" y="313"/>
                </a:moveTo>
                <a:lnTo>
                  <a:pt x="4232" y="313"/>
                </a:lnTo>
                <a:lnTo>
                  <a:pt x="4232" y="313"/>
                </a:lnTo>
                <a:lnTo>
                  <a:pt x="4232" y="313"/>
                </a:lnTo>
                <a:lnTo>
                  <a:pt x="4232" y="313"/>
                </a:lnTo>
                <a:close/>
                <a:moveTo>
                  <a:pt x="4251" y="314"/>
                </a:moveTo>
                <a:lnTo>
                  <a:pt x="4251" y="314"/>
                </a:lnTo>
                <a:lnTo>
                  <a:pt x="4251" y="314"/>
                </a:lnTo>
                <a:lnTo>
                  <a:pt x="4251" y="314"/>
                </a:lnTo>
                <a:lnTo>
                  <a:pt x="4251" y="314"/>
                </a:lnTo>
                <a:close/>
                <a:moveTo>
                  <a:pt x="4409" y="350"/>
                </a:moveTo>
                <a:lnTo>
                  <a:pt x="4406" y="350"/>
                </a:lnTo>
                <a:lnTo>
                  <a:pt x="4409" y="351"/>
                </a:lnTo>
                <a:lnTo>
                  <a:pt x="4409" y="350"/>
                </a:lnTo>
                <a:close/>
                <a:moveTo>
                  <a:pt x="4257" y="252"/>
                </a:moveTo>
                <a:lnTo>
                  <a:pt x="4257" y="252"/>
                </a:lnTo>
                <a:lnTo>
                  <a:pt x="4258" y="252"/>
                </a:lnTo>
                <a:lnTo>
                  <a:pt x="4257" y="252"/>
                </a:lnTo>
                <a:close/>
                <a:moveTo>
                  <a:pt x="4409" y="321"/>
                </a:moveTo>
                <a:lnTo>
                  <a:pt x="4409" y="321"/>
                </a:lnTo>
                <a:lnTo>
                  <a:pt x="4409" y="321"/>
                </a:lnTo>
                <a:lnTo>
                  <a:pt x="4409" y="321"/>
                </a:lnTo>
                <a:lnTo>
                  <a:pt x="4409" y="321"/>
                </a:lnTo>
                <a:close/>
                <a:moveTo>
                  <a:pt x="4257" y="250"/>
                </a:moveTo>
                <a:lnTo>
                  <a:pt x="4258" y="250"/>
                </a:lnTo>
                <a:lnTo>
                  <a:pt x="4252" y="250"/>
                </a:lnTo>
                <a:lnTo>
                  <a:pt x="4257" y="252"/>
                </a:lnTo>
                <a:lnTo>
                  <a:pt x="4257" y="251"/>
                </a:lnTo>
                <a:lnTo>
                  <a:pt x="4257" y="250"/>
                </a:lnTo>
                <a:close/>
                <a:moveTo>
                  <a:pt x="4538" y="375"/>
                </a:moveTo>
                <a:lnTo>
                  <a:pt x="4538" y="376"/>
                </a:lnTo>
                <a:lnTo>
                  <a:pt x="4540" y="375"/>
                </a:lnTo>
                <a:lnTo>
                  <a:pt x="4538" y="375"/>
                </a:lnTo>
                <a:close/>
                <a:moveTo>
                  <a:pt x="4453" y="330"/>
                </a:moveTo>
                <a:lnTo>
                  <a:pt x="4453" y="330"/>
                </a:lnTo>
                <a:lnTo>
                  <a:pt x="4453" y="330"/>
                </a:lnTo>
                <a:lnTo>
                  <a:pt x="4453" y="330"/>
                </a:lnTo>
                <a:lnTo>
                  <a:pt x="4453" y="330"/>
                </a:lnTo>
                <a:close/>
                <a:moveTo>
                  <a:pt x="3823" y="414"/>
                </a:moveTo>
                <a:lnTo>
                  <a:pt x="3823" y="415"/>
                </a:lnTo>
                <a:lnTo>
                  <a:pt x="3821" y="418"/>
                </a:lnTo>
                <a:lnTo>
                  <a:pt x="3824" y="414"/>
                </a:lnTo>
                <a:lnTo>
                  <a:pt x="3823" y="412"/>
                </a:lnTo>
                <a:lnTo>
                  <a:pt x="3823" y="414"/>
                </a:lnTo>
                <a:close/>
                <a:moveTo>
                  <a:pt x="3987" y="253"/>
                </a:moveTo>
                <a:lnTo>
                  <a:pt x="3986" y="253"/>
                </a:lnTo>
                <a:lnTo>
                  <a:pt x="3985" y="254"/>
                </a:lnTo>
                <a:lnTo>
                  <a:pt x="3986" y="254"/>
                </a:lnTo>
                <a:lnTo>
                  <a:pt x="3987" y="253"/>
                </a:lnTo>
                <a:close/>
                <a:moveTo>
                  <a:pt x="3815" y="420"/>
                </a:moveTo>
                <a:lnTo>
                  <a:pt x="3815" y="420"/>
                </a:lnTo>
                <a:lnTo>
                  <a:pt x="3815" y="422"/>
                </a:lnTo>
                <a:lnTo>
                  <a:pt x="3817" y="423"/>
                </a:lnTo>
                <a:lnTo>
                  <a:pt x="3815" y="421"/>
                </a:lnTo>
                <a:lnTo>
                  <a:pt x="3815" y="420"/>
                </a:lnTo>
                <a:close/>
                <a:moveTo>
                  <a:pt x="3817" y="423"/>
                </a:moveTo>
                <a:lnTo>
                  <a:pt x="3817" y="423"/>
                </a:lnTo>
                <a:lnTo>
                  <a:pt x="3817" y="423"/>
                </a:lnTo>
                <a:lnTo>
                  <a:pt x="3817" y="423"/>
                </a:lnTo>
                <a:close/>
                <a:moveTo>
                  <a:pt x="3818" y="425"/>
                </a:moveTo>
                <a:lnTo>
                  <a:pt x="3817" y="423"/>
                </a:lnTo>
                <a:lnTo>
                  <a:pt x="3816" y="423"/>
                </a:lnTo>
                <a:lnTo>
                  <a:pt x="3818" y="425"/>
                </a:lnTo>
                <a:close/>
                <a:moveTo>
                  <a:pt x="3859" y="292"/>
                </a:moveTo>
                <a:lnTo>
                  <a:pt x="3862" y="293"/>
                </a:lnTo>
                <a:lnTo>
                  <a:pt x="3862" y="293"/>
                </a:lnTo>
                <a:lnTo>
                  <a:pt x="3859" y="292"/>
                </a:lnTo>
                <a:close/>
                <a:moveTo>
                  <a:pt x="3858" y="299"/>
                </a:moveTo>
                <a:lnTo>
                  <a:pt x="3856" y="302"/>
                </a:lnTo>
                <a:lnTo>
                  <a:pt x="3860" y="302"/>
                </a:lnTo>
                <a:lnTo>
                  <a:pt x="3865" y="301"/>
                </a:lnTo>
                <a:lnTo>
                  <a:pt x="3863" y="300"/>
                </a:lnTo>
                <a:lnTo>
                  <a:pt x="3858" y="299"/>
                </a:lnTo>
                <a:close/>
                <a:moveTo>
                  <a:pt x="3780" y="327"/>
                </a:moveTo>
                <a:lnTo>
                  <a:pt x="3780" y="327"/>
                </a:lnTo>
                <a:lnTo>
                  <a:pt x="3775" y="327"/>
                </a:lnTo>
                <a:lnTo>
                  <a:pt x="3778" y="329"/>
                </a:lnTo>
                <a:lnTo>
                  <a:pt x="3779" y="328"/>
                </a:lnTo>
                <a:lnTo>
                  <a:pt x="3779" y="327"/>
                </a:lnTo>
                <a:lnTo>
                  <a:pt x="3780" y="327"/>
                </a:lnTo>
                <a:close/>
                <a:moveTo>
                  <a:pt x="2910" y="1091"/>
                </a:moveTo>
                <a:lnTo>
                  <a:pt x="2906" y="1095"/>
                </a:lnTo>
                <a:lnTo>
                  <a:pt x="2913" y="1097"/>
                </a:lnTo>
                <a:lnTo>
                  <a:pt x="2910" y="1091"/>
                </a:lnTo>
                <a:close/>
                <a:moveTo>
                  <a:pt x="2765" y="1014"/>
                </a:moveTo>
                <a:lnTo>
                  <a:pt x="2765" y="1010"/>
                </a:lnTo>
                <a:lnTo>
                  <a:pt x="2761" y="1012"/>
                </a:lnTo>
                <a:lnTo>
                  <a:pt x="2765" y="1014"/>
                </a:lnTo>
                <a:close/>
                <a:moveTo>
                  <a:pt x="2752" y="1049"/>
                </a:moveTo>
                <a:lnTo>
                  <a:pt x="2754" y="1047"/>
                </a:lnTo>
                <a:lnTo>
                  <a:pt x="2753" y="1042"/>
                </a:lnTo>
                <a:lnTo>
                  <a:pt x="2748" y="1042"/>
                </a:lnTo>
                <a:lnTo>
                  <a:pt x="2739" y="1049"/>
                </a:lnTo>
                <a:lnTo>
                  <a:pt x="2735" y="1049"/>
                </a:lnTo>
                <a:lnTo>
                  <a:pt x="2734" y="1047"/>
                </a:lnTo>
                <a:lnTo>
                  <a:pt x="2732" y="1053"/>
                </a:lnTo>
                <a:lnTo>
                  <a:pt x="2734" y="1053"/>
                </a:lnTo>
                <a:lnTo>
                  <a:pt x="2737" y="1058"/>
                </a:lnTo>
                <a:lnTo>
                  <a:pt x="2735" y="1065"/>
                </a:lnTo>
                <a:lnTo>
                  <a:pt x="2739" y="1065"/>
                </a:lnTo>
                <a:lnTo>
                  <a:pt x="2737" y="1068"/>
                </a:lnTo>
                <a:lnTo>
                  <a:pt x="2735" y="1072"/>
                </a:lnTo>
                <a:lnTo>
                  <a:pt x="2737" y="1077"/>
                </a:lnTo>
                <a:lnTo>
                  <a:pt x="2735" y="1077"/>
                </a:lnTo>
                <a:lnTo>
                  <a:pt x="2735" y="1081"/>
                </a:lnTo>
                <a:lnTo>
                  <a:pt x="2737" y="1079"/>
                </a:lnTo>
                <a:lnTo>
                  <a:pt x="2737" y="1079"/>
                </a:lnTo>
                <a:lnTo>
                  <a:pt x="2741" y="1081"/>
                </a:lnTo>
                <a:lnTo>
                  <a:pt x="2743" y="1081"/>
                </a:lnTo>
                <a:lnTo>
                  <a:pt x="2743" y="1080"/>
                </a:lnTo>
                <a:lnTo>
                  <a:pt x="2743" y="1075"/>
                </a:lnTo>
                <a:lnTo>
                  <a:pt x="2752" y="1079"/>
                </a:lnTo>
                <a:lnTo>
                  <a:pt x="2753" y="1062"/>
                </a:lnTo>
                <a:lnTo>
                  <a:pt x="2753" y="1058"/>
                </a:lnTo>
                <a:lnTo>
                  <a:pt x="2756" y="1054"/>
                </a:lnTo>
                <a:lnTo>
                  <a:pt x="2753" y="1049"/>
                </a:lnTo>
                <a:lnTo>
                  <a:pt x="2752" y="1049"/>
                </a:lnTo>
                <a:close/>
                <a:moveTo>
                  <a:pt x="3002" y="1116"/>
                </a:moveTo>
                <a:lnTo>
                  <a:pt x="3003" y="1115"/>
                </a:lnTo>
                <a:lnTo>
                  <a:pt x="3000" y="1114"/>
                </a:lnTo>
                <a:lnTo>
                  <a:pt x="3002" y="1116"/>
                </a:lnTo>
                <a:close/>
                <a:moveTo>
                  <a:pt x="2670" y="1061"/>
                </a:moveTo>
                <a:lnTo>
                  <a:pt x="2670" y="1063"/>
                </a:lnTo>
                <a:lnTo>
                  <a:pt x="2675" y="1066"/>
                </a:lnTo>
                <a:lnTo>
                  <a:pt x="2675" y="1064"/>
                </a:lnTo>
                <a:lnTo>
                  <a:pt x="2674" y="1061"/>
                </a:lnTo>
                <a:lnTo>
                  <a:pt x="2670" y="1061"/>
                </a:lnTo>
                <a:close/>
                <a:moveTo>
                  <a:pt x="2911" y="1083"/>
                </a:moveTo>
                <a:lnTo>
                  <a:pt x="2910" y="1082"/>
                </a:lnTo>
                <a:lnTo>
                  <a:pt x="2910" y="1082"/>
                </a:lnTo>
                <a:lnTo>
                  <a:pt x="2910" y="1087"/>
                </a:lnTo>
                <a:lnTo>
                  <a:pt x="2911" y="1086"/>
                </a:lnTo>
                <a:lnTo>
                  <a:pt x="2911" y="1083"/>
                </a:lnTo>
                <a:close/>
                <a:moveTo>
                  <a:pt x="2945" y="1126"/>
                </a:moveTo>
                <a:lnTo>
                  <a:pt x="2945" y="1128"/>
                </a:lnTo>
                <a:lnTo>
                  <a:pt x="2944" y="1129"/>
                </a:lnTo>
                <a:lnTo>
                  <a:pt x="2947" y="1129"/>
                </a:lnTo>
                <a:lnTo>
                  <a:pt x="2947" y="1127"/>
                </a:lnTo>
                <a:lnTo>
                  <a:pt x="2946" y="1127"/>
                </a:lnTo>
                <a:lnTo>
                  <a:pt x="2945" y="1126"/>
                </a:lnTo>
                <a:close/>
                <a:moveTo>
                  <a:pt x="2911" y="1102"/>
                </a:moveTo>
                <a:lnTo>
                  <a:pt x="2913" y="1103"/>
                </a:lnTo>
                <a:lnTo>
                  <a:pt x="2914" y="1103"/>
                </a:lnTo>
                <a:lnTo>
                  <a:pt x="2917" y="1103"/>
                </a:lnTo>
                <a:lnTo>
                  <a:pt x="2911" y="1099"/>
                </a:lnTo>
                <a:lnTo>
                  <a:pt x="2911" y="1102"/>
                </a:lnTo>
                <a:close/>
                <a:moveTo>
                  <a:pt x="2978" y="1104"/>
                </a:moveTo>
                <a:lnTo>
                  <a:pt x="2976" y="1103"/>
                </a:lnTo>
                <a:lnTo>
                  <a:pt x="2974" y="1103"/>
                </a:lnTo>
                <a:lnTo>
                  <a:pt x="2978" y="1106"/>
                </a:lnTo>
                <a:lnTo>
                  <a:pt x="2978" y="1104"/>
                </a:lnTo>
                <a:close/>
                <a:moveTo>
                  <a:pt x="2739" y="1033"/>
                </a:moveTo>
                <a:lnTo>
                  <a:pt x="2742" y="1033"/>
                </a:lnTo>
                <a:lnTo>
                  <a:pt x="2743" y="1033"/>
                </a:lnTo>
                <a:lnTo>
                  <a:pt x="2743" y="1033"/>
                </a:lnTo>
                <a:lnTo>
                  <a:pt x="2743" y="1035"/>
                </a:lnTo>
                <a:lnTo>
                  <a:pt x="2749" y="1039"/>
                </a:lnTo>
                <a:lnTo>
                  <a:pt x="2750" y="1033"/>
                </a:lnTo>
                <a:lnTo>
                  <a:pt x="2753" y="1027"/>
                </a:lnTo>
                <a:lnTo>
                  <a:pt x="2754" y="1024"/>
                </a:lnTo>
                <a:lnTo>
                  <a:pt x="2753" y="1009"/>
                </a:lnTo>
                <a:lnTo>
                  <a:pt x="2750" y="1009"/>
                </a:lnTo>
                <a:lnTo>
                  <a:pt x="2749" y="1017"/>
                </a:lnTo>
                <a:lnTo>
                  <a:pt x="2747" y="1017"/>
                </a:lnTo>
                <a:lnTo>
                  <a:pt x="2742" y="1019"/>
                </a:lnTo>
                <a:lnTo>
                  <a:pt x="2739" y="1022"/>
                </a:lnTo>
                <a:lnTo>
                  <a:pt x="2742" y="1025"/>
                </a:lnTo>
                <a:lnTo>
                  <a:pt x="2739" y="1025"/>
                </a:lnTo>
                <a:lnTo>
                  <a:pt x="2739" y="1025"/>
                </a:lnTo>
                <a:lnTo>
                  <a:pt x="2739" y="1027"/>
                </a:lnTo>
                <a:lnTo>
                  <a:pt x="2739" y="1033"/>
                </a:lnTo>
                <a:close/>
                <a:moveTo>
                  <a:pt x="2858" y="1013"/>
                </a:moveTo>
                <a:lnTo>
                  <a:pt x="2859" y="1015"/>
                </a:lnTo>
                <a:lnTo>
                  <a:pt x="2859" y="1013"/>
                </a:lnTo>
                <a:lnTo>
                  <a:pt x="2858" y="1013"/>
                </a:lnTo>
                <a:close/>
                <a:moveTo>
                  <a:pt x="2846" y="1011"/>
                </a:moveTo>
                <a:lnTo>
                  <a:pt x="2850" y="1010"/>
                </a:lnTo>
                <a:lnTo>
                  <a:pt x="2846" y="1010"/>
                </a:lnTo>
                <a:lnTo>
                  <a:pt x="2846" y="1011"/>
                </a:lnTo>
                <a:close/>
                <a:moveTo>
                  <a:pt x="2859" y="1015"/>
                </a:moveTo>
                <a:lnTo>
                  <a:pt x="2855" y="1014"/>
                </a:lnTo>
                <a:lnTo>
                  <a:pt x="2858" y="1017"/>
                </a:lnTo>
                <a:lnTo>
                  <a:pt x="2863" y="1017"/>
                </a:lnTo>
                <a:lnTo>
                  <a:pt x="2859" y="1016"/>
                </a:lnTo>
                <a:lnTo>
                  <a:pt x="2859" y="1015"/>
                </a:lnTo>
                <a:close/>
                <a:moveTo>
                  <a:pt x="2858" y="1010"/>
                </a:moveTo>
                <a:lnTo>
                  <a:pt x="2861" y="1010"/>
                </a:lnTo>
                <a:lnTo>
                  <a:pt x="2863" y="1009"/>
                </a:lnTo>
                <a:lnTo>
                  <a:pt x="2860" y="1009"/>
                </a:lnTo>
                <a:lnTo>
                  <a:pt x="2852" y="1009"/>
                </a:lnTo>
                <a:lnTo>
                  <a:pt x="2857" y="1010"/>
                </a:lnTo>
                <a:lnTo>
                  <a:pt x="2858" y="1010"/>
                </a:lnTo>
                <a:close/>
                <a:moveTo>
                  <a:pt x="2634" y="1086"/>
                </a:moveTo>
                <a:lnTo>
                  <a:pt x="2636" y="1086"/>
                </a:lnTo>
                <a:lnTo>
                  <a:pt x="2634" y="1084"/>
                </a:lnTo>
                <a:lnTo>
                  <a:pt x="2634" y="1086"/>
                </a:lnTo>
                <a:close/>
                <a:moveTo>
                  <a:pt x="2815" y="1048"/>
                </a:moveTo>
                <a:lnTo>
                  <a:pt x="2815" y="1050"/>
                </a:lnTo>
                <a:lnTo>
                  <a:pt x="2816" y="1050"/>
                </a:lnTo>
                <a:lnTo>
                  <a:pt x="2815" y="1048"/>
                </a:lnTo>
                <a:close/>
                <a:moveTo>
                  <a:pt x="2630" y="1080"/>
                </a:moveTo>
                <a:lnTo>
                  <a:pt x="2633" y="1082"/>
                </a:lnTo>
                <a:lnTo>
                  <a:pt x="2637" y="1080"/>
                </a:lnTo>
                <a:lnTo>
                  <a:pt x="2637" y="1079"/>
                </a:lnTo>
                <a:lnTo>
                  <a:pt x="2633" y="1080"/>
                </a:lnTo>
                <a:lnTo>
                  <a:pt x="2630" y="1080"/>
                </a:lnTo>
                <a:close/>
                <a:moveTo>
                  <a:pt x="2659" y="1065"/>
                </a:moveTo>
                <a:lnTo>
                  <a:pt x="2656" y="1065"/>
                </a:lnTo>
                <a:lnTo>
                  <a:pt x="2646" y="1069"/>
                </a:lnTo>
                <a:lnTo>
                  <a:pt x="2646" y="1071"/>
                </a:lnTo>
                <a:lnTo>
                  <a:pt x="2651" y="1069"/>
                </a:lnTo>
                <a:lnTo>
                  <a:pt x="2653" y="1072"/>
                </a:lnTo>
                <a:lnTo>
                  <a:pt x="2659" y="1075"/>
                </a:lnTo>
                <a:lnTo>
                  <a:pt x="2660" y="1073"/>
                </a:lnTo>
                <a:lnTo>
                  <a:pt x="2665" y="1069"/>
                </a:lnTo>
                <a:lnTo>
                  <a:pt x="2660" y="1069"/>
                </a:lnTo>
                <a:lnTo>
                  <a:pt x="2659" y="1065"/>
                </a:lnTo>
                <a:close/>
                <a:moveTo>
                  <a:pt x="2859" y="1015"/>
                </a:moveTo>
                <a:lnTo>
                  <a:pt x="2859" y="1015"/>
                </a:lnTo>
                <a:lnTo>
                  <a:pt x="2859" y="1015"/>
                </a:lnTo>
                <a:lnTo>
                  <a:pt x="2859" y="1015"/>
                </a:lnTo>
                <a:close/>
                <a:moveTo>
                  <a:pt x="2978" y="1116"/>
                </a:moveTo>
                <a:lnTo>
                  <a:pt x="2979" y="1115"/>
                </a:lnTo>
                <a:lnTo>
                  <a:pt x="2978" y="1115"/>
                </a:lnTo>
                <a:lnTo>
                  <a:pt x="2978" y="1116"/>
                </a:lnTo>
                <a:close/>
                <a:moveTo>
                  <a:pt x="2988" y="1105"/>
                </a:moveTo>
                <a:lnTo>
                  <a:pt x="2988" y="1106"/>
                </a:lnTo>
                <a:lnTo>
                  <a:pt x="2991" y="1105"/>
                </a:lnTo>
                <a:lnTo>
                  <a:pt x="2995" y="1103"/>
                </a:lnTo>
                <a:lnTo>
                  <a:pt x="2989" y="1104"/>
                </a:lnTo>
                <a:lnTo>
                  <a:pt x="2988" y="1105"/>
                </a:lnTo>
                <a:close/>
                <a:moveTo>
                  <a:pt x="2980" y="1119"/>
                </a:moveTo>
                <a:lnTo>
                  <a:pt x="2978" y="1118"/>
                </a:lnTo>
                <a:lnTo>
                  <a:pt x="2980" y="1121"/>
                </a:lnTo>
                <a:lnTo>
                  <a:pt x="2980" y="1119"/>
                </a:lnTo>
                <a:close/>
                <a:moveTo>
                  <a:pt x="2980" y="1111"/>
                </a:moveTo>
                <a:lnTo>
                  <a:pt x="2980" y="1111"/>
                </a:lnTo>
                <a:lnTo>
                  <a:pt x="2980" y="1111"/>
                </a:lnTo>
                <a:lnTo>
                  <a:pt x="2979" y="1114"/>
                </a:lnTo>
                <a:lnTo>
                  <a:pt x="2980" y="1114"/>
                </a:lnTo>
                <a:lnTo>
                  <a:pt x="2980" y="1114"/>
                </a:lnTo>
                <a:lnTo>
                  <a:pt x="2979" y="1115"/>
                </a:lnTo>
                <a:lnTo>
                  <a:pt x="2980" y="1116"/>
                </a:lnTo>
                <a:lnTo>
                  <a:pt x="2984" y="1115"/>
                </a:lnTo>
                <a:lnTo>
                  <a:pt x="2980" y="1111"/>
                </a:lnTo>
                <a:close/>
                <a:moveTo>
                  <a:pt x="2980" y="1106"/>
                </a:moveTo>
                <a:lnTo>
                  <a:pt x="2978" y="1106"/>
                </a:lnTo>
                <a:lnTo>
                  <a:pt x="2980" y="1108"/>
                </a:lnTo>
                <a:lnTo>
                  <a:pt x="2980" y="1106"/>
                </a:lnTo>
                <a:close/>
                <a:moveTo>
                  <a:pt x="2978" y="1064"/>
                </a:moveTo>
                <a:lnTo>
                  <a:pt x="2978" y="1063"/>
                </a:lnTo>
                <a:lnTo>
                  <a:pt x="2980" y="1067"/>
                </a:lnTo>
                <a:lnTo>
                  <a:pt x="2980" y="1061"/>
                </a:lnTo>
                <a:lnTo>
                  <a:pt x="2976" y="1063"/>
                </a:lnTo>
                <a:lnTo>
                  <a:pt x="2976" y="1064"/>
                </a:lnTo>
                <a:lnTo>
                  <a:pt x="2978" y="1067"/>
                </a:lnTo>
                <a:lnTo>
                  <a:pt x="2978" y="1064"/>
                </a:lnTo>
                <a:close/>
                <a:moveTo>
                  <a:pt x="2980" y="1125"/>
                </a:moveTo>
                <a:lnTo>
                  <a:pt x="2980" y="1126"/>
                </a:lnTo>
                <a:lnTo>
                  <a:pt x="2981" y="1125"/>
                </a:lnTo>
                <a:lnTo>
                  <a:pt x="2980" y="1125"/>
                </a:lnTo>
                <a:close/>
                <a:moveTo>
                  <a:pt x="2981" y="1086"/>
                </a:moveTo>
                <a:lnTo>
                  <a:pt x="2981" y="1087"/>
                </a:lnTo>
                <a:lnTo>
                  <a:pt x="2984" y="1086"/>
                </a:lnTo>
                <a:lnTo>
                  <a:pt x="2981" y="1086"/>
                </a:lnTo>
                <a:close/>
                <a:moveTo>
                  <a:pt x="2978" y="1118"/>
                </a:moveTo>
                <a:lnTo>
                  <a:pt x="2978" y="1116"/>
                </a:lnTo>
                <a:lnTo>
                  <a:pt x="2976" y="1118"/>
                </a:lnTo>
                <a:lnTo>
                  <a:pt x="2978" y="1118"/>
                </a:lnTo>
                <a:close/>
                <a:moveTo>
                  <a:pt x="2991" y="1080"/>
                </a:moveTo>
                <a:lnTo>
                  <a:pt x="2993" y="1081"/>
                </a:lnTo>
                <a:lnTo>
                  <a:pt x="2998" y="1081"/>
                </a:lnTo>
                <a:lnTo>
                  <a:pt x="2997" y="1078"/>
                </a:lnTo>
                <a:lnTo>
                  <a:pt x="2995" y="1075"/>
                </a:lnTo>
                <a:lnTo>
                  <a:pt x="2992" y="1073"/>
                </a:lnTo>
                <a:lnTo>
                  <a:pt x="2987" y="1076"/>
                </a:lnTo>
                <a:lnTo>
                  <a:pt x="2989" y="1078"/>
                </a:lnTo>
                <a:lnTo>
                  <a:pt x="2991" y="1080"/>
                </a:lnTo>
                <a:close/>
                <a:moveTo>
                  <a:pt x="2992" y="1061"/>
                </a:moveTo>
                <a:lnTo>
                  <a:pt x="2992" y="1059"/>
                </a:lnTo>
                <a:lnTo>
                  <a:pt x="2988" y="1059"/>
                </a:lnTo>
                <a:lnTo>
                  <a:pt x="2988" y="1060"/>
                </a:lnTo>
                <a:lnTo>
                  <a:pt x="2987" y="1061"/>
                </a:lnTo>
                <a:lnTo>
                  <a:pt x="2988" y="1061"/>
                </a:lnTo>
                <a:lnTo>
                  <a:pt x="2992" y="1061"/>
                </a:lnTo>
                <a:close/>
                <a:moveTo>
                  <a:pt x="2993" y="1067"/>
                </a:moveTo>
                <a:lnTo>
                  <a:pt x="2993" y="1069"/>
                </a:lnTo>
                <a:lnTo>
                  <a:pt x="2993" y="1069"/>
                </a:lnTo>
                <a:lnTo>
                  <a:pt x="2993" y="1066"/>
                </a:lnTo>
                <a:lnTo>
                  <a:pt x="2992" y="1066"/>
                </a:lnTo>
                <a:lnTo>
                  <a:pt x="2993" y="1067"/>
                </a:lnTo>
                <a:close/>
                <a:moveTo>
                  <a:pt x="2989" y="1095"/>
                </a:moveTo>
                <a:lnTo>
                  <a:pt x="2992" y="1093"/>
                </a:lnTo>
                <a:lnTo>
                  <a:pt x="2992" y="1087"/>
                </a:lnTo>
                <a:lnTo>
                  <a:pt x="2987" y="1087"/>
                </a:lnTo>
                <a:lnTo>
                  <a:pt x="2988" y="1092"/>
                </a:lnTo>
                <a:lnTo>
                  <a:pt x="2987" y="1093"/>
                </a:lnTo>
                <a:lnTo>
                  <a:pt x="2989" y="1095"/>
                </a:lnTo>
                <a:close/>
                <a:moveTo>
                  <a:pt x="2985" y="1125"/>
                </a:moveTo>
                <a:lnTo>
                  <a:pt x="2985" y="1126"/>
                </a:lnTo>
                <a:lnTo>
                  <a:pt x="2987" y="1126"/>
                </a:lnTo>
                <a:lnTo>
                  <a:pt x="2985" y="1125"/>
                </a:lnTo>
                <a:lnTo>
                  <a:pt x="2985" y="1125"/>
                </a:lnTo>
                <a:close/>
                <a:moveTo>
                  <a:pt x="2985" y="1056"/>
                </a:moveTo>
                <a:lnTo>
                  <a:pt x="2984" y="1053"/>
                </a:lnTo>
                <a:lnTo>
                  <a:pt x="2980" y="1053"/>
                </a:lnTo>
                <a:lnTo>
                  <a:pt x="2984" y="1056"/>
                </a:lnTo>
                <a:lnTo>
                  <a:pt x="2985" y="1056"/>
                </a:lnTo>
                <a:close/>
                <a:moveTo>
                  <a:pt x="2988" y="1118"/>
                </a:moveTo>
                <a:lnTo>
                  <a:pt x="2985" y="1118"/>
                </a:lnTo>
                <a:lnTo>
                  <a:pt x="2987" y="1119"/>
                </a:lnTo>
                <a:lnTo>
                  <a:pt x="2988" y="1118"/>
                </a:lnTo>
                <a:close/>
                <a:moveTo>
                  <a:pt x="2874" y="1014"/>
                </a:moveTo>
                <a:lnTo>
                  <a:pt x="2874" y="1015"/>
                </a:lnTo>
                <a:lnTo>
                  <a:pt x="2875" y="1015"/>
                </a:lnTo>
                <a:lnTo>
                  <a:pt x="2875" y="1015"/>
                </a:lnTo>
                <a:lnTo>
                  <a:pt x="2874" y="1014"/>
                </a:lnTo>
                <a:close/>
                <a:moveTo>
                  <a:pt x="2966" y="1102"/>
                </a:moveTo>
                <a:lnTo>
                  <a:pt x="2964" y="1098"/>
                </a:lnTo>
                <a:lnTo>
                  <a:pt x="2964" y="1102"/>
                </a:lnTo>
                <a:lnTo>
                  <a:pt x="2966" y="1102"/>
                </a:lnTo>
                <a:close/>
                <a:moveTo>
                  <a:pt x="2948" y="1125"/>
                </a:moveTo>
                <a:lnTo>
                  <a:pt x="2948" y="1125"/>
                </a:lnTo>
                <a:lnTo>
                  <a:pt x="2947" y="1124"/>
                </a:lnTo>
                <a:lnTo>
                  <a:pt x="2948" y="1125"/>
                </a:lnTo>
                <a:lnTo>
                  <a:pt x="2948" y="1125"/>
                </a:lnTo>
                <a:close/>
                <a:moveTo>
                  <a:pt x="2947" y="1078"/>
                </a:moveTo>
                <a:lnTo>
                  <a:pt x="2947" y="1078"/>
                </a:lnTo>
                <a:lnTo>
                  <a:pt x="2947" y="1078"/>
                </a:lnTo>
                <a:lnTo>
                  <a:pt x="2947" y="1078"/>
                </a:lnTo>
                <a:lnTo>
                  <a:pt x="2947" y="1078"/>
                </a:lnTo>
                <a:close/>
                <a:moveTo>
                  <a:pt x="2929" y="1094"/>
                </a:moveTo>
                <a:lnTo>
                  <a:pt x="2924" y="1096"/>
                </a:lnTo>
                <a:lnTo>
                  <a:pt x="2919" y="1093"/>
                </a:lnTo>
                <a:lnTo>
                  <a:pt x="2919" y="1097"/>
                </a:lnTo>
                <a:lnTo>
                  <a:pt x="2916" y="1099"/>
                </a:lnTo>
                <a:lnTo>
                  <a:pt x="2923" y="1108"/>
                </a:lnTo>
                <a:lnTo>
                  <a:pt x="2923" y="1110"/>
                </a:lnTo>
                <a:lnTo>
                  <a:pt x="2922" y="1114"/>
                </a:lnTo>
                <a:lnTo>
                  <a:pt x="2923" y="1116"/>
                </a:lnTo>
                <a:lnTo>
                  <a:pt x="2923" y="1118"/>
                </a:lnTo>
                <a:lnTo>
                  <a:pt x="2928" y="1119"/>
                </a:lnTo>
                <a:lnTo>
                  <a:pt x="2930" y="1119"/>
                </a:lnTo>
                <a:lnTo>
                  <a:pt x="2929" y="1118"/>
                </a:lnTo>
                <a:lnTo>
                  <a:pt x="2932" y="1118"/>
                </a:lnTo>
                <a:lnTo>
                  <a:pt x="2935" y="1126"/>
                </a:lnTo>
                <a:lnTo>
                  <a:pt x="2935" y="1121"/>
                </a:lnTo>
                <a:lnTo>
                  <a:pt x="2939" y="1118"/>
                </a:lnTo>
                <a:lnTo>
                  <a:pt x="2943" y="1118"/>
                </a:lnTo>
                <a:lnTo>
                  <a:pt x="2945" y="1123"/>
                </a:lnTo>
                <a:lnTo>
                  <a:pt x="2947" y="1124"/>
                </a:lnTo>
                <a:lnTo>
                  <a:pt x="2945" y="1121"/>
                </a:lnTo>
                <a:lnTo>
                  <a:pt x="2946" y="1120"/>
                </a:lnTo>
                <a:lnTo>
                  <a:pt x="2947" y="1119"/>
                </a:lnTo>
                <a:lnTo>
                  <a:pt x="2943" y="1104"/>
                </a:lnTo>
                <a:lnTo>
                  <a:pt x="2947" y="1108"/>
                </a:lnTo>
                <a:lnTo>
                  <a:pt x="2948" y="1109"/>
                </a:lnTo>
                <a:lnTo>
                  <a:pt x="2948" y="1111"/>
                </a:lnTo>
                <a:lnTo>
                  <a:pt x="2951" y="1110"/>
                </a:lnTo>
                <a:lnTo>
                  <a:pt x="2954" y="1110"/>
                </a:lnTo>
                <a:lnTo>
                  <a:pt x="2952" y="1106"/>
                </a:lnTo>
                <a:lnTo>
                  <a:pt x="2948" y="1106"/>
                </a:lnTo>
                <a:lnTo>
                  <a:pt x="2948" y="1106"/>
                </a:lnTo>
                <a:lnTo>
                  <a:pt x="2947" y="1104"/>
                </a:lnTo>
                <a:lnTo>
                  <a:pt x="2947" y="1103"/>
                </a:lnTo>
                <a:lnTo>
                  <a:pt x="2947" y="1102"/>
                </a:lnTo>
                <a:lnTo>
                  <a:pt x="2945" y="1102"/>
                </a:lnTo>
                <a:lnTo>
                  <a:pt x="2944" y="1102"/>
                </a:lnTo>
                <a:lnTo>
                  <a:pt x="2929" y="1094"/>
                </a:lnTo>
                <a:close/>
                <a:moveTo>
                  <a:pt x="2956" y="1063"/>
                </a:moveTo>
                <a:lnTo>
                  <a:pt x="2953" y="1061"/>
                </a:lnTo>
                <a:lnTo>
                  <a:pt x="2951" y="1061"/>
                </a:lnTo>
                <a:lnTo>
                  <a:pt x="2952" y="1063"/>
                </a:lnTo>
                <a:lnTo>
                  <a:pt x="2956" y="1063"/>
                </a:lnTo>
                <a:close/>
                <a:moveTo>
                  <a:pt x="2899" y="1067"/>
                </a:moveTo>
                <a:lnTo>
                  <a:pt x="2898" y="1064"/>
                </a:lnTo>
                <a:lnTo>
                  <a:pt x="2897" y="1067"/>
                </a:lnTo>
                <a:lnTo>
                  <a:pt x="2897" y="1068"/>
                </a:lnTo>
                <a:lnTo>
                  <a:pt x="2899" y="1071"/>
                </a:lnTo>
                <a:lnTo>
                  <a:pt x="2898" y="1068"/>
                </a:lnTo>
                <a:lnTo>
                  <a:pt x="2899" y="1067"/>
                </a:lnTo>
                <a:close/>
                <a:moveTo>
                  <a:pt x="2902" y="1069"/>
                </a:moveTo>
                <a:lnTo>
                  <a:pt x="2903" y="1069"/>
                </a:lnTo>
                <a:lnTo>
                  <a:pt x="2903" y="1069"/>
                </a:lnTo>
                <a:lnTo>
                  <a:pt x="2902" y="1069"/>
                </a:lnTo>
                <a:close/>
                <a:moveTo>
                  <a:pt x="2899" y="1071"/>
                </a:moveTo>
                <a:lnTo>
                  <a:pt x="2903" y="1073"/>
                </a:lnTo>
                <a:lnTo>
                  <a:pt x="2903" y="1072"/>
                </a:lnTo>
                <a:lnTo>
                  <a:pt x="2902" y="1071"/>
                </a:lnTo>
                <a:lnTo>
                  <a:pt x="2899" y="1071"/>
                </a:lnTo>
                <a:close/>
                <a:moveTo>
                  <a:pt x="3002" y="1120"/>
                </a:moveTo>
                <a:lnTo>
                  <a:pt x="3006" y="1119"/>
                </a:lnTo>
                <a:lnTo>
                  <a:pt x="3007" y="1118"/>
                </a:lnTo>
                <a:lnTo>
                  <a:pt x="3003" y="1118"/>
                </a:lnTo>
                <a:lnTo>
                  <a:pt x="3002" y="1120"/>
                </a:lnTo>
                <a:close/>
                <a:moveTo>
                  <a:pt x="2698" y="670"/>
                </a:moveTo>
                <a:lnTo>
                  <a:pt x="2699" y="669"/>
                </a:lnTo>
                <a:lnTo>
                  <a:pt x="2698" y="669"/>
                </a:lnTo>
                <a:lnTo>
                  <a:pt x="2698" y="670"/>
                </a:lnTo>
                <a:close/>
                <a:moveTo>
                  <a:pt x="3022" y="1124"/>
                </a:moveTo>
                <a:lnTo>
                  <a:pt x="3020" y="1125"/>
                </a:lnTo>
                <a:lnTo>
                  <a:pt x="3023" y="1122"/>
                </a:lnTo>
                <a:lnTo>
                  <a:pt x="3021" y="1122"/>
                </a:lnTo>
                <a:lnTo>
                  <a:pt x="3022" y="1124"/>
                </a:lnTo>
                <a:close/>
                <a:moveTo>
                  <a:pt x="2735" y="608"/>
                </a:moveTo>
                <a:lnTo>
                  <a:pt x="2735" y="609"/>
                </a:lnTo>
                <a:lnTo>
                  <a:pt x="2735" y="608"/>
                </a:lnTo>
                <a:lnTo>
                  <a:pt x="2735" y="608"/>
                </a:lnTo>
                <a:close/>
                <a:moveTo>
                  <a:pt x="4257" y="266"/>
                </a:moveTo>
                <a:lnTo>
                  <a:pt x="4257" y="266"/>
                </a:lnTo>
                <a:lnTo>
                  <a:pt x="4258" y="266"/>
                </a:lnTo>
                <a:lnTo>
                  <a:pt x="4257" y="266"/>
                </a:lnTo>
                <a:close/>
                <a:moveTo>
                  <a:pt x="2996" y="1089"/>
                </a:moveTo>
                <a:lnTo>
                  <a:pt x="2996" y="1094"/>
                </a:lnTo>
                <a:lnTo>
                  <a:pt x="2992" y="1094"/>
                </a:lnTo>
                <a:lnTo>
                  <a:pt x="2992" y="1095"/>
                </a:lnTo>
                <a:lnTo>
                  <a:pt x="3001" y="1098"/>
                </a:lnTo>
                <a:lnTo>
                  <a:pt x="3001" y="1098"/>
                </a:lnTo>
                <a:lnTo>
                  <a:pt x="3001" y="1098"/>
                </a:lnTo>
                <a:lnTo>
                  <a:pt x="3002" y="1096"/>
                </a:lnTo>
                <a:lnTo>
                  <a:pt x="3002" y="1095"/>
                </a:lnTo>
                <a:lnTo>
                  <a:pt x="3000" y="1089"/>
                </a:lnTo>
                <a:lnTo>
                  <a:pt x="2996" y="1089"/>
                </a:lnTo>
                <a:close/>
                <a:moveTo>
                  <a:pt x="3002" y="1095"/>
                </a:moveTo>
                <a:lnTo>
                  <a:pt x="3003" y="1095"/>
                </a:lnTo>
                <a:lnTo>
                  <a:pt x="3003" y="1095"/>
                </a:lnTo>
                <a:lnTo>
                  <a:pt x="3002" y="1095"/>
                </a:lnTo>
                <a:lnTo>
                  <a:pt x="3002" y="1095"/>
                </a:lnTo>
                <a:close/>
                <a:moveTo>
                  <a:pt x="2882" y="1021"/>
                </a:moveTo>
                <a:lnTo>
                  <a:pt x="2882" y="1021"/>
                </a:lnTo>
                <a:lnTo>
                  <a:pt x="2882" y="1021"/>
                </a:lnTo>
                <a:lnTo>
                  <a:pt x="2882" y="1021"/>
                </a:lnTo>
                <a:close/>
                <a:moveTo>
                  <a:pt x="3008" y="1118"/>
                </a:moveTo>
                <a:lnTo>
                  <a:pt x="3007" y="1118"/>
                </a:lnTo>
                <a:lnTo>
                  <a:pt x="3008" y="1118"/>
                </a:lnTo>
                <a:lnTo>
                  <a:pt x="3014" y="1118"/>
                </a:lnTo>
                <a:lnTo>
                  <a:pt x="3014" y="1117"/>
                </a:lnTo>
                <a:lnTo>
                  <a:pt x="3008" y="1117"/>
                </a:lnTo>
                <a:lnTo>
                  <a:pt x="3008" y="1118"/>
                </a:lnTo>
                <a:close/>
                <a:moveTo>
                  <a:pt x="2586" y="1154"/>
                </a:moveTo>
                <a:lnTo>
                  <a:pt x="2586" y="1154"/>
                </a:lnTo>
                <a:lnTo>
                  <a:pt x="2586" y="1154"/>
                </a:lnTo>
                <a:lnTo>
                  <a:pt x="2586" y="1154"/>
                </a:lnTo>
                <a:lnTo>
                  <a:pt x="2586" y="1154"/>
                </a:lnTo>
                <a:close/>
                <a:moveTo>
                  <a:pt x="2829" y="990"/>
                </a:moveTo>
                <a:lnTo>
                  <a:pt x="2834" y="995"/>
                </a:lnTo>
                <a:lnTo>
                  <a:pt x="2832" y="991"/>
                </a:lnTo>
                <a:lnTo>
                  <a:pt x="2829" y="990"/>
                </a:lnTo>
                <a:close/>
                <a:moveTo>
                  <a:pt x="2755" y="1114"/>
                </a:moveTo>
                <a:lnTo>
                  <a:pt x="2755" y="1114"/>
                </a:lnTo>
                <a:lnTo>
                  <a:pt x="2756" y="1113"/>
                </a:lnTo>
                <a:lnTo>
                  <a:pt x="2755" y="1112"/>
                </a:lnTo>
                <a:lnTo>
                  <a:pt x="2755" y="1114"/>
                </a:lnTo>
                <a:close/>
                <a:moveTo>
                  <a:pt x="2566" y="1142"/>
                </a:moveTo>
                <a:lnTo>
                  <a:pt x="2566" y="1145"/>
                </a:lnTo>
                <a:lnTo>
                  <a:pt x="2566" y="1145"/>
                </a:lnTo>
                <a:lnTo>
                  <a:pt x="2567" y="1145"/>
                </a:lnTo>
                <a:lnTo>
                  <a:pt x="2566" y="1142"/>
                </a:lnTo>
                <a:close/>
                <a:moveTo>
                  <a:pt x="3078" y="1210"/>
                </a:moveTo>
                <a:lnTo>
                  <a:pt x="3078" y="1210"/>
                </a:lnTo>
                <a:lnTo>
                  <a:pt x="3078" y="1210"/>
                </a:lnTo>
                <a:lnTo>
                  <a:pt x="3078" y="1210"/>
                </a:lnTo>
                <a:lnTo>
                  <a:pt x="3078" y="1210"/>
                </a:lnTo>
                <a:close/>
                <a:moveTo>
                  <a:pt x="2681" y="1005"/>
                </a:moveTo>
                <a:lnTo>
                  <a:pt x="2678" y="1002"/>
                </a:lnTo>
                <a:lnTo>
                  <a:pt x="2678" y="1005"/>
                </a:lnTo>
                <a:lnTo>
                  <a:pt x="2681" y="1005"/>
                </a:lnTo>
                <a:close/>
                <a:moveTo>
                  <a:pt x="2835" y="986"/>
                </a:moveTo>
                <a:lnTo>
                  <a:pt x="2827" y="980"/>
                </a:lnTo>
                <a:lnTo>
                  <a:pt x="2832" y="986"/>
                </a:lnTo>
                <a:lnTo>
                  <a:pt x="2835" y="986"/>
                </a:lnTo>
                <a:close/>
                <a:moveTo>
                  <a:pt x="2882" y="1021"/>
                </a:moveTo>
                <a:lnTo>
                  <a:pt x="2879" y="1018"/>
                </a:lnTo>
                <a:lnTo>
                  <a:pt x="2879" y="1021"/>
                </a:lnTo>
                <a:lnTo>
                  <a:pt x="2882" y="1021"/>
                </a:lnTo>
                <a:close/>
                <a:moveTo>
                  <a:pt x="2829" y="977"/>
                </a:moveTo>
                <a:lnTo>
                  <a:pt x="2823" y="971"/>
                </a:lnTo>
                <a:lnTo>
                  <a:pt x="2823" y="974"/>
                </a:lnTo>
                <a:lnTo>
                  <a:pt x="2821" y="972"/>
                </a:lnTo>
                <a:lnTo>
                  <a:pt x="2822" y="977"/>
                </a:lnTo>
                <a:lnTo>
                  <a:pt x="2821" y="977"/>
                </a:lnTo>
                <a:lnTo>
                  <a:pt x="2823" y="981"/>
                </a:lnTo>
                <a:lnTo>
                  <a:pt x="2823" y="975"/>
                </a:lnTo>
                <a:lnTo>
                  <a:pt x="2827" y="977"/>
                </a:lnTo>
                <a:lnTo>
                  <a:pt x="2829" y="977"/>
                </a:lnTo>
                <a:close/>
                <a:moveTo>
                  <a:pt x="2952" y="1078"/>
                </a:moveTo>
                <a:lnTo>
                  <a:pt x="2952" y="1078"/>
                </a:lnTo>
                <a:lnTo>
                  <a:pt x="2954" y="1076"/>
                </a:lnTo>
                <a:lnTo>
                  <a:pt x="2952" y="1076"/>
                </a:lnTo>
                <a:lnTo>
                  <a:pt x="2952" y="1078"/>
                </a:lnTo>
                <a:close/>
                <a:moveTo>
                  <a:pt x="2873" y="1015"/>
                </a:moveTo>
                <a:lnTo>
                  <a:pt x="2872" y="1017"/>
                </a:lnTo>
                <a:lnTo>
                  <a:pt x="2873" y="1017"/>
                </a:lnTo>
                <a:lnTo>
                  <a:pt x="2875" y="1015"/>
                </a:lnTo>
                <a:lnTo>
                  <a:pt x="2874" y="1015"/>
                </a:lnTo>
                <a:lnTo>
                  <a:pt x="2873" y="1015"/>
                </a:lnTo>
                <a:close/>
                <a:moveTo>
                  <a:pt x="2869" y="1017"/>
                </a:moveTo>
                <a:lnTo>
                  <a:pt x="2872" y="1017"/>
                </a:lnTo>
                <a:lnTo>
                  <a:pt x="2861" y="1013"/>
                </a:lnTo>
                <a:lnTo>
                  <a:pt x="2869" y="1017"/>
                </a:lnTo>
                <a:close/>
                <a:moveTo>
                  <a:pt x="2838" y="1094"/>
                </a:moveTo>
                <a:lnTo>
                  <a:pt x="2831" y="1098"/>
                </a:lnTo>
                <a:lnTo>
                  <a:pt x="2829" y="1098"/>
                </a:lnTo>
                <a:lnTo>
                  <a:pt x="2824" y="1098"/>
                </a:lnTo>
                <a:lnTo>
                  <a:pt x="2812" y="1100"/>
                </a:lnTo>
                <a:lnTo>
                  <a:pt x="2808" y="1097"/>
                </a:lnTo>
                <a:lnTo>
                  <a:pt x="2807" y="1093"/>
                </a:lnTo>
                <a:lnTo>
                  <a:pt x="2803" y="1096"/>
                </a:lnTo>
                <a:lnTo>
                  <a:pt x="2803" y="1098"/>
                </a:lnTo>
                <a:lnTo>
                  <a:pt x="2801" y="1098"/>
                </a:lnTo>
                <a:lnTo>
                  <a:pt x="2798" y="1096"/>
                </a:lnTo>
                <a:lnTo>
                  <a:pt x="2796" y="1100"/>
                </a:lnTo>
                <a:lnTo>
                  <a:pt x="2794" y="1103"/>
                </a:lnTo>
                <a:lnTo>
                  <a:pt x="2797" y="1105"/>
                </a:lnTo>
                <a:lnTo>
                  <a:pt x="2805" y="1107"/>
                </a:lnTo>
                <a:lnTo>
                  <a:pt x="2815" y="1114"/>
                </a:lnTo>
                <a:lnTo>
                  <a:pt x="2819" y="1115"/>
                </a:lnTo>
                <a:lnTo>
                  <a:pt x="2824" y="1120"/>
                </a:lnTo>
                <a:lnTo>
                  <a:pt x="2831" y="1123"/>
                </a:lnTo>
                <a:lnTo>
                  <a:pt x="2834" y="1117"/>
                </a:lnTo>
                <a:lnTo>
                  <a:pt x="2835" y="1115"/>
                </a:lnTo>
                <a:lnTo>
                  <a:pt x="2831" y="1107"/>
                </a:lnTo>
                <a:lnTo>
                  <a:pt x="2834" y="1103"/>
                </a:lnTo>
                <a:lnTo>
                  <a:pt x="2839" y="1096"/>
                </a:lnTo>
                <a:lnTo>
                  <a:pt x="2839" y="1094"/>
                </a:lnTo>
                <a:lnTo>
                  <a:pt x="2838" y="1094"/>
                </a:lnTo>
                <a:close/>
                <a:moveTo>
                  <a:pt x="2879" y="1018"/>
                </a:moveTo>
                <a:lnTo>
                  <a:pt x="2879" y="1018"/>
                </a:lnTo>
                <a:lnTo>
                  <a:pt x="2877" y="1016"/>
                </a:lnTo>
                <a:lnTo>
                  <a:pt x="2879" y="1018"/>
                </a:lnTo>
                <a:close/>
                <a:moveTo>
                  <a:pt x="2847" y="1030"/>
                </a:moveTo>
                <a:lnTo>
                  <a:pt x="2844" y="1033"/>
                </a:lnTo>
                <a:lnTo>
                  <a:pt x="2847" y="1033"/>
                </a:lnTo>
                <a:lnTo>
                  <a:pt x="2847" y="1030"/>
                </a:lnTo>
                <a:close/>
                <a:moveTo>
                  <a:pt x="4465" y="1151"/>
                </a:moveTo>
                <a:lnTo>
                  <a:pt x="4465" y="1152"/>
                </a:lnTo>
                <a:lnTo>
                  <a:pt x="4466" y="1153"/>
                </a:lnTo>
                <a:lnTo>
                  <a:pt x="4466" y="1154"/>
                </a:lnTo>
                <a:lnTo>
                  <a:pt x="4466" y="1154"/>
                </a:lnTo>
                <a:lnTo>
                  <a:pt x="4466" y="1154"/>
                </a:lnTo>
                <a:lnTo>
                  <a:pt x="4466" y="1152"/>
                </a:lnTo>
                <a:lnTo>
                  <a:pt x="4466" y="1150"/>
                </a:lnTo>
                <a:lnTo>
                  <a:pt x="4465" y="1150"/>
                </a:lnTo>
                <a:lnTo>
                  <a:pt x="4465" y="1151"/>
                </a:lnTo>
                <a:close/>
                <a:moveTo>
                  <a:pt x="2875" y="1015"/>
                </a:moveTo>
                <a:lnTo>
                  <a:pt x="2877" y="1016"/>
                </a:lnTo>
                <a:lnTo>
                  <a:pt x="2875" y="1015"/>
                </a:lnTo>
                <a:lnTo>
                  <a:pt x="2875" y="1015"/>
                </a:lnTo>
                <a:lnTo>
                  <a:pt x="2875" y="1015"/>
                </a:lnTo>
                <a:close/>
                <a:moveTo>
                  <a:pt x="1841" y="543"/>
                </a:moveTo>
                <a:lnTo>
                  <a:pt x="1842" y="543"/>
                </a:lnTo>
                <a:lnTo>
                  <a:pt x="1841" y="543"/>
                </a:lnTo>
                <a:lnTo>
                  <a:pt x="1841" y="543"/>
                </a:lnTo>
                <a:close/>
                <a:moveTo>
                  <a:pt x="2414" y="555"/>
                </a:moveTo>
                <a:lnTo>
                  <a:pt x="2413" y="555"/>
                </a:lnTo>
                <a:lnTo>
                  <a:pt x="2410" y="555"/>
                </a:lnTo>
                <a:lnTo>
                  <a:pt x="2413" y="557"/>
                </a:lnTo>
                <a:lnTo>
                  <a:pt x="2414" y="555"/>
                </a:lnTo>
                <a:close/>
                <a:moveTo>
                  <a:pt x="4060" y="1599"/>
                </a:moveTo>
                <a:lnTo>
                  <a:pt x="4060" y="1598"/>
                </a:lnTo>
                <a:lnTo>
                  <a:pt x="4061" y="1600"/>
                </a:lnTo>
                <a:lnTo>
                  <a:pt x="4062" y="1598"/>
                </a:lnTo>
                <a:lnTo>
                  <a:pt x="4062" y="1596"/>
                </a:lnTo>
                <a:lnTo>
                  <a:pt x="4060" y="1596"/>
                </a:lnTo>
                <a:lnTo>
                  <a:pt x="4060" y="1596"/>
                </a:lnTo>
                <a:lnTo>
                  <a:pt x="4059" y="1596"/>
                </a:lnTo>
                <a:lnTo>
                  <a:pt x="4059" y="1596"/>
                </a:lnTo>
                <a:lnTo>
                  <a:pt x="4059" y="1597"/>
                </a:lnTo>
                <a:lnTo>
                  <a:pt x="4058" y="1598"/>
                </a:lnTo>
                <a:lnTo>
                  <a:pt x="4060" y="1599"/>
                </a:lnTo>
                <a:close/>
                <a:moveTo>
                  <a:pt x="2409" y="555"/>
                </a:moveTo>
                <a:lnTo>
                  <a:pt x="2410" y="555"/>
                </a:lnTo>
                <a:lnTo>
                  <a:pt x="2409" y="554"/>
                </a:lnTo>
                <a:lnTo>
                  <a:pt x="2408" y="554"/>
                </a:lnTo>
                <a:lnTo>
                  <a:pt x="2409" y="555"/>
                </a:lnTo>
                <a:close/>
                <a:moveTo>
                  <a:pt x="2257" y="535"/>
                </a:moveTo>
                <a:lnTo>
                  <a:pt x="2257" y="538"/>
                </a:lnTo>
                <a:lnTo>
                  <a:pt x="2266" y="543"/>
                </a:lnTo>
                <a:lnTo>
                  <a:pt x="2263" y="543"/>
                </a:lnTo>
                <a:lnTo>
                  <a:pt x="2257" y="541"/>
                </a:lnTo>
                <a:lnTo>
                  <a:pt x="2254" y="543"/>
                </a:lnTo>
                <a:lnTo>
                  <a:pt x="2264" y="546"/>
                </a:lnTo>
                <a:lnTo>
                  <a:pt x="2272" y="543"/>
                </a:lnTo>
                <a:lnTo>
                  <a:pt x="2268" y="543"/>
                </a:lnTo>
                <a:lnTo>
                  <a:pt x="2257" y="535"/>
                </a:lnTo>
                <a:close/>
                <a:moveTo>
                  <a:pt x="2296" y="349"/>
                </a:moveTo>
                <a:lnTo>
                  <a:pt x="2292" y="353"/>
                </a:lnTo>
                <a:lnTo>
                  <a:pt x="2295" y="355"/>
                </a:lnTo>
                <a:lnTo>
                  <a:pt x="2296" y="359"/>
                </a:lnTo>
                <a:lnTo>
                  <a:pt x="2288" y="359"/>
                </a:lnTo>
                <a:lnTo>
                  <a:pt x="2296" y="362"/>
                </a:lnTo>
                <a:lnTo>
                  <a:pt x="2295" y="365"/>
                </a:lnTo>
                <a:lnTo>
                  <a:pt x="2283" y="362"/>
                </a:lnTo>
                <a:lnTo>
                  <a:pt x="2293" y="368"/>
                </a:lnTo>
                <a:lnTo>
                  <a:pt x="2293" y="371"/>
                </a:lnTo>
                <a:lnTo>
                  <a:pt x="2290" y="372"/>
                </a:lnTo>
                <a:lnTo>
                  <a:pt x="2267" y="362"/>
                </a:lnTo>
                <a:lnTo>
                  <a:pt x="2260" y="360"/>
                </a:lnTo>
                <a:lnTo>
                  <a:pt x="2258" y="352"/>
                </a:lnTo>
                <a:lnTo>
                  <a:pt x="2274" y="350"/>
                </a:lnTo>
                <a:lnTo>
                  <a:pt x="2258" y="349"/>
                </a:lnTo>
                <a:lnTo>
                  <a:pt x="2257" y="348"/>
                </a:lnTo>
                <a:lnTo>
                  <a:pt x="2277" y="346"/>
                </a:lnTo>
                <a:lnTo>
                  <a:pt x="2289" y="348"/>
                </a:lnTo>
                <a:lnTo>
                  <a:pt x="2296" y="349"/>
                </a:lnTo>
                <a:close/>
                <a:moveTo>
                  <a:pt x="2287" y="359"/>
                </a:moveTo>
                <a:lnTo>
                  <a:pt x="2283" y="354"/>
                </a:lnTo>
                <a:lnTo>
                  <a:pt x="2286" y="358"/>
                </a:lnTo>
                <a:lnTo>
                  <a:pt x="2287" y="359"/>
                </a:lnTo>
                <a:close/>
                <a:moveTo>
                  <a:pt x="2351" y="589"/>
                </a:moveTo>
                <a:lnTo>
                  <a:pt x="2350" y="588"/>
                </a:lnTo>
                <a:lnTo>
                  <a:pt x="2351" y="585"/>
                </a:lnTo>
                <a:lnTo>
                  <a:pt x="2363" y="584"/>
                </a:lnTo>
                <a:lnTo>
                  <a:pt x="2366" y="581"/>
                </a:lnTo>
                <a:lnTo>
                  <a:pt x="2366" y="584"/>
                </a:lnTo>
                <a:lnTo>
                  <a:pt x="2370" y="583"/>
                </a:lnTo>
                <a:lnTo>
                  <a:pt x="2376" y="576"/>
                </a:lnTo>
                <a:lnTo>
                  <a:pt x="2385" y="573"/>
                </a:lnTo>
                <a:lnTo>
                  <a:pt x="2385" y="571"/>
                </a:lnTo>
                <a:lnTo>
                  <a:pt x="2392" y="574"/>
                </a:lnTo>
                <a:lnTo>
                  <a:pt x="2396" y="571"/>
                </a:lnTo>
                <a:lnTo>
                  <a:pt x="2400" y="571"/>
                </a:lnTo>
                <a:lnTo>
                  <a:pt x="2402" y="567"/>
                </a:lnTo>
                <a:lnTo>
                  <a:pt x="2399" y="567"/>
                </a:lnTo>
                <a:lnTo>
                  <a:pt x="2402" y="563"/>
                </a:lnTo>
                <a:lnTo>
                  <a:pt x="2400" y="559"/>
                </a:lnTo>
                <a:lnTo>
                  <a:pt x="2404" y="563"/>
                </a:lnTo>
                <a:lnTo>
                  <a:pt x="2407" y="563"/>
                </a:lnTo>
                <a:lnTo>
                  <a:pt x="2406" y="562"/>
                </a:lnTo>
                <a:lnTo>
                  <a:pt x="2411" y="558"/>
                </a:lnTo>
                <a:lnTo>
                  <a:pt x="2409" y="555"/>
                </a:lnTo>
                <a:lnTo>
                  <a:pt x="2406" y="555"/>
                </a:lnTo>
                <a:lnTo>
                  <a:pt x="2408" y="554"/>
                </a:lnTo>
                <a:lnTo>
                  <a:pt x="2407" y="553"/>
                </a:lnTo>
                <a:lnTo>
                  <a:pt x="2409" y="554"/>
                </a:lnTo>
                <a:lnTo>
                  <a:pt x="2414" y="552"/>
                </a:lnTo>
                <a:lnTo>
                  <a:pt x="2411" y="548"/>
                </a:lnTo>
                <a:lnTo>
                  <a:pt x="2413" y="543"/>
                </a:lnTo>
                <a:lnTo>
                  <a:pt x="2413" y="542"/>
                </a:lnTo>
                <a:lnTo>
                  <a:pt x="2401" y="540"/>
                </a:lnTo>
                <a:lnTo>
                  <a:pt x="2401" y="536"/>
                </a:lnTo>
                <a:lnTo>
                  <a:pt x="2394" y="538"/>
                </a:lnTo>
                <a:lnTo>
                  <a:pt x="2398" y="531"/>
                </a:lnTo>
                <a:lnTo>
                  <a:pt x="2391" y="529"/>
                </a:lnTo>
                <a:lnTo>
                  <a:pt x="2393" y="527"/>
                </a:lnTo>
                <a:lnTo>
                  <a:pt x="2393" y="524"/>
                </a:lnTo>
                <a:lnTo>
                  <a:pt x="2396" y="523"/>
                </a:lnTo>
                <a:lnTo>
                  <a:pt x="2393" y="523"/>
                </a:lnTo>
                <a:lnTo>
                  <a:pt x="2387" y="527"/>
                </a:lnTo>
                <a:lnTo>
                  <a:pt x="2381" y="525"/>
                </a:lnTo>
                <a:lnTo>
                  <a:pt x="2381" y="522"/>
                </a:lnTo>
                <a:lnTo>
                  <a:pt x="2377" y="516"/>
                </a:lnTo>
                <a:lnTo>
                  <a:pt x="2369" y="519"/>
                </a:lnTo>
                <a:lnTo>
                  <a:pt x="2373" y="524"/>
                </a:lnTo>
                <a:lnTo>
                  <a:pt x="2368" y="527"/>
                </a:lnTo>
                <a:lnTo>
                  <a:pt x="2369" y="529"/>
                </a:lnTo>
                <a:lnTo>
                  <a:pt x="2362" y="527"/>
                </a:lnTo>
                <a:lnTo>
                  <a:pt x="2358" y="535"/>
                </a:lnTo>
                <a:lnTo>
                  <a:pt x="2355" y="535"/>
                </a:lnTo>
                <a:lnTo>
                  <a:pt x="2350" y="527"/>
                </a:lnTo>
                <a:lnTo>
                  <a:pt x="2345" y="527"/>
                </a:lnTo>
                <a:lnTo>
                  <a:pt x="2345" y="530"/>
                </a:lnTo>
                <a:lnTo>
                  <a:pt x="2345" y="535"/>
                </a:lnTo>
                <a:lnTo>
                  <a:pt x="2345" y="540"/>
                </a:lnTo>
                <a:lnTo>
                  <a:pt x="2345" y="534"/>
                </a:lnTo>
                <a:lnTo>
                  <a:pt x="2342" y="531"/>
                </a:lnTo>
                <a:lnTo>
                  <a:pt x="2340" y="529"/>
                </a:lnTo>
                <a:lnTo>
                  <a:pt x="2337" y="527"/>
                </a:lnTo>
                <a:lnTo>
                  <a:pt x="2333" y="527"/>
                </a:lnTo>
                <a:lnTo>
                  <a:pt x="2333" y="529"/>
                </a:lnTo>
                <a:lnTo>
                  <a:pt x="2325" y="530"/>
                </a:lnTo>
                <a:lnTo>
                  <a:pt x="2325" y="531"/>
                </a:lnTo>
                <a:lnTo>
                  <a:pt x="2328" y="535"/>
                </a:lnTo>
                <a:lnTo>
                  <a:pt x="2328" y="538"/>
                </a:lnTo>
                <a:lnTo>
                  <a:pt x="2325" y="537"/>
                </a:lnTo>
                <a:lnTo>
                  <a:pt x="2318" y="531"/>
                </a:lnTo>
                <a:lnTo>
                  <a:pt x="2313" y="531"/>
                </a:lnTo>
                <a:lnTo>
                  <a:pt x="2317" y="537"/>
                </a:lnTo>
                <a:lnTo>
                  <a:pt x="2314" y="541"/>
                </a:lnTo>
                <a:lnTo>
                  <a:pt x="2313" y="543"/>
                </a:lnTo>
                <a:lnTo>
                  <a:pt x="2309" y="542"/>
                </a:lnTo>
                <a:lnTo>
                  <a:pt x="2309" y="538"/>
                </a:lnTo>
                <a:lnTo>
                  <a:pt x="2306" y="543"/>
                </a:lnTo>
                <a:lnTo>
                  <a:pt x="2306" y="547"/>
                </a:lnTo>
                <a:lnTo>
                  <a:pt x="2301" y="547"/>
                </a:lnTo>
                <a:lnTo>
                  <a:pt x="2301" y="551"/>
                </a:lnTo>
                <a:lnTo>
                  <a:pt x="2299" y="542"/>
                </a:lnTo>
                <a:lnTo>
                  <a:pt x="2294" y="540"/>
                </a:lnTo>
                <a:lnTo>
                  <a:pt x="2294" y="537"/>
                </a:lnTo>
                <a:lnTo>
                  <a:pt x="2297" y="538"/>
                </a:lnTo>
                <a:lnTo>
                  <a:pt x="2297" y="534"/>
                </a:lnTo>
                <a:lnTo>
                  <a:pt x="2296" y="532"/>
                </a:lnTo>
                <a:lnTo>
                  <a:pt x="2299" y="531"/>
                </a:lnTo>
                <a:lnTo>
                  <a:pt x="2295" y="531"/>
                </a:lnTo>
                <a:lnTo>
                  <a:pt x="2294" y="527"/>
                </a:lnTo>
                <a:lnTo>
                  <a:pt x="2288" y="525"/>
                </a:lnTo>
                <a:lnTo>
                  <a:pt x="2285" y="523"/>
                </a:lnTo>
                <a:lnTo>
                  <a:pt x="2276" y="523"/>
                </a:lnTo>
                <a:lnTo>
                  <a:pt x="2273" y="525"/>
                </a:lnTo>
                <a:lnTo>
                  <a:pt x="2285" y="527"/>
                </a:lnTo>
                <a:lnTo>
                  <a:pt x="2276" y="527"/>
                </a:lnTo>
                <a:lnTo>
                  <a:pt x="2281" y="530"/>
                </a:lnTo>
                <a:lnTo>
                  <a:pt x="2281" y="531"/>
                </a:lnTo>
                <a:lnTo>
                  <a:pt x="2281" y="535"/>
                </a:lnTo>
                <a:lnTo>
                  <a:pt x="2281" y="531"/>
                </a:lnTo>
                <a:lnTo>
                  <a:pt x="2280" y="530"/>
                </a:lnTo>
                <a:lnTo>
                  <a:pt x="2279" y="531"/>
                </a:lnTo>
                <a:lnTo>
                  <a:pt x="2269" y="527"/>
                </a:lnTo>
                <a:lnTo>
                  <a:pt x="2267" y="529"/>
                </a:lnTo>
                <a:lnTo>
                  <a:pt x="2272" y="532"/>
                </a:lnTo>
                <a:lnTo>
                  <a:pt x="2266" y="531"/>
                </a:lnTo>
                <a:lnTo>
                  <a:pt x="2264" y="531"/>
                </a:lnTo>
                <a:lnTo>
                  <a:pt x="2273" y="535"/>
                </a:lnTo>
                <a:lnTo>
                  <a:pt x="2266" y="534"/>
                </a:lnTo>
                <a:lnTo>
                  <a:pt x="2264" y="537"/>
                </a:lnTo>
                <a:lnTo>
                  <a:pt x="2266" y="539"/>
                </a:lnTo>
                <a:lnTo>
                  <a:pt x="2273" y="539"/>
                </a:lnTo>
                <a:lnTo>
                  <a:pt x="2268" y="541"/>
                </a:lnTo>
                <a:lnTo>
                  <a:pt x="2272" y="543"/>
                </a:lnTo>
                <a:lnTo>
                  <a:pt x="2275" y="542"/>
                </a:lnTo>
                <a:lnTo>
                  <a:pt x="2285" y="543"/>
                </a:lnTo>
                <a:lnTo>
                  <a:pt x="2289" y="542"/>
                </a:lnTo>
                <a:lnTo>
                  <a:pt x="2287" y="543"/>
                </a:lnTo>
                <a:lnTo>
                  <a:pt x="2295" y="546"/>
                </a:lnTo>
                <a:lnTo>
                  <a:pt x="2283" y="551"/>
                </a:lnTo>
                <a:lnTo>
                  <a:pt x="2289" y="553"/>
                </a:lnTo>
                <a:lnTo>
                  <a:pt x="2294" y="551"/>
                </a:lnTo>
                <a:lnTo>
                  <a:pt x="2292" y="555"/>
                </a:lnTo>
                <a:lnTo>
                  <a:pt x="2273" y="555"/>
                </a:lnTo>
                <a:lnTo>
                  <a:pt x="2268" y="559"/>
                </a:lnTo>
                <a:lnTo>
                  <a:pt x="2261" y="559"/>
                </a:lnTo>
                <a:lnTo>
                  <a:pt x="2264" y="563"/>
                </a:lnTo>
                <a:lnTo>
                  <a:pt x="2269" y="559"/>
                </a:lnTo>
                <a:lnTo>
                  <a:pt x="2285" y="559"/>
                </a:lnTo>
                <a:lnTo>
                  <a:pt x="2287" y="563"/>
                </a:lnTo>
                <a:lnTo>
                  <a:pt x="2285" y="565"/>
                </a:lnTo>
                <a:lnTo>
                  <a:pt x="2287" y="566"/>
                </a:lnTo>
                <a:lnTo>
                  <a:pt x="2288" y="568"/>
                </a:lnTo>
                <a:lnTo>
                  <a:pt x="2294" y="566"/>
                </a:lnTo>
                <a:lnTo>
                  <a:pt x="2291" y="569"/>
                </a:lnTo>
                <a:lnTo>
                  <a:pt x="2289" y="573"/>
                </a:lnTo>
                <a:lnTo>
                  <a:pt x="2293" y="573"/>
                </a:lnTo>
                <a:lnTo>
                  <a:pt x="2292" y="575"/>
                </a:lnTo>
                <a:lnTo>
                  <a:pt x="2295" y="575"/>
                </a:lnTo>
                <a:lnTo>
                  <a:pt x="2291" y="577"/>
                </a:lnTo>
                <a:lnTo>
                  <a:pt x="2292" y="579"/>
                </a:lnTo>
                <a:lnTo>
                  <a:pt x="2291" y="579"/>
                </a:lnTo>
                <a:lnTo>
                  <a:pt x="2283" y="580"/>
                </a:lnTo>
                <a:lnTo>
                  <a:pt x="2281" y="579"/>
                </a:lnTo>
                <a:lnTo>
                  <a:pt x="2280" y="587"/>
                </a:lnTo>
                <a:lnTo>
                  <a:pt x="2295" y="587"/>
                </a:lnTo>
                <a:lnTo>
                  <a:pt x="2303" y="583"/>
                </a:lnTo>
                <a:lnTo>
                  <a:pt x="2307" y="585"/>
                </a:lnTo>
                <a:lnTo>
                  <a:pt x="2310" y="583"/>
                </a:lnTo>
                <a:lnTo>
                  <a:pt x="2312" y="585"/>
                </a:lnTo>
                <a:lnTo>
                  <a:pt x="2310" y="587"/>
                </a:lnTo>
                <a:lnTo>
                  <a:pt x="2312" y="587"/>
                </a:lnTo>
                <a:lnTo>
                  <a:pt x="2317" y="592"/>
                </a:lnTo>
                <a:lnTo>
                  <a:pt x="2339" y="594"/>
                </a:lnTo>
                <a:lnTo>
                  <a:pt x="2350" y="591"/>
                </a:lnTo>
                <a:lnTo>
                  <a:pt x="2351" y="589"/>
                </a:lnTo>
                <a:close/>
                <a:moveTo>
                  <a:pt x="2403" y="1266"/>
                </a:moveTo>
                <a:lnTo>
                  <a:pt x="2405" y="1266"/>
                </a:lnTo>
                <a:lnTo>
                  <a:pt x="2407" y="1262"/>
                </a:lnTo>
                <a:lnTo>
                  <a:pt x="2409" y="1257"/>
                </a:lnTo>
                <a:lnTo>
                  <a:pt x="2409" y="1254"/>
                </a:lnTo>
                <a:lnTo>
                  <a:pt x="2409" y="1254"/>
                </a:lnTo>
                <a:lnTo>
                  <a:pt x="2406" y="1263"/>
                </a:lnTo>
                <a:lnTo>
                  <a:pt x="2403" y="1266"/>
                </a:lnTo>
                <a:close/>
                <a:moveTo>
                  <a:pt x="3162" y="2447"/>
                </a:moveTo>
                <a:lnTo>
                  <a:pt x="3161" y="2447"/>
                </a:lnTo>
                <a:lnTo>
                  <a:pt x="3164" y="2449"/>
                </a:lnTo>
                <a:lnTo>
                  <a:pt x="3164" y="2447"/>
                </a:lnTo>
                <a:lnTo>
                  <a:pt x="3163" y="2446"/>
                </a:lnTo>
                <a:lnTo>
                  <a:pt x="3162" y="2447"/>
                </a:lnTo>
                <a:close/>
                <a:moveTo>
                  <a:pt x="2412" y="1250"/>
                </a:moveTo>
                <a:lnTo>
                  <a:pt x="2413" y="1252"/>
                </a:lnTo>
                <a:lnTo>
                  <a:pt x="2415" y="1250"/>
                </a:lnTo>
                <a:lnTo>
                  <a:pt x="2417" y="1245"/>
                </a:lnTo>
                <a:lnTo>
                  <a:pt x="2413" y="1248"/>
                </a:lnTo>
                <a:lnTo>
                  <a:pt x="2412" y="1250"/>
                </a:lnTo>
                <a:close/>
                <a:moveTo>
                  <a:pt x="2248" y="402"/>
                </a:moveTo>
                <a:lnTo>
                  <a:pt x="2247" y="400"/>
                </a:lnTo>
                <a:lnTo>
                  <a:pt x="2243" y="400"/>
                </a:lnTo>
                <a:lnTo>
                  <a:pt x="2248" y="402"/>
                </a:lnTo>
                <a:close/>
                <a:moveTo>
                  <a:pt x="2248" y="398"/>
                </a:moveTo>
                <a:lnTo>
                  <a:pt x="2244" y="399"/>
                </a:lnTo>
                <a:lnTo>
                  <a:pt x="2248" y="399"/>
                </a:lnTo>
                <a:lnTo>
                  <a:pt x="2248" y="398"/>
                </a:lnTo>
                <a:close/>
                <a:moveTo>
                  <a:pt x="2254" y="353"/>
                </a:moveTo>
                <a:lnTo>
                  <a:pt x="2255" y="349"/>
                </a:lnTo>
                <a:lnTo>
                  <a:pt x="2249" y="352"/>
                </a:lnTo>
                <a:lnTo>
                  <a:pt x="2254" y="353"/>
                </a:lnTo>
                <a:close/>
                <a:moveTo>
                  <a:pt x="2255" y="1471"/>
                </a:moveTo>
                <a:lnTo>
                  <a:pt x="2255" y="1472"/>
                </a:lnTo>
                <a:lnTo>
                  <a:pt x="2258" y="1471"/>
                </a:lnTo>
                <a:lnTo>
                  <a:pt x="2255" y="1468"/>
                </a:lnTo>
                <a:lnTo>
                  <a:pt x="2255" y="1471"/>
                </a:lnTo>
                <a:close/>
                <a:moveTo>
                  <a:pt x="2258" y="1443"/>
                </a:moveTo>
                <a:lnTo>
                  <a:pt x="2258" y="1442"/>
                </a:lnTo>
                <a:lnTo>
                  <a:pt x="2255" y="1441"/>
                </a:lnTo>
                <a:lnTo>
                  <a:pt x="2258" y="1443"/>
                </a:lnTo>
                <a:close/>
                <a:moveTo>
                  <a:pt x="2277" y="1452"/>
                </a:moveTo>
                <a:lnTo>
                  <a:pt x="2281" y="1452"/>
                </a:lnTo>
                <a:lnTo>
                  <a:pt x="2282" y="1450"/>
                </a:lnTo>
                <a:lnTo>
                  <a:pt x="2281" y="1449"/>
                </a:lnTo>
                <a:lnTo>
                  <a:pt x="2277" y="1452"/>
                </a:lnTo>
                <a:close/>
                <a:moveTo>
                  <a:pt x="2266" y="1468"/>
                </a:moveTo>
                <a:lnTo>
                  <a:pt x="2270" y="1471"/>
                </a:lnTo>
                <a:lnTo>
                  <a:pt x="2271" y="1468"/>
                </a:lnTo>
                <a:lnTo>
                  <a:pt x="2269" y="1464"/>
                </a:lnTo>
                <a:lnTo>
                  <a:pt x="2266" y="1468"/>
                </a:lnTo>
                <a:close/>
                <a:moveTo>
                  <a:pt x="2258" y="1442"/>
                </a:moveTo>
                <a:lnTo>
                  <a:pt x="2263" y="1443"/>
                </a:lnTo>
                <a:lnTo>
                  <a:pt x="2258" y="1441"/>
                </a:lnTo>
                <a:lnTo>
                  <a:pt x="2258" y="1442"/>
                </a:lnTo>
                <a:close/>
                <a:moveTo>
                  <a:pt x="2272" y="543"/>
                </a:moveTo>
                <a:lnTo>
                  <a:pt x="2272" y="543"/>
                </a:lnTo>
                <a:lnTo>
                  <a:pt x="2272" y="543"/>
                </a:lnTo>
                <a:lnTo>
                  <a:pt x="2272" y="543"/>
                </a:lnTo>
                <a:close/>
                <a:moveTo>
                  <a:pt x="2404" y="1810"/>
                </a:moveTo>
                <a:lnTo>
                  <a:pt x="2405" y="1810"/>
                </a:lnTo>
                <a:lnTo>
                  <a:pt x="2404" y="1810"/>
                </a:lnTo>
                <a:lnTo>
                  <a:pt x="2404" y="1810"/>
                </a:lnTo>
                <a:close/>
                <a:moveTo>
                  <a:pt x="2531" y="1934"/>
                </a:moveTo>
                <a:lnTo>
                  <a:pt x="2531" y="1932"/>
                </a:lnTo>
                <a:lnTo>
                  <a:pt x="2530" y="1934"/>
                </a:lnTo>
                <a:lnTo>
                  <a:pt x="2531" y="1934"/>
                </a:lnTo>
                <a:close/>
                <a:moveTo>
                  <a:pt x="2719" y="1668"/>
                </a:moveTo>
                <a:lnTo>
                  <a:pt x="2719" y="1669"/>
                </a:lnTo>
                <a:lnTo>
                  <a:pt x="2721" y="1668"/>
                </a:lnTo>
                <a:lnTo>
                  <a:pt x="2719" y="1666"/>
                </a:lnTo>
                <a:lnTo>
                  <a:pt x="2719" y="1668"/>
                </a:lnTo>
                <a:close/>
                <a:moveTo>
                  <a:pt x="2435" y="2276"/>
                </a:moveTo>
                <a:lnTo>
                  <a:pt x="2436" y="2275"/>
                </a:lnTo>
                <a:lnTo>
                  <a:pt x="2435" y="2275"/>
                </a:lnTo>
                <a:lnTo>
                  <a:pt x="2435" y="2276"/>
                </a:lnTo>
                <a:close/>
                <a:moveTo>
                  <a:pt x="2709" y="1693"/>
                </a:moveTo>
                <a:lnTo>
                  <a:pt x="2712" y="1692"/>
                </a:lnTo>
                <a:lnTo>
                  <a:pt x="2712" y="1689"/>
                </a:lnTo>
                <a:lnTo>
                  <a:pt x="2709" y="1690"/>
                </a:lnTo>
                <a:lnTo>
                  <a:pt x="2709" y="1693"/>
                </a:lnTo>
                <a:close/>
                <a:moveTo>
                  <a:pt x="2745" y="1716"/>
                </a:moveTo>
                <a:lnTo>
                  <a:pt x="2745" y="1716"/>
                </a:lnTo>
                <a:lnTo>
                  <a:pt x="2745" y="1716"/>
                </a:lnTo>
                <a:lnTo>
                  <a:pt x="2745" y="1717"/>
                </a:lnTo>
                <a:lnTo>
                  <a:pt x="2745" y="1716"/>
                </a:lnTo>
                <a:close/>
                <a:moveTo>
                  <a:pt x="2742" y="1711"/>
                </a:moveTo>
                <a:lnTo>
                  <a:pt x="2742" y="1711"/>
                </a:lnTo>
                <a:lnTo>
                  <a:pt x="2744" y="1716"/>
                </a:lnTo>
                <a:lnTo>
                  <a:pt x="2745" y="1715"/>
                </a:lnTo>
                <a:lnTo>
                  <a:pt x="2742" y="1711"/>
                </a:lnTo>
                <a:close/>
                <a:moveTo>
                  <a:pt x="2745" y="1716"/>
                </a:moveTo>
                <a:lnTo>
                  <a:pt x="2744" y="1716"/>
                </a:lnTo>
                <a:lnTo>
                  <a:pt x="2744" y="1716"/>
                </a:lnTo>
                <a:lnTo>
                  <a:pt x="2745" y="1716"/>
                </a:lnTo>
                <a:close/>
                <a:moveTo>
                  <a:pt x="2382" y="1516"/>
                </a:moveTo>
                <a:lnTo>
                  <a:pt x="2378" y="1516"/>
                </a:lnTo>
                <a:lnTo>
                  <a:pt x="2379" y="1518"/>
                </a:lnTo>
                <a:lnTo>
                  <a:pt x="2382" y="1516"/>
                </a:lnTo>
                <a:close/>
                <a:moveTo>
                  <a:pt x="2350" y="1272"/>
                </a:moveTo>
                <a:lnTo>
                  <a:pt x="2352" y="1268"/>
                </a:lnTo>
                <a:lnTo>
                  <a:pt x="2349" y="1269"/>
                </a:lnTo>
                <a:lnTo>
                  <a:pt x="2350" y="1272"/>
                </a:lnTo>
                <a:close/>
                <a:moveTo>
                  <a:pt x="2350" y="1253"/>
                </a:moveTo>
                <a:lnTo>
                  <a:pt x="2353" y="1258"/>
                </a:lnTo>
                <a:lnTo>
                  <a:pt x="2353" y="1257"/>
                </a:lnTo>
                <a:lnTo>
                  <a:pt x="2355" y="1253"/>
                </a:lnTo>
                <a:lnTo>
                  <a:pt x="2352" y="1252"/>
                </a:lnTo>
                <a:lnTo>
                  <a:pt x="2350" y="1253"/>
                </a:lnTo>
                <a:close/>
                <a:moveTo>
                  <a:pt x="2374" y="1264"/>
                </a:moveTo>
                <a:lnTo>
                  <a:pt x="2377" y="1258"/>
                </a:lnTo>
                <a:lnTo>
                  <a:pt x="2374" y="1258"/>
                </a:lnTo>
                <a:lnTo>
                  <a:pt x="2371" y="1258"/>
                </a:lnTo>
                <a:lnTo>
                  <a:pt x="2366" y="1261"/>
                </a:lnTo>
                <a:lnTo>
                  <a:pt x="2370" y="1265"/>
                </a:lnTo>
                <a:lnTo>
                  <a:pt x="2374" y="1264"/>
                </a:lnTo>
                <a:close/>
                <a:moveTo>
                  <a:pt x="2359" y="1263"/>
                </a:moveTo>
                <a:lnTo>
                  <a:pt x="2361" y="1264"/>
                </a:lnTo>
                <a:lnTo>
                  <a:pt x="2364" y="1263"/>
                </a:lnTo>
                <a:lnTo>
                  <a:pt x="2361" y="1261"/>
                </a:lnTo>
                <a:lnTo>
                  <a:pt x="2359" y="1263"/>
                </a:lnTo>
                <a:close/>
                <a:moveTo>
                  <a:pt x="2371" y="1187"/>
                </a:moveTo>
                <a:lnTo>
                  <a:pt x="2365" y="1186"/>
                </a:lnTo>
                <a:lnTo>
                  <a:pt x="2363" y="1186"/>
                </a:lnTo>
                <a:lnTo>
                  <a:pt x="2368" y="1190"/>
                </a:lnTo>
                <a:lnTo>
                  <a:pt x="2371" y="1187"/>
                </a:lnTo>
                <a:close/>
                <a:moveTo>
                  <a:pt x="2379" y="1523"/>
                </a:moveTo>
                <a:lnTo>
                  <a:pt x="2382" y="1523"/>
                </a:lnTo>
                <a:lnTo>
                  <a:pt x="2382" y="1521"/>
                </a:lnTo>
                <a:lnTo>
                  <a:pt x="2379" y="1521"/>
                </a:lnTo>
                <a:lnTo>
                  <a:pt x="2379" y="1523"/>
                </a:lnTo>
                <a:close/>
                <a:moveTo>
                  <a:pt x="2376" y="1521"/>
                </a:moveTo>
                <a:lnTo>
                  <a:pt x="2375" y="1521"/>
                </a:lnTo>
                <a:lnTo>
                  <a:pt x="2376" y="1523"/>
                </a:lnTo>
                <a:lnTo>
                  <a:pt x="2376" y="1521"/>
                </a:lnTo>
                <a:close/>
                <a:moveTo>
                  <a:pt x="2379" y="1526"/>
                </a:moveTo>
                <a:lnTo>
                  <a:pt x="2376" y="1529"/>
                </a:lnTo>
                <a:lnTo>
                  <a:pt x="2378" y="1530"/>
                </a:lnTo>
                <a:lnTo>
                  <a:pt x="2379" y="1530"/>
                </a:lnTo>
                <a:lnTo>
                  <a:pt x="2382" y="1526"/>
                </a:lnTo>
                <a:lnTo>
                  <a:pt x="2379" y="1529"/>
                </a:lnTo>
                <a:lnTo>
                  <a:pt x="2379" y="1526"/>
                </a:lnTo>
                <a:close/>
                <a:moveTo>
                  <a:pt x="2382" y="1266"/>
                </a:moveTo>
                <a:lnTo>
                  <a:pt x="2385" y="1269"/>
                </a:lnTo>
                <a:lnTo>
                  <a:pt x="2389" y="1268"/>
                </a:lnTo>
                <a:lnTo>
                  <a:pt x="2389" y="1264"/>
                </a:lnTo>
                <a:lnTo>
                  <a:pt x="2389" y="1263"/>
                </a:lnTo>
                <a:lnTo>
                  <a:pt x="2383" y="1263"/>
                </a:lnTo>
                <a:lnTo>
                  <a:pt x="2382" y="1266"/>
                </a:lnTo>
                <a:close/>
                <a:moveTo>
                  <a:pt x="2032" y="35"/>
                </a:moveTo>
                <a:lnTo>
                  <a:pt x="2027" y="34"/>
                </a:lnTo>
                <a:lnTo>
                  <a:pt x="2031" y="35"/>
                </a:lnTo>
                <a:lnTo>
                  <a:pt x="2032" y="35"/>
                </a:lnTo>
                <a:close/>
                <a:moveTo>
                  <a:pt x="1848" y="387"/>
                </a:moveTo>
                <a:lnTo>
                  <a:pt x="1835" y="387"/>
                </a:lnTo>
                <a:lnTo>
                  <a:pt x="1835" y="388"/>
                </a:lnTo>
                <a:lnTo>
                  <a:pt x="1840" y="389"/>
                </a:lnTo>
                <a:lnTo>
                  <a:pt x="1848" y="387"/>
                </a:lnTo>
                <a:close/>
                <a:moveTo>
                  <a:pt x="1579" y="212"/>
                </a:moveTo>
                <a:lnTo>
                  <a:pt x="1583" y="216"/>
                </a:lnTo>
                <a:lnTo>
                  <a:pt x="1597" y="215"/>
                </a:lnTo>
                <a:lnTo>
                  <a:pt x="1579" y="212"/>
                </a:lnTo>
                <a:close/>
                <a:moveTo>
                  <a:pt x="1860" y="404"/>
                </a:moveTo>
                <a:lnTo>
                  <a:pt x="1856" y="406"/>
                </a:lnTo>
                <a:lnTo>
                  <a:pt x="1866" y="407"/>
                </a:lnTo>
                <a:lnTo>
                  <a:pt x="1860" y="404"/>
                </a:lnTo>
                <a:close/>
                <a:moveTo>
                  <a:pt x="2321" y="321"/>
                </a:moveTo>
                <a:lnTo>
                  <a:pt x="2325" y="321"/>
                </a:lnTo>
                <a:lnTo>
                  <a:pt x="2322" y="319"/>
                </a:lnTo>
                <a:lnTo>
                  <a:pt x="2321" y="321"/>
                </a:lnTo>
                <a:close/>
                <a:moveTo>
                  <a:pt x="2348" y="300"/>
                </a:moveTo>
                <a:lnTo>
                  <a:pt x="2348" y="298"/>
                </a:lnTo>
                <a:lnTo>
                  <a:pt x="2344" y="296"/>
                </a:lnTo>
                <a:lnTo>
                  <a:pt x="2347" y="300"/>
                </a:lnTo>
                <a:lnTo>
                  <a:pt x="2348" y="300"/>
                </a:lnTo>
                <a:close/>
                <a:moveTo>
                  <a:pt x="2341" y="302"/>
                </a:moveTo>
                <a:lnTo>
                  <a:pt x="2343" y="300"/>
                </a:lnTo>
                <a:lnTo>
                  <a:pt x="2341" y="298"/>
                </a:lnTo>
                <a:lnTo>
                  <a:pt x="2335" y="302"/>
                </a:lnTo>
                <a:lnTo>
                  <a:pt x="2341" y="302"/>
                </a:lnTo>
                <a:close/>
                <a:moveTo>
                  <a:pt x="2341" y="258"/>
                </a:moveTo>
                <a:lnTo>
                  <a:pt x="2341" y="257"/>
                </a:lnTo>
                <a:lnTo>
                  <a:pt x="2341" y="254"/>
                </a:lnTo>
                <a:lnTo>
                  <a:pt x="2342" y="252"/>
                </a:lnTo>
                <a:lnTo>
                  <a:pt x="2341" y="243"/>
                </a:lnTo>
                <a:lnTo>
                  <a:pt x="2341" y="239"/>
                </a:lnTo>
                <a:lnTo>
                  <a:pt x="2337" y="235"/>
                </a:lnTo>
                <a:lnTo>
                  <a:pt x="2337" y="239"/>
                </a:lnTo>
                <a:lnTo>
                  <a:pt x="2340" y="241"/>
                </a:lnTo>
                <a:lnTo>
                  <a:pt x="2334" y="243"/>
                </a:lnTo>
                <a:lnTo>
                  <a:pt x="2341" y="258"/>
                </a:lnTo>
                <a:close/>
                <a:moveTo>
                  <a:pt x="2248" y="451"/>
                </a:moveTo>
                <a:lnTo>
                  <a:pt x="2251" y="453"/>
                </a:lnTo>
                <a:lnTo>
                  <a:pt x="2248" y="457"/>
                </a:lnTo>
                <a:lnTo>
                  <a:pt x="2243" y="456"/>
                </a:lnTo>
                <a:lnTo>
                  <a:pt x="2247" y="459"/>
                </a:lnTo>
                <a:lnTo>
                  <a:pt x="2241" y="459"/>
                </a:lnTo>
                <a:lnTo>
                  <a:pt x="2243" y="462"/>
                </a:lnTo>
                <a:lnTo>
                  <a:pt x="2232" y="465"/>
                </a:lnTo>
                <a:lnTo>
                  <a:pt x="2217" y="471"/>
                </a:lnTo>
                <a:lnTo>
                  <a:pt x="2214" y="471"/>
                </a:lnTo>
                <a:lnTo>
                  <a:pt x="2212" y="470"/>
                </a:lnTo>
                <a:lnTo>
                  <a:pt x="2205" y="468"/>
                </a:lnTo>
                <a:lnTo>
                  <a:pt x="2205" y="475"/>
                </a:lnTo>
                <a:lnTo>
                  <a:pt x="2202" y="475"/>
                </a:lnTo>
                <a:lnTo>
                  <a:pt x="2195" y="476"/>
                </a:lnTo>
                <a:lnTo>
                  <a:pt x="2189" y="472"/>
                </a:lnTo>
                <a:lnTo>
                  <a:pt x="2189" y="475"/>
                </a:lnTo>
                <a:lnTo>
                  <a:pt x="2185" y="475"/>
                </a:lnTo>
                <a:lnTo>
                  <a:pt x="2185" y="478"/>
                </a:lnTo>
                <a:lnTo>
                  <a:pt x="2184" y="477"/>
                </a:lnTo>
                <a:lnTo>
                  <a:pt x="2184" y="476"/>
                </a:lnTo>
                <a:lnTo>
                  <a:pt x="2183" y="476"/>
                </a:lnTo>
                <a:lnTo>
                  <a:pt x="2181" y="474"/>
                </a:lnTo>
                <a:lnTo>
                  <a:pt x="2181" y="471"/>
                </a:lnTo>
                <a:lnTo>
                  <a:pt x="2176" y="478"/>
                </a:lnTo>
                <a:lnTo>
                  <a:pt x="2179" y="483"/>
                </a:lnTo>
                <a:lnTo>
                  <a:pt x="2172" y="483"/>
                </a:lnTo>
                <a:lnTo>
                  <a:pt x="2172" y="478"/>
                </a:lnTo>
                <a:lnTo>
                  <a:pt x="2169" y="479"/>
                </a:lnTo>
                <a:lnTo>
                  <a:pt x="2168" y="479"/>
                </a:lnTo>
                <a:lnTo>
                  <a:pt x="2168" y="483"/>
                </a:lnTo>
                <a:lnTo>
                  <a:pt x="2164" y="483"/>
                </a:lnTo>
                <a:lnTo>
                  <a:pt x="2157" y="481"/>
                </a:lnTo>
                <a:lnTo>
                  <a:pt x="2158" y="478"/>
                </a:lnTo>
                <a:lnTo>
                  <a:pt x="2156" y="480"/>
                </a:lnTo>
                <a:lnTo>
                  <a:pt x="2154" y="480"/>
                </a:lnTo>
                <a:lnTo>
                  <a:pt x="2153" y="479"/>
                </a:lnTo>
                <a:lnTo>
                  <a:pt x="2156" y="479"/>
                </a:lnTo>
                <a:lnTo>
                  <a:pt x="2150" y="479"/>
                </a:lnTo>
                <a:lnTo>
                  <a:pt x="2140" y="467"/>
                </a:lnTo>
                <a:lnTo>
                  <a:pt x="2140" y="469"/>
                </a:lnTo>
                <a:lnTo>
                  <a:pt x="2140" y="471"/>
                </a:lnTo>
                <a:lnTo>
                  <a:pt x="2145" y="475"/>
                </a:lnTo>
                <a:lnTo>
                  <a:pt x="2148" y="479"/>
                </a:lnTo>
                <a:lnTo>
                  <a:pt x="2143" y="479"/>
                </a:lnTo>
                <a:lnTo>
                  <a:pt x="2150" y="480"/>
                </a:lnTo>
                <a:lnTo>
                  <a:pt x="2148" y="487"/>
                </a:lnTo>
                <a:lnTo>
                  <a:pt x="2142" y="487"/>
                </a:lnTo>
                <a:lnTo>
                  <a:pt x="2138" y="490"/>
                </a:lnTo>
                <a:lnTo>
                  <a:pt x="2131" y="490"/>
                </a:lnTo>
                <a:lnTo>
                  <a:pt x="2134" y="491"/>
                </a:lnTo>
                <a:lnTo>
                  <a:pt x="2128" y="494"/>
                </a:lnTo>
                <a:lnTo>
                  <a:pt x="2128" y="497"/>
                </a:lnTo>
                <a:lnTo>
                  <a:pt x="2126" y="498"/>
                </a:lnTo>
                <a:lnTo>
                  <a:pt x="2131" y="502"/>
                </a:lnTo>
                <a:lnTo>
                  <a:pt x="2124" y="509"/>
                </a:lnTo>
                <a:lnTo>
                  <a:pt x="2121" y="507"/>
                </a:lnTo>
                <a:lnTo>
                  <a:pt x="2119" y="513"/>
                </a:lnTo>
                <a:lnTo>
                  <a:pt x="2115" y="518"/>
                </a:lnTo>
                <a:lnTo>
                  <a:pt x="2112" y="517"/>
                </a:lnTo>
                <a:lnTo>
                  <a:pt x="2112" y="518"/>
                </a:lnTo>
                <a:lnTo>
                  <a:pt x="2108" y="524"/>
                </a:lnTo>
                <a:lnTo>
                  <a:pt x="2105" y="525"/>
                </a:lnTo>
                <a:lnTo>
                  <a:pt x="2104" y="524"/>
                </a:lnTo>
                <a:lnTo>
                  <a:pt x="2104" y="522"/>
                </a:lnTo>
                <a:lnTo>
                  <a:pt x="2103" y="525"/>
                </a:lnTo>
                <a:lnTo>
                  <a:pt x="2105" y="527"/>
                </a:lnTo>
                <a:lnTo>
                  <a:pt x="2103" y="527"/>
                </a:lnTo>
                <a:lnTo>
                  <a:pt x="2101" y="527"/>
                </a:lnTo>
                <a:lnTo>
                  <a:pt x="2101" y="527"/>
                </a:lnTo>
                <a:lnTo>
                  <a:pt x="2100" y="527"/>
                </a:lnTo>
                <a:lnTo>
                  <a:pt x="2101" y="527"/>
                </a:lnTo>
                <a:lnTo>
                  <a:pt x="2100" y="527"/>
                </a:lnTo>
                <a:lnTo>
                  <a:pt x="2100" y="527"/>
                </a:lnTo>
                <a:lnTo>
                  <a:pt x="2100" y="526"/>
                </a:lnTo>
                <a:lnTo>
                  <a:pt x="2094" y="524"/>
                </a:lnTo>
                <a:lnTo>
                  <a:pt x="2098" y="527"/>
                </a:lnTo>
                <a:lnTo>
                  <a:pt x="2096" y="527"/>
                </a:lnTo>
                <a:lnTo>
                  <a:pt x="2096" y="529"/>
                </a:lnTo>
                <a:lnTo>
                  <a:pt x="2087" y="535"/>
                </a:lnTo>
                <a:lnTo>
                  <a:pt x="2087" y="536"/>
                </a:lnTo>
                <a:lnTo>
                  <a:pt x="2086" y="534"/>
                </a:lnTo>
                <a:lnTo>
                  <a:pt x="2088" y="531"/>
                </a:lnTo>
                <a:lnTo>
                  <a:pt x="2080" y="531"/>
                </a:lnTo>
                <a:lnTo>
                  <a:pt x="2080" y="531"/>
                </a:lnTo>
                <a:lnTo>
                  <a:pt x="2080" y="533"/>
                </a:lnTo>
                <a:lnTo>
                  <a:pt x="2076" y="536"/>
                </a:lnTo>
                <a:lnTo>
                  <a:pt x="2076" y="533"/>
                </a:lnTo>
                <a:lnTo>
                  <a:pt x="2076" y="535"/>
                </a:lnTo>
                <a:lnTo>
                  <a:pt x="2075" y="535"/>
                </a:lnTo>
                <a:lnTo>
                  <a:pt x="2076" y="538"/>
                </a:lnTo>
                <a:lnTo>
                  <a:pt x="2075" y="537"/>
                </a:lnTo>
                <a:lnTo>
                  <a:pt x="2070" y="536"/>
                </a:lnTo>
                <a:lnTo>
                  <a:pt x="2073" y="537"/>
                </a:lnTo>
                <a:lnTo>
                  <a:pt x="2070" y="536"/>
                </a:lnTo>
                <a:lnTo>
                  <a:pt x="2073" y="540"/>
                </a:lnTo>
                <a:lnTo>
                  <a:pt x="2069" y="543"/>
                </a:lnTo>
                <a:lnTo>
                  <a:pt x="2067" y="543"/>
                </a:lnTo>
                <a:lnTo>
                  <a:pt x="2060" y="543"/>
                </a:lnTo>
                <a:lnTo>
                  <a:pt x="2060" y="539"/>
                </a:lnTo>
                <a:lnTo>
                  <a:pt x="2060" y="539"/>
                </a:lnTo>
                <a:lnTo>
                  <a:pt x="2058" y="541"/>
                </a:lnTo>
                <a:lnTo>
                  <a:pt x="2053" y="540"/>
                </a:lnTo>
                <a:lnTo>
                  <a:pt x="2053" y="543"/>
                </a:lnTo>
                <a:lnTo>
                  <a:pt x="2053" y="543"/>
                </a:lnTo>
                <a:lnTo>
                  <a:pt x="2050" y="545"/>
                </a:lnTo>
                <a:lnTo>
                  <a:pt x="2051" y="543"/>
                </a:lnTo>
                <a:lnTo>
                  <a:pt x="2047" y="543"/>
                </a:lnTo>
                <a:lnTo>
                  <a:pt x="2043" y="540"/>
                </a:lnTo>
                <a:lnTo>
                  <a:pt x="2046" y="543"/>
                </a:lnTo>
                <a:lnTo>
                  <a:pt x="2043" y="545"/>
                </a:lnTo>
                <a:lnTo>
                  <a:pt x="2038" y="540"/>
                </a:lnTo>
                <a:lnTo>
                  <a:pt x="2036" y="543"/>
                </a:lnTo>
                <a:lnTo>
                  <a:pt x="2036" y="545"/>
                </a:lnTo>
                <a:lnTo>
                  <a:pt x="2031" y="543"/>
                </a:lnTo>
                <a:lnTo>
                  <a:pt x="2031" y="545"/>
                </a:lnTo>
                <a:lnTo>
                  <a:pt x="2036" y="547"/>
                </a:lnTo>
                <a:lnTo>
                  <a:pt x="2035" y="548"/>
                </a:lnTo>
                <a:lnTo>
                  <a:pt x="2038" y="551"/>
                </a:lnTo>
                <a:lnTo>
                  <a:pt x="2031" y="556"/>
                </a:lnTo>
                <a:lnTo>
                  <a:pt x="2025" y="552"/>
                </a:lnTo>
                <a:lnTo>
                  <a:pt x="2024" y="556"/>
                </a:lnTo>
                <a:lnTo>
                  <a:pt x="2019" y="554"/>
                </a:lnTo>
                <a:lnTo>
                  <a:pt x="2017" y="558"/>
                </a:lnTo>
                <a:lnTo>
                  <a:pt x="2024" y="564"/>
                </a:lnTo>
                <a:lnTo>
                  <a:pt x="2024" y="569"/>
                </a:lnTo>
                <a:lnTo>
                  <a:pt x="2028" y="575"/>
                </a:lnTo>
                <a:lnTo>
                  <a:pt x="2024" y="575"/>
                </a:lnTo>
                <a:lnTo>
                  <a:pt x="2024" y="575"/>
                </a:lnTo>
                <a:lnTo>
                  <a:pt x="2024" y="575"/>
                </a:lnTo>
                <a:lnTo>
                  <a:pt x="2022" y="575"/>
                </a:lnTo>
                <a:lnTo>
                  <a:pt x="2023" y="575"/>
                </a:lnTo>
                <a:lnTo>
                  <a:pt x="2022" y="575"/>
                </a:lnTo>
                <a:lnTo>
                  <a:pt x="2012" y="576"/>
                </a:lnTo>
                <a:lnTo>
                  <a:pt x="2014" y="577"/>
                </a:lnTo>
                <a:lnTo>
                  <a:pt x="2025" y="580"/>
                </a:lnTo>
                <a:lnTo>
                  <a:pt x="2023" y="583"/>
                </a:lnTo>
                <a:lnTo>
                  <a:pt x="2025" y="583"/>
                </a:lnTo>
                <a:lnTo>
                  <a:pt x="2027" y="587"/>
                </a:lnTo>
                <a:lnTo>
                  <a:pt x="2020" y="587"/>
                </a:lnTo>
                <a:lnTo>
                  <a:pt x="2013" y="583"/>
                </a:lnTo>
                <a:lnTo>
                  <a:pt x="2012" y="586"/>
                </a:lnTo>
                <a:lnTo>
                  <a:pt x="2020" y="590"/>
                </a:lnTo>
                <a:lnTo>
                  <a:pt x="2024" y="595"/>
                </a:lnTo>
                <a:lnTo>
                  <a:pt x="2019" y="595"/>
                </a:lnTo>
                <a:lnTo>
                  <a:pt x="2017" y="595"/>
                </a:lnTo>
                <a:lnTo>
                  <a:pt x="2016" y="595"/>
                </a:lnTo>
                <a:lnTo>
                  <a:pt x="2016" y="594"/>
                </a:lnTo>
                <a:lnTo>
                  <a:pt x="2015" y="594"/>
                </a:lnTo>
                <a:lnTo>
                  <a:pt x="2012" y="592"/>
                </a:lnTo>
                <a:lnTo>
                  <a:pt x="2017" y="597"/>
                </a:lnTo>
                <a:lnTo>
                  <a:pt x="2010" y="592"/>
                </a:lnTo>
                <a:lnTo>
                  <a:pt x="2016" y="597"/>
                </a:lnTo>
                <a:lnTo>
                  <a:pt x="2017" y="600"/>
                </a:lnTo>
                <a:lnTo>
                  <a:pt x="2013" y="598"/>
                </a:lnTo>
                <a:lnTo>
                  <a:pt x="2006" y="594"/>
                </a:lnTo>
                <a:lnTo>
                  <a:pt x="2013" y="604"/>
                </a:lnTo>
                <a:lnTo>
                  <a:pt x="2012" y="604"/>
                </a:lnTo>
                <a:lnTo>
                  <a:pt x="2005" y="600"/>
                </a:lnTo>
                <a:lnTo>
                  <a:pt x="2010" y="607"/>
                </a:lnTo>
                <a:lnTo>
                  <a:pt x="2012" y="607"/>
                </a:lnTo>
                <a:lnTo>
                  <a:pt x="2011" y="608"/>
                </a:lnTo>
                <a:lnTo>
                  <a:pt x="2012" y="608"/>
                </a:lnTo>
                <a:lnTo>
                  <a:pt x="2011" y="608"/>
                </a:lnTo>
                <a:lnTo>
                  <a:pt x="2008" y="612"/>
                </a:lnTo>
                <a:lnTo>
                  <a:pt x="2001" y="612"/>
                </a:lnTo>
                <a:lnTo>
                  <a:pt x="2006" y="610"/>
                </a:lnTo>
                <a:lnTo>
                  <a:pt x="2000" y="609"/>
                </a:lnTo>
                <a:lnTo>
                  <a:pt x="2000" y="610"/>
                </a:lnTo>
                <a:lnTo>
                  <a:pt x="2000" y="606"/>
                </a:lnTo>
                <a:lnTo>
                  <a:pt x="1996" y="607"/>
                </a:lnTo>
                <a:lnTo>
                  <a:pt x="1996" y="609"/>
                </a:lnTo>
                <a:lnTo>
                  <a:pt x="1997" y="612"/>
                </a:lnTo>
                <a:lnTo>
                  <a:pt x="1988" y="612"/>
                </a:lnTo>
                <a:lnTo>
                  <a:pt x="1988" y="612"/>
                </a:lnTo>
                <a:lnTo>
                  <a:pt x="2000" y="616"/>
                </a:lnTo>
                <a:lnTo>
                  <a:pt x="2000" y="619"/>
                </a:lnTo>
                <a:lnTo>
                  <a:pt x="1991" y="617"/>
                </a:lnTo>
                <a:lnTo>
                  <a:pt x="2001" y="623"/>
                </a:lnTo>
                <a:lnTo>
                  <a:pt x="2000" y="627"/>
                </a:lnTo>
                <a:lnTo>
                  <a:pt x="1997" y="632"/>
                </a:lnTo>
                <a:lnTo>
                  <a:pt x="1998" y="632"/>
                </a:lnTo>
                <a:lnTo>
                  <a:pt x="2001" y="635"/>
                </a:lnTo>
                <a:lnTo>
                  <a:pt x="2000" y="636"/>
                </a:lnTo>
                <a:lnTo>
                  <a:pt x="1992" y="636"/>
                </a:lnTo>
                <a:lnTo>
                  <a:pt x="2000" y="638"/>
                </a:lnTo>
                <a:lnTo>
                  <a:pt x="1998" y="639"/>
                </a:lnTo>
                <a:lnTo>
                  <a:pt x="1989" y="637"/>
                </a:lnTo>
                <a:lnTo>
                  <a:pt x="1996" y="639"/>
                </a:lnTo>
                <a:lnTo>
                  <a:pt x="1996" y="641"/>
                </a:lnTo>
                <a:lnTo>
                  <a:pt x="1996" y="644"/>
                </a:lnTo>
                <a:lnTo>
                  <a:pt x="1993" y="645"/>
                </a:lnTo>
                <a:lnTo>
                  <a:pt x="1997" y="648"/>
                </a:lnTo>
                <a:lnTo>
                  <a:pt x="1990" y="648"/>
                </a:lnTo>
                <a:lnTo>
                  <a:pt x="1994" y="652"/>
                </a:lnTo>
                <a:lnTo>
                  <a:pt x="1991" y="652"/>
                </a:lnTo>
                <a:lnTo>
                  <a:pt x="1989" y="653"/>
                </a:lnTo>
                <a:lnTo>
                  <a:pt x="1985" y="652"/>
                </a:lnTo>
                <a:lnTo>
                  <a:pt x="1985" y="652"/>
                </a:lnTo>
                <a:lnTo>
                  <a:pt x="1994" y="656"/>
                </a:lnTo>
                <a:lnTo>
                  <a:pt x="1982" y="656"/>
                </a:lnTo>
                <a:lnTo>
                  <a:pt x="1994" y="657"/>
                </a:lnTo>
                <a:lnTo>
                  <a:pt x="1990" y="660"/>
                </a:lnTo>
                <a:lnTo>
                  <a:pt x="1992" y="660"/>
                </a:lnTo>
                <a:lnTo>
                  <a:pt x="1994" y="660"/>
                </a:lnTo>
                <a:lnTo>
                  <a:pt x="1990" y="664"/>
                </a:lnTo>
                <a:lnTo>
                  <a:pt x="1987" y="664"/>
                </a:lnTo>
                <a:lnTo>
                  <a:pt x="1985" y="663"/>
                </a:lnTo>
                <a:lnTo>
                  <a:pt x="1981" y="667"/>
                </a:lnTo>
                <a:lnTo>
                  <a:pt x="1988" y="665"/>
                </a:lnTo>
                <a:lnTo>
                  <a:pt x="1988" y="668"/>
                </a:lnTo>
                <a:lnTo>
                  <a:pt x="1988" y="671"/>
                </a:lnTo>
                <a:lnTo>
                  <a:pt x="1986" y="673"/>
                </a:lnTo>
                <a:lnTo>
                  <a:pt x="1982" y="671"/>
                </a:lnTo>
                <a:lnTo>
                  <a:pt x="1984" y="673"/>
                </a:lnTo>
                <a:lnTo>
                  <a:pt x="1982" y="674"/>
                </a:lnTo>
                <a:lnTo>
                  <a:pt x="1978" y="673"/>
                </a:lnTo>
                <a:lnTo>
                  <a:pt x="1974" y="669"/>
                </a:lnTo>
                <a:lnTo>
                  <a:pt x="1975" y="667"/>
                </a:lnTo>
                <a:lnTo>
                  <a:pt x="1972" y="665"/>
                </a:lnTo>
                <a:lnTo>
                  <a:pt x="1972" y="667"/>
                </a:lnTo>
                <a:lnTo>
                  <a:pt x="1968" y="670"/>
                </a:lnTo>
                <a:lnTo>
                  <a:pt x="1967" y="674"/>
                </a:lnTo>
                <a:lnTo>
                  <a:pt x="1958" y="673"/>
                </a:lnTo>
                <a:lnTo>
                  <a:pt x="1960" y="672"/>
                </a:lnTo>
                <a:lnTo>
                  <a:pt x="1964" y="672"/>
                </a:lnTo>
                <a:lnTo>
                  <a:pt x="1969" y="663"/>
                </a:lnTo>
                <a:lnTo>
                  <a:pt x="1964" y="668"/>
                </a:lnTo>
                <a:lnTo>
                  <a:pt x="1958" y="669"/>
                </a:lnTo>
                <a:lnTo>
                  <a:pt x="1967" y="656"/>
                </a:lnTo>
                <a:lnTo>
                  <a:pt x="1958" y="663"/>
                </a:lnTo>
                <a:lnTo>
                  <a:pt x="1957" y="662"/>
                </a:lnTo>
                <a:lnTo>
                  <a:pt x="1960" y="659"/>
                </a:lnTo>
                <a:lnTo>
                  <a:pt x="1954" y="663"/>
                </a:lnTo>
                <a:lnTo>
                  <a:pt x="1951" y="660"/>
                </a:lnTo>
                <a:lnTo>
                  <a:pt x="1949" y="660"/>
                </a:lnTo>
                <a:lnTo>
                  <a:pt x="1951" y="656"/>
                </a:lnTo>
                <a:lnTo>
                  <a:pt x="1949" y="656"/>
                </a:lnTo>
                <a:lnTo>
                  <a:pt x="1946" y="660"/>
                </a:lnTo>
                <a:lnTo>
                  <a:pt x="1945" y="660"/>
                </a:lnTo>
                <a:lnTo>
                  <a:pt x="1947" y="655"/>
                </a:lnTo>
                <a:lnTo>
                  <a:pt x="1953" y="651"/>
                </a:lnTo>
                <a:lnTo>
                  <a:pt x="1958" y="648"/>
                </a:lnTo>
                <a:lnTo>
                  <a:pt x="1955" y="648"/>
                </a:lnTo>
                <a:lnTo>
                  <a:pt x="1952" y="645"/>
                </a:lnTo>
                <a:lnTo>
                  <a:pt x="1952" y="648"/>
                </a:lnTo>
                <a:lnTo>
                  <a:pt x="1951" y="650"/>
                </a:lnTo>
                <a:lnTo>
                  <a:pt x="1944" y="653"/>
                </a:lnTo>
                <a:lnTo>
                  <a:pt x="1935" y="656"/>
                </a:lnTo>
                <a:lnTo>
                  <a:pt x="1935" y="656"/>
                </a:lnTo>
                <a:lnTo>
                  <a:pt x="1944" y="651"/>
                </a:lnTo>
                <a:lnTo>
                  <a:pt x="1944" y="651"/>
                </a:lnTo>
                <a:lnTo>
                  <a:pt x="1941" y="649"/>
                </a:lnTo>
                <a:lnTo>
                  <a:pt x="1939" y="653"/>
                </a:lnTo>
                <a:lnTo>
                  <a:pt x="1935" y="652"/>
                </a:lnTo>
                <a:lnTo>
                  <a:pt x="1935" y="654"/>
                </a:lnTo>
                <a:lnTo>
                  <a:pt x="1935" y="656"/>
                </a:lnTo>
                <a:lnTo>
                  <a:pt x="1934" y="656"/>
                </a:lnTo>
                <a:lnTo>
                  <a:pt x="1934" y="653"/>
                </a:lnTo>
                <a:lnTo>
                  <a:pt x="1920" y="656"/>
                </a:lnTo>
                <a:lnTo>
                  <a:pt x="1922" y="656"/>
                </a:lnTo>
                <a:lnTo>
                  <a:pt x="1920" y="660"/>
                </a:lnTo>
                <a:lnTo>
                  <a:pt x="1924" y="660"/>
                </a:lnTo>
                <a:lnTo>
                  <a:pt x="1920" y="661"/>
                </a:lnTo>
                <a:lnTo>
                  <a:pt x="1913" y="655"/>
                </a:lnTo>
                <a:lnTo>
                  <a:pt x="1919" y="652"/>
                </a:lnTo>
                <a:lnTo>
                  <a:pt x="1915" y="652"/>
                </a:lnTo>
                <a:lnTo>
                  <a:pt x="1915" y="651"/>
                </a:lnTo>
                <a:lnTo>
                  <a:pt x="1912" y="651"/>
                </a:lnTo>
                <a:lnTo>
                  <a:pt x="1915" y="651"/>
                </a:lnTo>
                <a:lnTo>
                  <a:pt x="1915" y="650"/>
                </a:lnTo>
                <a:lnTo>
                  <a:pt x="1911" y="648"/>
                </a:lnTo>
                <a:lnTo>
                  <a:pt x="1911" y="648"/>
                </a:lnTo>
                <a:lnTo>
                  <a:pt x="1908" y="648"/>
                </a:lnTo>
                <a:lnTo>
                  <a:pt x="1912" y="644"/>
                </a:lnTo>
                <a:lnTo>
                  <a:pt x="1901" y="641"/>
                </a:lnTo>
                <a:lnTo>
                  <a:pt x="1904" y="641"/>
                </a:lnTo>
                <a:lnTo>
                  <a:pt x="1899" y="640"/>
                </a:lnTo>
                <a:lnTo>
                  <a:pt x="1905" y="640"/>
                </a:lnTo>
                <a:lnTo>
                  <a:pt x="1904" y="641"/>
                </a:lnTo>
                <a:lnTo>
                  <a:pt x="1915" y="639"/>
                </a:lnTo>
                <a:lnTo>
                  <a:pt x="1912" y="637"/>
                </a:lnTo>
                <a:lnTo>
                  <a:pt x="1906" y="640"/>
                </a:lnTo>
                <a:lnTo>
                  <a:pt x="1904" y="640"/>
                </a:lnTo>
                <a:lnTo>
                  <a:pt x="1899" y="640"/>
                </a:lnTo>
                <a:lnTo>
                  <a:pt x="1899" y="635"/>
                </a:lnTo>
                <a:lnTo>
                  <a:pt x="1899" y="635"/>
                </a:lnTo>
                <a:lnTo>
                  <a:pt x="1897" y="633"/>
                </a:lnTo>
                <a:lnTo>
                  <a:pt x="1899" y="629"/>
                </a:lnTo>
                <a:lnTo>
                  <a:pt x="1895" y="632"/>
                </a:lnTo>
                <a:lnTo>
                  <a:pt x="1895" y="629"/>
                </a:lnTo>
                <a:lnTo>
                  <a:pt x="1903" y="628"/>
                </a:lnTo>
                <a:lnTo>
                  <a:pt x="1899" y="626"/>
                </a:lnTo>
                <a:lnTo>
                  <a:pt x="1899" y="625"/>
                </a:lnTo>
                <a:lnTo>
                  <a:pt x="1899" y="624"/>
                </a:lnTo>
                <a:lnTo>
                  <a:pt x="1899" y="624"/>
                </a:lnTo>
                <a:lnTo>
                  <a:pt x="1899" y="624"/>
                </a:lnTo>
                <a:lnTo>
                  <a:pt x="1899" y="624"/>
                </a:lnTo>
                <a:lnTo>
                  <a:pt x="1897" y="624"/>
                </a:lnTo>
                <a:lnTo>
                  <a:pt x="1894" y="624"/>
                </a:lnTo>
                <a:lnTo>
                  <a:pt x="1891" y="624"/>
                </a:lnTo>
                <a:lnTo>
                  <a:pt x="1883" y="617"/>
                </a:lnTo>
                <a:lnTo>
                  <a:pt x="1883" y="612"/>
                </a:lnTo>
                <a:lnTo>
                  <a:pt x="1883" y="606"/>
                </a:lnTo>
                <a:lnTo>
                  <a:pt x="1879" y="610"/>
                </a:lnTo>
                <a:lnTo>
                  <a:pt x="1879" y="606"/>
                </a:lnTo>
                <a:lnTo>
                  <a:pt x="1879" y="603"/>
                </a:lnTo>
                <a:lnTo>
                  <a:pt x="1886" y="598"/>
                </a:lnTo>
                <a:lnTo>
                  <a:pt x="1876" y="600"/>
                </a:lnTo>
                <a:lnTo>
                  <a:pt x="1877" y="599"/>
                </a:lnTo>
                <a:lnTo>
                  <a:pt x="1874" y="600"/>
                </a:lnTo>
                <a:lnTo>
                  <a:pt x="1872" y="597"/>
                </a:lnTo>
                <a:lnTo>
                  <a:pt x="1885" y="595"/>
                </a:lnTo>
                <a:lnTo>
                  <a:pt x="1878" y="595"/>
                </a:lnTo>
                <a:lnTo>
                  <a:pt x="1874" y="595"/>
                </a:lnTo>
                <a:lnTo>
                  <a:pt x="1872" y="591"/>
                </a:lnTo>
                <a:lnTo>
                  <a:pt x="1874" y="591"/>
                </a:lnTo>
                <a:lnTo>
                  <a:pt x="1871" y="590"/>
                </a:lnTo>
                <a:lnTo>
                  <a:pt x="1871" y="592"/>
                </a:lnTo>
                <a:lnTo>
                  <a:pt x="1865" y="587"/>
                </a:lnTo>
                <a:lnTo>
                  <a:pt x="1873" y="582"/>
                </a:lnTo>
                <a:lnTo>
                  <a:pt x="1863" y="586"/>
                </a:lnTo>
                <a:lnTo>
                  <a:pt x="1863" y="583"/>
                </a:lnTo>
                <a:lnTo>
                  <a:pt x="1867" y="583"/>
                </a:lnTo>
                <a:lnTo>
                  <a:pt x="1867" y="582"/>
                </a:lnTo>
                <a:lnTo>
                  <a:pt x="1888" y="579"/>
                </a:lnTo>
                <a:lnTo>
                  <a:pt x="1879" y="579"/>
                </a:lnTo>
                <a:lnTo>
                  <a:pt x="1881" y="577"/>
                </a:lnTo>
                <a:lnTo>
                  <a:pt x="1875" y="578"/>
                </a:lnTo>
                <a:lnTo>
                  <a:pt x="1877" y="575"/>
                </a:lnTo>
                <a:lnTo>
                  <a:pt x="1874" y="575"/>
                </a:lnTo>
                <a:lnTo>
                  <a:pt x="1877" y="571"/>
                </a:lnTo>
                <a:lnTo>
                  <a:pt x="1882" y="572"/>
                </a:lnTo>
                <a:lnTo>
                  <a:pt x="1886" y="571"/>
                </a:lnTo>
                <a:lnTo>
                  <a:pt x="1886" y="571"/>
                </a:lnTo>
                <a:lnTo>
                  <a:pt x="1894" y="572"/>
                </a:lnTo>
                <a:lnTo>
                  <a:pt x="1888" y="568"/>
                </a:lnTo>
                <a:lnTo>
                  <a:pt x="1886" y="567"/>
                </a:lnTo>
                <a:lnTo>
                  <a:pt x="1889" y="567"/>
                </a:lnTo>
                <a:lnTo>
                  <a:pt x="1885" y="567"/>
                </a:lnTo>
                <a:lnTo>
                  <a:pt x="1888" y="561"/>
                </a:lnTo>
                <a:lnTo>
                  <a:pt x="1885" y="563"/>
                </a:lnTo>
                <a:lnTo>
                  <a:pt x="1879" y="563"/>
                </a:lnTo>
                <a:lnTo>
                  <a:pt x="1872" y="567"/>
                </a:lnTo>
                <a:lnTo>
                  <a:pt x="1871" y="567"/>
                </a:lnTo>
                <a:lnTo>
                  <a:pt x="1874" y="563"/>
                </a:lnTo>
                <a:lnTo>
                  <a:pt x="1871" y="563"/>
                </a:lnTo>
                <a:lnTo>
                  <a:pt x="1864" y="574"/>
                </a:lnTo>
                <a:lnTo>
                  <a:pt x="1859" y="575"/>
                </a:lnTo>
                <a:lnTo>
                  <a:pt x="1859" y="571"/>
                </a:lnTo>
                <a:lnTo>
                  <a:pt x="1856" y="571"/>
                </a:lnTo>
                <a:lnTo>
                  <a:pt x="1859" y="566"/>
                </a:lnTo>
                <a:lnTo>
                  <a:pt x="1856" y="564"/>
                </a:lnTo>
                <a:lnTo>
                  <a:pt x="1858" y="563"/>
                </a:lnTo>
                <a:lnTo>
                  <a:pt x="1856" y="563"/>
                </a:lnTo>
                <a:lnTo>
                  <a:pt x="1860" y="559"/>
                </a:lnTo>
                <a:lnTo>
                  <a:pt x="1859" y="559"/>
                </a:lnTo>
                <a:lnTo>
                  <a:pt x="1855" y="560"/>
                </a:lnTo>
                <a:lnTo>
                  <a:pt x="1855" y="559"/>
                </a:lnTo>
                <a:lnTo>
                  <a:pt x="1859" y="559"/>
                </a:lnTo>
                <a:lnTo>
                  <a:pt x="1855" y="556"/>
                </a:lnTo>
                <a:lnTo>
                  <a:pt x="1856" y="555"/>
                </a:lnTo>
                <a:lnTo>
                  <a:pt x="1855" y="555"/>
                </a:lnTo>
                <a:lnTo>
                  <a:pt x="1855" y="550"/>
                </a:lnTo>
                <a:lnTo>
                  <a:pt x="1853" y="552"/>
                </a:lnTo>
                <a:lnTo>
                  <a:pt x="1852" y="548"/>
                </a:lnTo>
                <a:lnTo>
                  <a:pt x="1864" y="543"/>
                </a:lnTo>
                <a:lnTo>
                  <a:pt x="1860" y="541"/>
                </a:lnTo>
                <a:lnTo>
                  <a:pt x="1864" y="540"/>
                </a:lnTo>
                <a:lnTo>
                  <a:pt x="1869" y="538"/>
                </a:lnTo>
                <a:lnTo>
                  <a:pt x="1866" y="537"/>
                </a:lnTo>
                <a:lnTo>
                  <a:pt x="1859" y="541"/>
                </a:lnTo>
                <a:lnTo>
                  <a:pt x="1859" y="543"/>
                </a:lnTo>
                <a:lnTo>
                  <a:pt x="1852" y="548"/>
                </a:lnTo>
                <a:lnTo>
                  <a:pt x="1852" y="545"/>
                </a:lnTo>
                <a:lnTo>
                  <a:pt x="1853" y="541"/>
                </a:lnTo>
                <a:lnTo>
                  <a:pt x="1851" y="543"/>
                </a:lnTo>
                <a:lnTo>
                  <a:pt x="1848" y="543"/>
                </a:lnTo>
                <a:lnTo>
                  <a:pt x="1845" y="543"/>
                </a:lnTo>
                <a:lnTo>
                  <a:pt x="1848" y="541"/>
                </a:lnTo>
                <a:lnTo>
                  <a:pt x="1842" y="543"/>
                </a:lnTo>
                <a:lnTo>
                  <a:pt x="1846" y="538"/>
                </a:lnTo>
                <a:lnTo>
                  <a:pt x="1843" y="538"/>
                </a:lnTo>
                <a:lnTo>
                  <a:pt x="1841" y="537"/>
                </a:lnTo>
                <a:lnTo>
                  <a:pt x="1846" y="532"/>
                </a:lnTo>
                <a:lnTo>
                  <a:pt x="1841" y="535"/>
                </a:lnTo>
                <a:lnTo>
                  <a:pt x="1838" y="535"/>
                </a:lnTo>
                <a:lnTo>
                  <a:pt x="1843" y="531"/>
                </a:lnTo>
                <a:lnTo>
                  <a:pt x="1838" y="530"/>
                </a:lnTo>
                <a:lnTo>
                  <a:pt x="1838" y="531"/>
                </a:lnTo>
                <a:lnTo>
                  <a:pt x="1838" y="531"/>
                </a:lnTo>
                <a:lnTo>
                  <a:pt x="1837" y="531"/>
                </a:lnTo>
                <a:lnTo>
                  <a:pt x="1838" y="530"/>
                </a:lnTo>
                <a:lnTo>
                  <a:pt x="1838" y="531"/>
                </a:lnTo>
                <a:lnTo>
                  <a:pt x="1835" y="531"/>
                </a:lnTo>
                <a:lnTo>
                  <a:pt x="1835" y="529"/>
                </a:lnTo>
                <a:lnTo>
                  <a:pt x="1834" y="529"/>
                </a:lnTo>
                <a:lnTo>
                  <a:pt x="1842" y="525"/>
                </a:lnTo>
                <a:lnTo>
                  <a:pt x="1836" y="526"/>
                </a:lnTo>
                <a:lnTo>
                  <a:pt x="1831" y="525"/>
                </a:lnTo>
                <a:lnTo>
                  <a:pt x="1831" y="520"/>
                </a:lnTo>
                <a:lnTo>
                  <a:pt x="1853" y="519"/>
                </a:lnTo>
                <a:lnTo>
                  <a:pt x="1841" y="519"/>
                </a:lnTo>
                <a:lnTo>
                  <a:pt x="1838" y="518"/>
                </a:lnTo>
                <a:lnTo>
                  <a:pt x="1852" y="515"/>
                </a:lnTo>
                <a:lnTo>
                  <a:pt x="1841" y="515"/>
                </a:lnTo>
                <a:lnTo>
                  <a:pt x="1843" y="515"/>
                </a:lnTo>
                <a:lnTo>
                  <a:pt x="1845" y="515"/>
                </a:lnTo>
                <a:lnTo>
                  <a:pt x="1855" y="515"/>
                </a:lnTo>
                <a:lnTo>
                  <a:pt x="1853" y="511"/>
                </a:lnTo>
                <a:lnTo>
                  <a:pt x="1846" y="511"/>
                </a:lnTo>
                <a:lnTo>
                  <a:pt x="1838" y="513"/>
                </a:lnTo>
                <a:lnTo>
                  <a:pt x="1840" y="511"/>
                </a:lnTo>
                <a:lnTo>
                  <a:pt x="1835" y="511"/>
                </a:lnTo>
                <a:lnTo>
                  <a:pt x="1834" y="509"/>
                </a:lnTo>
                <a:lnTo>
                  <a:pt x="1841" y="507"/>
                </a:lnTo>
                <a:lnTo>
                  <a:pt x="1834" y="507"/>
                </a:lnTo>
                <a:lnTo>
                  <a:pt x="1830" y="507"/>
                </a:lnTo>
                <a:lnTo>
                  <a:pt x="1834" y="504"/>
                </a:lnTo>
                <a:lnTo>
                  <a:pt x="1840" y="503"/>
                </a:lnTo>
                <a:lnTo>
                  <a:pt x="1837" y="503"/>
                </a:lnTo>
                <a:lnTo>
                  <a:pt x="1856" y="499"/>
                </a:lnTo>
                <a:lnTo>
                  <a:pt x="1867" y="499"/>
                </a:lnTo>
                <a:lnTo>
                  <a:pt x="1872" y="498"/>
                </a:lnTo>
                <a:lnTo>
                  <a:pt x="1841" y="498"/>
                </a:lnTo>
                <a:lnTo>
                  <a:pt x="1834" y="502"/>
                </a:lnTo>
                <a:lnTo>
                  <a:pt x="1833" y="501"/>
                </a:lnTo>
                <a:lnTo>
                  <a:pt x="1835" y="496"/>
                </a:lnTo>
                <a:lnTo>
                  <a:pt x="1837" y="495"/>
                </a:lnTo>
                <a:lnTo>
                  <a:pt x="1835" y="495"/>
                </a:lnTo>
                <a:lnTo>
                  <a:pt x="1834" y="492"/>
                </a:lnTo>
                <a:lnTo>
                  <a:pt x="1837" y="490"/>
                </a:lnTo>
                <a:lnTo>
                  <a:pt x="1837" y="490"/>
                </a:lnTo>
                <a:lnTo>
                  <a:pt x="1835" y="490"/>
                </a:lnTo>
                <a:lnTo>
                  <a:pt x="1834" y="487"/>
                </a:lnTo>
                <a:lnTo>
                  <a:pt x="1836" y="488"/>
                </a:lnTo>
                <a:lnTo>
                  <a:pt x="1835" y="487"/>
                </a:lnTo>
                <a:lnTo>
                  <a:pt x="1839" y="487"/>
                </a:lnTo>
                <a:lnTo>
                  <a:pt x="1839" y="486"/>
                </a:lnTo>
                <a:lnTo>
                  <a:pt x="1838" y="486"/>
                </a:lnTo>
                <a:lnTo>
                  <a:pt x="1839" y="486"/>
                </a:lnTo>
                <a:lnTo>
                  <a:pt x="1839" y="484"/>
                </a:lnTo>
                <a:lnTo>
                  <a:pt x="1844" y="483"/>
                </a:lnTo>
                <a:lnTo>
                  <a:pt x="1843" y="483"/>
                </a:lnTo>
                <a:lnTo>
                  <a:pt x="1839" y="483"/>
                </a:lnTo>
                <a:lnTo>
                  <a:pt x="1838" y="483"/>
                </a:lnTo>
                <a:lnTo>
                  <a:pt x="1839" y="482"/>
                </a:lnTo>
                <a:lnTo>
                  <a:pt x="1839" y="481"/>
                </a:lnTo>
                <a:lnTo>
                  <a:pt x="1839" y="482"/>
                </a:lnTo>
                <a:lnTo>
                  <a:pt x="1840" y="481"/>
                </a:lnTo>
                <a:lnTo>
                  <a:pt x="1841" y="481"/>
                </a:lnTo>
                <a:lnTo>
                  <a:pt x="1841" y="480"/>
                </a:lnTo>
                <a:lnTo>
                  <a:pt x="1854" y="480"/>
                </a:lnTo>
                <a:lnTo>
                  <a:pt x="1860" y="482"/>
                </a:lnTo>
                <a:lnTo>
                  <a:pt x="1860" y="483"/>
                </a:lnTo>
                <a:lnTo>
                  <a:pt x="1862" y="483"/>
                </a:lnTo>
                <a:lnTo>
                  <a:pt x="1861" y="481"/>
                </a:lnTo>
                <a:lnTo>
                  <a:pt x="1865" y="480"/>
                </a:lnTo>
                <a:lnTo>
                  <a:pt x="1868" y="481"/>
                </a:lnTo>
                <a:lnTo>
                  <a:pt x="1870" y="483"/>
                </a:lnTo>
                <a:lnTo>
                  <a:pt x="1872" y="483"/>
                </a:lnTo>
                <a:lnTo>
                  <a:pt x="1873" y="484"/>
                </a:lnTo>
                <a:lnTo>
                  <a:pt x="1866" y="484"/>
                </a:lnTo>
                <a:lnTo>
                  <a:pt x="1868" y="487"/>
                </a:lnTo>
                <a:lnTo>
                  <a:pt x="1864" y="491"/>
                </a:lnTo>
                <a:lnTo>
                  <a:pt x="1862" y="490"/>
                </a:lnTo>
                <a:lnTo>
                  <a:pt x="1866" y="487"/>
                </a:lnTo>
                <a:lnTo>
                  <a:pt x="1855" y="487"/>
                </a:lnTo>
                <a:lnTo>
                  <a:pt x="1866" y="483"/>
                </a:lnTo>
                <a:lnTo>
                  <a:pt x="1845" y="490"/>
                </a:lnTo>
                <a:lnTo>
                  <a:pt x="1839" y="494"/>
                </a:lnTo>
                <a:lnTo>
                  <a:pt x="1846" y="491"/>
                </a:lnTo>
                <a:lnTo>
                  <a:pt x="1852" y="491"/>
                </a:lnTo>
                <a:lnTo>
                  <a:pt x="1853" y="491"/>
                </a:lnTo>
                <a:lnTo>
                  <a:pt x="1862" y="493"/>
                </a:lnTo>
                <a:lnTo>
                  <a:pt x="1868" y="492"/>
                </a:lnTo>
                <a:lnTo>
                  <a:pt x="1878" y="499"/>
                </a:lnTo>
                <a:lnTo>
                  <a:pt x="1879" y="499"/>
                </a:lnTo>
                <a:lnTo>
                  <a:pt x="1886" y="499"/>
                </a:lnTo>
                <a:lnTo>
                  <a:pt x="1888" y="496"/>
                </a:lnTo>
                <a:lnTo>
                  <a:pt x="1879" y="495"/>
                </a:lnTo>
                <a:lnTo>
                  <a:pt x="1877" y="491"/>
                </a:lnTo>
                <a:lnTo>
                  <a:pt x="1885" y="490"/>
                </a:lnTo>
                <a:lnTo>
                  <a:pt x="1874" y="492"/>
                </a:lnTo>
                <a:lnTo>
                  <a:pt x="1871" y="490"/>
                </a:lnTo>
                <a:lnTo>
                  <a:pt x="1871" y="490"/>
                </a:lnTo>
                <a:lnTo>
                  <a:pt x="1868" y="487"/>
                </a:lnTo>
                <a:lnTo>
                  <a:pt x="1875" y="487"/>
                </a:lnTo>
                <a:lnTo>
                  <a:pt x="1874" y="484"/>
                </a:lnTo>
                <a:lnTo>
                  <a:pt x="1875" y="485"/>
                </a:lnTo>
                <a:lnTo>
                  <a:pt x="1875" y="487"/>
                </a:lnTo>
                <a:lnTo>
                  <a:pt x="1878" y="487"/>
                </a:lnTo>
                <a:lnTo>
                  <a:pt x="1873" y="489"/>
                </a:lnTo>
                <a:lnTo>
                  <a:pt x="1879" y="487"/>
                </a:lnTo>
                <a:lnTo>
                  <a:pt x="1879" y="487"/>
                </a:lnTo>
                <a:lnTo>
                  <a:pt x="1886" y="487"/>
                </a:lnTo>
                <a:lnTo>
                  <a:pt x="1870" y="481"/>
                </a:lnTo>
                <a:lnTo>
                  <a:pt x="1868" y="481"/>
                </a:lnTo>
                <a:lnTo>
                  <a:pt x="1867" y="479"/>
                </a:lnTo>
                <a:lnTo>
                  <a:pt x="1875" y="479"/>
                </a:lnTo>
                <a:lnTo>
                  <a:pt x="1870" y="477"/>
                </a:lnTo>
                <a:lnTo>
                  <a:pt x="1871" y="474"/>
                </a:lnTo>
                <a:lnTo>
                  <a:pt x="1871" y="472"/>
                </a:lnTo>
                <a:lnTo>
                  <a:pt x="1877" y="469"/>
                </a:lnTo>
                <a:lnTo>
                  <a:pt x="1866" y="472"/>
                </a:lnTo>
                <a:lnTo>
                  <a:pt x="1871" y="475"/>
                </a:lnTo>
                <a:lnTo>
                  <a:pt x="1864" y="477"/>
                </a:lnTo>
                <a:lnTo>
                  <a:pt x="1855" y="478"/>
                </a:lnTo>
                <a:lnTo>
                  <a:pt x="1857" y="478"/>
                </a:lnTo>
                <a:lnTo>
                  <a:pt x="1853" y="479"/>
                </a:lnTo>
                <a:lnTo>
                  <a:pt x="1852" y="479"/>
                </a:lnTo>
                <a:lnTo>
                  <a:pt x="1846" y="479"/>
                </a:lnTo>
                <a:lnTo>
                  <a:pt x="1848" y="476"/>
                </a:lnTo>
                <a:lnTo>
                  <a:pt x="1839" y="476"/>
                </a:lnTo>
                <a:lnTo>
                  <a:pt x="1839" y="475"/>
                </a:lnTo>
                <a:lnTo>
                  <a:pt x="1843" y="475"/>
                </a:lnTo>
                <a:lnTo>
                  <a:pt x="1853" y="471"/>
                </a:lnTo>
                <a:lnTo>
                  <a:pt x="1860" y="471"/>
                </a:lnTo>
                <a:lnTo>
                  <a:pt x="1865" y="470"/>
                </a:lnTo>
                <a:lnTo>
                  <a:pt x="1875" y="467"/>
                </a:lnTo>
                <a:lnTo>
                  <a:pt x="1875" y="464"/>
                </a:lnTo>
                <a:lnTo>
                  <a:pt x="1873" y="463"/>
                </a:lnTo>
                <a:lnTo>
                  <a:pt x="1871" y="464"/>
                </a:lnTo>
                <a:lnTo>
                  <a:pt x="1875" y="459"/>
                </a:lnTo>
                <a:lnTo>
                  <a:pt x="1872" y="459"/>
                </a:lnTo>
                <a:lnTo>
                  <a:pt x="1874" y="455"/>
                </a:lnTo>
                <a:lnTo>
                  <a:pt x="1872" y="455"/>
                </a:lnTo>
                <a:lnTo>
                  <a:pt x="1877" y="448"/>
                </a:lnTo>
                <a:lnTo>
                  <a:pt x="1886" y="447"/>
                </a:lnTo>
                <a:lnTo>
                  <a:pt x="1875" y="447"/>
                </a:lnTo>
                <a:lnTo>
                  <a:pt x="1877" y="442"/>
                </a:lnTo>
                <a:lnTo>
                  <a:pt x="1882" y="441"/>
                </a:lnTo>
                <a:lnTo>
                  <a:pt x="1877" y="439"/>
                </a:lnTo>
                <a:lnTo>
                  <a:pt x="1879" y="439"/>
                </a:lnTo>
                <a:lnTo>
                  <a:pt x="1886" y="439"/>
                </a:lnTo>
                <a:lnTo>
                  <a:pt x="1885" y="434"/>
                </a:lnTo>
                <a:lnTo>
                  <a:pt x="1879" y="432"/>
                </a:lnTo>
                <a:lnTo>
                  <a:pt x="1885" y="430"/>
                </a:lnTo>
                <a:lnTo>
                  <a:pt x="1871" y="432"/>
                </a:lnTo>
                <a:lnTo>
                  <a:pt x="1877" y="430"/>
                </a:lnTo>
                <a:lnTo>
                  <a:pt x="1871" y="429"/>
                </a:lnTo>
                <a:lnTo>
                  <a:pt x="1867" y="432"/>
                </a:lnTo>
                <a:lnTo>
                  <a:pt x="1855" y="429"/>
                </a:lnTo>
                <a:lnTo>
                  <a:pt x="1849" y="423"/>
                </a:lnTo>
                <a:lnTo>
                  <a:pt x="1833" y="421"/>
                </a:lnTo>
                <a:lnTo>
                  <a:pt x="1821" y="411"/>
                </a:lnTo>
                <a:lnTo>
                  <a:pt x="1829" y="407"/>
                </a:lnTo>
                <a:lnTo>
                  <a:pt x="1849" y="410"/>
                </a:lnTo>
                <a:lnTo>
                  <a:pt x="1866" y="418"/>
                </a:lnTo>
                <a:lnTo>
                  <a:pt x="1879" y="422"/>
                </a:lnTo>
                <a:lnTo>
                  <a:pt x="1881" y="421"/>
                </a:lnTo>
                <a:lnTo>
                  <a:pt x="1878" y="418"/>
                </a:lnTo>
                <a:lnTo>
                  <a:pt x="1881" y="417"/>
                </a:lnTo>
                <a:lnTo>
                  <a:pt x="1875" y="418"/>
                </a:lnTo>
                <a:lnTo>
                  <a:pt x="1868" y="415"/>
                </a:lnTo>
                <a:lnTo>
                  <a:pt x="1871" y="414"/>
                </a:lnTo>
                <a:lnTo>
                  <a:pt x="1875" y="417"/>
                </a:lnTo>
                <a:lnTo>
                  <a:pt x="1878" y="416"/>
                </a:lnTo>
                <a:lnTo>
                  <a:pt x="1874" y="415"/>
                </a:lnTo>
                <a:lnTo>
                  <a:pt x="1879" y="415"/>
                </a:lnTo>
                <a:lnTo>
                  <a:pt x="1867" y="411"/>
                </a:lnTo>
                <a:lnTo>
                  <a:pt x="1871" y="410"/>
                </a:lnTo>
                <a:lnTo>
                  <a:pt x="1879" y="411"/>
                </a:lnTo>
                <a:lnTo>
                  <a:pt x="1875" y="410"/>
                </a:lnTo>
                <a:lnTo>
                  <a:pt x="1877" y="407"/>
                </a:lnTo>
                <a:lnTo>
                  <a:pt x="1872" y="407"/>
                </a:lnTo>
                <a:lnTo>
                  <a:pt x="1860" y="402"/>
                </a:lnTo>
                <a:lnTo>
                  <a:pt x="1875" y="404"/>
                </a:lnTo>
                <a:lnTo>
                  <a:pt x="1867" y="402"/>
                </a:lnTo>
                <a:lnTo>
                  <a:pt x="1871" y="399"/>
                </a:lnTo>
                <a:lnTo>
                  <a:pt x="1855" y="400"/>
                </a:lnTo>
                <a:lnTo>
                  <a:pt x="1867" y="395"/>
                </a:lnTo>
                <a:lnTo>
                  <a:pt x="1866" y="394"/>
                </a:lnTo>
                <a:lnTo>
                  <a:pt x="1851" y="399"/>
                </a:lnTo>
                <a:lnTo>
                  <a:pt x="1855" y="395"/>
                </a:lnTo>
                <a:lnTo>
                  <a:pt x="1855" y="394"/>
                </a:lnTo>
                <a:lnTo>
                  <a:pt x="1868" y="392"/>
                </a:lnTo>
                <a:lnTo>
                  <a:pt x="1864" y="390"/>
                </a:lnTo>
                <a:lnTo>
                  <a:pt x="1862" y="391"/>
                </a:lnTo>
                <a:lnTo>
                  <a:pt x="1866" y="386"/>
                </a:lnTo>
                <a:lnTo>
                  <a:pt x="1856" y="387"/>
                </a:lnTo>
                <a:lnTo>
                  <a:pt x="1841" y="384"/>
                </a:lnTo>
                <a:lnTo>
                  <a:pt x="1849" y="376"/>
                </a:lnTo>
                <a:lnTo>
                  <a:pt x="1846" y="377"/>
                </a:lnTo>
                <a:lnTo>
                  <a:pt x="1844" y="380"/>
                </a:lnTo>
                <a:lnTo>
                  <a:pt x="1839" y="381"/>
                </a:lnTo>
                <a:lnTo>
                  <a:pt x="1839" y="381"/>
                </a:lnTo>
                <a:lnTo>
                  <a:pt x="1835" y="383"/>
                </a:lnTo>
                <a:lnTo>
                  <a:pt x="1833" y="383"/>
                </a:lnTo>
                <a:lnTo>
                  <a:pt x="1831" y="384"/>
                </a:lnTo>
                <a:lnTo>
                  <a:pt x="1831" y="387"/>
                </a:lnTo>
                <a:lnTo>
                  <a:pt x="1827" y="384"/>
                </a:lnTo>
                <a:lnTo>
                  <a:pt x="1827" y="387"/>
                </a:lnTo>
                <a:lnTo>
                  <a:pt x="1831" y="388"/>
                </a:lnTo>
                <a:lnTo>
                  <a:pt x="1831" y="391"/>
                </a:lnTo>
                <a:lnTo>
                  <a:pt x="1819" y="395"/>
                </a:lnTo>
                <a:lnTo>
                  <a:pt x="1813" y="390"/>
                </a:lnTo>
                <a:lnTo>
                  <a:pt x="1815" y="395"/>
                </a:lnTo>
                <a:lnTo>
                  <a:pt x="1812" y="395"/>
                </a:lnTo>
                <a:lnTo>
                  <a:pt x="1807" y="387"/>
                </a:lnTo>
                <a:lnTo>
                  <a:pt x="1808" y="387"/>
                </a:lnTo>
                <a:lnTo>
                  <a:pt x="1803" y="384"/>
                </a:lnTo>
                <a:lnTo>
                  <a:pt x="1812" y="380"/>
                </a:lnTo>
                <a:lnTo>
                  <a:pt x="1815" y="379"/>
                </a:lnTo>
                <a:lnTo>
                  <a:pt x="1812" y="379"/>
                </a:lnTo>
                <a:lnTo>
                  <a:pt x="1808" y="378"/>
                </a:lnTo>
                <a:lnTo>
                  <a:pt x="1808" y="377"/>
                </a:lnTo>
                <a:lnTo>
                  <a:pt x="1811" y="375"/>
                </a:lnTo>
                <a:lnTo>
                  <a:pt x="1807" y="375"/>
                </a:lnTo>
                <a:lnTo>
                  <a:pt x="1815" y="367"/>
                </a:lnTo>
                <a:lnTo>
                  <a:pt x="1813" y="366"/>
                </a:lnTo>
                <a:lnTo>
                  <a:pt x="1807" y="362"/>
                </a:lnTo>
                <a:lnTo>
                  <a:pt x="1810" y="361"/>
                </a:lnTo>
                <a:lnTo>
                  <a:pt x="1826" y="362"/>
                </a:lnTo>
                <a:lnTo>
                  <a:pt x="1816" y="361"/>
                </a:lnTo>
                <a:lnTo>
                  <a:pt x="1818" y="358"/>
                </a:lnTo>
                <a:lnTo>
                  <a:pt x="1821" y="354"/>
                </a:lnTo>
                <a:lnTo>
                  <a:pt x="1818" y="354"/>
                </a:lnTo>
                <a:lnTo>
                  <a:pt x="1822" y="353"/>
                </a:lnTo>
                <a:lnTo>
                  <a:pt x="1818" y="346"/>
                </a:lnTo>
                <a:lnTo>
                  <a:pt x="1807" y="344"/>
                </a:lnTo>
                <a:lnTo>
                  <a:pt x="1815" y="341"/>
                </a:lnTo>
                <a:lnTo>
                  <a:pt x="1810" y="340"/>
                </a:lnTo>
                <a:lnTo>
                  <a:pt x="1813" y="338"/>
                </a:lnTo>
                <a:lnTo>
                  <a:pt x="1815" y="338"/>
                </a:lnTo>
                <a:lnTo>
                  <a:pt x="1800" y="330"/>
                </a:lnTo>
                <a:lnTo>
                  <a:pt x="1799" y="330"/>
                </a:lnTo>
                <a:lnTo>
                  <a:pt x="1799" y="330"/>
                </a:lnTo>
                <a:lnTo>
                  <a:pt x="1799" y="330"/>
                </a:lnTo>
                <a:lnTo>
                  <a:pt x="1799" y="329"/>
                </a:lnTo>
                <a:lnTo>
                  <a:pt x="1799" y="325"/>
                </a:lnTo>
                <a:lnTo>
                  <a:pt x="1806" y="326"/>
                </a:lnTo>
                <a:lnTo>
                  <a:pt x="1801" y="324"/>
                </a:lnTo>
                <a:lnTo>
                  <a:pt x="1807" y="323"/>
                </a:lnTo>
                <a:lnTo>
                  <a:pt x="1800" y="322"/>
                </a:lnTo>
                <a:lnTo>
                  <a:pt x="1801" y="322"/>
                </a:lnTo>
                <a:lnTo>
                  <a:pt x="1796" y="317"/>
                </a:lnTo>
                <a:lnTo>
                  <a:pt x="1800" y="310"/>
                </a:lnTo>
                <a:lnTo>
                  <a:pt x="1782" y="314"/>
                </a:lnTo>
                <a:lnTo>
                  <a:pt x="1796" y="310"/>
                </a:lnTo>
                <a:lnTo>
                  <a:pt x="1790" y="308"/>
                </a:lnTo>
                <a:lnTo>
                  <a:pt x="1800" y="308"/>
                </a:lnTo>
                <a:lnTo>
                  <a:pt x="1790" y="306"/>
                </a:lnTo>
                <a:lnTo>
                  <a:pt x="1799" y="306"/>
                </a:lnTo>
                <a:lnTo>
                  <a:pt x="1799" y="302"/>
                </a:lnTo>
                <a:lnTo>
                  <a:pt x="1794" y="302"/>
                </a:lnTo>
                <a:lnTo>
                  <a:pt x="1789" y="302"/>
                </a:lnTo>
                <a:lnTo>
                  <a:pt x="1788" y="300"/>
                </a:lnTo>
                <a:lnTo>
                  <a:pt x="1787" y="301"/>
                </a:lnTo>
                <a:lnTo>
                  <a:pt x="1785" y="298"/>
                </a:lnTo>
                <a:lnTo>
                  <a:pt x="1789" y="298"/>
                </a:lnTo>
                <a:lnTo>
                  <a:pt x="1788" y="293"/>
                </a:lnTo>
                <a:lnTo>
                  <a:pt x="1770" y="287"/>
                </a:lnTo>
                <a:lnTo>
                  <a:pt x="1773" y="284"/>
                </a:lnTo>
                <a:lnTo>
                  <a:pt x="1767" y="280"/>
                </a:lnTo>
                <a:lnTo>
                  <a:pt x="1767" y="277"/>
                </a:lnTo>
                <a:lnTo>
                  <a:pt x="1760" y="279"/>
                </a:lnTo>
                <a:lnTo>
                  <a:pt x="1767" y="275"/>
                </a:lnTo>
                <a:lnTo>
                  <a:pt x="1767" y="273"/>
                </a:lnTo>
                <a:lnTo>
                  <a:pt x="1766" y="273"/>
                </a:lnTo>
                <a:lnTo>
                  <a:pt x="1768" y="270"/>
                </a:lnTo>
                <a:lnTo>
                  <a:pt x="1767" y="270"/>
                </a:lnTo>
                <a:lnTo>
                  <a:pt x="1763" y="270"/>
                </a:lnTo>
                <a:lnTo>
                  <a:pt x="1757" y="270"/>
                </a:lnTo>
                <a:lnTo>
                  <a:pt x="1755" y="266"/>
                </a:lnTo>
                <a:lnTo>
                  <a:pt x="1755" y="264"/>
                </a:lnTo>
                <a:lnTo>
                  <a:pt x="1755" y="262"/>
                </a:lnTo>
                <a:lnTo>
                  <a:pt x="1748" y="266"/>
                </a:lnTo>
                <a:lnTo>
                  <a:pt x="1749" y="261"/>
                </a:lnTo>
                <a:lnTo>
                  <a:pt x="1737" y="256"/>
                </a:lnTo>
                <a:lnTo>
                  <a:pt x="1734" y="258"/>
                </a:lnTo>
                <a:lnTo>
                  <a:pt x="1732" y="254"/>
                </a:lnTo>
                <a:lnTo>
                  <a:pt x="1712" y="252"/>
                </a:lnTo>
                <a:lnTo>
                  <a:pt x="1711" y="250"/>
                </a:lnTo>
                <a:lnTo>
                  <a:pt x="1704" y="251"/>
                </a:lnTo>
                <a:lnTo>
                  <a:pt x="1703" y="252"/>
                </a:lnTo>
                <a:lnTo>
                  <a:pt x="1701" y="250"/>
                </a:lnTo>
                <a:lnTo>
                  <a:pt x="1696" y="247"/>
                </a:lnTo>
                <a:lnTo>
                  <a:pt x="1690" y="252"/>
                </a:lnTo>
                <a:lnTo>
                  <a:pt x="1685" y="254"/>
                </a:lnTo>
                <a:lnTo>
                  <a:pt x="1682" y="252"/>
                </a:lnTo>
                <a:lnTo>
                  <a:pt x="1684" y="250"/>
                </a:lnTo>
                <a:lnTo>
                  <a:pt x="1678" y="247"/>
                </a:lnTo>
                <a:lnTo>
                  <a:pt x="1681" y="250"/>
                </a:lnTo>
                <a:lnTo>
                  <a:pt x="1678" y="252"/>
                </a:lnTo>
                <a:lnTo>
                  <a:pt x="1675" y="251"/>
                </a:lnTo>
                <a:lnTo>
                  <a:pt x="1675" y="258"/>
                </a:lnTo>
                <a:lnTo>
                  <a:pt x="1663" y="258"/>
                </a:lnTo>
                <a:lnTo>
                  <a:pt x="1663" y="258"/>
                </a:lnTo>
                <a:lnTo>
                  <a:pt x="1657" y="257"/>
                </a:lnTo>
                <a:lnTo>
                  <a:pt x="1661" y="254"/>
                </a:lnTo>
                <a:lnTo>
                  <a:pt x="1659" y="254"/>
                </a:lnTo>
                <a:lnTo>
                  <a:pt x="1654" y="251"/>
                </a:lnTo>
                <a:lnTo>
                  <a:pt x="1650" y="256"/>
                </a:lnTo>
                <a:lnTo>
                  <a:pt x="1642" y="251"/>
                </a:lnTo>
                <a:lnTo>
                  <a:pt x="1637" y="255"/>
                </a:lnTo>
                <a:lnTo>
                  <a:pt x="1650" y="262"/>
                </a:lnTo>
                <a:lnTo>
                  <a:pt x="1618" y="258"/>
                </a:lnTo>
                <a:lnTo>
                  <a:pt x="1621" y="258"/>
                </a:lnTo>
                <a:lnTo>
                  <a:pt x="1615" y="258"/>
                </a:lnTo>
                <a:lnTo>
                  <a:pt x="1617" y="255"/>
                </a:lnTo>
                <a:lnTo>
                  <a:pt x="1603" y="247"/>
                </a:lnTo>
                <a:lnTo>
                  <a:pt x="1617" y="242"/>
                </a:lnTo>
                <a:lnTo>
                  <a:pt x="1610" y="242"/>
                </a:lnTo>
                <a:lnTo>
                  <a:pt x="1597" y="237"/>
                </a:lnTo>
                <a:lnTo>
                  <a:pt x="1605" y="230"/>
                </a:lnTo>
                <a:lnTo>
                  <a:pt x="1603" y="230"/>
                </a:lnTo>
                <a:lnTo>
                  <a:pt x="1591" y="236"/>
                </a:lnTo>
                <a:lnTo>
                  <a:pt x="1584" y="232"/>
                </a:lnTo>
                <a:lnTo>
                  <a:pt x="1588" y="230"/>
                </a:lnTo>
                <a:lnTo>
                  <a:pt x="1581" y="230"/>
                </a:lnTo>
                <a:lnTo>
                  <a:pt x="1578" y="227"/>
                </a:lnTo>
                <a:lnTo>
                  <a:pt x="1585" y="223"/>
                </a:lnTo>
                <a:lnTo>
                  <a:pt x="1584" y="222"/>
                </a:lnTo>
                <a:lnTo>
                  <a:pt x="1596" y="219"/>
                </a:lnTo>
                <a:lnTo>
                  <a:pt x="1633" y="222"/>
                </a:lnTo>
                <a:lnTo>
                  <a:pt x="1611" y="219"/>
                </a:lnTo>
                <a:lnTo>
                  <a:pt x="1632" y="215"/>
                </a:lnTo>
                <a:lnTo>
                  <a:pt x="1654" y="219"/>
                </a:lnTo>
                <a:lnTo>
                  <a:pt x="1647" y="216"/>
                </a:lnTo>
                <a:lnTo>
                  <a:pt x="1653" y="214"/>
                </a:lnTo>
                <a:lnTo>
                  <a:pt x="1650" y="214"/>
                </a:lnTo>
                <a:lnTo>
                  <a:pt x="1650" y="212"/>
                </a:lnTo>
                <a:lnTo>
                  <a:pt x="1653" y="212"/>
                </a:lnTo>
                <a:lnTo>
                  <a:pt x="1651" y="209"/>
                </a:lnTo>
                <a:lnTo>
                  <a:pt x="1644" y="210"/>
                </a:lnTo>
                <a:lnTo>
                  <a:pt x="1640" y="210"/>
                </a:lnTo>
                <a:lnTo>
                  <a:pt x="1634" y="214"/>
                </a:lnTo>
                <a:lnTo>
                  <a:pt x="1622" y="214"/>
                </a:lnTo>
                <a:lnTo>
                  <a:pt x="1617" y="210"/>
                </a:lnTo>
                <a:lnTo>
                  <a:pt x="1615" y="210"/>
                </a:lnTo>
                <a:lnTo>
                  <a:pt x="1617" y="213"/>
                </a:lnTo>
                <a:lnTo>
                  <a:pt x="1607" y="212"/>
                </a:lnTo>
                <a:lnTo>
                  <a:pt x="1593" y="211"/>
                </a:lnTo>
                <a:lnTo>
                  <a:pt x="1602" y="207"/>
                </a:lnTo>
                <a:lnTo>
                  <a:pt x="1602" y="204"/>
                </a:lnTo>
                <a:lnTo>
                  <a:pt x="1587" y="207"/>
                </a:lnTo>
                <a:lnTo>
                  <a:pt x="1598" y="202"/>
                </a:lnTo>
                <a:lnTo>
                  <a:pt x="1579" y="206"/>
                </a:lnTo>
                <a:lnTo>
                  <a:pt x="1578" y="206"/>
                </a:lnTo>
                <a:lnTo>
                  <a:pt x="1581" y="202"/>
                </a:lnTo>
                <a:lnTo>
                  <a:pt x="1570" y="202"/>
                </a:lnTo>
                <a:lnTo>
                  <a:pt x="1563" y="198"/>
                </a:lnTo>
                <a:lnTo>
                  <a:pt x="1565" y="198"/>
                </a:lnTo>
                <a:lnTo>
                  <a:pt x="1553" y="191"/>
                </a:lnTo>
                <a:lnTo>
                  <a:pt x="1561" y="188"/>
                </a:lnTo>
                <a:lnTo>
                  <a:pt x="1556" y="185"/>
                </a:lnTo>
                <a:lnTo>
                  <a:pt x="1558" y="182"/>
                </a:lnTo>
                <a:lnTo>
                  <a:pt x="1558" y="181"/>
                </a:lnTo>
                <a:lnTo>
                  <a:pt x="1558" y="178"/>
                </a:lnTo>
                <a:lnTo>
                  <a:pt x="1575" y="178"/>
                </a:lnTo>
                <a:lnTo>
                  <a:pt x="1585" y="178"/>
                </a:lnTo>
                <a:lnTo>
                  <a:pt x="1588" y="174"/>
                </a:lnTo>
                <a:lnTo>
                  <a:pt x="1610" y="167"/>
                </a:lnTo>
                <a:lnTo>
                  <a:pt x="1617" y="170"/>
                </a:lnTo>
                <a:lnTo>
                  <a:pt x="1610" y="166"/>
                </a:lnTo>
                <a:lnTo>
                  <a:pt x="1622" y="161"/>
                </a:lnTo>
                <a:lnTo>
                  <a:pt x="1631" y="162"/>
                </a:lnTo>
                <a:lnTo>
                  <a:pt x="1634" y="159"/>
                </a:lnTo>
                <a:lnTo>
                  <a:pt x="1656" y="161"/>
                </a:lnTo>
                <a:lnTo>
                  <a:pt x="1675" y="147"/>
                </a:lnTo>
                <a:lnTo>
                  <a:pt x="1670" y="136"/>
                </a:lnTo>
                <a:lnTo>
                  <a:pt x="1671" y="133"/>
                </a:lnTo>
                <a:lnTo>
                  <a:pt x="1670" y="131"/>
                </a:lnTo>
                <a:lnTo>
                  <a:pt x="1689" y="126"/>
                </a:lnTo>
                <a:lnTo>
                  <a:pt x="1684" y="126"/>
                </a:lnTo>
                <a:lnTo>
                  <a:pt x="1682" y="122"/>
                </a:lnTo>
                <a:lnTo>
                  <a:pt x="1681" y="126"/>
                </a:lnTo>
                <a:lnTo>
                  <a:pt x="1674" y="130"/>
                </a:lnTo>
                <a:lnTo>
                  <a:pt x="1640" y="130"/>
                </a:lnTo>
                <a:lnTo>
                  <a:pt x="1638" y="126"/>
                </a:lnTo>
                <a:lnTo>
                  <a:pt x="1633" y="124"/>
                </a:lnTo>
                <a:lnTo>
                  <a:pt x="1635" y="119"/>
                </a:lnTo>
                <a:lnTo>
                  <a:pt x="1642" y="115"/>
                </a:lnTo>
                <a:lnTo>
                  <a:pt x="1642" y="112"/>
                </a:lnTo>
                <a:lnTo>
                  <a:pt x="1661" y="107"/>
                </a:lnTo>
                <a:lnTo>
                  <a:pt x="1660" y="104"/>
                </a:lnTo>
                <a:lnTo>
                  <a:pt x="1668" y="103"/>
                </a:lnTo>
                <a:lnTo>
                  <a:pt x="1667" y="101"/>
                </a:lnTo>
                <a:lnTo>
                  <a:pt x="1667" y="100"/>
                </a:lnTo>
                <a:lnTo>
                  <a:pt x="1675" y="97"/>
                </a:lnTo>
                <a:lnTo>
                  <a:pt x="1675" y="95"/>
                </a:lnTo>
                <a:lnTo>
                  <a:pt x="1690" y="90"/>
                </a:lnTo>
                <a:lnTo>
                  <a:pt x="1693" y="92"/>
                </a:lnTo>
                <a:lnTo>
                  <a:pt x="1696" y="97"/>
                </a:lnTo>
                <a:lnTo>
                  <a:pt x="1703" y="105"/>
                </a:lnTo>
                <a:lnTo>
                  <a:pt x="1704" y="105"/>
                </a:lnTo>
                <a:lnTo>
                  <a:pt x="1697" y="97"/>
                </a:lnTo>
                <a:lnTo>
                  <a:pt x="1696" y="90"/>
                </a:lnTo>
                <a:lnTo>
                  <a:pt x="1703" y="86"/>
                </a:lnTo>
                <a:lnTo>
                  <a:pt x="1721" y="92"/>
                </a:lnTo>
                <a:lnTo>
                  <a:pt x="1729" y="92"/>
                </a:lnTo>
                <a:lnTo>
                  <a:pt x="1730" y="90"/>
                </a:lnTo>
                <a:lnTo>
                  <a:pt x="1726" y="81"/>
                </a:lnTo>
                <a:lnTo>
                  <a:pt x="1734" y="76"/>
                </a:lnTo>
                <a:lnTo>
                  <a:pt x="1722" y="69"/>
                </a:lnTo>
                <a:lnTo>
                  <a:pt x="1732" y="63"/>
                </a:lnTo>
                <a:lnTo>
                  <a:pt x="1743" y="62"/>
                </a:lnTo>
                <a:lnTo>
                  <a:pt x="1760" y="63"/>
                </a:lnTo>
                <a:lnTo>
                  <a:pt x="1763" y="72"/>
                </a:lnTo>
                <a:lnTo>
                  <a:pt x="1772" y="73"/>
                </a:lnTo>
                <a:lnTo>
                  <a:pt x="1771" y="73"/>
                </a:lnTo>
                <a:lnTo>
                  <a:pt x="1766" y="63"/>
                </a:lnTo>
                <a:lnTo>
                  <a:pt x="1751" y="61"/>
                </a:lnTo>
                <a:lnTo>
                  <a:pt x="1794" y="51"/>
                </a:lnTo>
                <a:lnTo>
                  <a:pt x="1796" y="56"/>
                </a:lnTo>
                <a:lnTo>
                  <a:pt x="1803" y="53"/>
                </a:lnTo>
                <a:lnTo>
                  <a:pt x="1808" y="53"/>
                </a:lnTo>
                <a:lnTo>
                  <a:pt x="1823" y="48"/>
                </a:lnTo>
                <a:lnTo>
                  <a:pt x="1837" y="55"/>
                </a:lnTo>
                <a:lnTo>
                  <a:pt x="1837" y="63"/>
                </a:lnTo>
                <a:lnTo>
                  <a:pt x="1831" y="70"/>
                </a:lnTo>
                <a:lnTo>
                  <a:pt x="1831" y="74"/>
                </a:lnTo>
                <a:lnTo>
                  <a:pt x="1837" y="76"/>
                </a:lnTo>
                <a:lnTo>
                  <a:pt x="1837" y="72"/>
                </a:lnTo>
                <a:lnTo>
                  <a:pt x="1846" y="66"/>
                </a:lnTo>
                <a:lnTo>
                  <a:pt x="1845" y="58"/>
                </a:lnTo>
                <a:lnTo>
                  <a:pt x="1868" y="63"/>
                </a:lnTo>
                <a:lnTo>
                  <a:pt x="1889" y="73"/>
                </a:lnTo>
                <a:lnTo>
                  <a:pt x="1894" y="72"/>
                </a:lnTo>
                <a:lnTo>
                  <a:pt x="1874" y="62"/>
                </a:lnTo>
                <a:lnTo>
                  <a:pt x="1891" y="63"/>
                </a:lnTo>
                <a:lnTo>
                  <a:pt x="1897" y="62"/>
                </a:lnTo>
                <a:lnTo>
                  <a:pt x="1878" y="52"/>
                </a:lnTo>
                <a:lnTo>
                  <a:pt x="1872" y="40"/>
                </a:lnTo>
                <a:lnTo>
                  <a:pt x="1900" y="42"/>
                </a:lnTo>
                <a:lnTo>
                  <a:pt x="1925" y="54"/>
                </a:lnTo>
                <a:lnTo>
                  <a:pt x="1942" y="57"/>
                </a:lnTo>
                <a:lnTo>
                  <a:pt x="1947" y="58"/>
                </a:lnTo>
                <a:lnTo>
                  <a:pt x="1946" y="62"/>
                </a:lnTo>
                <a:lnTo>
                  <a:pt x="1967" y="69"/>
                </a:lnTo>
                <a:lnTo>
                  <a:pt x="1973" y="67"/>
                </a:lnTo>
                <a:lnTo>
                  <a:pt x="1968" y="65"/>
                </a:lnTo>
                <a:lnTo>
                  <a:pt x="1964" y="65"/>
                </a:lnTo>
                <a:lnTo>
                  <a:pt x="1968" y="59"/>
                </a:lnTo>
                <a:lnTo>
                  <a:pt x="1965" y="52"/>
                </a:lnTo>
                <a:lnTo>
                  <a:pt x="1967" y="50"/>
                </a:lnTo>
                <a:lnTo>
                  <a:pt x="2000" y="52"/>
                </a:lnTo>
                <a:lnTo>
                  <a:pt x="1979" y="48"/>
                </a:lnTo>
                <a:lnTo>
                  <a:pt x="1979" y="49"/>
                </a:lnTo>
                <a:lnTo>
                  <a:pt x="1951" y="33"/>
                </a:lnTo>
                <a:lnTo>
                  <a:pt x="2003" y="33"/>
                </a:lnTo>
                <a:lnTo>
                  <a:pt x="2004" y="34"/>
                </a:lnTo>
                <a:lnTo>
                  <a:pt x="2001" y="34"/>
                </a:lnTo>
                <a:lnTo>
                  <a:pt x="2004" y="35"/>
                </a:lnTo>
                <a:lnTo>
                  <a:pt x="2004" y="40"/>
                </a:lnTo>
                <a:lnTo>
                  <a:pt x="2006" y="42"/>
                </a:lnTo>
                <a:lnTo>
                  <a:pt x="2008" y="40"/>
                </a:lnTo>
                <a:lnTo>
                  <a:pt x="2008" y="35"/>
                </a:lnTo>
                <a:lnTo>
                  <a:pt x="2006" y="33"/>
                </a:lnTo>
                <a:lnTo>
                  <a:pt x="2012" y="33"/>
                </a:lnTo>
                <a:lnTo>
                  <a:pt x="2031" y="41"/>
                </a:lnTo>
                <a:lnTo>
                  <a:pt x="2035" y="49"/>
                </a:lnTo>
                <a:lnTo>
                  <a:pt x="2038" y="49"/>
                </a:lnTo>
                <a:lnTo>
                  <a:pt x="2034" y="41"/>
                </a:lnTo>
                <a:lnTo>
                  <a:pt x="2036" y="36"/>
                </a:lnTo>
                <a:lnTo>
                  <a:pt x="2035" y="35"/>
                </a:lnTo>
                <a:lnTo>
                  <a:pt x="2032" y="34"/>
                </a:lnTo>
                <a:lnTo>
                  <a:pt x="2001" y="28"/>
                </a:lnTo>
                <a:lnTo>
                  <a:pt x="1960" y="25"/>
                </a:lnTo>
                <a:lnTo>
                  <a:pt x="1960" y="25"/>
                </a:lnTo>
                <a:lnTo>
                  <a:pt x="1986" y="25"/>
                </a:lnTo>
                <a:lnTo>
                  <a:pt x="1964" y="25"/>
                </a:lnTo>
                <a:lnTo>
                  <a:pt x="1954" y="21"/>
                </a:lnTo>
                <a:lnTo>
                  <a:pt x="1955" y="21"/>
                </a:lnTo>
                <a:lnTo>
                  <a:pt x="1992" y="23"/>
                </a:lnTo>
                <a:lnTo>
                  <a:pt x="1976" y="17"/>
                </a:lnTo>
                <a:lnTo>
                  <a:pt x="1986" y="17"/>
                </a:lnTo>
                <a:lnTo>
                  <a:pt x="1994" y="14"/>
                </a:lnTo>
                <a:lnTo>
                  <a:pt x="2010" y="16"/>
                </a:lnTo>
                <a:lnTo>
                  <a:pt x="2006" y="19"/>
                </a:lnTo>
                <a:lnTo>
                  <a:pt x="2012" y="18"/>
                </a:lnTo>
                <a:lnTo>
                  <a:pt x="2025" y="25"/>
                </a:lnTo>
                <a:lnTo>
                  <a:pt x="2035" y="25"/>
                </a:lnTo>
                <a:lnTo>
                  <a:pt x="2042" y="25"/>
                </a:lnTo>
                <a:lnTo>
                  <a:pt x="2053" y="33"/>
                </a:lnTo>
                <a:lnTo>
                  <a:pt x="2056" y="29"/>
                </a:lnTo>
                <a:lnTo>
                  <a:pt x="2046" y="24"/>
                </a:lnTo>
                <a:lnTo>
                  <a:pt x="2072" y="23"/>
                </a:lnTo>
                <a:lnTo>
                  <a:pt x="2050" y="21"/>
                </a:lnTo>
                <a:lnTo>
                  <a:pt x="2051" y="21"/>
                </a:lnTo>
                <a:lnTo>
                  <a:pt x="2052" y="21"/>
                </a:lnTo>
                <a:lnTo>
                  <a:pt x="2052" y="21"/>
                </a:lnTo>
                <a:lnTo>
                  <a:pt x="2051" y="21"/>
                </a:lnTo>
                <a:lnTo>
                  <a:pt x="2050" y="21"/>
                </a:lnTo>
                <a:lnTo>
                  <a:pt x="2044" y="20"/>
                </a:lnTo>
                <a:lnTo>
                  <a:pt x="2039" y="23"/>
                </a:lnTo>
                <a:lnTo>
                  <a:pt x="2025" y="17"/>
                </a:lnTo>
                <a:lnTo>
                  <a:pt x="2039" y="19"/>
                </a:lnTo>
                <a:lnTo>
                  <a:pt x="2024" y="15"/>
                </a:lnTo>
                <a:lnTo>
                  <a:pt x="2031" y="12"/>
                </a:lnTo>
                <a:lnTo>
                  <a:pt x="2052" y="20"/>
                </a:lnTo>
                <a:lnTo>
                  <a:pt x="2052" y="16"/>
                </a:lnTo>
                <a:lnTo>
                  <a:pt x="2060" y="20"/>
                </a:lnTo>
                <a:lnTo>
                  <a:pt x="2053" y="21"/>
                </a:lnTo>
                <a:lnTo>
                  <a:pt x="2053" y="21"/>
                </a:lnTo>
                <a:lnTo>
                  <a:pt x="2062" y="21"/>
                </a:lnTo>
                <a:lnTo>
                  <a:pt x="2060" y="20"/>
                </a:lnTo>
                <a:lnTo>
                  <a:pt x="2079" y="17"/>
                </a:lnTo>
                <a:lnTo>
                  <a:pt x="2051" y="13"/>
                </a:lnTo>
                <a:lnTo>
                  <a:pt x="2048" y="12"/>
                </a:lnTo>
                <a:lnTo>
                  <a:pt x="2048" y="11"/>
                </a:lnTo>
                <a:lnTo>
                  <a:pt x="2050" y="12"/>
                </a:lnTo>
                <a:lnTo>
                  <a:pt x="2048" y="10"/>
                </a:lnTo>
                <a:lnTo>
                  <a:pt x="2048" y="6"/>
                </a:lnTo>
                <a:lnTo>
                  <a:pt x="2065" y="13"/>
                </a:lnTo>
                <a:lnTo>
                  <a:pt x="2067" y="13"/>
                </a:lnTo>
                <a:lnTo>
                  <a:pt x="2062" y="8"/>
                </a:lnTo>
                <a:lnTo>
                  <a:pt x="2069" y="5"/>
                </a:lnTo>
                <a:lnTo>
                  <a:pt x="2086" y="10"/>
                </a:lnTo>
                <a:lnTo>
                  <a:pt x="2079" y="5"/>
                </a:lnTo>
                <a:lnTo>
                  <a:pt x="2116" y="0"/>
                </a:lnTo>
                <a:lnTo>
                  <a:pt x="2123" y="6"/>
                </a:lnTo>
                <a:lnTo>
                  <a:pt x="2124" y="5"/>
                </a:lnTo>
                <a:lnTo>
                  <a:pt x="2119" y="1"/>
                </a:lnTo>
                <a:lnTo>
                  <a:pt x="2173" y="0"/>
                </a:lnTo>
                <a:lnTo>
                  <a:pt x="2202" y="5"/>
                </a:lnTo>
                <a:lnTo>
                  <a:pt x="2195" y="5"/>
                </a:lnTo>
                <a:lnTo>
                  <a:pt x="2200" y="8"/>
                </a:lnTo>
                <a:lnTo>
                  <a:pt x="2217" y="5"/>
                </a:lnTo>
                <a:lnTo>
                  <a:pt x="2243" y="12"/>
                </a:lnTo>
                <a:lnTo>
                  <a:pt x="2224" y="17"/>
                </a:lnTo>
                <a:lnTo>
                  <a:pt x="2179" y="16"/>
                </a:lnTo>
                <a:lnTo>
                  <a:pt x="2151" y="21"/>
                </a:lnTo>
                <a:lnTo>
                  <a:pt x="2129" y="17"/>
                </a:lnTo>
                <a:lnTo>
                  <a:pt x="2143" y="21"/>
                </a:lnTo>
                <a:lnTo>
                  <a:pt x="2097" y="25"/>
                </a:lnTo>
                <a:lnTo>
                  <a:pt x="2102" y="28"/>
                </a:lnTo>
                <a:lnTo>
                  <a:pt x="2098" y="31"/>
                </a:lnTo>
                <a:lnTo>
                  <a:pt x="2101" y="33"/>
                </a:lnTo>
                <a:lnTo>
                  <a:pt x="2102" y="29"/>
                </a:lnTo>
                <a:lnTo>
                  <a:pt x="2109" y="25"/>
                </a:lnTo>
                <a:lnTo>
                  <a:pt x="2123" y="25"/>
                </a:lnTo>
                <a:lnTo>
                  <a:pt x="2124" y="30"/>
                </a:lnTo>
                <a:lnTo>
                  <a:pt x="2121" y="33"/>
                </a:lnTo>
                <a:lnTo>
                  <a:pt x="2123" y="33"/>
                </a:lnTo>
                <a:lnTo>
                  <a:pt x="2128" y="25"/>
                </a:lnTo>
                <a:lnTo>
                  <a:pt x="2150" y="23"/>
                </a:lnTo>
                <a:lnTo>
                  <a:pt x="2154" y="25"/>
                </a:lnTo>
                <a:lnTo>
                  <a:pt x="2179" y="17"/>
                </a:lnTo>
                <a:lnTo>
                  <a:pt x="2206" y="22"/>
                </a:lnTo>
                <a:lnTo>
                  <a:pt x="2249" y="17"/>
                </a:lnTo>
                <a:lnTo>
                  <a:pt x="2254" y="21"/>
                </a:lnTo>
                <a:lnTo>
                  <a:pt x="2251" y="21"/>
                </a:lnTo>
                <a:lnTo>
                  <a:pt x="2255" y="24"/>
                </a:lnTo>
                <a:lnTo>
                  <a:pt x="2249" y="29"/>
                </a:lnTo>
                <a:lnTo>
                  <a:pt x="2240" y="31"/>
                </a:lnTo>
                <a:lnTo>
                  <a:pt x="2267" y="26"/>
                </a:lnTo>
                <a:lnTo>
                  <a:pt x="2269" y="29"/>
                </a:lnTo>
                <a:lnTo>
                  <a:pt x="2265" y="29"/>
                </a:lnTo>
                <a:lnTo>
                  <a:pt x="2265" y="32"/>
                </a:lnTo>
                <a:lnTo>
                  <a:pt x="2273" y="28"/>
                </a:lnTo>
                <a:lnTo>
                  <a:pt x="2306" y="36"/>
                </a:lnTo>
                <a:lnTo>
                  <a:pt x="2289" y="47"/>
                </a:lnTo>
                <a:lnTo>
                  <a:pt x="2251" y="54"/>
                </a:lnTo>
                <a:lnTo>
                  <a:pt x="2182" y="55"/>
                </a:lnTo>
                <a:lnTo>
                  <a:pt x="2156" y="52"/>
                </a:lnTo>
                <a:lnTo>
                  <a:pt x="2181" y="55"/>
                </a:lnTo>
                <a:lnTo>
                  <a:pt x="2134" y="67"/>
                </a:lnTo>
                <a:lnTo>
                  <a:pt x="2135" y="73"/>
                </a:lnTo>
                <a:lnTo>
                  <a:pt x="2154" y="66"/>
                </a:lnTo>
                <a:lnTo>
                  <a:pt x="2184" y="63"/>
                </a:lnTo>
                <a:lnTo>
                  <a:pt x="2182" y="65"/>
                </a:lnTo>
                <a:lnTo>
                  <a:pt x="2185" y="65"/>
                </a:lnTo>
                <a:lnTo>
                  <a:pt x="2192" y="65"/>
                </a:lnTo>
                <a:lnTo>
                  <a:pt x="2249" y="65"/>
                </a:lnTo>
                <a:lnTo>
                  <a:pt x="2248" y="68"/>
                </a:lnTo>
                <a:lnTo>
                  <a:pt x="2247" y="69"/>
                </a:lnTo>
                <a:lnTo>
                  <a:pt x="2214" y="79"/>
                </a:lnTo>
                <a:lnTo>
                  <a:pt x="2218" y="80"/>
                </a:lnTo>
                <a:lnTo>
                  <a:pt x="2214" y="81"/>
                </a:lnTo>
                <a:lnTo>
                  <a:pt x="2218" y="81"/>
                </a:lnTo>
                <a:lnTo>
                  <a:pt x="2219" y="81"/>
                </a:lnTo>
                <a:lnTo>
                  <a:pt x="2219" y="81"/>
                </a:lnTo>
                <a:lnTo>
                  <a:pt x="2219" y="81"/>
                </a:lnTo>
                <a:lnTo>
                  <a:pt x="2221" y="82"/>
                </a:lnTo>
                <a:lnTo>
                  <a:pt x="2251" y="73"/>
                </a:lnTo>
                <a:lnTo>
                  <a:pt x="2263" y="73"/>
                </a:lnTo>
                <a:lnTo>
                  <a:pt x="2265" y="69"/>
                </a:lnTo>
                <a:lnTo>
                  <a:pt x="2265" y="62"/>
                </a:lnTo>
                <a:lnTo>
                  <a:pt x="2266" y="58"/>
                </a:lnTo>
                <a:lnTo>
                  <a:pt x="2289" y="57"/>
                </a:lnTo>
                <a:lnTo>
                  <a:pt x="2293" y="62"/>
                </a:lnTo>
                <a:lnTo>
                  <a:pt x="2293" y="69"/>
                </a:lnTo>
                <a:lnTo>
                  <a:pt x="2291" y="78"/>
                </a:lnTo>
                <a:lnTo>
                  <a:pt x="2288" y="84"/>
                </a:lnTo>
                <a:lnTo>
                  <a:pt x="2281" y="85"/>
                </a:lnTo>
                <a:lnTo>
                  <a:pt x="2284" y="85"/>
                </a:lnTo>
                <a:lnTo>
                  <a:pt x="2269" y="98"/>
                </a:lnTo>
                <a:lnTo>
                  <a:pt x="2270" y="102"/>
                </a:lnTo>
                <a:lnTo>
                  <a:pt x="2267" y="105"/>
                </a:lnTo>
                <a:lnTo>
                  <a:pt x="2260" y="109"/>
                </a:lnTo>
                <a:lnTo>
                  <a:pt x="2264" y="109"/>
                </a:lnTo>
                <a:lnTo>
                  <a:pt x="2271" y="104"/>
                </a:lnTo>
                <a:lnTo>
                  <a:pt x="2273" y="101"/>
                </a:lnTo>
                <a:lnTo>
                  <a:pt x="2273" y="97"/>
                </a:lnTo>
                <a:lnTo>
                  <a:pt x="2284" y="95"/>
                </a:lnTo>
                <a:lnTo>
                  <a:pt x="2313" y="74"/>
                </a:lnTo>
                <a:lnTo>
                  <a:pt x="2326" y="70"/>
                </a:lnTo>
                <a:lnTo>
                  <a:pt x="2321" y="73"/>
                </a:lnTo>
                <a:lnTo>
                  <a:pt x="2319" y="78"/>
                </a:lnTo>
                <a:lnTo>
                  <a:pt x="2335" y="74"/>
                </a:lnTo>
                <a:lnTo>
                  <a:pt x="2339" y="78"/>
                </a:lnTo>
                <a:lnTo>
                  <a:pt x="2341" y="76"/>
                </a:lnTo>
                <a:lnTo>
                  <a:pt x="2349" y="78"/>
                </a:lnTo>
                <a:lnTo>
                  <a:pt x="2349" y="74"/>
                </a:lnTo>
                <a:lnTo>
                  <a:pt x="2357" y="73"/>
                </a:lnTo>
                <a:lnTo>
                  <a:pt x="2354" y="72"/>
                </a:lnTo>
                <a:lnTo>
                  <a:pt x="2354" y="69"/>
                </a:lnTo>
                <a:lnTo>
                  <a:pt x="2360" y="70"/>
                </a:lnTo>
                <a:lnTo>
                  <a:pt x="2358" y="69"/>
                </a:lnTo>
                <a:lnTo>
                  <a:pt x="2369" y="69"/>
                </a:lnTo>
                <a:lnTo>
                  <a:pt x="2372" y="65"/>
                </a:lnTo>
                <a:lnTo>
                  <a:pt x="2400" y="65"/>
                </a:lnTo>
                <a:lnTo>
                  <a:pt x="2422" y="69"/>
                </a:lnTo>
                <a:lnTo>
                  <a:pt x="2438" y="75"/>
                </a:lnTo>
                <a:lnTo>
                  <a:pt x="2410" y="93"/>
                </a:lnTo>
                <a:lnTo>
                  <a:pt x="2396" y="93"/>
                </a:lnTo>
                <a:lnTo>
                  <a:pt x="2394" y="93"/>
                </a:lnTo>
                <a:lnTo>
                  <a:pt x="2402" y="96"/>
                </a:lnTo>
                <a:lnTo>
                  <a:pt x="2385" y="101"/>
                </a:lnTo>
                <a:lnTo>
                  <a:pt x="2381" y="104"/>
                </a:lnTo>
                <a:lnTo>
                  <a:pt x="2354" y="101"/>
                </a:lnTo>
                <a:lnTo>
                  <a:pt x="2352" y="104"/>
                </a:lnTo>
                <a:lnTo>
                  <a:pt x="2344" y="108"/>
                </a:lnTo>
                <a:lnTo>
                  <a:pt x="2322" y="107"/>
                </a:lnTo>
                <a:lnTo>
                  <a:pt x="2316" y="109"/>
                </a:lnTo>
                <a:lnTo>
                  <a:pt x="2307" y="109"/>
                </a:lnTo>
                <a:lnTo>
                  <a:pt x="2313" y="114"/>
                </a:lnTo>
                <a:lnTo>
                  <a:pt x="2325" y="108"/>
                </a:lnTo>
                <a:lnTo>
                  <a:pt x="2347" y="113"/>
                </a:lnTo>
                <a:lnTo>
                  <a:pt x="2361" y="108"/>
                </a:lnTo>
                <a:lnTo>
                  <a:pt x="2381" y="114"/>
                </a:lnTo>
                <a:lnTo>
                  <a:pt x="2374" y="118"/>
                </a:lnTo>
                <a:lnTo>
                  <a:pt x="2372" y="118"/>
                </a:lnTo>
                <a:lnTo>
                  <a:pt x="2373" y="120"/>
                </a:lnTo>
                <a:lnTo>
                  <a:pt x="2366" y="122"/>
                </a:lnTo>
                <a:lnTo>
                  <a:pt x="2330" y="122"/>
                </a:lnTo>
                <a:lnTo>
                  <a:pt x="2329" y="121"/>
                </a:lnTo>
                <a:lnTo>
                  <a:pt x="2328" y="122"/>
                </a:lnTo>
                <a:lnTo>
                  <a:pt x="2316" y="130"/>
                </a:lnTo>
                <a:lnTo>
                  <a:pt x="2319" y="130"/>
                </a:lnTo>
                <a:lnTo>
                  <a:pt x="2316" y="134"/>
                </a:lnTo>
                <a:lnTo>
                  <a:pt x="2317" y="134"/>
                </a:lnTo>
                <a:lnTo>
                  <a:pt x="2313" y="138"/>
                </a:lnTo>
                <a:lnTo>
                  <a:pt x="2317" y="138"/>
                </a:lnTo>
                <a:lnTo>
                  <a:pt x="2318" y="140"/>
                </a:lnTo>
                <a:lnTo>
                  <a:pt x="2324" y="135"/>
                </a:lnTo>
                <a:lnTo>
                  <a:pt x="2317" y="136"/>
                </a:lnTo>
                <a:lnTo>
                  <a:pt x="2317" y="135"/>
                </a:lnTo>
                <a:lnTo>
                  <a:pt x="2323" y="132"/>
                </a:lnTo>
                <a:lnTo>
                  <a:pt x="2335" y="127"/>
                </a:lnTo>
                <a:lnTo>
                  <a:pt x="2354" y="125"/>
                </a:lnTo>
                <a:lnTo>
                  <a:pt x="2361" y="128"/>
                </a:lnTo>
                <a:lnTo>
                  <a:pt x="2349" y="138"/>
                </a:lnTo>
                <a:lnTo>
                  <a:pt x="2335" y="136"/>
                </a:lnTo>
                <a:lnTo>
                  <a:pt x="2329" y="142"/>
                </a:lnTo>
                <a:lnTo>
                  <a:pt x="2329" y="144"/>
                </a:lnTo>
                <a:lnTo>
                  <a:pt x="2327" y="148"/>
                </a:lnTo>
                <a:lnTo>
                  <a:pt x="2329" y="151"/>
                </a:lnTo>
                <a:lnTo>
                  <a:pt x="2326" y="158"/>
                </a:lnTo>
                <a:lnTo>
                  <a:pt x="2330" y="154"/>
                </a:lnTo>
                <a:lnTo>
                  <a:pt x="2336" y="154"/>
                </a:lnTo>
                <a:lnTo>
                  <a:pt x="2335" y="158"/>
                </a:lnTo>
                <a:lnTo>
                  <a:pt x="2339" y="162"/>
                </a:lnTo>
                <a:lnTo>
                  <a:pt x="2333" y="162"/>
                </a:lnTo>
                <a:lnTo>
                  <a:pt x="2335" y="158"/>
                </a:lnTo>
                <a:lnTo>
                  <a:pt x="2333" y="158"/>
                </a:lnTo>
                <a:lnTo>
                  <a:pt x="2333" y="158"/>
                </a:lnTo>
                <a:lnTo>
                  <a:pt x="2333" y="155"/>
                </a:lnTo>
                <a:lnTo>
                  <a:pt x="2332" y="158"/>
                </a:lnTo>
                <a:lnTo>
                  <a:pt x="2329" y="155"/>
                </a:lnTo>
                <a:lnTo>
                  <a:pt x="2329" y="159"/>
                </a:lnTo>
                <a:lnTo>
                  <a:pt x="2322" y="161"/>
                </a:lnTo>
                <a:lnTo>
                  <a:pt x="2326" y="165"/>
                </a:lnTo>
                <a:lnTo>
                  <a:pt x="2325" y="167"/>
                </a:lnTo>
                <a:lnTo>
                  <a:pt x="2307" y="170"/>
                </a:lnTo>
                <a:lnTo>
                  <a:pt x="2311" y="174"/>
                </a:lnTo>
                <a:lnTo>
                  <a:pt x="2303" y="178"/>
                </a:lnTo>
                <a:lnTo>
                  <a:pt x="2311" y="178"/>
                </a:lnTo>
                <a:lnTo>
                  <a:pt x="2305" y="188"/>
                </a:lnTo>
                <a:lnTo>
                  <a:pt x="2305" y="189"/>
                </a:lnTo>
                <a:lnTo>
                  <a:pt x="2299" y="194"/>
                </a:lnTo>
                <a:lnTo>
                  <a:pt x="2303" y="194"/>
                </a:lnTo>
                <a:lnTo>
                  <a:pt x="2299" y="196"/>
                </a:lnTo>
                <a:lnTo>
                  <a:pt x="2296" y="200"/>
                </a:lnTo>
                <a:lnTo>
                  <a:pt x="2302" y="199"/>
                </a:lnTo>
                <a:lnTo>
                  <a:pt x="2295" y="210"/>
                </a:lnTo>
                <a:lnTo>
                  <a:pt x="2303" y="210"/>
                </a:lnTo>
                <a:lnTo>
                  <a:pt x="2303" y="209"/>
                </a:lnTo>
                <a:lnTo>
                  <a:pt x="2306" y="201"/>
                </a:lnTo>
                <a:lnTo>
                  <a:pt x="2311" y="195"/>
                </a:lnTo>
                <a:lnTo>
                  <a:pt x="2319" y="200"/>
                </a:lnTo>
                <a:lnTo>
                  <a:pt x="2335" y="204"/>
                </a:lnTo>
                <a:lnTo>
                  <a:pt x="2340" y="208"/>
                </a:lnTo>
                <a:lnTo>
                  <a:pt x="2333" y="211"/>
                </a:lnTo>
                <a:lnTo>
                  <a:pt x="2321" y="206"/>
                </a:lnTo>
                <a:lnTo>
                  <a:pt x="2311" y="208"/>
                </a:lnTo>
                <a:lnTo>
                  <a:pt x="2319" y="213"/>
                </a:lnTo>
                <a:lnTo>
                  <a:pt x="2325" y="214"/>
                </a:lnTo>
                <a:lnTo>
                  <a:pt x="2313" y="218"/>
                </a:lnTo>
                <a:lnTo>
                  <a:pt x="2329" y="218"/>
                </a:lnTo>
                <a:lnTo>
                  <a:pt x="2333" y="220"/>
                </a:lnTo>
                <a:lnTo>
                  <a:pt x="2331" y="219"/>
                </a:lnTo>
                <a:lnTo>
                  <a:pt x="2337" y="222"/>
                </a:lnTo>
                <a:lnTo>
                  <a:pt x="2337" y="218"/>
                </a:lnTo>
                <a:lnTo>
                  <a:pt x="2340" y="218"/>
                </a:lnTo>
                <a:lnTo>
                  <a:pt x="2348" y="218"/>
                </a:lnTo>
                <a:lnTo>
                  <a:pt x="2350" y="221"/>
                </a:lnTo>
                <a:lnTo>
                  <a:pt x="2351" y="231"/>
                </a:lnTo>
                <a:lnTo>
                  <a:pt x="2350" y="238"/>
                </a:lnTo>
                <a:lnTo>
                  <a:pt x="2345" y="238"/>
                </a:lnTo>
                <a:lnTo>
                  <a:pt x="2345" y="235"/>
                </a:lnTo>
                <a:lnTo>
                  <a:pt x="2339" y="233"/>
                </a:lnTo>
                <a:lnTo>
                  <a:pt x="2314" y="228"/>
                </a:lnTo>
                <a:lnTo>
                  <a:pt x="2310" y="230"/>
                </a:lnTo>
                <a:lnTo>
                  <a:pt x="2316" y="230"/>
                </a:lnTo>
                <a:lnTo>
                  <a:pt x="2299" y="232"/>
                </a:lnTo>
                <a:lnTo>
                  <a:pt x="2311" y="233"/>
                </a:lnTo>
                <a:lnTo>
                  <a:pt x="2306" y="234"/>
                </a:lnTo>
                <a:lnTo>
                  <a:pt x="2302" y="238"/>
                </a:lnTo>
                <a:lnTo>
                  <a:pt x="2302" y="238"/>
                </a:lnTo>
                <a:lnTo>
                  <a:pt x="2302" y="239"/>
                </a:lnTo>
                <a:lnTo>
                  <a:pt x="2302" y="239"/>
                </a:lnTo>
                <a:lnTo>
                  <a:pt x="2292" y="234"/>
                </a:lnTo>
                <a:lnTo>
                  <a:pt x="2285" y="234"/>
                </a:lnTo>
                <a:lnTo>
                  <a:pt x="2285" y="235"/>
                </a:lnTo>
                <a:lnTo>
                  <a:pt x="2281" y="238"/>
                </a:lnTo>
                <a:lnTo>
                  <a:pt x="2289" y="243"/>
                </a:lnTo>
                <a:lnTo>
                  <a:pt x="2289" y="241"/>
                </a:lnTo>
                <a:lnTo>
                  <a:pt x="2292" y="239"/>
                </a:lnTo>
                <a:lnTo>
                  <a:pt x="2299" y="241"/>
                </a:lnTo>
                <a:lnTo>
                  <a:pt x="2300" y="243"/>
                </a:lnTo>
                <a:lnTo>
                  <a:pt x="2295" y="246"/>
                </a:lnTo>
                <a:lnTo>
                  <a:pt x="2288" y="246"/>
                </a:lnTo>
                <a:lnTo>
                  <a:pt x="2302" y="246"/>
                </a:lnTo>
                <a:lnTo>
                  <a:pt x="2300" y="251"/>
                </a:lnTo>
                <a:lnTo>
                  <a:pt x="2307" y="250"/>
                </a:lnTo>
                <a:lnTo>
                  <a:pt x="2307" y="250"/>
                </a:lnTo>
                <a:lnTo>
                  <a:pt x="2308" y="250"/>
                </a:lnTo>
                <a:lnTo>
                  <a:pt x="2308" y="251"/>
                </a:lnTo>
                <a:lnTo>
                  <a:pt x="2326" y="252"/>
                </a:lnTo>
                <a:lnTo>
                  <a:pt x="2325" y="254"/>
                </a:lnTo>
                <a:lnTo>
                  <a:pt x="2325" y="257"/>
                </a:lnTo>
                <a:lnTo>
                  <a:pt x="2319" y="262"/>
                </a:lnTo>
                <a:lnTo>
                  <a:pt x="2295" y="262"/>
                </a:lnTo>
                <a:lnTo>
                  <a:pt x="2327" y="263"/>
                </a:lnTo>
                <a:lnTo>
                  <a:pt x="2329" y="266"/>
                </a:lnTo>
                <a:lnTo>
                  <a:pt x="2329" y="269"/>
                </a:lnTo>
                <a:lnTo>
                  <a:pt x="2333" y="272"/>
                </a:lnTo>
                <a:lnTo>
                  <a:pt x="2333" y="277"/>
                </a:lnTo>
                <a:lnTo>
                  <a:pt x="2332" y="284"/>
                </a:lnTo>
                <a:lnTo>
                  <a:pt x="2326" y="285"/>
                </a:lnTo>
                <a:lnTo>
                  <a:pt x="2325" y="284"/>
                </a:lnTo>
                <a:lnTo>
                  <a:pt x="2326" y="280"/>
                </a:lnTo>
                <a:lnTo>
                  <a:pt x="2322" y="279"/>
                </a:lnTo>
                <a:lnTo>
                  <a:pt x="2314" y="280"/>
                </a:lnTo>
                <a:lnTo>
                  <a:pt x="2303" y="273"/>
                </a:lnTo>
                <a:lnTo>
                  <a:pt x="2292" y="269"/>
                </a:lnTo>
                <a:lnTo>
                  <a:pt x="2303" y="276"/>
                </a:lnTo>
                <a:lnTo>
                  <a:pt x="2316" y="286"/>
                </a:lnTo>
                <a:lnTo>
                  <a:pt x="2307" y="286"/>
                </a:lnTo>
                <a:lnTo>
                  <a:pt x="2299" y="293"/>
                </a:lnTo>
                <a:lnTo>
                  <a:pt x="2308" y="290"/>
                </a:lnTo>
                <a:lnTo>
                  <a:pt x="2313" y="290"/>
                </a:lnTo>
                <a:lnTo>
                  <a:pt x="2313" y="289"/>
                </a:lnTo>
                <a:lnTo>
                  <a:pt x="2319" y="287"/>
                </a:lnTo>
                <a:lnTo>
                  <a:pt x="2326" y="289"/>
                </a:lnTo>
                <a:lnTo>
                  <a:pt x="2322" y="292"/>
                </a:lnTo>
                <a:lnTo>
                  <a:pt x="2329" y="293"/>
                </a:lnTo>
                <a:lnTo>
                  <a:pt x="2322" y="299"/>
                </a:lnTo>
                <a:lnTo>
                  <a:pt x="2316" y="297"/>
                </a:lnTo>
                <a:lnTo>
                  <a:pt x="2316" y="298"/>
                </a:lnTo>
                <a:lnTo>
                  <a:pt x="2308" y="302"/>
                </a:lnTo>
                <a:lnTo>
                  <a:pt x="2321" y="302"/>
                </a:lnTo>
                <a:lnTo>
                  <a:pt x="2327" y="304"/>
                </a:lnTo>
                <a:lnTo>
                  <a:pt x="2332" y="298"/>
                </a:lnTo>
                <a:lnTo>
                  <a:pt x="2333" y="300"/>
                </a:lnTo>
                <a:lnTo>
                  <a:pt x="2333" y="302"/>
                </a:lnTo>
                <a:lnTo>
                  <a:pt x="2333" y="303"/>
                </a:lnTo>
                <a:lnTo>
                  <a:pt x="2338" y="304"/>
                </a:lnTo>
                <a:lnTo>
                  <a:pt x="2333" y="310"/>
                </a:lnTo>
                <a:lnTo>
                  <a:pt x="2329" y="312"/>
                </a:lnTo>
                <a:lnTo>
                  <a:pt x="2322" y="311"/>
                </a:lnTo>
                <a:lnTo>
                  <a:pt x="2319" y="306"/>
                </a:lnTo>
                <a:lnTo>
                  <a:pt x="2315" y="306"/>
                </a:lnTo>
                <a:lnTo>
                  <a:pt x="2310" y="304"/>
                </a:lnTo>
                <a:lnTo>
                  <a:pt x="2304" y="306"/>
                </a:lnTo>
                <a:lnTo>
                  <a:pt x="2300" y="306"/>
                </a:lnTo>
                <a:lnTo>
                  <a:pt x="2294" y="301"/>
                </a:lnTo>
                <a:lnTo>
                  <a:pt x="2299" y="307"/>
                </a:lnTo>
                <a:lnTo>
                  <a:pt x="2295" y="308"/>
                </a:lnTo>
                <a:lnTo>
                  <a:pt x="2289" y="310"/>
                </a:lnTo>
                <a:lnTo>
                  <a:pt x="2294" y="310"/>
                </a:lnTo>
                <a:lnTo>
                  <a:pt x="2289" y="313"/>
                </a:lnTo>
                <a:lnTo>
                  <a:pt x="2289" y="314"/>
                </a:lnTo>
                <a:lnTo>
                  <a:pt x="2286" y="315"/>
                </a:lnTo>
                <a:lnTo>
                  <a:pt x="2295" y="318"/>
                </a:lnTo>
                <a:lnTo>
                  <a:pt x="2297" y="321"/>
                </a:lnTo>
                <a:lnTo>
                  <a:pt x="2295" y="318"/>
                </a:lnTo>
                <a:lnTo>
                  <a:pt x="2297" y="315"/>
                </a:lnTo>
                <a:lnTo>
                  <a:pt x="2317" y="321"/>
                </a:lnTo>
                <a:lnTo>
                  <a:pt x="2317" y="325"/>
                </a:lnTo>
                <a:lnTo>
                  <a:pt x="2314" y="327"/>
                </a:lnTo>
                <a:lnTo>
                  <a:pt x="2317" y="328"/>
                </a:lnTo>
                <a:lnTo>
                  <a:pt x="2316" y="334"/>
                </a:lnTo>
                <a:lnTo>
                  <a:pt x="2319" y="334"/>
                </a:lnTo>
                <a:lnTo>
                  <a:pt x="2317" y="336"/>
                </a:lnTo>
                <a:lnTo>
                  <a:pt x="2302" y="333"/>
                </a:lnTo>
                <a:lnTo>
                  <a:pt x="2300" y="336"/>
                </a:lnTo>
                <a:lnTo>
                  <a:pt x="2290" y="339"/>
                </a:lnTo>
                <a:lnTo>
                  <a:pt x="2273" y="334"/>
                </a:lnTo>
                <a:lnTo>
                  <a:pt x="2265" y="330"/>
                </a:lnTo>
                <a:lnTo>
                  <a:pt x="2265" y="326"/>
                </a:lnTo>
                <a:lnTo>
                  <a:pt x="2273" y="326"/>
                </a:lnTo>
                <a:lnTo>
                  <a:pt x="2264" y="323"/>
                </a:lnTo>
                <a:lnTo>
                  <a:pt x="2257" y="326"/>
                </a:lnTo>
                <a:lnTo>
                  <a:pt x="2257" y="330"/>
                </a:lnTo>
                <a:lnTo>
                  <a:pt x="2251" y="330"/>
                </a:lnTo>
                <a:lnTo>
                  <a:pt x="2257" y="334"/>
                </a:lnTo>
                <a:lnTo>
                  <a:pt x="2248" y="336"/>
                </a:lnTo>
                <a:lnTo>
                  <a:pt x="2244" y="339"/>
                </a:lnTo>
                <a:lnTo>
                  <a:pt x="2241" y="341"/>
                </a:lnTo>
                <a:lnTo>
                  <a:pt x="2242" y="341"/>
                </a:lnTo>
                <a:lnTo>
                  <a:pt x="2241" y="342"/>
                </a:lnTo>
                <a:lnTo>
                  <a:pt x="2237" y="342"/>
                </a:lnTo>
                <a:lnTo>
                  <a:pt x="2230" y="340"/>
                </a:lnTo>
                <a:lnTo>
                  <a:pt x="2227" y="342"/>
                </a:lnTo>
                <a:lnTo>
                  <a:pt x="2222" y="341"/>
                </a:lnTo>
                <a:lnTo>
                  <a:pt x="2213" y="342"/>
                </a:lnTo>
                <a:lnTo>
                  <a:pt x="2217" y="344"/>
                </a:lnTo>
                <a:lnTo>
                  <a:pt x="2217" y="346"/>
                </a:lnTo>
                <a:lnTo>
                  <a:pt x="2229" y="346"/>
                </a:lnTo>
                <a:lnTo>
                  <a:pt x="2232" y="342"/>
                </a:lnTo>
                <a:lnTo>
                  <a:pt x="2251" y="344"/>
                </a:lnTo>
                <a:lnTo>
                  <a:pt x="2251" y="348"/>
                </a:lnTo>
                <a:lnTo>
                  <a:pt x="2249" y="350"/>
                </a:lnTo>
                <a:lnTo>
                  <a:pt x="2241" y="350"/>
                </a:lnTo>
                <a:lnTo>
                  <a:pt x="2236" y="353"/>
                </a:lnTo>
                <a:lnTo>
                  <a:pt x="2227" y="350"/>
                </a:lnTo>
                <a:lnTo>
                  <a:pt x="2217" y="350"/>
                </a:lnTo>
                <a:lnTo>
                  <a:pt x="2231" y="354"/>
                </a:lnTo>
                <a:lnTo>
                  <a:pt x="2227" y="355"/>
                </a:lnTo>
                <a:lnTo>
                  <a:pt x="2232" y="353"/>
                </a:lnTo>
                <a:lnTo>
                  <a:pt x="2229" y="360"/>
                </a:lnTo>
                <a:lnTo>
                  <a:pt x="2243" y="352"/>
                </a:lnTo>
                <a:lnTo>
                  <a:pt x="2253" y="353"/>
                </a:lnTo>
                <a:lnTo>
                  <a:pt x="2253" y="355"/>
                </a:lnTo>
                <a:lnTo>
                  <a:pt x="2253" y="360"/>
                </a:lnTo>
                <a:lnTo>
                  <a:pt x="2256" y="362"/>
                </a:lnTo>
                <a:lnTo>
                  <a:pt x="2237" y="367"/>
                </a:lnTo>
                <a:lnTo>
                  <a:pt x="2246" y="367"/>
                </a:lnTo>
                <a:lnTo>
                  <a:pt x="2248" y="366"/>
                </a:lnTo>
                <a:lnTo>
                  <a:pt x="2257" y="365"/>
                </a:lnTo>
                <a:lnTo>
                  <a:pt x="2280" y="375"/>
                </a:lnTo>
                <a:lnTo>
                  <a:pt x="2277" y="376"/>
                </a:lnTo>
                <a:lnTo>
                  <a:pt x="2288" y="380"/>
                </a:lnTo>
                <a:lnTo>
                  <a:pt x="2280" y="387"/>
                </a:lnTo>
                <a:lnTo>
                  <a:pt x="2288" y="381"/>
                </a:lnTo>
                <a:lnTo>
                  <a:pt x="2285" y="387"/>
                </a:lnTo>
                <a:lnTo>
                  <a:pt x="2285" y="388"/>
                </a:lnTo>
                <a:lnTo>
                  <a:pt x="2292" y="383"/>
                </a:lnTo>
                <a:lnTo>
                  <a:pt x="2296" y="383"/>
                </a:lnTo>
                <a:lnTo>
                  <a:pt x="2292" y="388"/>
                </a:lnTo>
                <a:lnTo>
                  <a:pt x="2294" y="390"/>
                </a:lnTo>
                <a:lnTo>
                  <a:pt x="2298" y="389"/>
                </a:lnTo>
                <a:lnTo>
                  <a:pt x="2300" y="393"/>
                </a:lnTo>
                <a:lnTo>
                  <a:pt x="2299" y="395"/>
                </a:lnTo>
                <a:lnTo>
                  <a:pt x="2302" y="395"/>
                </a:lnTo>
                <a:lnTo>
                  <a:pt x="2295" y="399"/>
                </a:lnTo>
                <a:lnTo>
                  <a:pt x="2299" y="399"/>
                </a:lnTo>
                <a:lnTo>
                  <a:pt x="2300" y="400"/>
                </a:lnTo>
                <a:lnTo>
                  <a:pt x="2300" y="400"/>
                </a:lnTo>
                <a:lnTo>
                  <a:pt x="2302" y="404"/>
                </a:lnTo>
                <a:lnTo>
                  <a:pt x="2300" y="410"/>
                </a:lnTo>
                <a:lnTo>
                  <a:pt x="2302" y="411"/>
                </a:lnTo>
                <a:lnTo>
                  <a:pt x="2299" y="411"/>
                </a:lnTo>
                <a:lnTo>
                  <a:pt x="2300" y="414"/>
                </a:lnTo>
                <a:lnTo>
                  <a:pt x="2299" y="419"/>
                </a:lnTo>
                <a:lnTo>
                  <a:pt x="2303" y="419"/>
                </a:lnTo>
                <a:lnTo>
                  <a:pt x="2295" y="424"/>
                </a:lnTo>
                <a:lnTo>
                  <a:pt x="2296" y="419"/>
                </a:lnTo>
                <a:lnTo>
                  <a:pt x="2295" y="419"/>
                </a:lnTo>
                <a:lnTo>
                  <a:pt x="2289" y="419"/>
                </a:lnTo>
                <a:lnTo>
                  <a:pt x="2287" y="416"/>
                </a:lnTo>
                <a:lnTo>
                  <a:pt x="2286" y="419"/>
                </a:lnTo>
                <a:lnTo>
                  <a:pt x="2276" y="419"/>
                </a:lnTo>
                <a:lnTo>
                  <a:pt x="2266" y="412"/>
                </a:lnTo>
                <a:lnTo>
                  <a:pt x="2261" y="410"/>
                </a:lnTo>
                <a:lnTo>
                  <a:pt x="2261" y="402"/>
                </a:lnTo>
                <a:lnTo>
                  <a:pt x="2254" y="394"/>
                </a:lnTo>
                <a:lnTo>
                  <a:pt x="2251" y="395"/>
                </a:lnTo>
                <a:lnTo>
                  <a:pt x="2243" y="389"/>
                </a:lnTo>
                <a:lnTo>
                  <a:pt x="2240" y="389"/>
                </a:lnTo>
                <a:lnTo>
                  <a:pt x="2247" y="394"/>
                </a:lnTo>
                <a:lnTo>
                  <a:pt x="2244" y="398"/>
                </a:lnTo>
                <a:lnTo>
                  <a:pt x="2241" y="395"/>
                </a:lnTo>
                <a:lnTo>
                  <a:pt x="2243" y="399"/>
                </a:lnTo>
                <a:lnTo>
                  <a:pt x="2241" y="400"/>
                </a:lnTo>
                <a:lnTo>
                  <a:pt x="2241" y="400"/>
                </a:lnTo>
                <a:lnTo>
                  <a:pt x="2240" y="400"/>
                </a:lnTo>
                <a:lnTo>
                  <a:pt x="2240" y="400"/>
                </a:lnTo>
                <a:lnTo>
                  <a:pt x="2240" y="401"/>
                </a:lnTo>
                <a:lnTo>
                  <a:pt x="2230" y="405"/>
                </a:lnTo>
                <a:lnTo>
                  <a:pt x="2218" y="407"/>
                </a:lnTo>
                <a:lnTo>
                  <a:pt x="2218" y="407"/>
                </a:lnTo>
                <a:lnTo>
                  <a:pt x="2218" y="407"/>
                </a:lnTo>
                <a:lnTo>
                  <a:pt x="2218" y="407"/>
                </a:lnTo>
                <a:lnTo>
                  <a:pt x="2217" y="407"/>
                </a:lnTo>
                <a:lnTo>
                  <a:pt x="2214" y="407"/>
                </a:lnTo>
                <a:lnTo>
                  <a:pt x="2215" y="407"/>
                </a:lnTo>
                <a:lnTo>
                  <a:pt x="2217" y="407"/>
                </a:lnTo>
                <a:lnTo>
                  <a:pt x="2218" y="407"/>
                </a:lnTo>
                <a:lnTo>
                  <a:pt x="2213" y="410"/>
                </a:lnTo>
                <a:lnTo>
                  <a:pt x="2213" y="407"/>
                </a:lnTo>
                <a:lnTo>
                  <a:pt x="2213" y="407"/>
                </a:lnTo>
                <a:lnTo>
                  <a:pt x="2203" y="407"/>
                </a:lnTo>
                <a:lnTo>
                  <a:pt x="2209" y="408"/>
                </a:lnTo>
                <a:lnTo>
                  <a:pt x="2203" y="415"/>
                </a:lnTo>
                <a:lnTo>
                  <a:pt x="2189" y="417"/>
                </a:lnTo>
                <a:lnTo>
                  <a:pt x="2189" y="421"/>
                </a:lnTo>
                <a:lnTo>
                  <a:pt x="2203" y="417"/>
                </a:lnTo>
                <a:lnTo>
                  <a:pt x="2203" y="418"/>
                </a:lnTo>
                <a:lnTo>
                  <a:pt x="2204" y="421"/>
                </a:lnTo>
                <a:lnTo>
                  <a:pt x="2227" y="417"/>
                </a:lnTo>
                <a:lnTo>
                  <a:pt x="2232" y="421"/>
                </a:lnTo>
                <a:lnTo>
                  <a:pt x="2227" y="423"/>
                </a:lnTo>
                <a:lnTo>
                  <a:pt x="2224" y="423"/>
                </a:lnTo>
                <a:lnTo>
                  <a:pt x="2232" y="426"/>
                </a:lnTo>
                <a:lnTo>
                  <a:pt x="2249" y="418"/>
                </a:lnTo>
                <a:lnTo>
                  <a:pt x="2248" y="422"/>
                </a:lnTo>
                <a:lnTo>
                  <a:pt x="2251" y="421"/>
                </a:lnTo>
                <a:lnTo>
                  <a:pt x="2273" y="427"/>
                </a:lnTo>
                <a:lnTo>
                  <a:pt x="2294" y="427"/>
                </a:lnTo>
                <a:lnTo>
                  <a:pt x="2291" y="430"/>
                </a:lnTo>
                <a:lnTo>
                  <a:pt x="2278" y="434"/>
                </a:lnTo>
                <a:lnTo>
                  <a:pt x="2276" y="433"/>
                </a:lnTo>
                <a:lnTo>
                  <a:pt x="2277" y="434"/>
                </a:lnTo>
                <a:lnTo>
                  <a:pt x="2276" y="434"/>
                </a:lnTo>
                <a:lnTo>
                  <a:pt x="2277" y="437"/>
                </a:lnTo>
                <a:lnTo>
                  <a:pt x="2273" y="438"/>
                </a:lnTo>
                <a:lnTo>
                  <a:pt x="2275" y="439"/>
                </a:lnTo>
                <a:lnTo>
                  <a:pt x="2267" y="439"/>
                </a:lnTo>
                <a:lnTo>
                  <a:pt x="2273" y="441"/>
                </a:lnTo>
                <a:lnTo>
                  <a:pt x="2269" y="444"/>
                </a:lnTo>
                <a:lnTo>
                  <a:pt x="2262" y="440"/>
                </a:lnTo>
                <a:lnTo>
                  <a:pt x="2266" y="444"/>
                </a:lnTo>
                <a:lnTo>
                  <a:pt x="2260" y="447"/>
                </a:lnTo>
                <a:lnTo>
                  <a:pt x="2257" y="447"/>
                </a:lnTo>
                <a:lnTo>
                  <a:pt x="2257" y="451"/>
                </a:lnTo>
                <a:lnTo>
                  <a:pt x="2249" y="451"/>
                </a:lnTo>
                <a:lnTo>
                  <a:pt x="2248" y="451"/>
                </a:lnTo>
                <a:close/>
                <a:moveTo>
                  <a:pt x="2288" y="391"/>
                </a:moveTo>
                <a:lnTo>
                  <a:pt x="2289" y="399"/>
                </a:lnTo>
                <a:lnTo>
                  <a:pt x="2289" y="399"/>
                </a:lnTo>
                <a:lnTo>
                  <a:pt x="2289" y="391"/>
                </a:lnTo>
                <a:lnTo>
                  <a:pt x="2291" y="391"/>
                </a:lnTo>
                <a:lnTo>
                  <a:pt x="2288" y="391"/>
                </a:lnTo>
                <a:close/>
                <a:moveTo>
                  <a:pt x="2243" y="374"/>
                </a:moveTo>
                <a:lnTo>
                  <a:pt x="2245" y="371"/>
                </a:lnTo>
                <a:lnTo>
                  <a:pt x="2245" y="371"/>
                </a:lnTo>
                <a:lnTo>
                  <a:pt x="2243" y="374"/>
                </a:lnTo>
                <a:close/>
                <a:moveTo>
                  <a:pt x="2299" y="327"/>
                </a:moveTo>
                <a:lnTo>
                  <a:pt x="2300" y="326"/>
                </a:lnTo>
                <a:lnTo>
                  <a:pt x="2299" y="324"/>
                </a:lnTo>
                <a:lnTo>
                  <a:pt x="2299" y="327"/>
                </a:lnTo>
                <a:close/>
                <a:moveTo>
                  <a:pt x="2313" y="294"/>
                </a:moveTo>
                <a:lnTo>
                  <a:pt x="2313" y="294"/>
                </a:lnTo>
                <a:lnTo>
                  <a:pt x="2313" y="293"/>
                </a:lnTo>
                <a:lnTo>
                  <a:pt x="2313" y="294"/>
                </a:lnTo>
                <a:close/>
                <a:moveTo>
                  <a:pt x="2312" y="255"/>
                </a:moveTo>
                <a:lnTo>
                  <a:pt x="2316" y="258"/>
                </a:lnTo>
                <a:lnTo>
                  <a:pt x="2317" y="258"/>
                </a:lnTo>
                <a:lnTo>
                  <a:pt x="2312" y="255"/>
                </a:lnTo>
                <a:close/>
                <a:moveTo>
                  <a:pt x="2285" y="330"/>
                </a:moveTo>
                <a:lnTo>
                  <a:pt x="2286" y="330"/>
                </a:lnTo>
                <a:lnTo>
                  <a:pt x="2292" y="330"/>
                </a:lnTo>
                <a:lnTo>
                  <a:pt x="2285" y="330"/>
                </a:lnTo>
                <a:close/>
                <a:moveTo>
                  <a:pt x="2299" y="214"/>
                </a:moveTo>
                <a:lnTo>
                  <a:pt x="2302" y="214"/>
                </a:lnTo>
                <a:lnTo>
                  <a:pt x="2303" y="210"/>
                </a:lnTo>
                <a:lnTo>
                  <a:pt x="2299" y="214"/>
                </a:lnTo>
                <a:close/>
                <a:moveTo>
                  <a:pt x="2240" y="319"/>
                </a:moveTo>
                <a:lnTo>
                  <a:pt x="2244" y="325"/>
                </a:lnTo>
                <a:lnTo>
                  <a:pt x="2249" y="329"/>
                </a:lnTo>
                <a:lnTo>
                  <a:pt x="2249" y="326"/>
                </a:lnTo>
                <a:lnTo>
                  <a:pt x="2240" y="319"/>
                </a:lnTo>
                <a:close/>
                <a:moveTo>
                  <a:pt x="2215" y="334"/>
                </a:moveTo>
                <a:lnTo>
                  <a:pt x="2225" y="337"/>
                </a:lnTo>
                <a:lnTo>
                  <a:pt x="2217" y="333"/>
                </a:lnTo>
                <a:lnTo>
                  <a:pt x="2215" y="334"/>
                </a:lnTo>
                <a:close/>
                <a:moveTo>
                  <a:pt x="2213" y="402"/>
                </a:moveTo>
                <a:lnTo>
                  <a:pt x="2211" y="399"/>
                </a:lnTo>
                <a:lnTo>
                  <a:pt x="2210" y="399"/>
                </a:lnTo>
                <a:lnTo>
                  <a:pt x="2213" y="402"/>
                </a:lnTo>
                <a:close/>
                <a:moveTo>
                  <a:pt x="2198" y="375"/>
                </a:moveTo>
                <a:lnTo>
                  <a:pt x="2203" y="378"/>
                </a:lnTo>
                <a:lnTo>
                  <a:pt x="2202" y="377"/>
                </a:lnTo>
                <a:lnTo>
                  <a:pt x="2211" y="380"/>
                </a:lnTo>
                <a:lnTo>
                  <a:pt x="2218" y="385"/>
                </a:lnTo>
                <a:lnTo>
                  <a:pt x="2217" y="388"/>
                </a:lnTo>
                <a:lnTo>
                  <a:pt x="2202" y="391"/>
                </a:lnTo>
                <a:lnTo>
                  <a:pt x="2217" y="391"/>
                </a:lnTo>
                <a:lnTo>
                  <a:pt x="2217" y="391"/>
                </a:lnTo>
                <a:lnTo>
                  <a:pt x="2220" y="391"/>
                </a:lnTo>
                <a:lnTo>
                  <a:pt x="2221" y="391"/>
                </a:lnTo>
                <a:lnTo>
                  <a:pt x="2221" y="391"/>
                </a:lnTo>
                <a:lnTo>
                  <a:pt x="2238" y="389"/>
                </a:lnTo>
                <a:lnTo>
                  <a:pt x="2224" y="388"/>
                </a:lnTo>
                <a:lnTo>
                  <a:pt x="2213" y="378"/>
                </a:lnTo>
                <a:lnTo>
                  <a:pt x="2200" y="375"/>
                </a:lnTo>
                <a:lnTo>
                  <a:pt x="2198" y="375"/>
                </a:lnTo>
                <a:close/>
                <a:moveTo>
                  <a:pt x="1654" y="222"/>
                </a:moveTo>
                <a:lnTo>
                  <a:pt x="1646" y="223"/>
                </a:lnTo>
                <a:lnTo>
                  <a:pt x="1650" y="223"/>
                </a:lnTo>
                <a:lnTo>
                  <a:pt x="1654" y="222"/>
                </a:lnTo>
                <a:close/>
                <a:moveTo>
                  <a:pt x="1671" y="256"/>
                </a:moveTo>
                <a:lnTo>
                  <a:pt x="1668" y="257"/>
                </a:lnTo>
                <a:lnTo>
                  <a:pt x="1671" y="257"/>
                </a:lnTo>
                <a:lnTo>
                  <a:pt x="1671" y="256"/>
                </a:lnTo>
                <a:close/>
                <a:moveTo>
                  <a:pt x="1796" y="85"/>
                </a:moveTo>
                <a:lnTo>
                  <a:pt x="1783" y="79"/>
                </a:lnTo>
                <a:lnTo>
                  <a:pt x="1785" y="81"/>
                </a:lnTo>
                <a:lnTo>
                  <a:pt x="1794" y="85"/>
                </a:lnTo>
                <a:lnTo>
                  <a:pt x="1796" y="85"/>
                </a:lnTo>
                <a:close/>
                <a:moveTo>
                  <a:pt x="1815" y="56"/>
                </a:moveTo>
                <a:lnTo>
                  <a:pt x="1813" y="53"/>
                </a:lnTo>
                <a:lnTo>
                  <a:pt x="1812" y="54"/>
                </a:lnTo>
                <a:lnTo>
                  <a:pt x="1815" y="56"/>
                </a:lnTo>
                <a:close/>
                <a:moveTo>
                  <a:pt x="1816" y="367"/>
                </a:moveTo>
                <a:lnTo>
                  <a:pt x="1821" y="367"/>
                </a:lnTo>
                <a:lnTo>
                  <a:pt x="1817" y="366"/>
                </a:lnTo>
                <a:lnTo>
                  <a:pt x="1815" y="365"/>
                </a:lnTo>
                <a:lnTo>
                  <a:pt x="1815" y="366"/>
                </a:lnTo>
                <a:lnTo>
                  <a:pt x="1815" y="368"/>
                </a:lnTo>
                <a:lnTo>
                  <a:pt x="1812" y="375"/>
                </a:lnTo>
                <a:lnTo>
                  <a:pt x="1818" y="370"/>
                </a:lnTo>
                <a:lnTo>
                  <a:pt x="1816" y="367"/>
                </a:lnTo>
                <a:close/>
                <a:moveTo>
                  <a:pt x="1826" y="370"/>
                </a:moveTo>
                <a:lnTo>
                  <a:pt x="1820" y="377"/>
                </a:lnTo>
                <a:lnTo>
                  <a:pt x="1822" y="376"/>
                </a:lnTo>
                <a:lnTo>
                  <a:pt x="1826" y="370"/>
                </a:lnTo>
                <a:close/>
                <a:moveTo>
                  <a:pt x="1834" y="372"/>
                </a:moveTo>
                <a:lnTo>
                  <a:pt x="1833" y="366"/>
                </a:lnTo>
                <a:lnTo>
                  <a:pt x="1830" y="366"/>
                </a:lnTo>
                <a:lnTo>
                  <a:pt x="1834" y="372"/>
                </a:lnTo>
                <a:close/>
                <a:moveTo>
                  <a:pt x="1839" y="375"/>
                </a:moveTo>
                <a:lnTo>
                  <a:pt x="1834" y="373"/>
                </a:lnTo>
                <a:lnTo>
                  <a:pt x="1839" y="379"/>
                </a:lnTo>
                <a:lnTo>
                  <a:pt x="1839" y="375"/>
                </a:lnTo>
                <a:close/>
                <a:moveTo>
                  <a:pt x="1885" y="456"/>
                </a:moveTo>
                <a:lnTo>
                  <a:pt x="1883" y="456"/>
                </a:lnTo>
                <a:lnTo>
                  <a:pt x="1883" y="456"/>
                </a:lnTo>
                <a:lnTo>
                  <a:pt x="1884" y="457"/>
                </a:lnTo>
                <a:lnTo>
                  <a:pt x="1880" y="456"/>
                </a:lnTo>
                <a:lnTo>
                  <a:pt x="1883" y="455"/>
                </a:lnTo>
                <a:lnTo>
                  <a:pt x="1881" y="455"/>
                </a:lnTo>
                <a:lnTo>
                  <a:pt x="1879" y="455"/>
                </a:lnTo>
                <a:lnTo>
                  <a:pt x="1879" y="454"/>
                </a:lnTo>
                <a:lnTo>
                  <a:pt x="1878" y="454"/>
                </a:lnTo>
                <a:lnTo>
                  <a:pt x="1879" y="454"/>
                </a:lnTo>
                <a:lnTo>
                  <a:pt x="1879" y="449"/>
                </a:lnTo>
                <a:lnTo>
                  <a:pt x="1875" y="455"/>
                </a:lnTo>
                <a:lnTo>
                  <a:pt x="1877" y="455"/>
                </a:lnTo>
                <a:lnTo>
                  <a:pt x="1874" y="457"/>
                </a:lnTo>
                <a:lnTo>
                  <a:pt x="1878" y="455"/>
                </a:lnTo>
                <a:lnTo>
                  <a:pt x="1882" y="460"/>
                </a:lnTo>
                <a:lnTo>
                  <a:pt x="1884" y="457"/>
                </a:lnTo>
                <a:lnTo>
                  <a:pt x="1885" y="458"/>
                </a:lnTo>
                <a:lnTo>
                  <a:pt x="1885" y="456"/>
                </a:lnTo>
                <a:close/>
                <a:moveTo>
                  <a:pt x="1852" y="483"/>
                </a:moveTo>
                <a:lnTo>
                  <a:pt x="1855" y="484"/>
                </a:lnTo>
                <a:lnTo>
                  <a:pt x="1859" y="483"/>
                </a:lnTo>
                <a:lnTo>
                  <a:pt x="1852" y="483"/>
                </a:lnTo>
                <a:close/>
                <a:moveTo>
                  <a:pt x="1845" y="483"/>
                </a:moveTo>
                <a:lnTo>
                  <a:pt x="1845" y="483"/>
                </a:lnTo>
                <a:lnTo>
                  <a:pt x="1846" y="483"/>
                </a:lnTo>
                <a:lnTo>
                  <a:pt x="1845" y="483"/>
                </a:lnTo>
                <a:close/>
                <a:moveTo>
                  <a:pt x="1840" y="487"/>
                </a:moveTo>
                <a:lnTo>
                  <a:pt x="1841" y="487"/>
                </a:lnTo>
                <a:lnTo>
                  <a:pt x="1845" y="487"/>
                </a:lnTo>
                <a:lnTo>
                  <a:pt x="1840" y="487"/>
                </a:lnTo>
                <a:close/>
                <a:moveTo>
                  <a:pt x="1855" y="535"/>
                </a:moveTo>
                <a:lnTo>
                  <a:pt x="1852" y="533"/>
                </a:lnTo>
                <a:lnTo>
                  <a:pt x="1850" y="534"/>
                </a:lnTo>
                <a:lnTo>
                  <a:pt x="1855" y="535"/>
                </a:lnTo>
                <a:close/>
                <a:moveTo>
                  <a:pt x="1860" y="518"/>
                </a:moveTo>
                <a:lnTo>
                  <a:pt x="1856" y="521"/>
                </a:lnTo>
                <a:lnTo>
                  <a:pt x="1851" y="525"/>
                </a:lnTo>
                <a:lnTo>
                  <a:pt x="1859" y="520"/>
                </a:lnTo>
                <a:lnTo>
                  <a:pt x="1860" y="518"/>
                </a:lnTo>
                <a:close/>
                <a:moveTo>
                  <a:pt x="1862" y="531"/>
                </a:moveTo>
                <a:lnTo>
                  <a:pt x="1861" y="532"/>
                </a:lnTo>
                <a:lnTo>
                  <a:pt x="1862" y="533"/>
                </a:lnTo>
                <a:lnTo>
                  <a:pt x="1862" y="531"/>
                </a:lnTo>
                <a:close/>
                <a:moveTo>
                  <a:pt x="1871" y="556"/>
                </a:moveTo>
                <a:lnTo>
                  <a:pt x="1866" y="559"/>
                </a:lnTo>
                <a:lnTo>
                  <a:pt x="1864" y="558"/>
                </a:lnTo>
                <a:lnTo>
                  <a:pt x="1861" y="562"/>
                </a:lnTo>
                <a:lnTo>
                  <a:pt x="1866" y="560"/>
                </a:lnTo>
                <a:lnTo>
                  <a:pt x="1871" y="556"/>
                </a:lnTo>
                <a:close/>
                <a:moveTo>
                  <a:pt x="1878" y="558"/>
                </a:moveTo>
                <a:lnTo>
                  <a:pt x="1875" y="551"/>
                </a:lnTo>
                <a:lnTo>
                  <a:pt x="1875" y="558"/>
                </a:lnTo>
                <a:lnTo>
                  <a:pt x="1878" y="558"/>
                </a:lnTo>
                <a:close/>
                <a:moveTo>
                  <a:pt x="1882" y="515"/>
                </a:moveTo>
                <a:lnTo>
                  <a:pt x="1874" y="512"/>
                </a:lnTo>
                <a:lnTo>
                  <a:pt x="1876" y="509"/>
                </a:lnTo>
                <a:lnTo>
                  <a:pt x="1872" y="511"/>
                </a:lnTo>
                <a:lnTo>
                  <a:pt x="1865" y="516"/>
                </a:lnTo>
                <a:lnTo>
                  <a:pt x="1871" y="515"/>
                </a:lnTo>
                <a:lnTo>
                  <a:pt x="1882" y="515"/>
                </a:lnTo>
                <a:close/>
                <a:moveTo>
                  <a:pt x="1888" y="509"/>
                </a:moveTo>
                <a:lnTo>
                  <a:pt x="1880" y="507"/>
                </a:lnTo>
                <a:lnTo>
                  <a:pt x="1880" y="507"/>
                </a:lnTo>
                <a:lnTo>
                  <a:pt x="1888" y="509"/>
                </a:lnTo>
                <a:close/>
                <a:moveTo>
                  <a:pt x="1907" y="632"/>
                </a:moveTo>
                <a:lnTo>
                  <a:pt x="1904" y="632"/>
                </a:lnTo>
                <a:lnTo>
                  <a:pt x="1900" y="634"/>
                </a:lnTo>
                <a:lnTo>
                  <a:pt x="1899" y="635"/>
                </a:lnTo>
                <a:lnTo>
                  <a:pt x="1899" y="636"/>
                </a:lnTo>
                <a:lnTo>
                  <a:pt x="1901" y="634"/>
                </a:lnTo>
                <a:lnTo>
                  <a:pt x="1907" y="632"/>
                </a:lnTo>
                <a:close/>
                <a:moveTo>
                  <a:pt x="1919" y="644"/>
                </a:moveTo>
                <a:lnTo>
                  <a:pt x="1915" y="644"/>
                </a:lnTo>
                <a:lnTo>
                  <a:pt x="1913" y="645"/>
                </a:lnTo>
                <a:lnTo>
                  <a:pt x="1914" y="648"/>
                </a:lnTo>
                <a:lnTo>
                  <a:pt x="1915" y="649"/>
                </a:lnTo>
                <a:lnTo>
                  <a:pt x="1919" y="644"/>
                </a:lnTo>
                <a:close/>
                <a:moveTo>
                  <a:pt x="1922" y="650"/>
                </a:moveTo>
                <a:lnTo>
                  <a:pt x="1920" y="651"/>
                </a:lnTo>
                <a:lnTo>
                  <a:pt x="1920" y="652"/>
                </a:lnTo>
                <a:lnTo>
                  <a:pt x="1922" y="650"/>
                </a:lnTo>
                <a:close/>
                <a:moveTo>
                  <a:pt x="1952" y="648"/>
                </a:moveTo>
                <a:lnTo>
                  <a:pt x="1949" y="645"/>
                </a:lnTo>
                <a:lnTo>
                  <a:pt x="1951" y="644"/>
                </a:lnTo>
                <a:lnTo>
                  <a:pt x="1947" y="645"/>
                </a:lnTo>
                <a:lnTo>
                  <a:pt x="1948" y="648"/>
                </a:lnTo>
                <a:lnTo>
                  <a:pt x="1948" y="648"/>
                </a:lnTo>
                <a:lnTo>
                  <a:pt x="1945" y="651"/>
                </a:lnTo>
                <a:lnTo>
                  <a:pt x="1952" y="648"/>
                </a:lnTo>
                <a:close/>
                <a:moveTo>
                  <a:pt x="1958" y="655"/>
                </a:moveTo>
                <a:lnTo>
                  <a:pt x="1955" y="652"/>
                </a:lnTo>
                <a:lnTo>
                  <a:pt x="1954" y="657"/>
                </a:lnTo>
                <a:lnTo>
                  <a:pt x="1958" y="655"/>
                </a:lnTo>
                <a:close/>
                <a:moveTo>
                  <a:pt x="1982" y="662"/>
                </a:moveTo>
                <a:lnTo>
                  <a:pt x="1980" y="656"/>
                </a:lnTo>
                <a:lnTo>
                  <a:pt x="1980" y="662"/>
                </a:lnTo>
                <a:lnTo>
                  <a:pt x="1982" y="662"/>
                </a:lnTo>
                <a:close/>
                <a:moveTo>
                  <a:pt x="2003" y="603"/>
                </a:moveTo>
                <a:lnTo>
                  <a:pt x="2005" y="605"/>
                </a:lnTo>
                <a:lnTo>
                  <a:pt x="2007" y="606"/>
                </a:lnTo>
                <a:lnTo>
                  <a:pt x="2003" y="603"/>
                </a:lnTo>
                <a:close/>
                <a:moveTo>
                  <a:pt x="2057" y="535"/>
                </a:moveTo>
                <a:lnTo>
                  <a:pt x="2056" y="531"/>
                </a:lnTo>
                <a:lnTo>
                  <a:pt x="2056" y="535"/>
                </a:lnTo>
                <a:lnTo>
                  <a:pt x="2057" y="535"/>
                </a:lnTo>
                <a:close/>
                <a:moveTo>
                  <a:pt x="2075" y="527"/>
                </a:moveTo>
                <a:lnTo>
                  <a:pt x="2067" y="527"/>
                </a:lnTo>
                <a:lnTo>
                  <a:pt x="2064" y="527"/>
                </a:lnTo>
                <a:lnTo>
                  <a:pt x="2065" y="529"/>
                </a:lnTo>
                <a:lnTo>
                  <a:pt x="2062" y="529"/>
                </a:lnTo>
                <a:lnTo>
                  <a:pt x="2064" y="533"/>
                </a:lnTo>
                <a:lnTo>
                  <a:pt x="2062" y="535"/>
                </a:lnTo>
                <a:lnTo>
                  <a:pt x="2060" y="533"/>
                </a:lnTo>
                <a:lnTo>
                  <a:pt x="2060" y="536"/>
                </a:lnTo>
                <a:lnTo>
                  <a:pt x="2062" y="536"/>
                </a:lnTo>
                <a:lnTo>
                  <a:pt x="2061" y="537"/>
                </a:lnTo>
                <a:lnTo>
                  <a:pt x="2066" y="536"/>
                </a:lnTo>
                <a:lnTo>
                  <a:pt x="2067" y="536"/>
                </a:lnTo>
                <a:lnTo>
                  <a:pt x="2065" y="533"/>
                </a:lnTo>
                <a:lnTo>
                  <a:pt x="2075" y="527"/>
                </a:lnTo>
                <a:close/>
                <a:moveTo>
                  <a:pt x="2214" y="469"/>
                </a:moveTo>
                <a:lnTo>
                  <a:pt x="2214" y="468"/>
                </a:lnTo>
                <a:lnTo>
                  <a:pt x="2213" y="469"/>
                </a:lnTo>
                <a:lnTo>
                  <a:pt x="2214" y="469"/>
                </a:lnTo>
                <a:close/>
                <a:moveTo>
                  <a:pt x="2224" y="423"/>
                </a:moveTo>
                <a:lnTo>
                  <a:pt x="2211" y="430"/>
                </a:lnTo>
                <a:lnTo>
                  <a:pt x="2200" y="428"/>
                </a:lnTo>
                <a:lnTo>
                  <a:pt x="2202" y="431"/>
                </a:lnTo>
                <a:lnTo>
                  <a:pt x="2211" y="431"/>
                </a:lnTo>
                <a:lnTo>
                  <a:pt x="2213" y="431"/>
                </a:lnTo>
                <a:lnTo>
                  <a:pt x="2213" y="435"/>
                </a:lnTo>
                <a:lnTo>
                  <a:pt x="2217" y="435"/>
                </a:lnTo>
                <a:lnTo>
                  <a:pt x="2221" y="427"/>
                </a:lnTo>
                <a:lnTo>
                  <a:pt x="2224" y="423"/>
                </a:lnTo>
                <a:close/>
                <a:moveTo>
                  <a:pt x="1872" y="574"/>
                </a:moveTo>
                <a:lnTo>
                  <a:pt x="1877" y="569"/>
                </a:lnTo>
                <a:lnTo>
                  <a:pt x="1874" y="568"/>
                </a:lnTo>
                <a:lnTo>
                  <a:pt x="1868" y="575"/>
                </a:lnTo>
                <a:lnTo>
                  <a:pt x="1872" y="574"/>
                </a:lnTo>
                <a:close/>
                <a:moveTo>
                  <a:pt x="2350" y="172"/>
                </a:moveTo>
                <a:lnTo>
                  <a:pt x="2352" y="170"/>
                </a:lnTo>
                <a:lnTo>
                  <a:pt x="2350" y="167"/>
                </a:lnTo>
                <a:lnTo>
                  <a:pt x="2350" y="172"/>
                </a:lnTo>
                <a:close/>
                <a:moveTo>
                  <a:pt x="1871" y="568"/>
                </a:moveTo>
                <a:lnTo>
                  <a:pt x="1868" y="570"/>
                </a:lnTo>
                <a:lnTo>
                  <a:pt x="1871" y="570"/>
                </a:lnTo>
                <a:lnTo>
                  <a:pt x="1872" y="568"/>
                </a:lnTo>
                <a:lnTo>
                  <a:pt x="1871" y="568"/>
                </a:lnTo>
                <a:close/>
                <a:moveTo>
                  <a:pt x="1866" y="559"/>
                </a:moveTo>
                <a:lnTo>
                  <a:pt x="1866" y="559"/>
                </a:lnTo>
                <a:lnTo>
                  <a:pt x="1864" y="559"/>
                </a:lnTo>
                <a:lnTo>
                  <a:pt x="1866" y="559"/>
                </a:lnTo>
                <a:close/>
                <a:moveTo>
                  <a:pt x="1835" y="403"/>
                </a:moveTo>
                <a:lnTo>
                  <a:pt x="1838" y="403"/>
                </a:lnTo>
                <a:lnTo>
                  <a:pt x="1840" y="400"/>
                </a:lnTo>
                <a:lnTo>
                  <a:pt x="1837" y="396"/>
                </a:lnTo>
                <a:lnTo>
                  <a:pt x="1830" y="401"/>
                </a:lnTo>
                <a:lnTo>
                  <a:pt x="1835" y="403"/>
                </a:lnTo>
                <a:close/>
                <a:moveTo>
                  <a:pt x="1871" y="467"/>
                </a:moveTo>
                <a:lnTo>
                  <a:pt x="1874" y="467"/>
                </a:lnTo>
                <a:lnTo>
                  <a:pt x="1872" y="464"/>
                </a:lnTo>
                <a:lnTo>
                  <a:pt x="1871" y="467"/>
                </a:lnTo>
                <a:close/>
                <a:moveTo>
                  <a:pt x="1866" y="574"/>
                </a:moveTo>
                <a:lnTo>
                  <a:pt x="1868" y="571"/>
                </a:lnTo>
                <a:lnTo>
                  <a:pt x="1867" y="571"/>
                </a:lnTo>
                <a:lnTo>
                  <a:pt x="1866" y="574"/>
                </a:lnTo>
                <a:close/>
                <a:moveTo>
                  <a:pt x="1869" y="444"/>
                </a:moveTo>
                <a:lnTo>
                  <a:pt x="1871" y="441"/>
                </a:lnTo>
                <a:lnTo>
                  <a:pt x="1871" y="438"/>
                </a:lnTo>
                <a:lnTo>
                  <a:pt x="1878" y="434"/>
                </a:lnTo>
                <a:lnTo>
                  <a:pt x="1873" y="433"/>
                </a:lnTo>
                <a:lnTo>
                  <a:pt x="1868" y="435"/>
                </a:lnTo>
                <a:lnTo>
                  <a:pt x="1874" y="435"/>
                </a:lnTo>
                <a:lnTo>
                  <a:pt x="1867" y="439"/>
                </a:lnTo>
                <a:lnTo>
                  <a:pt x="1869" y="444"/>
                </a:lnTo>
                <a:close/>
                <a:moveTo>
                  <a:pt x="2361" y="289"/>
                </a:moveTo>
                <a:lnTo>
                  <a:pt x="2362" y="285"/>
                </a:lnTo>
                <a:lnTo>
                  <a:pt x="2358" y="287"/>
                </a:lnTo>
                <a:lnTo>
                  <a:pt x="2349" y="281"/>
                </a:lnTo>
                <a:lnTo>
                  <a:pt x="2355" y="280"/>
                </a:lnTo>
                <a:lnTo>
                  <a:pt x="2354" y="277"/>
                </a:lnTo>
                <a:lnTo>
                  <a:pt x="2351" y="275"/>
                </a:lnTo>
                <a:lnTo>
                  <a:pt x="2350" y="280"/>
                </a:lnTo>
                <a:lnTo>
                  <a:pt x="2344" y="277"/>
                </a:lnTo>
                <a:lnTo>
                  <a:pt x="2341" y="280"/>
                </a:lnTo>
                <a:lnTo>
                  <a:pt x="2340" y="290"/>
                </a:lnTo>
                <a:lnTo>
                  <a:pt x="2355" y="290"/>
                </a:lnTo>
                <a:lnTo>
                  <a:pt x="2357" y="290"/>
                </a:lnTo>
                <a:lnTo>
                  <a:pt x="2357" y="290"/>
                </a:lnTo>
                <a:lnTo>
                  <a:pt x="2361" y="289"/>
                </a:lnTo>
                <a:close/>
                <a:moveTo>
                  <a:pt x="2306" y="200"/>
                </a:moveTo>
                <a:lnTo>
                  <a:pt x="2308" y="195"/>
                </a:lnTo>
                <a:lnTo>
                  <a:pt x="2303" y="199"/>
                </a:lnTo>
                <a:lnTo>
                  <a:pt x="2306" y="200"/>
                </a:lnTo>
                <a:close/>
                <a:moveTo>
                  <a:pt x="2330" y="233"/>
                </a:moveTo>
                <a:lnTo>
                  <a:pt x="2329" y="233"/>
                </a:lnTo>
                <a:lnTo>
                  <a:pt x="2328" y="234"/>
                </a:lnTo>
                <a:lnTo>
                  <a:pt x="2330" y="233"/>
                </a:lnTo>
                <a:close/>
                <a:moveTo>
                  <a:pt x="2325" y="208"/>
                </a:moveTo>
                <a:lnTo>
                  <a:pt x="2322" y="207"/>
                </a:lnTo>
                <a:lnTo>
                  <a:pt x="2317" y="208"/>
                </a:lnTo>
                <a:lnTo>
                  <a:pt x="2325" y="208"/>
                </a:lnTo>
                <a:close/>
                <a:moveTo>
                  <a:pt x="2317" y="198"/>
                </a:moveTo>
                <a:lnTo>
                  <a:pt x="2325" y="199"/>
                </a:lnTo>
                <a:lnTo>
                  <a:pt x="2325" y="198"/>
                </a:lnTo>
                <a:lnTo>
                  <a:pt x="2325" y="198"/>
                </a:lnTo>
                <a:lnTo>
                  <a:pt x="2317" y="198"/>
                </a:lnTo>
                <a:close/>
                <a:moveTo>
                  <a:pt x="2322" y="247"/>
                </a:moveTo>
                <a:lnTo>
                  <a:pt x="2314" y="247"/>
                </a:lnTo>
                <a:lnTo>
                  <a:pt x="2319" y="251"/>
                </a:lnTo>
                <a:lnTo>
                  <a:pt x="2322" y="247"/>
                </a:lnTo>
                <a:close/>
                <a:moveTo>
                  <a:pt x="2335" y="190"/>
                </a:moveTo>
                <a:lnTo>
                  <a:pt x="2333" y="192"/>
                </a:lnTo>
                <a:lnTo>
                  <a:pt x="2335" y="192"/>
                </a:lnTo>
                <a:lnTo>
                  <a:pt x="2335" y="190"/>
                </a:lnTo>
                <a:close/>
                <a:moveTo>
                  <a:pt x="2358" y="155"/>
                </a:moveTo>
                <a:lnTo>
                  <a:pt x="2352" y="161"/>
                </a:lnTo>
                <a:lnTo>
                  <a:pt x="2351" y="165"/>
                </a:lnTo>
                <a:lnTo>
                  <a:pt x="2359" y="158"/>
                </a:lnTo>
                <a:lnTo>
                  <a:pt x="2358" y="155"/>
                </a:lnTo>
                <a:close/>
                <a:moveTo>
                  <a:pt x="2302" y="239"/>
                </a:moveTo>
                <a:lnTo>
                  <a:pt x="2307" y="241"/>
                </a:lnTo>
                <a:lnTo>
                  <a:pt x="2310" y="239"/>
                </a:lnTo>
                <a:lnTo>
                  <a:pt x="2302" y="239"/>
                </a:lnTo>
                <a:lnTo>
                  <a:pt x="2302" y="239"/>
                </a:lnTo>
                <a:close/>
                <a:moveTo>
                  <a:pt x="2314" y="243"/>
                </a:moveTo>
                <a:lnTo>
                  <a:pt x="2308" y="245"/>
                </a:lnTo>
                <a:lnTo>
                  <a:pt x="2313" y="246"/>
                </a:lnTo>
                <a:lnTo>
                  <a:pt x="2314" y="243"/>
                </a:lnTo>
                <a:close/>
                <a:moveTo>
                  <a:pt x="2333" y="188"/>
                </a:moveTo>
                <a:lnTo>
                  <a:pt x="2335" y="189"/>
                </a:lnTo>
                <a:lnTo>
                  <a:pt x="2340" y="188"/>
                </a:lnTo>
                <a:lnTo>
                  <a:pt x="2333" y="188"/>
                </a:lnTo>
                <a:close/>
                <a:moveTo>
                  <a:pt x="2340" y="190"/>
                </a:moveTo>
                <a:lnTo>
                  <a:pt x="2336" y="192"/>
                </a:lnTo>
                <a:lnTo>
                  <a:pt x="2339" y="193"/>
                </a:lnTo>
                <a:lnTo>
                  <a:pt x="2340" y="190"/>
                </a:lnTo>
                <a:close/>
                <a:moveTo>
                  <a:pt x="2358" y="205"/>
                </a:moveTo>
                <a:lnTo>
                  <a:pt x="2359" y="201"/>
                </a:lnTo>
                <a:lnTo>
                  <a:pt x="2358" y="199"/>
                </a:lnTo>
                <a:lnTo>
                  <a:pt x="2354" y="200"/>
                </a:lnTo>
                <a:lnTo>
                  <a:pt x="2350" y="207"/>
                </a:lnTo>
                <a:lnTo>
                  <a:pt x="2358" y="205"/>
                </a:lnTo>
                <a:close/>
                <a:moveTo>
                  <a:pt x="2328" y="200"/>
                </a:moveTo>
                <a:lnTo>
                  <a:pt x="2335" y="201"/>
                </a:lnTo>
                <a:lnTo>
                  <a:pt x="2327" y="199"/>
                </a:lnTo>
                <a:lnTo>
                  <a:pt x="2328" y="200"/>
                </a:lnTo>
                <a:close/>
                <a:moveTo>
                  <a:pt x="2329" y="188"/>
                </a:moveTo>
                <a:lnTo>
                  <a:pt x="2332" y="185"/>
                </a:lnTo>
                <a:lnTo>
                  <a:pt x="2330" y="184"/>
                </a:lnTo>
                <a:lnTo>
                  <a:pt x="2329" y="184"/>
                </a:lnTo>
                <a:lnTo>
                  <a:pt x="2329" y="188"/>
                </a:lnTo>
                <a:close/>
                <a:moveTo>
                  <a:pt x="2328" y="171"/>
                </a:moveTo>
                <a:lnTo>
                  <a:pt x="2333" y="172"/>
                </a:lnTo>
                <a:lnTo>
                  <a:pt x="2336" y="171"/>
                </a:lnTo>
                <a:lnTo>
                  <a:pt x="2333" y="170"/>
                </a:lnTo>
                <a:lnTo>
                  <a:pt x="2336" y="166"/>
                </a:lnTo>
                <a:lnTo>
                  <a:pt x="2328" y="171"/>
                </a:lnTo>
                <a:close/>
                <a:moveTo>
                  <a:pt x="2333" y="184"/>
                </a:moveTo>
                <a:lnTo>
                  <a:pt x="2333" y="185"/>
                </a:lnTo>
                <a:lnTo>
                  <a:pt x="2339" y="184"/>
                </a:lnTo>
                <a:lnTo>
                  <a:pt x="2335" y="182"/>
                </a:lnTo>
                <a:lnTo>
                  <a:pt x="2333" y="184"/>
                </a:lnTo>
                <a:close/>
                <a:moveTo>
                  <a:pt x="3972" y="1590"/>
                </a:moveTo>
                <a:lnTo>
                  <a:pt x="3976" y="1594"/>
                </a:lnTo>
                <a:lnTo>
                  <a:pt x="3977" y="1591"/>
                </a:lnTo>
                <a:lnTo>
                  <a:pt x="3976" y="1587"/>
                </a:lnTo>
                <a:lnTo>
                  <a:pt x="3972" y="1590"/>
                </a:lnTo>
                <a:close/>
                <a:moveTo>
                  <a:pt x="4012" y="1660"/>
                </a:moveTo>
                <a:lnTo>
                  <a:pt x="4013" y="1660"/>
                </a:lnTo>
                <a:lnTo>
                  <a:pt x="4012" y="1659"/>
                </a:lnTo>
                <a:lnTo>
                  <a:pt x="4012" y="1660"/>
                </a:lnTo>
                <a:close/>
                <a:moveTo>
                  <a:pt x="4026" y="1658"/>
                </a:moveTo>
                <a:lnTo>
                  <a:pt x="4024" y="1658"/>
                </a:lnTo>
                <a:lnTo>
                  <a:pt x="4027" y="1662"/>
                </a:lnTo>
                <a:lnTo>
                  <a:pt x="4026" y="1658"/>
                </a:lnTo>
                <a:close/>
                <a:moveTo>
                  <a:pt x="4032" y="1677"/>
                </a:moveTo>
                <a:lnTo>
                  <a:pt x="4030" y="1672"/>
                </a:lnTo>
                <a:lnTo>
                  <a:pt x="4027" y="1672"/>
                </a:lnTo>
                <a:lnTo>
                  <a:pt x="4024" y="1674"/>
                </a:lnTo>
                <a:lnTo>
                  <a:pt x="4031" y="1681"/>
                </a:lnTo>
                <a:lnTo>
                  <a:pt x="4032" y="1682"/>
                </a:lnTo>
                <a:lnTo>
                  <a:pt x="4032" y="1676"/>
                </a:lnTo>
                <a:lnTo>
                  <a:pt x="4032" y="1677"/>
                </a:lnTo>
                <a:close/>
                <a:moveTo>
                  <a:pt x="4007" y="1652"/>
                </a:moveTo>
                <a:lnTo>
                  <a:pt x="4005" y="1652"/>
                </a:lnTo>
                <a:lnTo>
                  <a:pt x="4005" y="1651"/>
                </a:lnTo>
                <a:lnTo>
                  <a:pt x="4005" y="1651"/>
                </a:lnTo>
                <a:lnTo>
                  <a:pt x="4005" y="1652"/>
                </a:lnTo>
                <a:lnTo>
                  <a:pt x="4005" y="1653"/>
                </a:lnTo>
                <a:lnTo>
                  <a:pt x="4007" y="1654"/>
                </a:lnTo>
                <a:lnTo>
                  <a:pt x="4008" y="1655"/>
                </a:lnTo>
                <a:lnTo>
                  <a:pt x="4011" y="1657"/>
                </a:lnTo>
                <a:lnTo>
                  <a:pt x="4012" y="1659"/>
                </a:lnTo>
                <a:lnTo>
                  <a:pt x="4012" y="1656"/>
                </a:lnTo>
                <a:lnTo>
                  <a:pt x="4007" y="1652"/>
                </a:lnTo>
                <a:close/>
                <a:moveTo>
                  <a:pt x="4032" y="1684"/>
                </a:moveTo>
                <a:lnTo>
                  <a:pt x="4033" y="1685"/>
                </a:lnTo>
                <a:lnTo>
                  <a:pt x="4033" y="1684"/>
                </a:lnTo>
                <a:lnTo>
                  <a:pt x="4032" y="1682"/>
                </a:lnTo>
                <a:lnTo>
                  <a:pt x="4032" y="1684"/>
                </a:lnTo>
                <a:close/>
                <a:moveTo>
                  <a:pt x="4046" y="1697"/>
                </a:moveTo>
                <a:lnTo>
                  <a:pt x="4046" y="1698"/>
                </a:lnTo>
                <a:lnTo>
                  <a:pt x="4046" y="1698"/>
                </a:lnTo>
                <a:lnTo>
                  <a:pt x="4046" y="1697"/>
                </a:lnTo>
                <a:close/>
                <a:moveTo>
                  <a:pt x="4048" y="1691"/>
                </a:moveTo>
                <a:lnTo>
                  <a:pt x="4045" y="1691"/>
                </a:lnTo>
                <a:lnTo>
                  <a:pt x="4048" y="1692"/>
                </a:lnTo>
                <a:lnTo>
                  <a:pt x="4048" y="1691"/>
                </a:lnTo>
                <a:close/>
                <a:moveTo>
                  <a:pt x="4046" y="1702"/>
                </a:moveTo>
                <a:lnTo>
                  <a:pt x="4046" y="1699"/>
                </a:lnTo>
                <a:lnTo>
                  <a:pt x="4046" y="1698"/>
                </a:lnTo>
                <a:lnTo>
                  <a:pt x="4044" y="1694"/>
                </a:lnTo>
                <a:lnTo>
                  <a:pt x="4042" y="1694"/>
                </a:lnTo>
                <a:lnTo>
                  <a:pt x="4044" y="1697"/>
                </a:lnTo>
                <a:lnTo>
                  <a:pt x="4042" y="1702"/>
                </a:lnTo>
                <a:lnTo>
                  <a:pt x="4046" y="1702"/>
                </a:lnTo>
                <a:close/>
                <a:moveTo>
                  <a:pt x="3957" y="1520"/>
                </a:moveTo>
                <a:lnTo>
                  <a:pt x="3957" y="1520"/>
                </a:lnTo>
                <a:lnTo>
                  <a:pt x="3957" y="1524"/>
                </a:lnTo>
                <a:lnTo>
                  <a:pt x="3958" y="1524"/>
                </a:lnTo>
                <a:lnTo>
                  <a:pt x="3957" y="1520"/>
                </a:lnTo>
                <a:close/>
                <a:moveTo>
                  <a:pt x="3967" y="1574"/>
                </a:moveTo>
                <a:lnTo>
                  <a:pt x="3970" y="1577"/>
                </a:lnTo>
                <a:lnTo>
                  <a:pt x="3969" y="1574"/>
                </a:lnTo>
                <a:lnTo>
                  <a:pt x="3967" y="1574"/>
                </a:lnTo>
                <a:close/>
                <a:moveTo>
                  <a:pt x="3960" y="1556"/>
                </a:moveTo>
                <a:lnTo>
                  <a:pt x="3960" y="1555"/>
                </a:lnTo>
                <a:lnTo>
                  <a:pt x="3958" y="1556"/>
                </a:lnTo>
                <a:lnTo>
                  <a:pt x="3960" y="1556"/>
                </a:lnTo>
                <a:close/>
                <a:moveTo>
                  <a:pt x="3964" y="1515"/>
                </a:moveTo>
                <a:lnTo>
                  <a:pt x="3964" y="1514"/>
                </a:lnTo>
                <a:lnTo>
                  <a:pt x="3962" y="1514"/>
                </a:lnTo>
                <a:lnTo>
                  <a:pt x="3964" y="1515"/>
                </a:lnTo>
                <a:close/>
                <a:moveTo>
                  <a:pt x="4053" y="1720"/>
                </a:moveTo>
                <a:lnTo>
                  <a:pt x="4052" y="1719"/>
                </a:lnTo>
                <a:lnTo>
                  <a:pt x="4052" y="1720"/>
                </a:lnTo>
                <a:lnTo>
                  <a:pt x="4053" y="1720"/>
                </a:lnTo>
                <a:close/>
                <a:moveTo>
                  <a:pt x="3973" y="1584"/>
                </a:moveTo>
                <a:lnTo>
                  <a:pt x="3973" y="1584"/>
                </a:lnTo>
                <a:lnTo>
                  <a:pt x="3972" y="1587"/>
                </a:lnTo>
                <a:lnTo>
                  <a:pt x="3973" y="1586"/>
                </a:lnTo>
                <a:lnTo>
                  <a:pt x="3973" y="1584"/>
                </a:lnTo>
                <a:close/>
                <a:moveTo>
                  <a:pt x="1884" y="457"/>
                </a:moveTo>
                <a:lnTo>
                  <a:pt x="1884" y="457"/>
                </a:lnTo>
                <a:lnTo>
                  <a:pt x="1884" y="457"/>
                </a:lnTo>
                <a:lnTo>
                  <a:pt x="1884" y="457"/>
                </a:lnTo>
                <a:close/>
                <a:moveTo>
                  <a:pt x="3970" y="1574"/>
                </a:moveTo>
                <a:lnTo>
                  <a:pt x="3970" y="1572"/>
                </a:lnTo>
                <a:lnTo>
                  <a:pt x="3969" y="1572"/>
                </a:lnTo>
                <a:lnTo>
                  <a:pt x="3970" y="1574"/>
                </a:lnTo>
                <a:close/>
                <a:moveTo>
                  <a:pt x="3975" y="1407"/>
                </a:moveTo>
                <a:lnTo>
                  <a:pt x="3974" y="1407"/>
                </a:lnTo>
                <a:lnTo>
                  <a:pt x="3972" y="1407"/>
                </a:lnTo>
                <a:lnTo>
                  <a:pt x="3975" y="1411"/>
                </a:lnTo>
                <a:lnTo>
                  <a:pt x="3975" y="1407"/>
                </a:lnTo>
                <a:close/>
                <a:moveTo>
                  <a:pt x="3998" y="1605"/>
                </a:moveTo>
                <a:lnTo>
                  <a:pt x="3998" y="1605"/>
                </a:lnTo>
                <a:lnTo>
                  <a:pt x="3998" y="1608"/>
                </a:lnTo>
                <a:lnTo>
                  <a:pt x="4000" y="1608"/>
                </a:lnTo>
                <a:lnTo>
                  <a:pt x="3998" y="1605"/>
                </a:lnTo>
                <a:close/>
                <a:moveTo>
                  <a:pt x="4037" y="1507"/>
                </a:moveTo>
                <a:lnTo>
                  <a:pt x="4037" y="1506"/>
                </a:lnTo>
                <a:lnTo>
                  <a:pt x="4036" y="1506"/>
                </a:lnTo>
                <a:lnTo>
                  <a:pt x="4037" y="1507"/>
                </a:lnTo>
                <a:lnTo>
                  <a:pt x="4037" y="1507"/>
                </a:lnTo>
                <a:close/>
                <a:moveTo>
                  <a:pt x="4141" y="1778"/>
                </a:moveTo>
                <a:lnTo>
                  <a:pt x="4142" y="1780"/>
                </a:lnTo>
                <a:lnTo>
                  <a:pt x="4141" y="1780"/>
                </a:lnTo>
                <a:lnTo>
                  <a:pt x="4137" y="1778"/>
                </a:lnTo>
                <a:lnTo>
                  <a:pt x="4134" y="1776"/>
                </a:lnTo>
                <a:lnTo>
                  <a:pt x="4130" y="1776"/>
                </a:lnTo>
                <a:lnTo>
                  <a:pt x="4134" y="1780"/>
                </a:lnTo>
                <a:lnTo>
                  <a:pt x="4133" y="1780"/>
                </a:lnTo>
                <a:lnTo>
                  <a:pt x="4133" y="1780"/>
                </a:lnTo>
                <a:lnTo>
                  <a:pt x="4122" y="1767"/>
                </a:lnTo>
                <a:lnTo>
                  <a:pt x="4111" y="1759"/>
                </a:lnTo>
                <a:lnTo>
                  <a:pt x="4100" y="1751"/>
                </a:lnTo>
                <a:lnTo>
                  <a:pt x="4098" y="1749"/>
                </a:lnTo>
                <a:lnTo>
                  <a:pt x="4096" y="1747"/>
                </a:lnTo>
                <a:lnTo>
                  <a:pt x="4089" y="1740"/>
                </a:lnTo>
                <a:lnTo>
                  <a:pt x="4084" y="1732"/>
                </a:lnTo>
                <a:lnTo>
                  <a:pt x="4076" y="1728"/>
                </a:lnTo>
                <a:lnTo>
                  <a:pt x="4076" y="1725"/>
                </a:lnTo>
                <a:lnTo>
                  <a:pt x="4076" y="1721"/>
                </a:lnTo>
                <a:lnTo>
                  <a:pt x="4073" y="1716"/>
                </a:lnTo>
                <a:lnTo>
                  <a:pt x="4074" y="1713"/>
                </a:lnTo>
                <a:lnTo>
                  <a:pt x="4071" y="1711"/>
                </a:lnTo>
                <a:lnTo>
                  <a:pt x="4070" y="1705"/>
                </a:lnTo>
                <a:lnTo>
                  <a:pt x="4060" y="1696"/>
                </a:lnTo>
                <a:lnTo>
                  <a:pt x="4060" y="1693"/>
                </a:lnTo>
                <a:lnTo>
                  <a:pt x="4059" y="1692"/>
                </a:lnTo>
                <a:lnTo>
                  <a:pt x="4052" y="1688"/>
                </a:lnTo>
                <a:lnTo>
                  <a:pt x="4052" y="1684"/>
                </a:lnTo>
                <a:lnTo>
                  <a:pt x="4046" y="1672"/>
                </a:lnTo>
                <a:lnTo>
                  <a:pt x="4048" y="1672"/>
                </a:lnTo>
                <a:lnTo>
                  <a:pt x="4048" y="1668"/>
                </a:lnTo>
                <a:lnTo>
                  <a:pt x="4035" y="1660"/>
                </a:lnTo>
                <a:lnTo>
                  <a:pt x="4034" y="1660"/>
                </a:lnTo>
                <a:lnTo>
                  <a:pt x="4033" y="1658"/>
                </a:lnTo>
                <a:lnTo>
                  <a:pt x="4031" y="1651"/>
                </a:lnTo>
                <a:lnTo>
                  <a:pt x="4027" y="1650"/>
                </a:lnTo>
                <a:lnTo>
                  <a:pt x="4022" y="1638"/>
                </a:lnTo>
                <a:lnTo>
                  <a:pt x="4018" y="1637"/>
                </a:lnTo>
                <a:lnTo>
                  <a:pt x="4015" y="1635"/>
                </a:lnTo>
                <a:lnTo>
                  <a:pt x="4008" y="1629"/>
                </a:lnTo>
                <a:lnTo>
                  <a:pt x="4000" y="1623"/>
                </a:lnTo>
                <a:lnTo>
                  <a:pt x="3998" y="1620"/>
                </a:lnTo>
                <a:lnTo>
                  <a:pt x="3996" y="1616"/>
                </a:lnTo>
                <a:lnTo>
                  <a:pt x="3996" y="1611"/>
                </a:lnTo>
                <a:lnTo>
                  <a:pt x="4000" y="1612"/>
                </a:lnTo>
                <a:lnTo>
                  <a:pt x="4002" y="1612"/>
                </a:lnTo>
                <a:lnTo>
                  <a:pt x="4007" y="1613"/>
                </a:lnTo>
                <a:lnTo>
                  <a:pt x="4008" y="1613"/>
                </a:lnTo>
                <a:lnTo>
                  <a:pt x="4008" y="1614"/>
                </a:lnTo>
                <a:lnTo>
                  <a:pt x="4011" y="1615"/>
                </a:lnTo>
                <a:lnTo>
                  <a:pt x="4013" y="1616"/>
                </a:lnTo>
                <a:lnTo>
                  <a:pt x="4023" y="1616"/>
                </a:lnTo>
                <a:lnTo>
                  <a:pt x="4026" y="1617"/>
                </a:lnTo>
                <a:lnTo>
                  <a:pt x="4030" y="1615"/>
                </a:lnTo>
                <a:lnTo>
                  <a:pt x="4035" y="1620"/>
                </a:lnTo>
                <a:lnTo>
                  <a:pt x="4037" y="1625"/>
                </a:lnTo>
                <a:lnTo>
                  <a:pt x="4040" y="1627"/>
                </a:lnTo>
                <a:lnTo>
                  <a:pt x="4040" y="1632"/>
                </a:lnTo>
                <a:lnTo>
                  <a:pt x="4064" y="1650"/>
                </a:lnTo>
                <a:lnTo>
                  <a:pt x="4064" y="1656"/>
                </a:lnTo>
                <a:lnTo>
                  <a:pt x="4067" y="1656"/>
                </a:lnTo>
                <a:lnTo>
                  <a:pt x="4068" y="1656"/>
                </a:lnTo>
                <a:lnTo>
                  <a:pt x="4072" y="1660"/>
                </a:lnTo>
                <a:lnTo>
                  <a:pt x="4078" y="1663"/>
                </a:lnTo>
                <a:lnTo>
                  <a:pt x="4077" y="1660"/>
                </a:lnTo>
                <a:lnTo>
                  <a:pt x="4082" y="1660"/>
                </a:lnTo>
                <a:lnTo>
                  <a:pt x="4084" y="1662"/>
                </a:lnTo>
                <a:lnTo>
                  <a:pt x="4084" y="1662"/>
                </a:lnTo>
                <a:lnTo>
                  <a:pt x="4087" y="1662"/>
                </a:lnTo>
                <a:lnTo>
                  <a:pt x="4089" y="1661"/>
                </a:lnTo>
                <a:lnTo>
                  <a:pt x="4090" y="1663"/>
                </a:lnTo>
                <a:lnTo>
                  <a:pt x="4090" y="1664"/>
                </a:lnTo>
                <a:lnTo>
                  <a:pt x="4090" y="1666"/>
                </a:lnTo>
                <a:lnTo>
                  <a:pt x="4089" y="1668"/>
                </a:lnTo>
                <a:lnTo>
                  <a:pt x="4086" y="1668"/>
                </a:lnTo>
                <a:lnTo>
                  <a:pt x="4090" y="1669"/>
                </a:lnTo>
                <a:lnTo>
                  <a:pt x="4093" y="1671"/>
                </a:lnTo>
                <a:lnTo>
                  <a:pt x="4097" y="1673"/>
                </a:lnTo>
                <a:lnTo>
                  <a:pt x="4099" y="1674"/>
                </a:lnTo>
                <a:lnTo>
                  <a:pt x="4101" y="1675"/>
                </a:lnTo>
                <a:lnTo>
                  <a:pt x="4106" y="1678"/>
                </a:lnTo>
                <a:lnTo>
                  <a:pt x="4110" y="1680"/>
                </a:lnTo>
                <a:lnTo>
                  <a:pt x="4107" y="1678"/>
                </a:lnTo>
                <a:lnTo>
                  <a:pt x="4104" y="1676"/>
                </a:lnTo>
                <a:lnTo>
                  <a:pt x="4104" y="1675"/>
                </a:lnTo>
                <a:lnTo>
                  <a:pt x="4107" y="1677"/>
                </a:lnTo>
                <a:lnTo>
                  <a:pt x="4110" y="1678"/>
                </a:lnTo>
                <a:lnTo>
                  <a:pt x="4112" y="1684"/>
                </a:lnTo>
                <a:lnTo>
                  <a:pt x="4110" y="1684"/>
                </a:lnTo>
                <a:lnTo>
                  <a:pt x="4108" y="1683"/>
                </a:lnTo>
                <a:lnTo>
                  <a:pt x="4108" y="1683"/>
                </a:lnTo>
                <a:lnTo>
                  <a:pt x="4108" y="1683"/>
                </a:lnTo>
                <a:lnTo>
                  <a:pt x="4108" y="1683"/>
                </a:lnTo>
                <a:lnTo>
                  <a:pt x="4108" y="1684"/>
                </a:lnTo>
                <a:lnTo>
                  <a:pt x="4110" y="1687"/>
                </a:lnTo>
                <a:lnTo>
                  <a:pt x="4107" y="1689"/>
                </a:lnTo>
                <a:lnTo>
                  <a:pt x="4103" y="1691"/>
                </a:lnTo>
                <a:lnTo>
                  <a:pt x="4115" y="1685"/>
                </a:lnTo>
                <a:lnTo>
                  <a:pt x="4117" y="1687"/>
                </a:lnTo>
                <a:lnTo>
                  <a:pt x="4120" y="1689"/>
                </a:lnTo>
                <a:lnTo>
                  <a:pt x="4122" y="1696"/>
                </a:lnTo>
                <a:lnTo>
                  <a:pt x="4118" y="1696"/>
                </a:lnTo>
                <a:lnTo>
                  <a:pt x="4115" y="1698"/>
                </a:lnTo>
                <a:lnTo>
                  <a:pt x="4116" y="1696"/>
                </a:lnTo>
                <a:lnTo>
                  <a:pt x="4114" y="1697"/>
                </a:lnTo>
                <a:lnTo>
                  <a:pt x="4113" y="1698"/>
                </a:lnTo>
                <a:lnTo>
                  <a:pt x="4115" y="1699"/>
                </a:lnTo>
                <a:lnTo>
                  <a:pt x="4113" y="1700"/>
                </a:lnTo>
                <a:lnTo>
                  <a:pt x="4115" y="1700"/>
                </a:lnTo>
                <a:lnTo>
                  <a:pt x="4115" y="1699"/>
                </a:lnTo>
                <a:lnTo>
                  <a:pt x="4115" y="1699"/>
                </a:lnTo>
                <a:lnTo>
                  <a:pt x="4118" y="1699"/>
                </a:lnTo>
                <a:lnTo>
                  <a:pt x="4116" y="1701"/>
                </a:lnTo>
                <a:lnTo>
                  <a:pt x="4115" y="1703"/>
                </a:lnTo>
                <a:lnTo>
                  <a:pt x="4117" y="1705"/>
                </a:lnTo>
                <a:lnTo>
                  <a:pt x="4120" y="1708"/>
                </a:lnTo>
                <a:lnTo>
                  <a:pt x="4129" y="1708"/>
                </a:lnTo>
                <a:lnTo>
                  <a:pt x="4129" y="1714"/>
                </a:lnTo>
                <a:lnTo>
                  <a:pt x="4128" y="1719"/>
                </a:lnTo>
                <a:lnTo>
                  <a:pt x="4128" y="1724"/>
                </a:lnTo>
                <a:lnTo>
                  <a:pt x="4132" y="1724"/>
                </a:lnTo>
                <a:lnTo>
                  <a:pt x="4132" y="1725"/>
                </a:lnTo>
                <a:lnTo>
                  <a:pt x="4132" y="1726"/>
                </a:lnTo>
                <a:lnTo>
                  <a:pt x="4132" y="1728"/>
                </a:lnTo>
                <a:lnTo>
                  <a:pt x="4132" y="1731"/>
                </a:lnTo>
                <a:lnTo>
                  <a:pt x="4134" y="1728"/>
                </a:lnTo>
                <a:lnTo>
                  <a:pt x="4136" y="1726"/>
                </a:lnTo>
                <a:lnTo>
                  <a:pt x="4136" y="1726"/>
                </a:lnTo>
                <a:lnTo>
                  <a:pt x="4136" y="1725"/>
                </a:lnTo>
                <a:lnTo>
                  <a:pt x="4137" y="1727"/>
                </a:lnTo>
                <a:lnTo>
                  <a:pt x="4138" y="1728"/>
                </a:lnTo>
                <a:lnTo>
                  <a:pt x="4144" y="1728"/>
                </a:lnTo>
                <a:lnTo>
                  <a:pt x="4144" y="1731"/>
                </a:lnTo>
                <a:lnTo>
                  <a:pt x="4146" y="1732"/>
                </a:lnTo>
                <a:lnTo>
                  <a:pt x="4148" y="1732"/>
                </a:lnTo>
                <a:lnTo>
                  <a:pt x="4148" y="1729"/>
                </a:lnTo>
                <a:lnTo>
                  <a:pt x="4148" y="1728"/>
                </a:lnTo>
                <a:lnTo>
                  <a:pt x="4149" y="1726"/>
                </a:lnTo>
                <a:lnTo>
                  <a:pt x="4148" y="1725"/>
                </a:lnTo>
                <a:lnTo>
                  <a:pt x="4140" y="1722"/>
                </a:lnTo>
                <a:lnTo>
                  <a:pt x="4140" y="1721"/>
                </a:lnTo>
                <a:lnTo>
                  <a:pt x="4140" y="1720"/>
                </a:lnTo>
                <a:lnTo>
                  <a:pt x="4140" y="1720"/>
                </a:lnTo>
                <a:lnTo>
                  <a:pt x="4146" y="1720"/>
                </a:lnTo>
                <a:lnTo>
                  <a:pt x="4148" y="1719"/>
                </a:lnTo>
                <a:lnTo>
                  <a:pt x="4149" y="1718"/>
                </a:lnTo>
                <a:lnTo>
                  <a:pt x="4149" y="1719"/>
                </a:lnTo>
                <a:lnTo>
                  <a:pt x="4149" y="1718"/>
                </a:lnTo>
                <a:lnTo>
                  <a:pt x="4148" y="1716"/>
                </a:lnTo>
                <a:lnTo>
                  <a:pt x="4150" y="1715"/>
                </a:lnTo>
                <a:lnTo>
                  <a:pt x="4151" y="1714"/>
                </a:lnTo>
                <a:lnTo>
                  <a:pt x="4153" y="1716"/>
                </a:lnTo>
                <a:lnTo>
                  <a:pt x="4154" y="1722"/>
                </a:lnTo>
                <a:lnTo>
                  <a:pt x="4156" y="1728"/>
                </a:lnTo>
                <a:lnTo>
                  <a:pt x="4163" y="1731"/>
                </a:lnTo>
                <a:lnTo>
                  <a:pt x="4162" y="1734"/>
                </a:lnTo>
                <a:lnTo>
                  <a:pt x="4161" y="1737"/>
                </a:lnTo>
                <a:lnTo>
                  <a:pt x="4162" y="1738"/>
                </a:lnTo>
                <a:lnTo>
                  <a:pt x="4163" y="1739"/>
                </a:lnTo>
                <a:lnTo>
                  <a:pt x="4163" y="1740"/>
                </a:lnTo>
                <a:lnTo>
                  <a:pt x="4162" y="1740"/>
                </a:lnTo>
                <a:lnTo>
                  <a:pt x="4156" y="1740"/>
                </a:lnTo>
                <a:lnTo>
                  <a:pt x="4156" y="1737"/>
                </a:lnTo>
                <a:lnTo>
                  <a:pt x="4148" y="1733"/>
                </a:lnTo>
                <a:lnTo>
                  <a:pt x="4148" y="1736"/>
                </a:lnTo>
                <a:lnTo>
                  <a:pt x="4152" y="1737"/>
                </a:lnTo>
                <a:lnTo>
                  <a:pt x="4152" y="1740"/>
                </a:lnTo>
                <a:lnTo>
                  <a:pt x="4151" y="1744"/>
                </a:lnTo>
                <a:lnTo>
                  <a:pt x="4149" y="1747"/>
                </a:lnTo>
                <a:lnTo>
                  <a:pt x="4151" y="1751"/>
                </a:lnTo>
                <a:lnTo>
                  <a:pt x="4149" y="1755"/>
                </a:lnTo>
                <a:lnTo>
                  <a:pt x="4151" y="1760"/>
                </a:lnTo>
                <a:lnTo>
                  <a:pt x="4149" y="1775"/>
                </a:lnTo>
                <a:lnTo>
                  <a:pt x="4149" y="1777"/>
                </a:lnTo>
                <a:lnTo>
                  <a:pt x="4148" y="1779"/>
                </a:lnTo>
                <a:lnTo>
                  <a:pt x="4148" y="1779"/>
                </a:lnTo>
                <a:lnTo>
                  <a:pt x="4148" y="1779"/>
                </a:lnTo>
                <a:lnTo>
                  <a:pt x="4145" y="1776"/>
                </a:lnTo>
                <a:lnTo>
                  <a:pt x="4141" y="1773"/>
                </a:lnTo>
                <a:lnTo>
                  <a:pt x="4141" y="1775"/>
                </a:lnTo>
                <a:lnTo>
                  <a:pt x="4141" y="1776"/>
                </a:lnTo>
                <a:lnTo>
                  <a:pt x="4141" y="1778"/>
                </a:lnTo>
                <a:close/>
                <a:moveTo>
                  <a:pt x="4102" y="1679"/>
                </a:moveTo>
                <a:lnTo>
                  <a:pt x="4101" y="1679"/>
                </a:lnTo>
                <a:lnTo>
                  <a:pt x="4097" y="1676"/>
                </a:lnTo>
                <a:lnTo>
                  <a:pt x="4101" y="1680"/>
                </a:lnTo>
                <a:lnTo>
                  <a:pt x="4101" y="1680"/>
                </a:lnTo>
                <a:lnTo>
                  <a:pt x="4102" y="1679"/>
                </a:lnTo>
                <a:close/>
                <a:moveTo>
                  <a:pt x="3954" y="1532"/>
                </a:moveTo>
                <a:lnTo>
                  <a:pt x="3954" y="1535"/>
                </a:lnTo>
                <a:lnTo>
                  <a:pt x="3955" y="1536"/>
                </a:lnTo>
                <a:lnTo>
                  <a:pt x="3955" y="1536"/>
                </a:lnTo>
                <a:lnTo>
                  <a:pt x="3955" y="1536"/>
                </a:lnTo>
                <a:lnTo>
                  <a:pt x="3955" y="1532"/>
                </a:lnTo>
                <a:lnTo>
                  <a:pt x="3955" y="1531"/>
                </a:lnTo>
                <a:lnTo>
                  <a:pt x="3955" y="1531"/>
                </a:lnTo>
                <a:lnTo>
                  <a:pt x="3955" y="1531"/>
                </a:lnTo>
                <a:lnTo>
                  <a:pt x="3954" y="1532"/>
                </a:lnTo>
                <a:close/>
                <a:moveTo>
                  <a:pt x="4115" y="1699"/>
                </a:moveTo>
                <a:lnTo>
                  <a:pt x="4115" y="1699"/>
                </a:lnTo>
                <a:lnTo>
                  <a:pt x="4115" y="1698"/>
                </a:lnTo>
                <a:lnTo>
                  <a:pt x="4115" y="1698"/>
                </a:lnTo>
                <a:lnTo>
                  <a:pt x="4115" y="1698"/>
                </a:lnTo>
                <a:lnTo>
                  <a:pt x="4115" y="1699"/>
                </a:lnTo>
                <a:close/>
                <a:moveTo>
                  <a:pt x="4132" y="1722"/>
                </a:moveTo>
                <a:lnTo>
                  <a:pt x="4132" y="1724"/>
                </a:lnTo>
                <a:lnTo>
                  <a:pt x="4133" y="1724"/>
                </a:lnTo>
                <a:lnTo>
                  <a:pt x="4132" y="1722"/>
                </a:lnTo>
                <a:close/>
                <a:moveTo>
                  <a:pt x="4034" y="1506"/>
                </a:moveTo>
                <a:lnTo>
                  <a:pt x="4036" y="1506"/>
                </a:lnTo>
                <a:lnTo>
                  <a:pt x="4037" y="1505"/>
                </a:lnTo>
                <a:lnTo>
                  <a:pt x="4034" y="1506"/>
                </a:lnTo>
                <a:close/>
                <a:moveTo>
                  <a:pt x="4040" y="1572"/>
                </a:moveTo>
                <a:lnTo>
                  <a:pt x="4039" y="1572"/>
                </a:lnTo>
                <a:lnTo>
                  <a:pt x="4040" y="1578"/>
                </a:lnTo>
                <a:lnTo>
                  <a:pt x="4043" y="1577"/>
                </a:lnTo>
                <a:lnTo>
                  <a:pt x="4040" y="1572"/>
                </a:lnTo>
                <a:close/>
                <a:moveTo>
                  <a:pt x="4039" y="1530"/>
                </a:moveTo>
                <a:lnTo>
                  <a:pt x="4037" y="1525"/>
                </a:lnTo>
                <a:lnTo>
                  <a:pt x="4037" y="1525"/>
                </a:lnTo>
                <a:lnTo>
                  <a:pt x="4037" y="1528"/>
                </a:lnTo>
                <a:lnTo>
                  <a:pt x="4039" y="1530"/>
                </a:lnTo>
                <a:close/>
                <a:moveTo>
                  <a:pt x="4060" y="1722"/>
                </a:moveTo>
                <a:lnTo>
                  <a:pt x="4060" y="1726"/>
                </a:lnTo>
                <a:lnTo>
                  <a:pt x="4064" y="1728"/>
                </a:lnTo>
                <a:lnTo>
                  <a:pt x="4061" y="1722"/>
                </a:lnTo>
                <a:lnTo>
                  <a:pt x="4060" y="1722"/>
                </a:lnTo>
                <a:close/>
                <a:moveTo>
                  <a:pt x="4066" y="1733"/>
                </a:moveTo>
                <a:lnTo>
                  <a:pt x="4068" y="1733"/>
                </a:lnTo>
                <a:lnTo>
                  <a:pt x="4066" y="1729"/>
                </a:lnTo>
                <a:lnTo>
                  <a:pt x="4066" y="1733"/>
                </a:lnTo>
                <a:close/>
                <a:moveTo>
                  <a:pt x="4112" y="1685"/>
                </a:moveTo>
                <a:lnTo>
                  <a:pt x="4113" y="1684"/>
                </a:lnTo>
                <a:lnTo>
                  <a:pt x="4113" y="1684"/>
                </a:lnTo>
                <a:lnTo>
                  <a:pt x="4113" y="1683"/>
                </a:lnTo>
                <a:lnTo>
                  <a:pt x="4112" y="1682"/>
                </a:lnTo>
                <a:lnTo>
                  <a:pt x="4112" y="1682"/>
                </a:lnTo>
                <a:lnTo>
                  <a:pt x="4112" y="1684"/>
                </a:lnTo>
                <a:lnTo>
                  <a:pt x="4112" y="1685"/>
                </a:lnTo>
                <a:lnTo>
                  <a:pt x="4112" y="1685"/>
                </a:lnTo>
                <a:close/>
                <a:moveTo>
                  <a:pt x="4054" y="1718"/>
                </a:moveTo>
                <a:lnTo>
                  <a:pt x="4049" y="1708"/>
                </a:lnTo>
                <a:lnTo>
                  <a:pt x="4046" y="1708"/>
                </a:lnTo>
                <a:lnTo>
                  <a:pt x="4045" y="1711"/>
                </a:lnTo>
                <a:lnTo>
                  <a:pt x="4048" y="1717"/>
                </a:lnTo>
                <a:lnTo>
                  <a:pt x="4052" y="1719"/>
                </a:lnTo>
                <a:lnTo>
                  <a:pt x="4052" y="1716"/>
                </a:lnTo>
                <a:lnTo>
                  <a:pt x="4054" y="1718"/>
                </a:lnTo>
                <a:close/>
                <a:moveTo>
                  <a:pt x="4068" y="1737"/>
                </a:moveTo>
                <a:lnTo>
                  <a:pt x="4072" y="1741"/>
                </a:lnTo>
                <a:lnTo>
                  <a:pt x="4072" y="1739"/>
                </a:lnTo>
                <a:lnTo>
                  <a:pt x="4072" y="1737"/>
                </a:lnTo>
                <a:lnTo>
                  <a:pt x="4068" y="1733"/>
                </a:lnTo>
                <a:lnTo>
                  <a:pt x="4068" y="1737"/>
                </a:lnTo>
                <a:close/>
                <a:moveTo>
                  <a:pt x="4132" y="1780"/>
                </a:moveTo>
                <a:lnTo>
                  <a:pt x="4133" y="1780"/>
                </a:lnTo>
                <a:lnTo>
                  <a:pt x="4132" y="1780"/>
                </a:lnTo>
                <a:lnTo>
                  <a:pt x="4132" y="1780"/>
                </a:lnTo>
                <a:close/>
                <a:moveTo>
                  <a:pt x="4133" y="1780"/>
                </a:moveTo>
                <a:lnTo>
                  <a:pt x="4133" y="1780"/>
                </a:lnTo>
                <a:lnTo>
                  <a:pt x="4133" y="1780"/>
                </a:lnTo>
                <a:lnTo>
                  <a:pt x="4133" y="1780"/>
                </a:lnTo>
                <a:close/>
                <a:moveTo>
                  <a:pt x="4096" y="1771"/>
                </a:moveTo>
                <a:lnTo>
                  <a:pt x="4098" y="1773"/>
                </a:lnTo>
                <a:lnTo>
                  <a:pt x="4101" y="1774"/>
                </a:lnTo>
                <a:lnTo>
                  <a:pt x="4101" y="1774"/>
                </a:lnTo>
                <a:lnTo>
                  <a:pt x="4101" y="1773"/>
                </a:lnTo>
                <a:lnTo>
                  <a:pt x="4097" y="1771"/>
                </a:lnTo>
                <a:lnTo>
                  <a:pt x="4096" y="1771"/>
                </a:lnTo>
                <a:close/>
                <a:moveTo>
                  <a:pt x="3802" y="1579"/>
                </a:moveTo>
                <a:lnTo>
                  <a:pt x="3803" y="1579"/>
                </a:lnTo>
                <a:lnTo>
                  <a:pt x="3802" y="1578"/>
                </a:lnTo>
                <a:lnTo>
                  <a:pt x="3802" y="1579"/>
                </a:lnTo>
                <a:lnTo>
                  <a:pt x="3802" y="1579"/>
                </a:lnTo>
                <a:close/>
                <a:moveTo>
                  <a:pt x="3398" y="1503"/>
                </a:moveTo>
                <a:lnTo>
                  <a:pt x="3393" y="1503"/>
                </a:lnTo>
                <a:lnTo>
                  <a:pt x="3389" y="1501"/>
                </a:lnTo>
                <a:lnTo>
                  <a:pt x="3387" y="1503"/>
                </a:lnTo>
                <a:lnTo>
                  <a:pt x="3392" y="1507"/>
                </a:lnTo>
                <a:lnTo>
                  <a:pt x="3398" y="1507"/>
                </a:lnTo>
                <a:lnTo>
                  <a:pt x="3403" y="1504"/>
                </a:lnTo>
                <a:lnTo>
                  <a:pt x="3399" y="1503"/>
                </a:lnTo>
                <a:lnTo>
                  <a:pt x="3398" y="1503"/>
                </a:lnTo>
                <a:close/>
                <a:moveTo>
                  <a:pt x="3634" y="2500"/>
                </a:moveTo>
                <a:lnTo>
                  <a:pt x="3634" y="2500"/>
                </a:lnTo>
                <a:lnTo>
                  <a:pt x="3634" y="2500"/>
                </a:lnTo>
                <a:lnTo>
                  <a:pt x="3634" y="2500"/>
                </a:lnTo>
                <a:close/>
                <a:moveTo>
                  <a:pt x="3421" y="2013"/>
                </a:moveTo>
                <a:lnTo>
                  <a:pt x="3417" y="2013"/>
                </a:lnTo>
                <a:lnTo>
                  <a:pt x="3415" y="2014"/>
                </a:lnTo>
                <a:lnTo>
                  <a:pt x="3415" y="2015"/>
                </a:lnTo>
                <a:lnTo>
                  <a:pt x="3421" y="2015"/>
                </a:lnTo>
                <a:lnTo>
                  <a:pt x="3422" y="2014"/>
                </a:lnTo>
                <a:lnTo>
                  <a:pt x="3425" y="2013"/>
                </a:lnTo>
                <a:lnTo>
                  <a:pt x="3421" y="2010"/>
                </a:lnTo>
                <a:lnTo>
                  <a:pt x="3421" y="2013"/>
                </a:lnTo>
                <a:close/>
                <a:moveTo>
                  <a:pt x="3365" y="2441"/>
                </a:moveTo>
                <a:lnTo>
                  <a:pt x="3366" y="2442"/>
                </a:lnTo>
                <a:lnTo>
                  <a:pt x="3366" y="2442"/>
                </a:lnTo>
                <a:lnTo>
                  <a:pt x="3366" y="2440"/>
                </a:lnTo>
                <a:lnTo>
                  <a:pt x="3364" y="2440"/>
                </a:lnTo>
                <a:lnTo>
                  <a:pt x="3365" y="2441"/>
                </a:lnTo>
                <a:close/>
                <a:moveTo>
                  <a:pt x="3464" y="1389"/>
                </a:moveTo>
                <a:lnTo>
                  <a:pt x="3470" y="1383"/>
                </a:lnTo>
                <a:lnTo>
                  <a:pt x="3470" y="1381"/>
                </a:lnTo>
                <a:lnTo>
                  <a:pt x="3470" y="1381"/>
                </a:lnTo>
                <a:lnTo>
                  <a:pt x="3464" y="1386"/>
                </a:lnTo>
                <a:lnTo>
                  <a:pt x="3464" y="1389"/>
                </a:lnTo>
                <a:close/>
                <a:moveTo>
                  <a:pt x="3315" y="1893"/>
                </a:moveTo>
                <a:lnTo>
                  <a:pt x="3315" y="1893"/>
                </a:lnTo>
                <a:lnTo>
                  <a:pt x="3315" y="1890"/>
                </a:lnTo>
                <a:lnTo>
                  <a:pt x="3315" y="1893"/>
                </a:lnTo>
                <a:close/>
                <a:moveTo>
                  <a:pt x="3445" y="1997"/>
                </a:moveTo>
                <a:lnTo>
                  <a:pt x="3442" y="2002"/>
                </a:lnTo>
                <a:lnTo>
                  <a:pt x="3447" y="2004"/>
                </a:lnTo>
                <a:lnTo>
                  <a:pt x="3449" y="2002"/>
                </a:lnTo>
                <a:lnTo>
                  <a:pt x="3452" y="2000"/>
                </a:lnTo>
                <a:lnTo>
                  <a:pt x="3449" y="1993"/>
                </a:lnTo>
                <a:lnTo>
                  <a:pt x="3445" y="1997"/>
                </a:lnTo>
                <a:close/>
                <a:moveTo>
                  <a:pt x="3418" y="1760"/>
                </a:moveTo>
                <a:lnTo>
                  <a:pt x="3416" y="1762"/>
                </a:lnTo>
                <a:lnTo>
                  <a:pt x="3419" y="1763"/>
                </a:lnTo>
                <a:lnTo>
                  <a:pt x="3418" y="1760"/>
                </a:lnTo>
                <a:close/>
                <a:moveTo>
                  <a:pt x="3373" y="1509"/>
                </a:moveTo>
                <a:lnTo>
                  <a:pt x="3373" y="1508"/>
                </a:lnTo>
                <a:lnTo>
                  <a:pt x="3368" y="1508"/>
                </a:lnTo>
                <a:lnTo>
                  <a:pt x="3373" y="1509"/>
                </a:lnTo>
                <a:close/>
                <a:moveTo>
                  <a:pt x="3286" y="1831"/>
                </a:moveTo>
                <a:lnTo>
                  <a:pt x="3281" y="1831"/>
                </a:lnTo>
                <a:lnTo>
                  <a:pt x="3282" y="1832"/>
                </a:lnTo>
                <a:lnTo>
                  <a:pt x="3286" y="1831"/>
                </a:lnTo>
                <a:close/>
                <a:moveTo>
                  <a:pt x="3312" y="1893"/>
                </a:moveTo>
                <a:lnTo>
                  <a:pt x="3312" y="1893"/>
                </a:lnTo>
                <a:lnTo>
                  <a:pt x="3312" y="1893"/>
                </a:lnTo>
                <a:lnTo>
                  <a:pt x="3313" y="1893"/>
                </a:lnTo>
                <a:lnTo>
                  <a:pt x="3312" y="1893"/>
                </a:lnTo>
                <a:close/>
                <a:moveTo>
                  <a:pt x="3208" y="1728"/>
                </a:moveTo>
                <a:lnTo>
                  <a:pt x="3209" y="1727"/>
                </a:lnTo>
                <a:lnTo>
                  <a:pt x="3208" y="1727"/>
                </a:lnTo>
                <a:lnTo>
                  <a:pt x="3208" y="1728"/>
                </a:lnTo>
                <a:close/>
                <a:moveTo>
                  <a:pt x="3341" y="1900"/>
                </a:moveTo>
                <a:lnTo>
                  <a:pt x="3338" y="1889"/>
                </a:lnTo>
                <a:lnTo>
                  <a:pt x="3334" y="1882"/>
                </a:lnTo>
                <a:lnTo>
                  <a:pt x="3333" y="1878"/>
                </a:lnTo>
                <a:lnTo>
                  <a:pt x="3330" y="1877"/>
                </a:lnTo>
                <a:lnTo>
                  <a:pt x="3331" y="1877"/>
                </a:lnTo>
                <a:lnTo>
                  <a:pt x="3329" y="1871"/>
                </a:lnTo>
                <a:lnTo>
                  <a:pt x="3329" y="1871"/>
                </a:lnTo>
                <a:lnTo>
                  <a:pt x="3329" y="1871"/>
                </a:lnTo>
                <a:lnTo>
                  <a:pt x="3327" y="1873"/>
                </a:lnTo>
                <a:lnTo>
                  <a:pt x="3325" y="1874"/>
                </a:lnTo>
                <a:lnTo>
                  <a:pt x="3325" y="1875"/>
                </a:lnTo>
                <a:lnTo>
                  <a:pt x="3323" y="1876"/>
                </a:lnTo>
                <a:lnTo>
                  <a:pt x="3321" y="1877"/>
                </a:lnTo>
                <a:lnTo>
                  <a:pt x="3321" y="1880"/>
                </a:lnTo>
                <a:lnTo>
                  <a:pt x="3322" y="1879"/>
                </a:lnTo>
                <a:lnTo>
                  <a:pt x="3322" y="1877"/>
                </a:lnTo>
                <a:lnTo>
                  <a:pt x="3322" y="1877"/>
                </a:lnTo>
                <a:lnTo>
                  <a:pt x="3322" y="1877"/>
                </a:lnTo>
                <a:lnTo>
                  <a:pt x="3323" y="1881"/>
                </a:lnTo>
                <a:lnTo>
                  <a:pt x="3324" y="1884"/>
                </a:lnTo>
                <a:lnTo>
                  <a:pt x="3325" y="1886"/>
                </a:lnTo>
                <a:lnTo>
                  <a:pt x="3324" y="1889"/>
                </a:lnTo>
                <a:lnTo>
                  <a:pt x="3322" y="1893"/>
                </a:lnTo>
                <a:lnTo>
                  <a:pt x="3313" y="1897"/>
                </a:lnTo>
                <a:lnTo>
                  <a:pt x="3313" y="1900"/>
                </a:lnTo>
                <a:lnTo>
                  <a:pt x="3312" y="1893"/>
                </a:lnTo>
                <a:lnTo>
                  <a:pt x="3311" y="1897"/>
                </a:lnTo>
                <a:lnTo>
                  <a:pt x="3309" y="1900"/>
                </a:lnTo>
                <a:lnTo>
                  <a:pt x="3313" y="1902"/>
                </a:lnTo>
                <a:lnTo>
                  <a:pt x="3311" y="1903"/>
                </a:lnTo>
                <a:lnTo>
                  <a:pt x="3313" y="1905"/>
                </a:lnTo>
                <a:lnTo>
                  <a:pt x="3309" y="1905"/>
                </a:lnTo>
                <a:lnTo>
                  <a:pt x="3311" y="1909"/>
                </a:lnTo>
                <a:lnTo>
                  <a:pt x="3305" y="1909"/>
                </a:lnTo>
                <a:lnTo>
                  <a:pt x="3305" y="1910"/>
                </a:lnTo>
                <a:lnTo>
                  <a:pt x="3305" y="1913"/>
                </a:lnTo>
                <a:lnTo>
                  <a:pt x="3307" y="1913"/>
                </a:lnTo>
                <a:lnTo>
                  <a:pt x="3303" y="1920"/>
                </a:lnTo>
                <a:lnTo>
                  <a:pt x="3304" y="1914"/>
                </a:lnTo>
                <a:lnTo>
                  <a:pt x="3303" y="1913"/>
                </a:lnTo>
                <a:lnTo>
                  <a:pt x="3297" y="1921"/>
                </a:lnTo>
                <a:lnTo>
                  <a:pt x="3300" y="1925"/>
                </a:lnTo>
                <a:lnTo>
                  <a:pt x="3296" y="1926"/>
                </a:lnTo>
                <a:lnTo>
                  <a:pt x="3298" y="1923"/>
                </a:lnTo>
                <a:lnTo>
                  <a:pt x="3297" y="1921"/>
                </a:lnTo>
                <a:lnTo>
                  <a:pt x="3297" y="1921"/>
                </a:lnTo>
                <a:lnTo>
                  <a:pt x="3296" y="1921"/>
                </a:lnTo>
                <a:lnTo>
                  <a:pt x="3285" y="1928"/>
                </a:lnTo>
                <a:lnTo>
                  <a:pt x="3285" y="1930"/>
                </a:lnTo>
                <a:lnTo>
                  <a:pt x="3290" y="1933"/>
                </a:lnTo>
                <a:lnTo>
                  <a:pt x="3287" y="1933"/>
                </a:lnTo>
                <a:lnTo>
                  <a:pt x="3286" y="1933"/>
                </a:lnTo>
                <a:lnTo>
                  <a:pt x="3281" y="1933"/>
                </a:lnTo>
                <a:lnTo>
                  <a:pt x="3281" y="1932"/>
                </a:lnTo>
                <a:lnTo>
                  <a:pt x="3281" y="1931"/>
                </a:lnTo>
                <a:lnTo>
                  <a:pt x="3281" y="1933"/>
                </a:lnTo>
                <a:lnTo>
                  <a:pt x="3279" y="1933"/>
                </a:lnTo>
                <a:lnTo>
                  <a:pt x="3278" y="1937"/>
                </a:lnTo>
                <a:lnTo>
                  <a:pt x="3277" y="1935"/>
                </a:lnTo>
                <a:lnTo>
                  <a:pt x="3275" y="1933"/>
                </a:lnTo>
                <a:lnTo>
                  <a:pt x="3273" y="1933"/>
                </a:lnTo>
                <a:lnTo>
                  <a:pt x="3273" y="1937"/>
                </a:lnTo>
                <a:lnTo>
                  <a:pt x="3269" y="1937"/>
                </a:lnTo>
                <a:lnTo>
                  <a:pt x="3269" y="1935"/>
                </a:lnTo>
                <a:lnTo>
                  <a:pt x="3267" y="1937"/>
                </a:lnTo>
                <a:lnTo>
                  <a:pt x="3257" y="1937"/>
                </a:lnTo>
                <a:lnTo>
                  <a:pt x="3257" y="1944"/>
                </a:lnTo>
                <a:lnTo>
                  <a:pt x="3255" y="1951"/>
                </a:lnTo>
                <a:lnTo>
                  <a:pt x="3252" y="1958"/>
                </a:lnTo>
                <a:lnTo>
                  <a:pt x="3253" y="1960"/>
                </a:lnTo>
                <a:lnTo>
                  <a:pt x="3253" y="1970"/>
                </a:lnTo>
                <a:lnTo>
                  <a:pt x="3253" y="1977"/>
                </a:lnTo>
                <a:lnTo>
                  <a:pt x="3253" y="1981"/>
                </a:lnTo>
                <a:lnTo>
                  <a:pt x="3259" y="1987"/>
                </a:lnTo>
                <a:lnTo>
                  <a:pt x="3258" y="1992"/>
                </a:lnTo>
                <a:lnTo>
                  <a:pt x="3260" y="1994"/>
                </a:lnTo>
                <a:lnTo>
                  <a:pt x="3256" y="2001"/>
                </a:lnTo>
                <a:lnTo>
                  <a:pt x="3253" y="2008"/>
                </a:lnTo>
                <a:lnTo>
                  <a:pt x="3251" y="2011"/>
                </a:lnTo>
                <a:lnTo>
                  <a:pt x="3249" y="2013"/>
                </a:lnTo>
                <a:lnTo>
                  <a:pt x="3245" y="2016"/>
                </a:lnTo>
                <a:lnTo>
                  <a:pt x="3245" y="2021"/>
                </a:lnTo>
                <a:lnTo>
                  <a:pt x="3245" y="2023"/>
                </a:lnTo>
                <a:lnTo>
                  <a:pt x="3243" y="2025"/>
                </a:lnTo>
                <a:lnTo>
                  <a:pt x="3242" y="2027"/>
                </a:lnTo>
                <a:lnTo>
                  <a:pt x="3244" y="2033"/>
                </a:lnTo>
                <a:lnTo>
                  <a:pt x="3245" y="2039"/>
                </a:lnTo>
                <a:lnTo>
                  <a:pt x="3246" y="2041"/>
                </a:lnTo>
                <a:lnTo>
                  <a:pt x="3248" y="2043"/>
                </a:lnTo>
                <a:lnTo>
                  <a:pt x="3249" y="2047"/>
                </a:lnTo>
                <a:lnTo>
                  <a:pt x="3248" y="2049"/>
                </a:lnTo>
                <a:lnTo>
                  <a:pt x="3245" y="2053"/>
                </a:lnTo>
                <a:lnTo>
                  <a:pt x="3245" y="2063"/>
                </a:lnTo>
                <a:lnTo>
                  <a:pt x="3251" y="2067"/>
                </a:lnTo>
                <a:lnTo>
                  <a:pt x="3251" y="2075"/>
                </a:lnTo>
                <a:lnTo>
                  <a:pt x="3257" y="2078"/>
                </a:lnTo>
                <a:lnTo>
                  <a:pt x="3257" y="2078"/>
                </a:lnTo>
                <a:lnTo>
                  <a:pt x="3264" y="2081"/>
                </a:lnTo>
                <a:lnTo>
                  <a:pt x="3272" y="2086"/>
                </a:lnTo>
                <a:lnTo>
                  <a:pt x="3275" y="2086"/>
                </a:lnTo>
                <a:lnTo>
                  <a:pt x="3286" y="2078"/>
                </a:lnTo>
                <a:lnTo>
                  <a:pt x="3293" y="2078"/>
                </a:lnTo>
                <a:lnTo>
                  <a:pt x="3297" y="2073"/>
                </a:lnTo>
                <a:lnTo>
                  <a:pt x="3306" y="2054"/>
                </a:lnTo>
                <a:lnTo>
                  <a:pt x="3309" y="2032"/>
                </a:lnTo>
                <a:lnTo>
                  <a:pt x="3315" y="2021"/>
                </a:lnTo>
                <a:lnTo>
                  <a:pt x="3320" y="2002"/>
                </a:lnTo>
                <a:lnTo>
                  <a:pt x="3331" y="1969"/>
                </a:lnTo>
                <a:lnTo>
                  <a:pt x="3334" y="1959"/>
                </a:lnTo>
                <a:lnTo>
                  <a:pt x="3331" y="1954"/>
                </a:lnTo>
                <a:lnTo>
                  <a:pt x="3334" y="1948"/>
                </a:lnTo>
                <a:lnTo>
                  <a:pt x="3337" y="1947"/>
                </a:lnTo>
                <a:lnTo>
                  <a:pt x="3336" y="1944"/>
                </a:lnTo>
                <a:lnTo>
                  <a:pt x="3337" y="1941"/>
                </a:lnTo>
                <a:lnTo>
                  <a:pt x="3337" y="1936"/>
                </a:lnTo>
                <a:lnTo>
                  <a:pt x="3333" y="1935"/>
                </a:lnTo>
                <a:lnTo>
                  <a:pt x="3333" y="1931"/>
                </a:lnTo>
                <a:lnTo>
                  <a:pt x="3333" y="1926"/>
                </a:lnTo>
                <a:lnTo>
                  <a:pt x="3336" y="1925"/>
                </a:lnTo>
                <a:lnTo>
                  <a:pt x="3337" y="1925"/>
                </a:lnTo>
                <a:lnTo>
                  <a:pt x="3339" y="1928"/>
                </a:lnTo>
                <a:lnTo>
                  <a:pt x="3341" y="1931"/>
                </a:lnTo>
                <a:lnTo>
                  <a:pt x="3344" y="1932"/>
                </a:lnTo>
                <a:lnTo>
                  <a:pt x="3347" y="1923"/>
                </a:lnTo>
                <a:lnTo>
                  <a:pt x="3341" y="1911"/>
                </a:lnTo>
                <a:lnTo>
                  <a:pt x="3341" y="1900"/>
                </a:lnTo>
                <a:close/>
                <a:moveTo>
                  <a:pt x="3272" y="1933"/>
                </a:moveTo>
                <a:lnTo>
                  <a:pt x="3269" y="1933"/>
                </a:lnTo>
                <a:lnTo>
                  <a:pt x="3269" y="1935"/>
                </a:lnTo>
                <a:lnTo>
                  <a:pt x="3272" y="1933"/>
                </a:lnTo>
                <a:lnTo>
                  <a:pt x="3272" y="1933"/>
                </a:lnTo>
                <a:close/>
                <a:moveTo>
                  <a:pt x="3959" y="1501"/>
                </a:moveTo>
                <a:lnTo>
                  <a:pt x="3955" y="1502"/>
                </a:lnTo>
                <a:lnTo>
                  <a:pt x="3955" y="1509"/>
                </a:lnTo>
                <a:lnTo>
                  <a:pt x="3955" y="1510"/>
                </a:lnTo>
                <a:lnTo>
                  <a:pt x="3952" y="1515"/>
                </a:lnTo>
                <a:lnTo>
                  <a:pt x="3955" y="1521"/>
                </a:lnTo>
                <a:lnTo>
                  <a:pt x="3955" y="1513"/>
                </a:lnTo>
                <a:lnTo>
                  <a:pt x="3962" y="1511"/>
                </a:lnTo>
                <a:lnTo>
                  <a:pt x="3959" y="1511"/>
                </a:lnTo>
                <a:lnTo>
                  <a:pt x="3959" y="1506"/>
                </a:lnTo>
                <a:lnTo>
                  <a:pt x="3959" y="1501"/>
                </a:lnTo>
                <a:close/>
                <a:moveTo>
                  <a:pt x="3245" y="1872"/>
                </a:moveTo>
                <a:lnTo>
                  <a:pt x="3245" y="1866"/>
                </a:lnTo>
                <a:lnTo>
                  <a:pt x="3242" y="1866"/>
                </a:lnTo>
                <a:lnTo>
                  <a:pt x="3242" y="1870"/>
                </a:lnTo>
                <a:lnTo>
                  <a:pt x="3245" y="1872"/>
                </a:lnTo>
                <a:lnTo>
                  <a:pt x="3245" y="1872"/>
                </a:lnTo>
                <a:close/>
                <a:moveTo>
                  <a:pt x="3249" y="1876"/>
                </a:moveTo>
                <a:lnTo>
                  <a:pt x="3249" y="1877"/>
                </a:lnTo>
                <a:lnTo>
                  <a:pt x="3252" y="1877"/>
                </a:lnTo>
                <a:lnTo>
                  <a:pt x="3249" y="1876"/>
                </a:lnTo>
                <a:close/>
                <a:moveTo>
                  <a:pt x="3259" y="1873"/>
                </a:moveTo>
                <a:lnTo>
                  <a:pt x="3258" y="1874"/>
                </a:lnTo>
                <a:lnTo>
                  <a:pt x="3256" y="1874"/>
                </a:lnTo>
                <a:lnTo>
                  <a:pt x="3259" y="1877"/>
                </a:lnTo>
                <a:lnTo>
                  <a:pt x="3259" y="1873"/>
                </a:lnTo>
                <a:close/>
                <a:moveTo>
                  <a:pt x="3772" y="1555"/>
                </a:moveTo>
                <a:lnTo>
                  <a:pt x="3769" y="1555"/>
                </a:lnTo>
                <a:lnTo>
                  <a:pt x="3773" y="1556"/>
                </a:lnTo>
                <a:lnTo>
                  <a:pt x="3772" y="1555"/>
                </a:lnTo>
                <a:close/>
                <a:moveTo>
                  <a:pt x="3802" y="1579"/>
                </a:moveTo>
                <a:lnTo>
                  <a:pt x="3803" y="1581"/>
                </a:lnTo>
                <a:lnTo>
                  <a:pt x="3802" y="1579"/>
                </a:lnTo>
                <a:lnTo>
                  <a:pt x="3802" y="1579"/>
                </a:lnTo>
                <a:close/>
                <a:moveTo>
                  <a:pt x="3801" y="1577"/>
                </a:moveTo>
                <a:lnTo>
                  <a:pt x="3801" y="1577"/>
                </a:lnTo>
                <a:lnTo>
                  <a:pt x="3801" y="1577"/>
                </a:lnTo>
                <a:lnTo>
                  <a:pt x="3802" y="1578"/>
                </a:lnTo>
                <a:lnTo>
                  <a:pt x="3801" y="1577"/>
                </a:lnTo>
                <a:close/>
                <a:moveTo>
                  <a:pt x="3190" y="1940"/>
                </a:moveTo>
                <a:lnTo>
                  <a:pt x="3190" y="1940"/>
                </a:lnTo>
                <a:lnTo>
                  <a:pt x="3190" y="1938"/>
                </a:lnTo>
                <a:lnTo>
                  <a:pt x="3189" y="1938"/>
                </a:lnTo>
                <a:lnTo>
                  <a:pt x="3190" y="1940"/>
                </a:lnTo>
                <a:close/>
                <a:moveTo>
                  <a:pt x="3940" y="1349"/>
                </a:moveTo>
                <a:lnTo>
                  <a:pt x="3940" y="1352"/>
                </a:lnTo>
                <a:lnTo>
                  <a:pt x="3943" y="1355"/>
                </a:lnTo>
                <a:lnTo>
                  <a:pt x="3943" y="1355"/>
                </a:lnTo>
                <a:lnTo>
                  <a:pt x="3943" y="1352"/>
                </a:lnTo>
                <a:lnTo>
                  <a:pt x="3940" y="1349"/>
                </a:lnTo>
                <a:lnTo>
                  <a:pt x="3940" y="1349"/>
                </a:lnTo>
                <a:close/>
                <a:moveTo>
                  <a:pt x="3963" y="1499"/>
                </a:moveTo>
                <a:lnTo>
                  <a:pt x="3963" y="1491"/>
                </a:lnTo>
                <a:lnTo>
                  <a:pt x="3962" y="1491"/>
                </a:lnTo>
                <a:lnTo>
                  <a:pt x="3959" y="1494"/>
                </a:lnTo>
                <a:lnTo>
                  <a:pt x="3959" y="1501"/>
                </a:lnTo>
                <a:lnTo>
                  <a:pt x="3962" y="1499"/>
                </a:lnTo>
                <a:lnTo>
                  <a:pt x="3963" y="1499"/>
                </a:lnTo>
                <a:close/>
                <a:moveTo>
                  <a:pt x="3946" y="1363"/>
                </a:moveTo>
                <a:lnTo>
                  <a:pt x="3946" y="1363"/>
                </a:lnTo>
                <a:lnTo>
                  <a:pt x="3946" y="1363"/>
                </a:lnTo>
                <a:lnTo>
                  <a:pt x="3946" y="1363"/>
                </a:lnTo>
                <a:close/>
                <a:moveTo>
                  <a:pt x="3945" y="1363"/>
                </a:moveTo>
                <a:lnTo>
                  <a:pt x="3943" y="1363"/>
                </a:lnTo>
                <a:lnTo>
                  <a:pt x="3943" y="1366"/>
                </a:lnTo>
                <a:lnTo>
                  <a:pt x="3947" y="1365"/>
                </a:lnTo>
                <a:lnTo>
                  <a:pt x="3946" y="1363"/>
                </a:lnTo>
                <a:lnTo>
                  <a:pt x="3945" y="1363"/>
                </a:lnTo>
                <a:close/>
                <a:moveTo>
                  <a:pt x="3737" y="2289"/>
                </a:moveTo>
                <a:lnTo>
                  <a:pt x="3737" y="2289"/>
                </a:lnTo>
                <a:lnTo>
                  <a:pt x="3737" y="2287"/>
                </a:lnTo>
                <a:lnTo>
                  <a:pt x="3735" y="2287"/>
                </a:lnTo>
                <a:lnTo>
                  <a:pt x="3737" y="2289"/>
                </a:lnTo>
                <a:close/>
                <a:moveTo>
                  <a:pt x="3799" y="1575"/>
                </a:moveTo>
                <a:lnTo>
                  <a:pt x="3799" y="1576"/>
                </a:lnTo>
                <a:lnTo>
                  <a:pt x="3795" y="1569"/>
                </a:lnTo>
                <a:lnTo>
                  <a:pt x="3795" y="1567"/>
                </a:lnTo>
                <a:lnTo>
                  <a:pt x="3795" y="1567"/>
                </a:lnTo>
                <a:lnTo>
                  <a:pt x="3793" y="1565"/>
                </a:lnTo>
                <a:lnTo>
                  <a:pt x="3791" y="1559"/>
                </a:lnTo>
                <a:lnTo>
                  <a:pt x="3789" y="1559"/>
                </a:lnTo>
                <a:lnTo>
                  <a:pt x="3789" y="1555"/>
                </a:lnTo>
                <a:lnTo>
                  <a:pt x="3783" y="1550"/>
                </a:lnTo>
                <a:lnTo>
                  <a:pt x="3778" y="1547"/>
                </a:lnTo>
                <a:lnTo>
                  <a:pt x="3777" y="1547"/>
                </a:lnTo>
                <a:lnTo>
                  <a:pt x="3777" y="1548"/>
                </a:lnTo>
                <a:lnTo>
                  <a:pt x="3775" y="1551"/>
                </a:lnTo>
                <a:lnTo>
                  <a:pt x="3775" y="1555"/>
                </a:lnTo>
                <a:lnTo>
                  <a:pt x="3775" y="1556"/>
                </a:lnTo>
                <a:lnTo>
                  <a:pt x="3775" y="1562"/>
                </a:lnTo>
                <a:lnTo>
                  <a:pt x="3771" y="1564"/>
                </a:lnTo>
                <a:lnTo>
                  <a:pt x="3771" y="1569"/>
                </a:lnTo>
                <a:lnTo>
                  <a:pt x="3771" y="1575"/>
                </a:lnTo>
                <a:lnTo>
                  <a:pt x="3772" y="1575"/>
                </a:lnTo>
                <a:lnTo>
                  <a:pt x="3771" y="1584"/>
                </a:lnTo>
                <a:lnTo>
                  <a:pt x="3771" y="1592"/>
                </a:lnTo>
                <a:lnTo>
                  <a:pt x="3776" y="1600"/>
                </a:lnTo>
                <a:lnTo>
                  <a:pt x="3777" y="1604"/>
                </a:lnTo>
                <a:lnTo>
                  <a:pt x="3784" y="1605"/>
                </a:lnTo>
                <a:lnTo>
                  <a:pt x="3795" y="1600"/>
                </a:lnTo>
                <a:lnTo>
                  <a:pt x="3798" y="1597"/>
                </a:lnTo>
                <a:lnTo>
                  <a:pt x="3799" y="1589"/>
                </a:lnTo>
                <a:lnTo>
                  <a:pt x="3799" y="1579"/>
                </a:lnTo>
                <a:lnTo>
                  <a:pt x="3802" y="1579"/>
                </a:lnTo>
                <a:lnTo>
                  <a:pt x="3802" y="1579"/>
                </a:lnTo>
                <a:lnTo>
                  <a:pt x="3801" y="1577"/>
                </a:lnTo>
                <a:lnTo>
                  <a:pt x="3799" y="1575"/>
                </a:lnTo>
                <a:close/>
                <a:moveTo>
                  <a:pt x="3624" y="2499"/>
                </a:moveTo>
                <a:lnTo>
                  <a:pt x="3625" y="2498"/>
                </a:lnTo>
                <a:lnTo>
                  <a:pt x="3624" y="2497"/>
                </a:lnTo>
                <a:lnTo>
                  <a:pt x="3624" y="2499"/>
                </a:lnTo>
                <a:close/>
                <a:moveTo>
                  <a:pt x="3624" y="2499"/>
                </a:moveTo>
                <a:lnTo>
                  <a:pt x="3624" y="2499"/>
                </a:lnTo>
                <a:lnTo>
                  <a:pt x="3625" y="2500"/>
                </a:lnTo>
                <a:lnTo>
                  <a:pt x="3626" y="2503"/>
                </a:lnTo>
                <a:lnTo>
                  <a:pt x="3630" y="2503"/>
                </a:lnTo>
                <a:lnTo>
                  <a:pt x="3630" y="2507"/>
                </a:lnTo>
                <a:lnTo>
                  <a:pt x="3626" y="2507"/>
                </a:lnTo>
                <a:lnTo>
                  <a:pt x="3624" y="2504"/>
                </a:lnTo>
                <a:lnTo>
                  <a:pt x="3618" y="2503"/>
                </a:lnTo>
                <a:lnTo>
                  <a:pt x="3614" y="2503"/>
                </a:lnTo>
                <a:lnTo>
                  <a:pt x="3614" y="2507"/>
                </a:lnTo>
                <a:lnTo>
                  <a:pt x="3611" y="2507"/>
                </a:lnTo>
                <a:lnTo>
                  <a:pt x="3611" y="2499"/>
                </a:lnTo>
                <a:lnTo>
                  <a:pt x="3611" y="2492"/>
                </a:lnTo>
                <a:lnTo>
                  <a:pt x="3613" y="2487"/>
                </a:lnTo>
                <a:lnTo>
                  <a:pt x="3614" y="2487"/>
                </a:lnTo>
                <a:lnTo>
                  <a:pt x="3613" y="2490"/>
                </a:lnTo>
                <a:lnTo>
                  <a:pt x="3616" y="2486"/>
                </a:lnTo>
                <a:lnTo>
                  <a:pt x="3615" y="2491"/>
                </a:lnTo>
                <a:lnTo>
                  <a:pt x="3615" y="2491"/>
                </a:lnTo>
                <a:lnTo>
                  <a:pt x="3615" y="2491"/>
                </a:lnTo>
                <a:lnTo>
                  <a:pt x="3615" y="2491"/>
                </a:lnTo>
                <a:lnTo>
                  <a:pt x="3614" y="2491"/>
                </a:lnTo>
                <a:lnTo>
                  <a:pt x="3618" y="2492"/>
                </a:lnTo>
                <a:lnTo>
                  <a:pt x="3618" y="2492"/>
                </a:lnTo>
                <a:lnTo>
                  <a:pt x="3617" y="2492"/>
                </a:lnTo>
                <a:lnTo>
                  <a:pt x="3617" y="2493"/>
                </a:lnTo>
                <a:lnTo>
                  <a:pt x="3618" y="2492"/>
                </a:lnTo>
                <a:lnTo>
                  <a:pt x="3618" y="2490"/>
                </a:lnTo>
                <a:lnTo>
                  <a:pt x="3619" y="2491"/>
                </a:lnTo>
                <a:lnTo>
                  <a:pt x="3618" y="2493"/>
                </a:lnTo>
                <a:lnTo>
                  <a:pt x="3618" y="2493"/>
                </a:lnTo>
                <a:lnTo>
                  <a:pt x="3618" y="2493"/>
                </a:lnTo>
                <a:lnTo>
                  <a:pt x="3618" y="2499"/>
                </a:lnTo>
                <a:lnTo>
                  <a:pt x="3624" y="2499"/>
                </a:lnTo>
                <a:close/>
                <a:moveTo>
                  <a:pt x="3614" y="2490"/>
                </a:moveTo>
                <a:lnTo>
                  <a:pt x="3613" y="2493"/>
                </a:lnTo>
                <a:lnTo>
                  <a:pt x="3614" y="2493"/>
                </a:lnTo>
                <a:lnTo>
                  <a:pt x="3614" y="2490"/>
                </a:lnTo>
                <a:close/>
                <a:moveTo>
                  <a:pt x="3636" y="2496"/>
                </a:moveTo>
                <a:lnTo>
                  <a:pt x="3635" y="2493"/>
                </a:lnTo>
                <a:lnTo>
                  <a:pt x="3632" y="2493"/>
                </a:lnTo>
                <a:lnTo>
                  <a:pt x="3625" y="2498"/>
                </a:lnTo>
                <a:lnTo>
                  <a:pt x="3628" y="2501"/>
                </a:lnTo>
                <a:lnTo>
                  <a:pt x="3626" y="2499"/>
                </a:lnTo>
                <a:lnTo>
                  <a:pt x="3630" y="2499"/>
                </a:lnTo>
                <a:lnTo>
                  <a:pt x="3634" y="2500"/>
                </a:lnTo>
                <a:lnTo>
                  <a:pt x="3632" y="2499"/>
                </a:lnTo>
                <a:lnTo>
                  <a:pt x="3633" y="2499"/>
                </a:lnTo>
                <a:lnTo>
                  <a:pt x="3636" y="2496"/>
                </a:lnTo>
                <a:close/>
                <a:moveTo>
                  <a:pt x="3783" y="1549"/>
                </a:moveTo>
                <a:lnTo>
                  <a:pt x="3783" y="1550"/>
                </a:lnTo>
                <a:lnTo>
                  <a:pt x="3785" y="1551"/>
                </a:lnTo>
                <a:lnTo>
                  <a:pt x="3783" y="1549"/>
                </a:lnTo>
                <a:close/>
                <a:moveTo>
                  <a:pt x="3618" y="2491"/>
                </a:moveTo>
                <a:lnTo>
                  <a:pt x="3618" y="2490"/>
                </a:lnTo>
                <a:lnTo>
                  <a:pt x="3618" y="2490"/>
                </a:lnTo>
                <a:lnTo>
                  <a:pt x="3621" y="2487"/>
                </a:lnTo>
                <a:lnTo>
                  <a:pt x="3621" y="2487"/>
                </a:lnTo>
                <a:lnTo>
                  <a:pt x="3618" y="2487"/>
                </a:lnTo>
                <a:lnTo>
                  <a:pt x="3618" y="2488"/>
                </a:lnTo>
                <a:lnTo>
                  <a:pt x="3616" y="2489"/>
                </a:lnTo>
                <a:lnTo>
                  <a:pt x="3616" y="2492"/>
                </a:lnTo>
                <a:lnTo>
                  <a:pt x="3616" y="2492"/>
                </a:lnTo>
                <a:lnTo>
                  <a:pt x="3618" y="2491"/>
                </a:lnTo>
                <a:close/>
                <a:moveTo>
                  <a:pt x="3675" y="2566"/>
                </a:moveTo>
                <a:lnTo>
                  <a:pt x="3679" y="2571"/>
                </a:lnTo>
                <a:lnTo>
                  <a:pt x="3686" y="2570"/>
                </a:lnTo>
                <a:lnTo>
                  <a:pt x="3680" y="2568"/>
                </a:lnTo>
                <a:lnTo>
                  <a:pt x="3675" y="2566"/>
                </a:lnTo>
                <a:close/>
                <a:moveTo>
                  <a:pt x="2298" y="539"/>
                </a:moveTo>
                <a:lnTo>
                  <a:pt x="2297" y="538"/>
                </a:lnTo>
                <a:lnTo>
                  <a:pt x="2297" y="539"/>
                </a:lnTo>
                <a:lnTo>
                  <a:pt x="2298" y="539"/>
                </a:lnTo>
                <a:close/>
                <a:moveTo>
                  <a:pt x="1468" y="1565"/>
                </a:moveTo>
                <a:lnTo>
                  <a:pt x="1466" y="1565"/>
                </a:lnTo>
                <a:lnTo>
                  <a:pt x="1468" y="1567"/>
                </a:lnTo>
                <a:lnTo>
                  <a:pt x="1468" y="1565"/>
                </a:lnTo>
                <a:close/>
                <a:moveTo>
                  <a:pt x="1481" y="1653"/>
                </a:moveTo>
                <a:lnTo>
                  <a:pt x="1480" y="1653"/>
                </a:lnTo>
                <a:lnTo>
                  <a:pt x="1481" y="1654"/>
                </a:lnTo>
                <a:lnTo>
                  <a:pt x="1481" y="1654"/>
                </a:lnTo>
                <a:lnTo>
                  <a:pt x="1480" y="1653"/>
                </a:lnTo>
                <a:lnTo>
                  <a:pt x="1481" y="1653"/>
                </a:lnTo>
                <a:lnTo>
                  <a:pt x="1481" y="1653"/>
                </a:lnTo>
                <a:close/>
                <a:moveTo>
                  <a:pt x="1884" y="1665"/>
                </a:moveTo>
                <a:lnTo>
                  <a:pt x="1881" y="1662"/>
                </a:lnTo>
                <a:lnTo>
                  <a:pt x="1880" y="1663"/>
                </a:lnTo>
                <a:lnTo>
                  <a:pt x="1881" y="1667"/>
                </a:lnTo>
                <a:lnTo>
                  <a:pt x="1884" y="1665"/>
                </a:lnTo>
                <a:close/>
                <a:moveTo>
                  <a:pt x="1550" y="2362"/>
                </a:moveTo>
                <a:lnTo>
                  <a:pt x="1550" y="2363"/>
                </a:lnTo>
                <a:lnTo>
                  <a:pt x="1552" y="2362"/>
                </a:lnTo>
                <a:lnTo>
                  <a:pt x="1550" y="2362"/>
                </a:lnTo>
                <a:close/>
                <a:moveTo>
                  <a:pt x="1887" y="1685"/>
                </a:moveTo>
                <a:lnTo>
                  <a:pt x="1884" y="1686"/>
                </a:lnTo>
                <a:lnTo>
                  <a:pt x="1884" y="1689"/>
                </a:lnTo>
                <a:lnTo>
                  <a:pt x="1887" y="1686"/>
                </a:lnTo>
                <a:lnTo>
                  <a:pt x="1887" y="1685"/>
                </a:lnTo>
                <a:close/>
                <a:moveTo>
                  <a:pt x="1884" y="1684"/>
                </a:moveTo>
                <a:lnTo>
                  <a:pt x="1887" y="1681"/>
                </a:lnTo>
                <a:lnTo>
                  <a:pt x="1887" y="1680"/>
                </a:lnTo>
                <a:lnTo>
                  <a:pt x="1885" y="1681"/>
                </a:lnTo>
                <a:lnTo>
                  <a:pt x="1884" y="1684"/>
                </a:lnTo>
                <a:close/>
                <a:moveTo>
                  <a:pt x="1881" y="1691"/>
                </a:moveTo>
                <a:lnTo>
                  <a:pt x="1884" y="1689"/>
                </a:lnTo>
                <a:lnTo>
                  <a:pt x="1881" y="1685"/>
                </a:lnTo>
                <a:lnTo>
                  <a:pt x="1880" y="1691"/>
                </a:lnTo>
                <a:lnTo>
                  <a:pt x="1879" y="1692"/>
                </a:lnTo>
                <a:lnTo>
                  <a:pt x="1878" y="1692"/>
                </a:lnTo>
                <a:lnTo>
                  <a:pt x="1879" y="1695"/>
                </a:lnTo>
                <a:lnTo>
                  <a:pt x="1879" y="1693"/>
                </a:lnTo>
                <a:lnTo>
                  <a:pt x="1885" y="1695"/>
                </a:lnTo>
                <a:lnTo>
                  <a:pt x="1892" y="1691"/>
                </a:lnTo>
                <a:lnTo>
                  <a:pt x="1890" y="1689"/>
                </a:lnTo>
                <a:lnTo>
                  <a:pt x="1881" y="1691"/>
                </a:lnTo>
                <a:close/>
                <a:moveTo>
                  <a:pt x="1545" y="2421"/>
                </a:moveTo>
                <a:lnTo>
                  <a:pt x="1543" y="2421"/>
                </a:lnTo>
                <a:lnTo>
                  <a:pt x="1541" y="2424"/>
                </a:lnTo>
                <a:lnTo>
                  <a:pt x="1543" y="2425"/>
                </a:lnTo>
                <a:lnTo>
                  <a:pt x="1545" y="2421"/>
                </a:lnTo>
                <a:close/>
                <a:moveTo>
                  <a:pt x="1895" y="1696"/>
                </a:moveTo>
                <a:lnTo>
                  <a:pt x="1897" y="1696"/>
                </a:lnTo>
                <a:lnTo>
                  <a:pt x="1897" y="1695"/>
                </a:lnTo>
                <a:lnTo>
                  <a:pt x="1893" y="1692"/>
                </a:lnTo>
                <a:lnTo>
                  <a:pt x="1890" y="1695"/>
                </a:lnTo>
                <a:lnTo>
                  <a:pt x="1892" y="1696"/>
                </a:lnTo>
                <a:lnTo>
                  <a:pt x="1895" y="1696"/>
                </a:lnTo>
                <a:close/>
                <a:moveTo>
                  <a:pt x="1539" y="2391"/>
                </a:moveTo>
                <a:lnTo>
                  <a:pt x="1541" y="2391"/>
                </a:lnTo>
                <a:lnTo>
                  <a:pt x="1541" y="2390"/>
                </a:lnTo>
                <a:lnTo>
                  <a:pt x="1537" y="2390"/>
                </a:lnTo>
                <a:lnTo>
                  <a:pt x="1537" y="2391"/>
                </a:lnTo>
                <a:lnTo>
                  <a:pt x="1538" y="2394"/>
                </a:lnTo>
                <a:lnTo>
                  <a:pt x="1539" y="2391"/>
                </a:lnTo>
                <a:close/>
                <a:moveTo>
                  <a:pt x="1539" y="2401"/>
                </a:moveTo>
                <a:lnTo>
                  <a:pt x="1539" y="2402"/>
                </a:lnTo>
                <a:lnTo>
                  <a:pt x="1541" y="2401"/>
                </a:lnTo>
                <a:lnTo>
                  <a:pt x="1539" y="2401"/>
                </a:lnTo>
                <a:close/>
                <a:moveTo>
                  <a:pt x="1541" y="2398"/>
                </a:moveTo>
                <a:lnTo>
                  <a:pt x="1539" y="2401"/>
                </a:lnTo>
                <a:lnTo>
                  <a:pt x="1541" y="2401"/>
                </a:lnTo>
                <a:lnTo>
                  <a:pt x="1541" y="2398"/>
                </a:lnTo>
                <a:close/>
                <a:moveTo>
                  <a:pt x="1543" y="2401"/>
                </a:moveTo>
                <a:lnTo>
                  <a:pt x="1543" y="2401"/>
                </a:lnTo>
                <a:lnTo>
                  <a:pt x="1541" y="2401"/>
                </a:lnTo>
                <a:lnTo>
                  <a:pt x="1543" y="2401"/>
                </a:lnTo>
                <a:close/>
                <a:moveTo>
                  <a:pt x="1543" y="2398"/>
                </a:moveTo>
                <a:lnTo>
                  <a:pt x="1541" y="2398"/>
                </a:lnTo>
                <a:lnTo>
                  <a:pt x="1543" y="2401"/>
                </a:lnTo>
                <a:lnTo>
                  <a:pt x="1543" y="2398"/>
                </a:lnTo>
                <a:close/>
                <a:moveTo>
                  <a:pt x="1533" y="2405"/>
                </a:moveTo>
                <a:lnTo>
                  <a:pt x="1537" y="2405"/>
                </a:lnTo>
                <a:lnTo>
                  <a:pt x="1535" y="2402"/>
                </a:lnTo>
                <a:lnTo>
                  <a:pt x="1533" y="2401"/>
                </a:lnTo>
                <a:lnTo>
                  <a:pt x="1530" y="2402"/>
                </a:lnTo>
                <a:lnTo>
                  <a:pt x="1533" y="2405"/>
                </a:lnTo>
                <a:close/>
                <a:moveTo>
                  <a:pt x="1526" y="2389"/>
                </a:moveTo>
                <a:lnTo>
                  <a:pt x="1530" y="2386"/>
                </a:lnTo>
                <a:lnTo>
                  <a:pt x="1526" y="2386"/>
                </a:lnTo>
                <a:lnTo>
                  <a:pt x="1526" y="2389"/>
                </a:lnTo>
                <a:close/>
                <a:moveTo>
                  <a:pt x="1543" y="2394"/>
                </a:moveTo>
                <a:lnTo>
                  <a:pt x="1543" y="2397"/>
                </a:lnTo>
                <a:lnTo>
                  <a:pt x="1545" y="2395"/>
                </a:lnTo>
                <a:lnTo>
                  <a:pt x="1543" y="2394"/>
                </a:lnTo>
                <a:close/>
                <a:moveTo>
                  <a:pt x="1535" y="2397"/>
                </a:moveTo>
                <a:lnTo>
                  <a:pt x="1533" y="2397"/>
                </a:lnTo>
                <a:lnTo>
                  <a:pt x="1533" y="2398"/>
                </a:lnTo>
                <a:lnTo>
                  <a:pt x="1535" y="2397"/>
                </a:lnTo>
                <a:close/>
                <a:moveTo>
                  <a:pt x="2003" y="617"/>
                </a:moveTo>
                <a:lnTo>
                  <a:pt x="2003" y="616"/>
                </a:lnTo>
                <a:lnTo>
                  <a:pt x="2000" y="614"/>
                </a:lnTo>
                <a:lnTo>
                  <a:pt x="2003" y="617"/>
                </a:lnTo>
                <a:close/>
                <a:moveTo>
                  <a:pt x="2003" y="633"/>
                </a:moveTo>
                <a:lnTo>
                  <a:pt x="2003" y="629"/>
                </a:lnTo>
                <a:lnTo>
                  <a:pt x="2001" y="633"/>
                </a:lnTo>
                <a:lnTo>
                  <a:pt x="2003" y="633"/>
                </a:lnTo>
                <a:close/>
                <a:moveTo>
                  <a:pt x="2004" y="1735"/>
                </a:moveTo>
                <a:lnTo>
                  <a:pt x="2004" y="1733"/>
                </a:lnTo>
                <a:lnTo>
                  <a:pt x="2002" y="1733"/>
                </a:lnTo>
                <a:lnTo>
                  <a:pt x="2004" y="1735"/>
                </a:lnTo>
                <a:close/>
                <a:moveTo>
                  <a:pt x="1987" y="674"/>
                </a:moveTo>
                <a:lnTo>
                  <a:pt x="1986" y="673"/>
                </a:lnTo>
                <a:lnTo>
                  <a:pt x="1986" y="674"/>
                </a:lnTo>
                <a:lnTo>
                  <a:pt x="1987" y="674"/>
                </a:lnTo>
                <a:close/>
                <a:moveTo>
                  <a:pt x="1984" y="674"/>
                </a:moveTo>
                <a:lnTo>
                  <a:pt x="1986" y="673"/>
                </a:lnTo>
                <a:lnTo>
                  <a:pt x="1984" y="673"/>
                </a:lnTo>
                <a:lnTo>
                  <a:pt x="1984" y="674"/>
                </a:lnTo>
                <a:close/>
                <a:moveTo>
                  <a:pt x="2024" y="560"/>
                </a:moveTo>
                <a:lnTo>
                  <a:pt x="2020" y="559"/>
                </a:lnTo>
                <a:lnTo>
                  <a:pt x="2025" y="564"/>
                </a:lnTo>
                <a:lnTo>
                  <a:pt x="2025" y="569"/>
                </a:lnTo>
                <a:lnTo>
                  <a:pt x="2028" y="570"/>
                </a:lnTo>
                <a:lnTo>
                  <a:pt x="2028" y="569"/>
                </a:lnTo>
                <a:lnTo>
                  <a:pt x="2026" y="568"/>
                </a:lnTo>
                <a:lnTo>
                  <a:pt x="2024" y="560"/>
                </a:lnTo>
                <a:close/>
                <a:moveTo>
                  <a:pt x="2012" y="605"/>
                </a:moveTo>
                <a:lnTo>
                  <a:pt x="2012" y="606"/>
                </a:lnTo>
                <a:lnTo>
                  <a:pt x="2012" y="607"/>
                </a:lnTo>
                <a:lnTo>
                  <a:pt x="2013" y="605"/>
                </a:lnTo>
                <a:lnTo>
                  <a:pt x="2012" y="605"/>
                </a:lnTo>
                <a:close/>
                <a:moveTo>
                  <a:pt x="2013" y="600"/>
                </a:moveTo>
                <a:lnTo>
                  <a:pt x="2016" y="603"/>
                </a:lnTo>
                <a:lnTo>
                  <a:pt x="2016" y="600"/>
                </a:lnTo>
                <a:lnTo>
                  <a:pt x="2013" y="600"/>
                </a:lnTo>
                <a:close/>
                <a:moveTo>
                  <a:pt x="1942" y="656"/>
                </a:moveTo>
                <a:lnTo>
                  <a:pt x="1939" y="659"/>
                </a:lnTo>
                <a:lnTo>
                  <a:pt x="1942" y="659"/>
                </a:lnTo>
                <a:lnTo>
                  <a:pt x="1942" y="656"/>
                </a:lnTo>
                <a:close/>
                <a:moveTo>
                  <a:pt x="1968" y="669"/>
                </a:moveTo>
                <a:lnTo>
                  <a:pt x="1968" y="673"/>
                </a:lnTo>
                <a:lnTo>
                  <a:pt x="1972" y="674"/>
                </a:lnTo>
                <a:lnTo>
                  <a:pt x="1972" y="674"/>
                </a:lnTo>
                <a:lnTo>
                  <a:pt x="1972" y="671"/>
                </a:lnTo>
                <a:lnTo>
                  <a:pt x="1968" y="669"/>
                </a:lnTo>
                <a:close/>
                <a:moveTo>
                  <a:pt x="1960" y="665"/>
                </a:moveTo>
                <a:lnTo>
                  <a:pt x="1957" y="665"/>
                </a:lnTo>
                <a:lnTo>
                  <a:pt x="1955" y="669"/>
                </a:lnTo>
                <a:lnTo>
                  <a:pt x="1958" y="668"/>
                </a:lnTo>
                <a:lnTo>
                  <a:pt x="1960" y="665"/>
                </a:lnTo>
                <a:close/>
                <a:moveTo>
                  <a:pt x="1919" y="1704"/>
                </a:moveTo>
                <a:lnTo>
                  <a:pt x="1917" y="1703"/>
                </a:lnTo>
                <a:lnTo>
                  <a:pt x="1917" y="1704"/>
                </a:lnTo>
                <a:lnTo>
                  <a:pt x="1919" y="1704"/>
                </a:lnTo>
                <a:lnTo>
                  <a:pt x="1919" y="1704"/>
                </a:lnTo>
                <a:close/>
                <a:moveTo>
                  <a:pt x="1961" y="1712"/>
                </a:moveTo>
                <a:lnTo>
                  <a:pt x="1961" y="1714"/>
                </a:lnTo>
                <a:lnTo>
                  <a:pt x="1963" y="1712"/>
                </a:lnTo>
                <a:lnTo>
                  <a:pt x="1961" y="1712"/>
                </a:lnTo>
                <a:close/>
                <a:moveTo>
                  <a:pt x="1966" y="1718"/>
                </a:moveTo>
                <a:lnTo>
                  <a:pt x="1964" y="1719"/>
                </a:lnTo>
                <a:lnTo>
                  <a:pt x="1966" y="1719"/>
                </a:lnTo>
                <a:lnTo>
                  <a:pt x="1966" y="1718"/>
                </a:lnTo>
                <a:close/>
                <a:moveTo>
                  <a:pt x="1974" y="676"/>
                </a:moveTo>
                <a:lnTo>
                  <a:pt x="1972" y="674"/>
                </a:lnTo>
                <a:lnTo>
                  <a:pt x="1972" y="676"/>
                </a:lnTo>
                <a:lnTo>
                  <a:pt x="1974" y="676"/>
                </a:lnTo>
                <a:close/>
                <a:moveTo>
                  <a:pt x="1976" y="676"/>
                </a:moveTo>
                <a:lnTo>
                  <a:pt x="1978" y="678"/>
                </a:lnTo>
                <a:lnTo>
                  <a:pt x="1980" y="675"/>
                </a:lnTo>
                <a:lnTo>
                  <a:pt x="1976" y="674"/>
                </a:lnTo>
                <a:lnTo>
                  <a:pt x="1975" y="675"/>
                </a:lnTo>
                <a:lnTo>
                  <a:pt x="1976" y="676"/>
                </a:lnTo>
                <a:lnTo>
                  <a:pt x="1974" y="676"/>
                </a:lnTo>
                <a:lnTo>
                  <a:pt x="1975" y="677"/>
                </a:lnTo>
                <a:lnTo>
                  <a:pt x="1976" y="676"/>
                </a:lnTo>
                <a:close/>
                <a:moveTo>
                  <a:pt x="1539" y="2397"/>
                </a:moveTo>
                <a:lnTo>
                  <a:pt x="1538" y="2397"/>
                </a:lnTo>
                <a:lnTo>
                  <a:pt x="1537" y="2398"/>
                </a:lnTo>
                <a:lnTo>
                  <a:pt x="1538" y="2401"/>
                </a:lnTo>
                <a:lnTo>
                  <a:pt x="1539" y="2398"/>
                </a:lnTo>
                <a:lnTo>
                  <a:pt x="1539" y="2397"/>
                </a:lnTo>
                <a:close/>
                <a:moveTo>
                  <a:pt x="1524" y="2477"/>
                </a:moveTo>
                <a:lnTo>
                  <a:pt x="1526" y="2475"/>
                </a:lnTo>
                <a:lnTo>
                  <a:pt x="1526" y="2471"/>
                </a:lnTo>
                <a:lnTo>
                  <a:pt x="1520" y="2470"/>
                </a:lnTo>
                <a:lnTo>
                  <a:pt x="1524" y="2477"/>
                </a:lnTo>
                <a:close/>
                <a:moveTo>
                  <a:pt x="1523" y="2465"/>
                </a:moveTo>
                <a:lnTo>
                  <a:pt x="1524" y="2465"/>
                </a:lnTo>
                <a:lnTo>
                  <a:pt x="1523" y="2462"/>
                </a:lnTo>
                <a:lnTo>
                  <a:pt x="1519" y="2463"/>
                </a:lnTo>
                <a:lnTo>
                  <a:pt x="1523" y="2465"/>
                </a:lnTo>
                <a:close/>
                <a:moveTo>
                  <a:pt x="1524" y="2463"/>
                </a:moveTo>
                <a:lnTo>
                  <a:pt x="1526" y="2463"/>
                </a:lnTo>
                <a:lnTo>
                  <a:pt x="1523" y="2462"/>
                </a:lnTo>
                <a:lnTo>
                  <a:pt x="1524" y="2463"/>
                </a:lnTo>
                <a:close/>
                <a:moveTo>
                  <a:pt x="1541" y="2534"/>
                </a:moveTo>
                <a:lnTo>
                  <a:pt x="1541" y="2532"/>
                </a:lnTo>
                <a:lnTo>
                  <a:pt x="1540" y="2531"/>
                </a:lnTo>
                <a:lnTo>
                  <a:pt x="1539" y="2532"/>
                </a:lnTo>
                <a:lnTo>
                  <a:pt x="1541" y="2534"/>
                </a:lnTo>
                <a:close/>
                <a:moveTo>
                  <a:pt x="1526" y="2465"/>
                </a:moveTo>
                <a:lnTo>
                  <a:pt x="1520" y="2469"/>
                </a:lnTo>
                <a:lnTo>
                  <a:pt x="1524" y="2469"/>
                </a:lnTo>
                <a:lnTo>
                  <a:pt x="1526" y="2470"/>
                </a:lnTo>
                <a:lnTo>
                  <a:pt x="1526" y="2469"/>
                </a:lnTo>
                <a:lnTo>
                  <a:pt x="1526" y="2465"/>
                </a:lnTo>
                <a:close/>
                <a:moveTo>
                  <a:pt x="1523" y="2409"/>
                </a:moveTo>
                <a:lnTo>
                  <a:pt x="1523" y="2412"/>
                </a:lnTo>
                <a:lnTo>
                  <a:pt x="1524" y="2409"/>
                </a:lnTo>
                <a:lnTo>
                  <a:pt x="1523" y="2408"/>
                </a:lnTo>
                <a:lnTo>
                  <a:pt x="1523" y="2409"/>
                </a:lnTo>
                <a:close/>
                <a:moveTo>
                  <a:pt x="1531" y="2451"/>
                </a:moveTo>
                <a:lnTo>
                  <a:pt x="1531" y="2452"/>
                </a:lnTo>
                <a:lnTo>
                  <a:pt x="1533" y="2451"/>
                </a:lnTo>
                <a:lnTo>
                  <a:pt x="1531" y="2451"/>
                </a:lnTo>
                <a:close/>
                <a:moveTo>
                  <a:pt x="1524" y="2432"/>
                </a:moveTo>
                <a:lnTo>
                  <a:pt x="1526" y="2431"/>
                </a:lnTo>
                <a:lnTo>
                  <a:pt x="1527" y="2428"/>
                </a:lnTo>
                <a:lnTo>
                  <a:pt x="1526" y="2429"/>
                </a:lnTo>
                <a:lnTo>
                  <a:pt x="1523" y="2429"/>
                </a:lnTo>
                <a:lnTo>
                  <a:pt x="1524" y="2431"/>
                </a:lnTo>
                <a:lnTo>
                  <a:pt x="1523" y="2431"/>
                </a:lnTo>
                <a:lnTo>
                  <a:pt x="1524" y="2432"/>
                </a:lnTo>
                <a:close/>
                <a:moveTo>
                  <a:pt x="1538" y="2401"/>
                </a:moveTo>
                <a:lnTo>
                  <a:pt x="1537" y="2401"/>
                </a:lnTo>
                <a:lnTo>
                  <a:pt x="1539" y="2401"/>
                </a:lnTo>
                <a:lnTo>
                  <a:pt x="1539" y="2401"/>
                </a:lnTo>
                <a:lnTo>
                  <a:pt x="1538" y="2401"/>
                </a:lnTo>
                <a:close/>
                <a:moveTo>
                  <a:pt x="1553" y="2547"/>
                </a:moveTo>
                <a:lnTo>
                  <a:pt x="1554" y="2547"/>
                </a:lnTo>
                <a:lnTo>
                  <a:pt x="1554" y="2546"/>
                </a:lnTo>
                <a:lnTo>
                  <a:pt x="1553" y="2547"/>
                </a:lnTo>
                <a:close/>
                <a:moveTo>
                  <a:pt x="2109" y="1799"/>
                </a:moveTo>
                <a:lnTo>
                  <a:pt x="2110" y="1808"/>
                </a:lnTo>
                <a:lnTo>
                  <a:pt x="2109" y="1808"/>
                </a:lnTo>
                <a:lnTo>
                  <a:pt x="2108" y="1810"/>
                </a:lnTo>
                <a:lnTo>
                  <a:pt x="2108" y="1811"/>
                </a:lnTo>
                <a:lnTo>
                  <a:pt x="2108" y="1814"/>
                </a:lnTo>
                <a:lnTo>
                  <a:pt x="2101" y="1830"/>
                </a:lnTo>
                <a:lnTo>
                  <a:pt x="2094" y="1839"/>
                </a:lnTo>
                <a:lnTo>
                  <a:pt x="2086" y="1850"/>
                </a:lnTo>
                <a:lnTo>
                  <a:pt x="2079" y="1856"/>
                </a:lnTo>
                <a:lnTo>
                  <a:pt x="2076" y="1857"/>
                </a:lnTo>
                <a:lnTo>
                  <a:pt x="2076" y="1858"/>
                </a:lnTo>
                <a:lnTo>
                  <a:pt x="2072" y="1860"/>
                </a:lnTo>
                <a:lnTo>
                  <a:pt x="2072" y="1862"/>
                </a:lnTo>
                <a:lnTo>
                  <a:pt x="2070" y="1866"/>
                </a:lnTo>
                <a:lnTo>
                  <a:pt x="2071" y="1866"/>
                </a:lnTo>
                <a:lnTo>
                  <a:pt x="2067" y="1875"/>
                </a:lnTo>
                <a:lnTo>
                  <a:pt x="2059" y="1884"/>
                </a:lnTo>
                <a:lnTo>
                  <a:pt x="2052" y="1890"/>
                </a:lnTo>
                <a:lnTo>
                  <a:pt x="2052" y="1889"/>
                </a:lnTo>
                <a:lnTo>
                  <a:pt x="2050" y="1891"/>
                </a:lnTo>
                <a:lnTo>
                  <a:pt x="2051" y="1889"/>
                </a:lnTo>
                <a:lnTo>
                  <a:pt x="2052" y="1889"/>
                </a:lnTo>
                <a:lnTo>
                  <a:pt x="2052" y="1887"/>
                </a:lnTo>
                <a:lnTo>
                  <a:pt x="2051" y="1888"/>
                </a:lnTo>
                <a:lnTo>
                  <a:pt x="2052" y="1886"/>
                </a:lnTo>
                <a:lnTo>
                  <a:pt x="2052" y="1885"/>
                </a:lnTo>
                <a:lnTo>
                  <a:pt x="2054" y="1885"/>
                </a:lnTo>
                <a:lnTo>
                  <a:pt x="2052" y="1884"/>
                </a:lnTo>
                <a:lnTo>
                  <a:pt x="2048" y="1886"/>
                </a:lnTo>
                <a:lnTo>
                  <a:pt x="2050" y="1889"/>
                </a:lnTo>
                <a:lnTo>
                  <a:pt x="2051" y="1889"/>
                </a:lnTo>
                <a:lnTo>
                  <a:pt x="2050" y="1890"/>
                </a:lnTo>
                <a:lnTo>
                  <a:pt x="2048" y="1894"/>
                </a:lnTo>
                <a:lnTo>
                  <a:pt x="2048" y="1898"/>
                </a:lnTo>
                <a:lnTo>
                  <a:pt x="2044" y="1894"/>
                </a:lnTo>
                <a:lnTo>
                  <a:pt x="2044" y="1896"/>
                </a:lnTo>
                <a:lnTo>
                  <a:pt x="2047" y="1899"/>
                </a:lnTo>
                <a:lnTo>
                  <a:pt x="2047" y="1905"/>
                </a:lnTo>
                <a:lnTo>
                  <a:pt x="2048" y="1904"/>
                </a:lnTo>
                <a:lnTo>
                  <a:pt x="2046" y="1914"/>
                </a:lnTo>
                <a:lnTo>
                  <a:pt x="2049" y="1932"/>
                </a:lnTo>
                <a:lnTo>
                  <a:pt x="2044" y="1951"/>
                </a:lnTo>
                <a:lnTo>
                  <a:pt x="2044" y="1960"/>
                </a:lnTo>
                <a:lnTo>
                  <a:pt x="2037" y="1967"/>
                </a:lnTo>
                <a:lnTo>
                  <a:pt x="2036" y="1976"/>
                </a:lnTo>
                <a:lnTo>
                  <a:pt x="2036" y="1985"/>
                </a:lnTo>
                <a:lnTo>
                  <a:pt x="2034" y="1989"/>
                </a:lnTo>
                <a:lnTo>
                  <a:pt x="2033" y="1990"/>
                </a:lnTo>
                <a:lnTo>
                  <a:pt x="2028" y="2001"/>
                </a:lnTo>
                <a:lnTo>
                  <a:pt x="2024" y="1999"/>
                </a:lnTo>
                <a:lnTo>
                  <a:pt x="2024" y="2001"/>
                </a:lnTo>
                <a:lnTo>
                  <a:pt x="2030" y="2001"/>
                </a:lnTo>
                <a:lnTo>
                  <a:pt x="2028" y="2006"/>
                </a:lnTo>
                <a:lnTo>
                  <a:pt x="2025" y="2009"/>
                </a:lnTo>
                <a:lnTo>
                  <a:pt x="2022" y="2009"/>
                </a:lnTo>
                <a:lnTo>
                  <a:pt x="2020" y="2016"/>
                </a:lnTo>
                <a:lnTo>
                  <a:pt x="2019" y="2020"/>
                </a:lnTo>
                <a:lnTo>
                  <a:pt x="2020" y="2027"/>
                </a:lnTo>
                <a:lnTo>
                  <a:pt x="2008" y="2031"/>
                </a:lnTo>
                <a:lnTo>
                  <a:pt x="2004" y="2035"/>
                </a:lnTo>
                <a:lnTo>
                  <a:pt x="2004" y="2045"/>
                </a:lnTo>
                <a:lnTo>
                  <a:pt x="1989" y="2045"/>
                </a:lnTo>
                <a:lnTo>
                  <a:pt x="1990" y="2041"/>
                </a:lnTo>
                <a:lnTo>
                  <a:pt x="1989" y="2037"/>
                </a:lnTo>
                <a:lnTo>
                  <a:pt x="1987" y="2040"/>
                </a:lnTo>
                <a:lnTo>
                  <a:pt x="1989" y="2045"/>
                </a:lnTo>
                <a:lnTo>
                  <a:pt x="1987" y="2045"/>
                </a:lnTo>
                <a:lnTo>
                  <a:pt x="1981" y="2045"/>
                </a:lnTo>
                <a:lnTo>
                  <a:pt x="1982" y="2045"/>
                </a:lnTo>
                <a:lnTo>
                  <a:pt x="1976" y="2045"/>
                </a:lnTo>
                <a:lnTo>
                  <a:pt x="1981" y="2043"/>
                </a:lnTo>
                <a:lnTo>
                  <a:pt x="1977" y="2040"/>
                </a:lnTo>
                <a:lnTo>
                  <a:pt x="1971" y="2042"/>
                </a:lnTo>
                <a:lnTo>
                  <a:pt x="1970" y="2041"/>
                </a:lnTo>
                <a:lnTo>
                  <a:pt x="1964" y="2042"/>
                </a:lnTo>
                <a:lnTo>
                  <a:pt x="1964" y="2049"/>
                </a:lnTo>
                <a:lnTo>
                  <a:pt x="1963" y="2049"/>
                </a:lnTo>
                <a:lnTo>
                  <a:pt x="1958" y="2051"/>
                </a:lnTo>
                <a:lnTo>
                  <a:pt x="1952" y="2051"/>
                </a:lnTo>
                <a:lnTo>
                  <a:pt x="1952" y="2057"/>
                </a:lnTo>
                <a:lnTo>
                  <a:pt x="1949" y="2057"/>
                </a:lnTo>
                <a:lnTo>
                  <a:pt x="1945" y="2057"/>
                </a:lnTo>
                <a:lnTo>
                  <a:pt x="1942" y="2058"/>
                </a:lnTo>
                <a:lnTo>
                  <a:pt x="1940" y="2056"/>
                </a:lnTo>
                <a:lnTo>
                  <a:pt x="1940" y="2058"/>
                </a:lnTo>
                <a:lnTo>
                  <a:pt x="1916" y="2078"/>
                </a:lnTo>
                <a:lnTo>
                  <a:pt x="1919" y="2078"/>
                </a:lnTo>
                <a:lnTo>
                  <a:pt x="1916" y="2078"/>
                </a:lnTo>
                <a:lnTo>
                  <a:pt x="1911" y="2082"/>
                </a:lnTo>
                <a:lnTo>
                  <a:pt x="1911" y="2080"/>
                </a:lnTo>
                <a:lnTo>
                  <a:pt x="1911" y="2078"/>
                </a:lnTo>
                <a:lnTo>
                  <a:pt x="1909" y="2080"/>
                </a:lnTo>
                <a:lnTo>
                  <a:pt x="1910" y="2082"/>
                </a:lnTo>
                <a:lnTo>
                  <a:pt x="1906" y="2082"/>
                </a:lnTo>
                <a:lnTo>
                  <a:pt x="1911" y="2083"/>
                </a:lnTo>
                <a:lnTo>
                  <a:pt x="1910" y="2087"/>
                </a:lnTo>
                <a:lnTo>
                  <a:pt x="1906" y="2090"/>
                </a:lnTo>
                <a:lnTo>
                  <a:pt x="1907" y="2090"/>
                </a:lnTo>
                <a:lnTo>
                  <a:pt x="1907" y="2093"/>
                </a:lnTo>
                <a:lnTo>
                  <a:pt x="1907" y="2094"/>
                </a:lnTo>
                <a:lnTo>
                  <a:pt x="1906" y="2098"/>
                </a:lnTo>
                <a:lnTo>
                  <a:pt x="1906" y="2101"/>
                </a:lnTo>
                <a:lnTo>
                  <a:pt x="1907" y="2109"/>
                </a:lnTo>
                <a:lnTo>
                  <a:pt x="1910" y="2110"/>
                </a:lnTo>
                <a:lnTo>
                  <a:pt x="1907" y="2110"/>
                </a:lnTo>
                <a:lnTo>
                  <a:pt x="1907" y="2116"/>
                </a:lnTo>
                <a:lnTo>
                  <a:pt x="1907" y="2121"/>
                </a:lnTo>
                <a:lnTo>
                  <a:pt x="1906" y="2131"/>
                </a:lnTo>
                <a:lnTo>
                  <a:pt x="1897" y="2139"/>
                </a:lnTo>
                <a:lnTo>
                  <a:pt x="1892" y="2143"/>
                </a:lnTo>
                <a:lnTo>
                  <a:pt x="1887" y="2151"/>
                </a:lnTo>
                <a:lnTo>
                  <a:pt x="1884" y="2161"/>
                </a:lnTo>
                <a:lnTo>
                  <a:pt x="1877" y="2171"/>
                </a:lnTo>
                <a:lnTo>
                  <a:pt x="1865" y="2182"/>
                </a:lnTo>
                <a:lnTo>
                  <a:pt x="1865" y="2183"/>
                </a:lnTo>
                <a:lnTo>
                  <a:pt x="1867" y="2180"/>
                </a:lnTo>
                <a:lnTo>
                  <a:pt x="1869" y="2178"/>
                </a:lnTo>
                <a:lnTo>
                  <a:pt x="1870" y="2171"/>
                </a:lnTo>
                <a:lnTo>
                  <a:pt x="1871" y="2173"/>
                </a:lnTo>
                <a:lnTo>
                  <a:pt x="1871" y="2170"/>
                </a:lnTo>
                <a:lnTo>
                  <a:pt x="1875" y="2166"/>
                </a:lnTo>
                <a:lnTo>
                  <a:pt x="1875" y="2162"/>
                </a:lnTo>
                <a:lnTo>
                  <a:pt x="1871" y="2162"/>
                </a:lnTo>
                <a:lnTo>
                  <a:pt x="1871" y="2158"/>
                </a:lnTo>
                <a:lnTo>
                  <a:pt x="1871" y="2158"/>
                </a:lnTo>
                <a:lnTo>
                  <a:pt x="1867" y="2155"/>
                </a:lnTo>
                <a:lnTo>
                  <a:pt x="1867" y="2157"/>
                </a:lnTo>
                <a:lnTo>
                  <a:pt x="1869" y="2161"/>
                </a:lnTo>
                <a:lnTo>
                  <a:pt x="1870" y="2168"/>
                </a:lnTo>
                <a:lnTo>
                  <a:pt x="1867" y="2165"/>
                </a:lnTo>
                <a:lnTo>
                  <a:pt x="1866" y="2171"/>
                </a:lnTo>
                <a:lnTo>
                  <a:pt x="1859" y="2177"/>
                </a:lnTo>
                <a:lnTo>
                  <a:pt x="1859" y="2181"/>
                </a:lnTo>
                <a:lnTo>
                  <a:pt x="1855" y="2182"/>
                </a:lnTo>
                <a:lnTo>
                  <a:pt x="1856" y="2185"/>
                </a:lnTo>
                <a:lnTo>
                  <a:pt x="1856" y="2186"/>
                </a:lnTo>
                <a:lnTo>
                  <a:pt x="1856" y="2186"/>
                </a:lnTo>
                <a:lnTo>
                  <a:pt x="1857" y="2186"/>
                </a:lnTo>
                <a:lnTo>
                  <a:pt x="1855" y="2189"/>
                </a:lnTo>
                <a:lnTo>
                  <a:pt x="1856" y="2189"/>
                </a:lnTo>
                <a:lnTo>
                  <a:pt x="1854" y="2197"/>
                </a:lnTo>
                <a:lnTo>
                  <a:pt x="1848" y="2207"/>
                </a:lnTo>
                <a:lnTo>
                  <a:pt x="1839" y="2218"/>
                </a:lnTo>
                <a:lnTo>
                  <a:pt x="1839" y="2218"/>
                </a:lnTo>
                <a:lnTo>
                  <a:pt x="1836" y="2223"/>
                </a:lnTo>
                <a:lnTo>
                  <a:pt x="1827" y="2231"/>
                </a:lnTo>
                <a:lnTo>
                  <a:pt x="1823" y="2230"/>
                </a:lnTo>
                <a:lnTo>
                  <a:pt x="1823" y="2231"/>
                </a:lnTo>
                <a:lnTo>
                  <a:pt x="1816" y="2239"/>
                </a:lnTo>
                <a:lnTo>
                  <a:pt x="1806" y="2236"/>
                </a:lnTo>
                <a:lnTo>
                  <a:pt x="1796" y="2238"/>
                </a:lnTo>
                <a:lnTo>
                  <a:pt x="1795" y="2238"/>
                </a:lnTo>
                <a:lnTo>
                  <a:pt x="1796" y="2236"/>
                </a:lnTo>
                <a:lnTo>
                  <a:pt x="1788" y="2232"/>
                </a:lnTo>
                <a:lnTo>
                  <a:pt x="1784" y="2230"/>
                </a:lnTo>
                <a:lnTo>
                  <a:pt x="1774" y="2230"/>
                </a:lnTo>
                <a:lnTo>
                  <a:pt x="1763" y="2219"/>
                </a:lnTo>
                <a:lnTo>
                  <a:pt x="1763" y="2211"/>
                </a:lnTo>
                <a:lnTo>
                  <a:pt x="1763" y="2206"/>
                </a:lnTo>
                <a:lnTo>
                  <a:pt x="1769" y="2206"/>
                </a:lnTo>
                <a:lnTo>
                  <a:pt x="1770" y="2202"/>
                </a:lnTo>
                <a:lnTo>
                  <a:pt x="1769" y="2192"/>
                </a:lnTo>
                <a:lnTo>
                  <a:pt x="1770" y="2191"/>
                </a:lnTo>
                <a:lnTo>
                  <a:pt x="1769" y="2185"/>
                </a:lnTo>
                <a:lnTo>
                  <a:pt x="1770" y="2181"/>
                </a:lnTo>
                <a:lnTo>
                  <a:pt x="1772" y="2179"/>
                </a:lnTo>
                <a:lnTo>
                  <a:pt x="1770" y="2176"/>
                </a:lnTo>
                <a:lnTo>
                  <a:pt x="1771" y="2172"/>
                </a:lnTo>
                <a:lnTo>
                  <a:pt x="1775" y="2167"/>
                </a:lnTo>
                <a:lnTo>
                  <a:pt x="1773" y="2161"/>
                </a:lnTo>
                <a:lnTo>
                  <a:pt x="1775" y="2157"/>
                </a:lnTo>
                <a:lnTo>
                  <a:pt x="1775" y="2158"/>
                </a:lnTo>
                <a:lnTo>
                  <a:pt x="1777" y="2158"/>
                </a:lnTo>
                <a:lnTo>
                  <a:pt x="1778" y="2157"/>
                </a:lnTo>
                <a:lnTo>
                  <a:pt x="1779" y="2155"/>
                </a:lnTo>
                <a:lnTo>
                  <a:pt x="1779" y="2153"/>
                </a:lnTo>
                <a:lnTo>
                  <a:pt x="1771" y="2156"/>
                </a:lnTo>
                <a:lnTo>
                  <a:pt x="1771" y="2158"/>
                </a:lnTo>
                <a:lnTo>
                  <a:pt x="1770" y="2161"/>
                </a:lnTo>
                <a:lnTo>
                  <a:pt x="1774" y="2166"/>
                </a:lnTo>
                <a:lnTo>
                  <a:pt x="1771" y="2172"/>
                </a:lnTo>
                <a:lnTo>
                  <a:pt x="1768" y="2176"/>
                </a:lnTo>
                <a:lnTo>
                  <a:pt x="1771" y="2178"/>
                </a:lnTo>
                <a:lnTo>
                  <a:pt x="1767" y="2181"/>
                </a:lnTo>
                <a:lnTo>
                  <a:pt x="1766" y="2184"/>
                </a:lnTo>
                <a:lnTo>
                  <a:pt x="1766" y="2191"/>
                </a:lnTo>
                <a:lnTo>
                  <a:pt x="1763" y="2192"/>
                </a:lnTo>
                <a:lnTo>
                  <a:pt x="1763" y="2203"/>
                </a:lnTo>
                <a:lnTo>
                  <a:pt x="1761" y="2203"/>
                </a:lnTo>
                <a:lnTo>
                  <a:pt x="1759" y="2210"/>
                </a:lnTo>
                <a:lnTo>
                  <a:pt x="1759" y="2214"/>
                </a:lnTo>
                <a:lnTo>
                  <a:pt x="1763" y="2221"/>
                </a:lnTo>
                <a:lnTo>
                  <a:pt x="1763" y="2222"/>
                </a:lnTo>
                <a:lnTo>
                  <a:pt x="1759" y="2224"/>
                </a:lnTo>
                <a:lnTo>
                  <a:pt x="1759" y="2228"/>
                </a:lnTo>
                <a:lnTo>
                  <a:pt x="1774" y="2237"/>
                </a:lnTo>
                <a:lnTo>
                  <a:pt x="1780" y="2242"/>
                </a:lnTo>
                <a:lnTo>
                  <a:pt x="1781" y="2243"/>
                </a:lnTo>
                <a:lnTo>
                  <a:pt x="1775" y="2248"/>
                </a:lnTo>
                <a:lnTo>
                  <a:pt x="1775" y="2252"/>
                </a:lnTo>
                <a:lnTo>
                  <a:pt x="1783" y="2262"/>
                </a:lnTo>
                <a:lnTo>
                  <a:pt x="1785" y="2262"/>
                </a:lnTo>
                <a:lnTo>
                  <a:pt x="1787" y="2262"/>
                </a:lnTo>
                <a:lnTo>
                  <a:pt x="1789" y="2270"/>
                </a:lnTo>
                <a:lnTo>
                  <a:pt x="1775" y="2283"/>
                </a:lnTo>
                <a:lnTo>
                  <a:pt x="1775" y="2290"/>
                </a:lnTo>
                <a:lnTo>
                  <a:pt x="1764" y="2296"/>
                </a:lnTo>
                <a:lnTo>
                  <a:pt x="1742" y="2302"/>
                </a:lnTo>
                <a:lnTo>
                  <a:pt x="1726" y="2306"/>
                </a:lnTo>
                <a:lnTo>
                  <a:pt x="1715" y="2306"/>
                </a:lnTo>
                <a:lnTo>
                  <a:pt x="1707" y="2303"/>
                </a:lnTo>
                <a:lnTo>
                  <a:pt x="1708" y="2305"/>
                </a:lnTo>
                <a:lnTo>
                  <a:pt x="1707" y="2311"/>
                </a:lnTo>
                <a:lnTo>
                  <a:pt x="1712" y="2315"/>
                </a:lnTo>
                <a:lnTo>
                  <a:pt x="1708" y="2315"/>
                </a:lnTo>
                <a:lnTo>
                  <a:pt x="1712" y="2319"/>
                </a:lnTo>
                <a:lnTo>
                  <a:pt x="1709" y="2323"/>
                </a:lnTo>
                <a:lnTo>
                  <a:pt x="1708" y="2323"/>
                </a:lnTo>
                <a:lnTo>
                  <a:pt x="1707" y="2328"/>
                </a:lnTo>
                <a:lnTo>
                  <a:pt x="1705" y="2328"/>
                </a:lnTo>
                <a:lnTo>
                  <a:pt x="1708" y="2333"/>
                </a:lnTo>
                <a:lnTo>
                  <a:pt x="1707" y="2335"/>
                </a:lnTo>
                <a:lnTo>
                  <a:pt x="1709" y="2335"/>
                </a:lnTo>
                <a:lnTo>
                  <a:pt x="1707" y="2342"/>
                </a:lnTo>
                <a:lnTo>
                  <a:pt x="1697" y="2347"/>
                </a:lnTo>
                <a:lnTo>
                  <a:pt x="1686" y="2347"/>
                </a:lnTo>
                <a:lnTo>
                  <a:pt x="1674" y="2341"/>
                </a:lnTo>
                <a:lnTo>
                  <a:pt x="1671" y="2339"/>
                </a:lnTo>
                <a:lnTo>
                  <a:pt x="1668" y="2339"/>
                </a:lnTo>
                <a:lnTo>
                  <a:pt x="1667" y="2338"/>
                </a:lnTo>
                <a:lnTo>
                  <a:pt x="1667" y="2343"/>
                </a:lnTo>
                <a:lnTo>
                  <a:pt x="1668" y="2349"/>
                </a:lnTo>
                <a:lnTo>
                  <a:pt x="1667" y="2358"/>
                </a:lnTo>
                <a:lnTo>
                  <a:pt x="1668" y="2360"/>
                </a:lnTo>
                <a:lnTo>
                  <a:pt x="1676" y="2364"/>
                </a:lnTo>
                <a:lnTo>
                  <a:pt x="1675" y="2367"/>
                </a:lnTo>
                <a:lnTo>
                  <a:pt x="1676" y="2367"/>
                </a:lnTo>
                <a:lnTo>
                  <a:pt x="1677" y="2367"/>
                </a:lnTo>
                <a:lnTo>
                  <a:pt x="1685" y="2361"/>
                </a:lnTo>
                <a:lnTo>
                  <a:pt x="1687" y="2364"/>
                </a:lnTo>
                <a:lnTo>
                  <a:pt x="1687" y="2369"/>
                </a:lnTo>
                <a:lnTo>
                  <a:pt x="1686" y="2372"/>
                </a:lnTo>
                <a:lnTo>
                  <a:pt x="1681" y="2375"/>
                </a:lnTo>
                <a:lnTo>
                  <a:pt x="1679" y="2372"/>
                </a:lnTo>
                <a:lnTo>
                  <a:pt x="1679" y="2369"/>
                </a:lnTo>
                <a:lnTo>
                  <a:pt x="1677" y="2367"/>
                </a:lnTo>
                <a:lnTo>
                  <a:pt x="1667" y="2371"/>
                </a:lnTo>
                <a:lnTo>
                  <a:pt x="1667" y="2372"/>
                </a:lnTo>
                <a:lnTo>
                  <a:pt x="1679" y="2376"/>
                </a:lnTo>
                <a:lnTo>
                  <a:pt x="1670" y="2380"/>
                </a:lnTo>
                <a:lnTo>
                  <a:pt x="1663" y="2389"/>
                </a:lnTo>
                <a:lnTo>
                  <a:pt x="1663" y="2391"/>
                </a:lnTo>
                <a:lnTo>
                  <a:pt x="1664" y="2394"/>
                </a:lnTo>
                <a:lnTo>
                  <a:pt x="1663" y="2399"/>
                </a:lnTo>
                <a:lnTo>
                  <a:pt x="1664" y="2400"/>
                </a:lnTo>
                <a:lnTo>
                  <a:pt x="1663" y="2403"/>
                </a:lnTo>
                <a:lnTo>
                  <a:pt x="1658" y="2406"/>
                </a:lnTo>
                <a:lnTo>
                  <a:pt x="1658" y="2409"/>
                </a:lnTo>
                <a:lnTo>
                  <a:pt x="1658" y="2414"/>
                </a:lnTo>
                <a:lnTo>
                  <a:pt x="1649" y="2413"/>
                </a:lnTo>
                <a:lnTo>
                  <a:pt x="1639" y="2417"/>
                </a:lnTo>
                <a:lnTo>
                  <a:pt x="1630" y="2432"/>
                </a:lnTo>
                <a:lnTo>
                  <a:pt x="1629" y="2436"/>
                </a:lnTo>
                <a:lnTo>
                  <a:pt x="1630" y="2440"/>
                </a:lnTo>
                <a:lnTo>
                  <a:pt x="1641" y="2449"/>
                </a:lnTo>
                <a:lnTo>
                  <a:pt x="1652" y="2452"/>
                </a:lnTo>
                <a:lnTo>
                  <a:pt x="1654" y="2453"/>
                </a:lnTo>
                <a:lnTo>
                  <a:pt x="1654" y="2459"/>
                </a:lnTo>
                <a:lnTo>
                  <a:pt x="1654" y="2465"/>
                </a:lnTo>
                <a:lnTo>
                  <a:pt x="1653" y="2466"/>
                </a:lnTo>
                <a:lnTo>
                  <a:pt x="1656" y="2471"/>
                </a:lnTo>
                <a:lnTo>
                  <a:pt x="1650" y="2471"/>
                </a:lnTo>
                <a:lnTo>
                  <a:pt x="1650" y="2471"/>
                </a:lnTo>
                <a:lnTo>
                  <a:pt x="1635" y="2481"/>
                </a:lnTo>
                <a:lnTo>
                  <a:pt x="1630" y="2489"/>
                </a:lnTo>
                <a:lnTo>
                  <a:pt x="1629" y="2493"/>
                </a:lnTo>
                <a:lnTo>
                  <a:pt x="1626" y="2495"/>
                </a:lnTo>
                <a:lnTo>
                  <a:pt x="1629" y="2494"/>
                </a:lnTo>
                <a:lnTo>
                  <a:pt x="1628" y="2505"/>
                </a:lnTo>
                <a:lnTo>
                  <a:pt x="1626" y="2508"/>
                </a:lnTo>
                <a:lnTo>
                  <a:pt x="1618" y="2511"/>
                </a:lnTo>
                <a:lnTo>
                  <a:pt x="1615" y="2507"/>
                </a:lnTo>
                <a:lnTo>
                  <a:pt x="1610" y="2511"/>
                </a:lnTo>
                <a:lnTo>
                  <a:pt x="1615" y="2511"/>
                </a:lnTo>
                <a:lnTo>
                  <a:pt x="1617" y="2512"/>
                </a:lnTo>
                <a:lnTo>
                  <a:pt x="1610" y="2516"/>
                </a:lnTo>
                <a:lnTo>
                  <a:pt x="1608" y="2519"/>
                </a:lnTo>
                <a:lnTo>
                  <a:pt x="1607" y="2525"/>
                </a:lnTo>
                <a:lnTo>
                  <a:pt x="1603" y="2528"/>
                </a:lnTo>
                <a:lnTo>
                  <a:pt x="1607" y="2528"/>
                </a:lnTo>
                <a:lnTo>
                  <a:pt x="1610" y="2540"/>
                </a:lnTo>
                <a:lnTo>
                  <a:pt x="1600" y="2543"/>
                </a:lnTo>
                <a:lnTo>
                  <a:pt x="1610" y="2543"/>
                </a:lnTo>
                <a:lnTo>
                  <a:pt x="1614" y="2553"/>
                </a:lnTo>
                <a:lnTo>
                  <a:pt x="1614" y="2553"/>
                </a:lnTo>
                <a:lnTo>
                  <a:pt x="1616" y="2554"/>
                </a:lnTo>
                <a:lnTo>
                  <a:pt x="1614" y="2553"/>
                </a:lnTo>
                <a:lnTo>
                  <a:pt x="1614" y="2555"/>
                </a:lnTo>
                <a:lnTo>
                  <a:pt x="1603" y="2550"/>
                </a:lnTo>
                <a:lnTo>
                  <a:pt x="1602" y="2551"/>
                </a:lnTo>
                <a:lnTo>
                  <a:pt x="1602" y="2554"/>
                </a:lnTo>
                <a:lnTo>
                  <a:pt x="1600" y="2557"/>
                </a:lnTo>
                <a:lnTo>
                  <a:pt x="1597" y="2555"/>
                </a:lnTo>
                <a:lnTo>
                  <a:pt x="1582" y="2561"/>
                </a:lnTo>
                <a:lnTo>
                  <a:pt x="1582" y="2566"/>
                </a:lnTo>
                <a:lnTo>
                  <a:pt x="1582" y="2574"/>
                </a:lnTo>
                <a:lnTo>
                  <a:pt x="1582" y="2582"/>
                </a:lnTo>
                <a:lnTo>
                  <a:pt x="1578" y="2586"/>
                </a:lnTo>
                <a:lnTo>
                  <a:pt x="1565" y="2581"/>
                </a:lnTo>
                <a:lnTo>
                  <a:pt x="1560" y="2576"/>
                </a:lnTo>
                <a:lnTo>
                  <a:pt x="1564" y="2576"/>
                </a:lnTo>
                <a:lnTo>
                  <a:pt x="1565" y="2576"/>
                </a:lnTo>
                <a:lnTo>
                  <a:pt x="1566" y="2574"/>
                </a:lnTo>
                <a:lnTo>
                  <a:pt x="1566" y="2572"/>
                </a:lnTo>
                <a:lnTo>
                  <a:pt x="1570" y="2572"/>
                </a:lnTo>
                <a:lnTo>
                  <a:pt x="1570" y="2575"/>
                </a:lnTo>
                <a:lnTo>
                  <a:pt x="1567" y="2579"/>
                </a:lnTo>
                <a:lnTo>
                  <a:pt x="1570" y="2578"/>
                </a:lnTo>
                <a:lnTo>
                  <a:pt x="1571" y="2571"/>
                </a:lnTo>
                <a:lnTo>
                  <a:pt x="1576" y="2569"/>
                </a:lnTo>
                <a:lnTo>
                  <a:pt x="1578" y="2563"/>
                </a:lnTo>
                <a:lnTo>
                  <a:pt x="1578" y="2562"/>
                </a:lnTo>
                <a:lnTo>
                  <a:pt x="1572" y="2563"/>
                </a:lnTo>
                <a:lnTo>
                  <a:pt x="1567" y="2569"/>
                </a:lnTo>
                <a:lnTo>
                  <a:pt x="1564" y="2567"/>
                </a:lnTo>
                <a:lnTo>
                  <a:pt x="1559" y="2570"/>
                </a:lnTo>
                <a:lnTo>
                  <a:pt x="1565" y="2572"/>
                </a:lnTo>
                <a:lnTo>
                  <a:pt x="1560" y="2572"/>
                </a:lnTo>
                <a:lnTo>
                  <a:pt x="1562" y="2574"/>
                </a:lnTo>
                <a:lnTo>
                  <a:pt x="1560" y="2576"/>
                </a:lnTo>
                <a:lnTo>
                  <a:pt x="1557" y="2576"/>
                </a:lnTo>
                <a:lnTo>
                  <a:pt x="1560" y="2579"/>
                </a:lnTo>
                <a:lnTo>
                  <a:pt x="1554" y="2575"/>
                </a:lnTo>
                <a:lnTo>
                  <a:pt x="1553" y="2576"/>
                </a:lnTo>
                <a:lnTo>
                  <a:pt x="1546" y="2571"/>
                </a:lnTo>
                <a:lnTo>
                  <a:pt x="1546" y="2569"/>
                </a:lnTo>
                <a:lnTo>
                  <a:pt x="1551" y="2571"/>
                </a:lnTo>
                <a:lnTo>
                  <a:pt x="1557" y="2574"/>
                </a:lnTo>
                <a:lnTo>
                  <a:pt x="1556" y="2572"/>
                </a:lnTo>
                <a:lnTo>
                  <a:pt x="1557" y="2572"/>
                </a:lnTo>
                <a:lnTo>
                  <a:pt x="1553" y="2572"/>
                </a:lnTo>
                <a:lnTo>
                  <a:pt x="1556" y="2569"/>
                </a:lnTo>
                <a:lnTo>
                  <a:pt x="1553" y="2563"/>
                </a:lnTo>
                <a:lnTo>
                  <a:pt x="1557" y="2561"/>
                </a:lnTo>
                <a:lnTo>
                  <a:pt x="1560" y="2562"/>
                </a:lnTo>
                <a:lnTo>
                  <a:pt x="1564" y="2560"/>
                </a:lnTo>
                <a:lnTo>
                  <a:pt x="1562" y="2560"/>
                </a:lnTo>
                <a:lnTo>
                  <a:pt x="1557" y="2560"/>
                </a:lnTo>
                <a:lnTo>
                  <a:pt x="1552" y="2564"/>
                </a:lnTo>
                <a:lnTo>
                  <a:pt x="1553" y="2567"/>
                </a:lnTo>
                <a:lnTo>
                  <a:pt x="1550" y="2569"/>
                </a:lnTo>
                <a:lnTo>
                  <a:pt x="1546" y="2567"/>
                </a:lnTo>
                <a:lnTo>
                  <a:pt x="1547" y="2566"/>
                </a:lnTo>
                <a:lnTo>
                  <a:pt x="1543" y="2564"/>
                </a:lnTo>
                <a:lnTo>
                  <a:pt x="1545" y="2564"/>
                </a:lnTo>
                <a:lnTo>
                  <a:pt x="1546" y="2564"/>
                </a:lnTo>
                <a:lnTo>
                  <a:pt x="1549" y="2564"/>
                </a:lnTo>
                <a:lnTo>
                  <a:pt x="1550" y="2560"/>
                </a:lnTo>
                <a:lnTo>
                  <a:pt x="1553" y="2560"/>
                </a:lnTo>
                <a:lnTo>
                  <a:pt x="1550" y="2556"/>
                </a:lnTo>
                <a:lnTo>
                  <a:pt x="1549" y="2561"/>
                </a:lnTo>
                <a:lnTo>
                  <a:pt x="1548" y="2560"/>
                </a:lnTo>
                <a:lnTo>
                  <a:pt x="1542" y="2561"/>
                </a:lnTo>
                <a:lnTo>
                  <a:pt x="1542" y="2560"/>
                </a:lnTo>
                <a:lnTo>
                  <a:pt x="1539" y="2561"/>
                </a:lnTo>
                <a:lnTo>
                  <a:pt x="1538" y="2557"/>
                </a:lnTo>
                <a:lnTo>
                  <a:pt x="1541" y="2555"/>
                </a:lnTo>
                <a:lnTo>
                  <a:pt x="1539" y="2552"/>
                </a:lnTo>
                <a:lnTo>
                  <a:pt x="1537" y="2554"/>
                </a:lnTo>
                <a:lnTo>
                  <a:pt x="1535" y="2551"/>
                </a:lnTo>
                <a:lnTo>
                  <a:pt x="1537" y="2551"/>
                </a:lnTo>
                <a:lnTo>
                  <a:pt x="1531" y="2550"/>
                </a:lnTo>
                <a:lnTo>
                  <a:pt x="1535" y="2546"/>
                </a:lnTo>
                <a:lnTo>
                  <a:pt x="1537" y="2549"/>
                </a:lnTo>
                <a:lnTo>
                  <a:pt x="1541" y="2552"/>
                </a:lnTo>
                <a:lnTo>
                  <a:pt x="1542" y="2554"/>
                </a:lnTo>
                <a:lnTo>
                  <a:pt x="1542" y="2554"/>
                </a:lnTo>
                <a:lnTo>
                  <a:pt x="1542" y="2555"/>
                </a:lnTo>
                <a:lnTo>
                  <a:pt x="1542" y="2555"/>
                </a:lnTo>
                <a:lnTo>
                  <a:pt x="1542" y="2558"/>
                </a:lnTo>
                <a:lnTo>
                  <a:pt x="1544" y="2557"/>
                </a:lnTo>
                <a:lnTo>
                  <a:pt x="1543" y="2555"/>
                </a:lnTo>
                <a:lnTo>
                  <a:pt x="1545" y="2551"/>
                </a:lnTo>
                <a:lnTo>
                  <a:pt x="1543" y="2547"/>
                </a:lnTo>
                <a:lnTo>
                  <a:pt x="1545" y="2551"/>
                </a:lnTo>
                <a:lnTo>
                  <a:pt x="1548" y="2551"/>
                </a:lnTo>
                <a:lnTo>
                  <a:pt x="1549" y="2549"/>
                </a:lnTo>
                <a:lnTo>
                  <a:pt x="1545" y="2546"/>
                </a:lnTo>
                <a:lnTo>
                  <a:pt x="1543" y="2543"/>
                </a:lnTo>
                <a:lnTo>
                  <a:pt x="1543" y="2543"/>
                </a:lnTo>
                <a:lnTo>
                  <a:pt x="1541" y="2539"/>
                </a:lnTo>
                <a:lnTo>
                  <a:pt x="1540" y="2539"/>
                </a:lnTo>
                <a:lnTo>
                  <a:pt x="1539" y="2539"/>
                </a:lnTo>
                <a:lnTo>
                  <a:pt x="1539" y="2539"/>
                </a:lnTo>
                <a:lnTo>
                  <a:pt x="1538" y="2539"/>
                </a:lnTo>
                <a:lnTo>
                  <a:pt x="1538" y="2539"/>
                </a:lnTo>
                <a:lnTo>
                  <a:pt x="1538" y="2534"/>
                </a:lnTo>
                <a:lnTo>
                  <a:pt x="1545" y="2539"/>
                </a:lnTo>
                <a:lnTo>
                  <a:pt x="1542" y="2532"/>
                </a:lnTo>
                <a:lnTo>
                  <a:pt x="1542" y="2531"/>
                </a:lnTo>
                <a:lnTo>
                  <a:pt x="1542" y="2528"/>
                </a:lnTo>
                <a:lnTo>
                  <a:pt x="1538" y="2531"/>
                </a:lnTo>
                <a:lnTo>
                  <a:pt x="1538" y="2532"/>
                </a:lnTo>
                <a:lnTo>
                  <a:pt x="1537" y="2534"/>
                </a:lnTo>
                <a:lnTo>
                  <a:pt x="1537" y="2532"/>
                </a:lnTo>
                <a:lnTo>
                  <a:pt x="1537" y="2531"/>
                </a:lnTo>
                <a:lnTo>
                  <a:pt x="1537" y="2531"/>
                </a:lnTo>
                <a:lnTo>
                  <a:pt x="1535" y="2528"/>
                </a:lnTo>
                <a:lnTo>
                  <a:pt x="1535" y="2528"/>
                </a:lnTo>
                <a:lnTo>
                  <a:pt x="1535" y="2528"/>
                </a:lnTo>
                <a:lnTo>
                  <a:pt x="1535" y="2528"/>
                </a:lnTo>
                <a:lnTo>
                  <a:pt x="1537" y="2527"/>
                </a:lnTo>
                <a:lnTo>
                  <a:pt x="1541" y="2527"/>
                </a:lnTo>
                <a:lnTo>
                  <a:pt x="1541" y="2521"/>
                </a:lnTo>
                <a:lnTo>
                  <a:pt x="1542" y="2520"/>
                </a:lnTo>
                <a:lnTo>
                  <a:pt x="1542" y="2520"/>
                </a:lnTo>
                <a:lnTo>
                  <a:pt x="1540" y="2517"/>
                </a:lnTo>
                <a:lnTo>
                  <a:pt x="1543" y="2515"/>
                </a:lnTo>
                <a:lnTo>
                  <a:pt x="1538" y="2516"/>
                </a:lnTo>
                <a:lnTo>
                  <a:pt x="1535" y="2515"/>
                </a:lnTo>
                <a:lnTo>
                  <a:pt x="1527" y="2511"/>
                </a:lnTo>
                <a:lnTo>
                  <a:pt x="1530" y="2509"/>
                </a:lnTo>
                <a:lnTo>
                  <a:pt x="1533" y="2508"/>
                </a:lnTo>
                <a:lnTo>
                  <a:pt x="1535" y="2511"/>
                </a:lnTo>
                <a:lnTo>
                  <a:pt x="1537" y="2512"/>
                </a:lnTo>
                <a:lnTo>
                  <a:pt x="1533" y="2507"/>
                </a:lnTo>
                <a:lnTo>
                  <a:pt x="1535" y="2507"/>
                </a:lnTo>
                <a:lnTo>
                  <a:pt x="1539" y="2509"/>
                </a:lnTo>
                <a:lnTo>
                  <a:pt x="1535" y="2505"/>
                </a:lnTo>
                <a:lnTo>
                  <a:pt x="1533" y="2505"/>
                </a:lnTo>
                <a:lnTo>
                  <a:pt x="1538" y="2503"/>
                </a:lnTo>
                <a:lnTo>
                  <a:pt x="1535" y="2503"/>
                </a:lnTo>
                <a:lnTo>
                  <a:pt x="1533" y="2501"/>
                </a:lnTo>
                <a:lnTo>
                  <a:pt x="1533" y="2501"/>
                </a:lnTo>
                <a:lnTo>
                  <a:pt x="1533" y="2501"/>
                </a:lnTo>
                <a:lnTo>
                  <a:pt x="1538" y="2498"/>
                </a:lnTo>
                <a:lnTo>
                  <a:pt x="1536" y="2497"/>
                </a:lnTo>
                <a:lnTo>
                  <a:pt x="1535" y="2499"/>
                </a:lnTo>
                <a:lnTo>
                  <a:pt x="1534" y="2498"/>
                </a:lnTo>
                <a:lnTo>
                  <a:pt x="1535" y="2498"/>
                </a:lnTo>
                <a:lnTo>
                  <a:pt x="1533" y="2497"/>
                </a:lnTo>
                <a:lnTo>
                  <a:pt x="1532" y="2497"/>
                </a:lnTo>
                <a:lnTo>
                  <a:pt x="1530" y="2484"/>
                </a:lnTo>
                <a:lnTo>
                  <a:pt x="1530" y="2483"/>
                </a:lnTo>
                <a:lnTo>
                  <a:pt x="1530" y="2483"/>
                </a:lnTo>
                <a:lnTo>
                  <a:pt x="1530" y="2483"/>
                </a:lnTo>
                <a:lnTo>
                  <a:pt x="1530" y="2483"/>
                </a:lnTo>
                <a:lnTo>
                  <a:pt x="1530" y="2482"/>
                </a:lnTo>
                <a:lnTo>
                  <a:pt x="1530" y="2481"/>
                </a:lnTo>
                <a:lnTo>
                  <a:pt x="1530" y="2482"/>
                </a:lnTo>
                <a:lnTo>
                  <a:pt x="1530" y="2483"/>
                </a:lnTo>
                <a:lnTo>
                  <a:pt x="1529" y="2483"/>
                </a:lnTo>
                <a:lnTo>
                  <a:pt x="1525" y="2482"/>
                </a:lnTo>
                <a:lnTo>
                  <a:pt x="1523" y="2482"/>
                </a:lnTo>
                <a:lnTo>
                  <a:pt x="1523" y="2485"/>
                </a:lnTo>
                <a:lnTo>
                  <a:pt x="1520" y="2482"/>
                </a:lnTo>
                <a:lnTo>
                  <a:pt x="1522" y="2481"/>
                </a:lnTo>
                <a:lnTo>
                  <a:pt x="1522" y="2481"/>
                </a:lnTo>
                <a:lnTo>
                  <a:pt x="1523" y="2481"/>
                </a:lnTo>
                <a:lnTo>
                  <a:pt x="1523" y="2481"/>
                </a:lnTo>
                <a:lnTo>
                  <a:pt x="1522" y="2480"/>
                </a:lnTo>
                <a:lnTo>
                  <a:pt x="1519" y="2481"/>
                </a:lnTo>
                <a:lnTo>
                  <a:pt x="1519" y="2481"/>
                </a:lnTo>
                <a:lnTo>
                  <a:pt x="1516" y="2482"/>
                </a:lnTo>
                <a:lnTo>
                  <a:pt x="1517" y="2483"/>
                </a:lnTo>
                <a:lnTo>
                  <a:pt x="1514" y="2483"/>
                </a:lnTo>
                <a:lnTo>
                  <a:pt x="1514" y="2482"/>
                </a:lnTo>
                <a:lnTo>
                  <a:pt x="1514" y="2481"/>
                </a:lnTo>
                <a:lnTo>
                  <a:pt x="1514" y="2482"/>
                </a:lnTo>
                <a:lnTo>
                  <a:pt x="1515" y="2478"/>
                </a:lnTo>
                <a:lnTo>
                  <a:pt x="1518" y="2474"/>
                </a:lnTo>
                <a:lnTo>
                  <a:pt x="1514" y="2475"/>
                </a:lnTo>
                <a:lnTo>
                  <a:pt x="1514" y="2470"/>
                </a:lnTo>
                <a:lnTo>
                  <a:pt x="1517" y="2471"/>
                </a:lnTo>
                <a:lnTo>
                  <a:pt x="1519" y="2471"/>
                </a:lnTo>
                <a:lnTo>
                  <a:pt x="1522" y="2478"/>
                </a:lnTo>
                <a:lnTo>
                  <a:pt x="1526" y="2479"/>
                </a:lnTo>
                <a:lnTo>
                  <a:pt x="1527" y="2479"/>
                </a:lnTo>
                <a:lnTo>
                  <a:pt x="1526" y="2476"/>
                </a:lnTo>
                <a:lnTo>
                  <a:pt x="1527" y="2470"/>
                </a:lnTo>
                <a:lnTo>
                  <a:pt x="1530" y="2477"/>
                </a:lnTo>
                <a:lnTo>
                  <a:pt x="1530" y="2480"/>
                </a:lnTo>
                <a:lnTo>
                  <a:pt x="1533" y="2477"/>
                </a:lnTo>
                <a:lnTo>
                  <a:pt x="1534" y="2477"/>
                </a:lnTo>
                <a:lnTo>
                  <a:pt x="1538" y="2478"/>
                </a:lnTo>
                <a:lnTo>
                  <a:pt x="1535" y="2475"/>
                </a:lnTo>
                <a:lnTo>
                  <a:pt x="1537" y="2475"/>
                </a:lnTo>
                <a:lnTo>
                  <a:pt x="1535" y="2474"/>
                </a:lnTo>
                <a:lnTo>
                  <a:pt x="1535" y="2474"/>
                </a:lnTo>
                <a:lnTo>
                  <a:pt x="1535" y="2474"/>
                </a:lnTo>
                <a:lnTo>
                  <a:pt x="1535" y="2474"/>
                </a:lnTo>
                <a:lnTo>
                  <a:pt x="1535" y="2475"/>
                </a:lnTo>
                <a:lnTo>
                  <a:pt x="1534" y="2473"/>
                </a:lnTo>
                <a:lnTo>
                  <a:pt x="1535" y="2473"/>
                </a:lnTo>
                <a:lnTo>
                  <a:pt x="1534" y="2472"/>
                </a:lnTo>
                <a:lnTo>
                  <a:pt x="1533" y="2471"/>
                </a:lnTo>
                <a:lnTo>
                  <a:pt x="1541" y="2471"/>
                </a:lnTo>
                <a:lnTo>
                  <a:pt x="1545" y="2475"/>
                </a:lnTo>
                <a:lnTo>
                  <a:pt x="1546" y="2471"/>
                </a:lnTo>
                <a:lnTo>
                  <a:pt x="1548" y="2471"/>
                </a:lnTo>
                <a:lnTo>
                  <a:pt x="1545" y="2470"/>
                </a:lnTo>
                <a:lnTo>
                  <a:pt x="1543" y="2466"/>
                </a:lnTo>
                <a:lnTo>
                  <a:pt x="1549" y="2469"/>
                </a:lnTo>
                <a:lnTo>
                  <a:pt x="1545" y="2466"/>
                </a:lnTo>
                <a:lnTo>
                  <a:pt x="1542" y="2463"/>
                </a:lnTo>
                <a:lnTo>
                  <a:pt x="1542" y="2462"/>
                </a:lnTo>
                <a:lnTo>
                  <a:pt x="1542" y="2459"/>
                </a:lnTo>
                <a:lnTo>
                  <a:pt x="1540" y="2464"/>
                </a:lnTo>
                <a:lnTo>
                  <a:pt x="1539" y="2466"/>
                </a:lnTo>
                <a:lnTo>
                  <a:pt x="1536" y="2466"/>
                </a:lnTo>
                <a:lnTo>
                  <a:pt x="1535" y="2466"/>
                </a:lnTo>
                <a:lnTo>
                  <a:pt x="1535" y="2466"/>
                </a:lnTo>
                <a:lnTo>
                  <a:pt x="1527" y="2465"/>
                </a:lnTo>
                <a:lnTo>
                  <a:pt x="1530" y="2463"/>
                </a:lnTo>
                <a:lnTo>
                  <a:pt x="1533" y="2463"/>
                </a:lnTo>
                <a:lnTo>
                  <a:pt x="1534" y="2463"/>
                </a:lnTo>
                <a:lnTo>
                  <a:pt x="1534" y="2463"/>
                </a:lnTo>
                <a:lnTo>
                  <a:pt x="1533" y="2463"/>
                </a:lnTo>
                <a:lnTo>
                  <a:pt x="1530" y="2460"/>
                </a:lnTo>
                <a:lnTo>
                  <a:pt x="1533" y="2455"/>
                </a:lnTo>
                <a:lnTo>
                  <a:pt x="1537" y="2455"/>
                </a:lnTo>
                <a:lnTo>
                  <a:pt x="1539" y="2452"/>
                </a:lnTo>
                <a:lnTo>
                  <a:pt x="1538" y="2451"/>
                </a:lnTo>
                <a:lnTo>
                  <a:pt x="1539" y="2451"/>
                </a:lnTo>
                <a:lnTo>
                  <a:pt x="1538" y="2451"/>
                </a:lnTo>
                <a:lnTo>
                  <a:pt x="1538" y="2451"/>
                </a:lnTo>
                <a:lnTo>
                  <a:pt x="1538" y="2451"/>
                </a:lnTo>
                <a:lnTo>
                  <a:pt x="1537" y="2449"/>
                </a:lnTo>
                <a:lnTo>
                  <a:pt x="1535" y="2447"/>
                </a:lnTo>
                <a:lnTo>
                  <a:pt x="1530" y="2447"/>
                </a:lnTo>
                <a:lnTo>
                  <a:pt x="1531" y="2448"/>
                </a:lnTo>
                <a:lnTo>
                  <a:pt x="1524" y="2446"/>
                </a:lnTo>
                <a:lnTo>
                  <a:pt x="1523" y="2443"/>
                </a:lnTo>
                <a:lnTo>
                  <a:pt x="1518" y="2445"/>
                </a:lnTo>
                <a:lnTo>
                  <a:pt x="1519" y="2449"/>
                </a:lnTo>
                <a:lnTo>
                  <a:pt x="1517" y="2451"/>
                </a:lnTo>
                <a:lnTo>
                  <a:pt x="1516" y="2451"/>
                </a:lnTo>
                <a:lnTo>
                  <a:pt x="1515" y="2447"/>
                </a:lnTo>
                <a:lnTo>
                  <a:pt x="1514" y="2446"/>
                </a:lnTo>
                <a:lnTo>
                  <a:pt x="1515" y="2445"/>
                </a:lnTo>
                <a:lnTo>
                  <a:pt x="1514" y="2443"/>
                </a:lnTo>
                <a:lnTo>
                  <a:pt x="1514" y="2441"/>
                </a:lnTo>
                <a:lnTo>
                  <a:pt x="1518" y="2437"/>
                </a:lnTo>
                <a:lnTo>
                  <a:pt x="1518" y="2440"/>
                </a:lnTo>
                <a:lnTo>
                  <a:pt x="1522" y="2436"/>
                </a:lnTo>
                <a:lnTo>
                  <a:pt x="1526" y="2433"/>
                </a:lnTo>
                <a:lnTo>
                  <a:pt x="1527" y="2431"/>
                </a:lnTo>
                <a:lnTo>
                  <a:pt x="1533" y="2431"/>
                </a:lnTo>
                <a:lnTo>
                  <a:pt x="1537" y="2431"/>
                </a:lnTo>
                <a:lnTo>
                  <a:pt x="1538" y="2432"/>
                </a:lnTo>
                <a:lnTo>
                  <a:pt x="1539" y="2432"/>
                </a:lnTo>
                <a:lnTo>
                  <a:pt x="1533" y="2436"/>
                </a:lnTo>
                <a:lnTo>
                  <a:pt x="1538" y="2435"/>
                </a:lnTo>
                <a:lnTo>
                  <a:pt x="1539" y="2435"/>
                </a:lnTo>
                <a:lnTo>
                  <a:pt x="1541" y="2436"/>
                </a:lnTo>
                <a:lnTo>
                  <a:pt x="1538" y="2441"/>
                </a:lnTo>
                <a:lnTo>
                  <a:pt x="1541" y="2442"/>
                </a:lnTo>
                <a:lnTo>
                  <a:pt x="1545" y="2432"/>
                </a:lnTo>
                <a:lnTo>
                  <a:pt x="1542" y="2437"/>
                </a:lnTo>
                <a:lnTo>
                  <a:pt x="1542" y="2433"/>
                </a:lnTo>
                <a:lnTo>
                  <a:pt x="1543" y="2432"/>
                </a:lnTo>
                <a:lnTo>
                  <a:pt x="1542" y="2432"/>
                </a:lnTo>
                <a:lnTo>
                  <a:pt x="1542" y="2431"/>
                </a:lnTo>
                <a:lnTo>
                  <a:pt x="1543" y="2431"/>
                </a:lnTo>
                <a:lnTo>
                  <a:pt x="1542" y="2431"/>
                </a:lnTo>
                <a:lnTo>
                  <a:pt x="1548" y="2427"/>
                </a:lnTo>
                <a:lnTo>
                  <a:pt x="1544" y="2427"/>
                </a:lnTo>
                <a:lnTo>
                  <a:pt x="1545" y="2421"/>
                </a:lnTo>
                <a:lnTo>
                  <a:pt x="1549" y="2418"/>
                </a:lnTo>
                <a:lnTo>
                  <a:pt x="1552" y="2421"/>
                </a:lnTo>
                <a:lnTo>
                  <a:pt x="1555" y="2420"/>
                </a:lnTo>
                <a:lnTo>
                  <a:pt x="1547" y="2416"/>
                </a:lnTo>
                <a:lnTo>
                  <a:pt x="1542" y="2417"/>
                </a:lnTo>
                <a:lnTo>
                  <a:pt x="1542" y="2418"/>
                </a:lnTo>
                <a:lnTo>
                  <a:pt x="1540" y="2417"/>
                </a:lnTo>
                <a:lnTo>
                  <a:pt x="1541" y="2418"/>
                </a:lnTo>
                <a:lnTo>
                  <a:pt x="1538" y="2420"/>
                </a:lnTo>
                <a:lnTo>
                  <a:pt x="1537" y="2416"/>
                </a:lnTo>
                <a:lnTo>
                  <a:pt x="1534" y="2416"/>
                </a:lnTo>
                <a:lnTo>
                  <a:pt x="1534" y="2414"/>
                </a:lnTo>
                <a:lnTo>
                  <a:pt x="1540" y="2413"/>
                </a:lnTo>
                <a:lnTo>
                  <a:pt x="1542" y="2414"/>
                </a:lnTo>
                <a:lnTo>
                  <a:pt x="1542" y="2415"/>
                </a:lnTo>
                <a:lnTo>
                  <a:pt x="1542" y="2416"/>
                </a:lnTo>
                <a:lnTo>
                  <a:pt x="1542" y="2416"/>
                </a:lnTo>
                <a:lnTo>
                  <a:pt x="1542" y="2416"/>
                </a:lnTo>
                <a:lnTo>
                  <a:pt x="1542" y="2415"/>
                </a:lnTo>
                <a:lnTo>
                  <a:pt x="1547" y="2414"/>
                </a:lnTo>
                <a:lnTo>
                  <a:pt x="1548" y="2412"/>
                </a:lnTo>
                <a:lnTo>
                  <a:pt x="1549" y="2412"/>
                </a:lnTo>
                <a:lnTo>
                  <a:pt x="1549" y="2411"/>
                </a:lnTo>
                <a:lnTo>
                  <a:pt x="1548" y="2411"/>
                </a:lnTo>
                <a:lnTo>
                  <a:pt x="1545" y="2408"/>
                </a:lnTo>
                <a:lnTo>
                  <a:pt x="1545" y="2407"/>
                </a:lnTo>
                <a:lnTo>
                  <a:pt x="1544" y="2407"/>
                </a:lnTo>
                <a:lnTo>
                  <a:pt x="1544" y="2407"/>
                </a:lnTo>
                <a:lnTo>
                  <a:pt x="1546" y="2405"/>
                </a:lnTo>
                <a:lnTo>
                  <a:pt x="1546" y="2401"/>
                </a:lnTo>
                <a:lnTo>
                  <a:pt x="1546" y="2401"/>
                </a:lnTo>
                <a:lnTo>
                  <a:pt x="1550" y="2403"/>
                </a:lnTo>
                <a:lnTo>
                  <a:pt x="1552" y="2403"/>
                </a:lnTo>
                <a:lnTo>
                  <a:pt x="1556" y="2403"/>
                </a:lnTo>
                <a:lnTo>
                  <a:pt x="1554" y="2406"/>
                </a:lnTo>
                <a:lnTo>
                  <a:pt x="1554" y="2408"/>
                </a:lnTo>
                <a:lnTo>
                  <a:pt x="1558" y="2402"/>
                </a:lnTo>
                <a:lnTo>
                  <a:pt x="1558" y="2401"/>
                </a:lnTo>
                <a:lnTo>
                  <a:pt x="1556" y="2402"/>
                </a:lnTo>
                <a:lnTo>
                  <a:pt x="1548" y="2397"/>
                </a:lnTo>
                <a:lnTo>
                  <a:pt x="1549" y="2395"/>
                </a:lnTo>
                <a:lnTo>
                  <a:pt x="1550" y="2395"/>
                </a:lnTo>
                <a:lnTo>
                  <a:pt x="1550" y="2395"/>
                </a:lnTo>
                <a:lnTo>
                  <a:pt x="1552" y="2391"/>
                </a:lnTo>
                <a:lnTo>
                  <a:pt x="1550" y="2385"/>
                </a:lnTo>
                <a:lnTo>
                  <a:pt x="1552" y="2382"/>
                </a:lnTo>
                <a:lnTo>
                  <a:pt x="1553" y="2380"/>
                </a:lnTo>
                <a:lnTo>
                  <a:pt x="1556" y="2379"/>
                </a:lnTo>
                <a:lnTo>
                  <a:pt x="1557" y="2379"/>
                </a:lnTo>
                <a:lnTo>
                  <a:pt x="1554" y="2368"/>
                </a:lnTo>
                <a:lnTo>
                  <a:pt x="1554" y="2367"/>
                </a:lnTo>
                <a:lnTo>
                  <a:pt x="1559" y="2368"/>
                </a:lnTo>
                <a:lnTo>
                  <a:pt x="1556" y="2363"/>
                </a:lnTo>
                <a:lnTo>
                  <a:pt x="1558" y="2361"/>
                </a:lnTo>
                <a:lnTo>
                  <a:pt x="1561" y="2367"/>
                </a:lnTo>
                <a:lnTo>
                  <a:pt x="1558" y="2359"/>
                </a:lnTo>
                <a:lnTo>
                  <a:pt x="1557" y="2359"/>
                </a:lnTo>
                <a:lnTo>
                  <a:pt x="1556" y="2358"/>
                </a:lnTo>
                <a:lnTo>
                  <a:pt x="1557" y="2356"/>
                </a:lnTo>
                <a:lnTo>
                  <a:pt x="1562" y="2355"/>
                </a:lnTo>
                <a:lnTo>
                  <a:pt x="1559" y="2355"/>
                </a:lnTo>
                <a:lnTo>
                  <a:pt x="1553" y="2351"/>
                </a:lnTo>
                <a:lnTo>
                  <a:pt x="1550" y="2351"/>
                </a:lnTo>
                <a:lnTo>
                  <a:pt x="1550" y="2352"/>
                </a:lnTo>
                <a:lnTo>
                  <a:pt x="1549" y="2355"/>
                </a:lnTo>
                <a:lnTo>
                  <a:pt x="1543" y="2355"/>
                </a:lnTo>
                <a:lnTo>
                  <a:pt x="1545" y="2349"/>
                </a:lnTo>
                <a:lnTo>
                  <a:pt x="1543" y="2351"/>
                </a:lnTo>
                <a:lnTo>
                  <a:pt x="1539" y="2349"/>
                </a:lnTo>
                <a:lnTo>
                  <a:pt x="1538" y="2340"/>
                </a:lnTo>
                <a:lnTo>
                  <a:pt x="1542" y="2332"/>
                </a:lnTo>
                <a:lnTo>
                  <a:pt x="1542" y="2326"/>
                </a:lnTo>
                <a:lnTo>
                  <a:pt x="1542" y="2324"/>
                </a:lnTo>
                <a:lnTo>
                  <a:pt x="1542" y="2322"/>
                </a:lnTo>
                <a:lnTo>
                  <a:pt x="1548" y="2322"/>
                </a:lnTo>
                <a:lnTo>
                  <a:pt x="1549" y="2312"/>
                </a:lnTo>
                <a:lnTo>
                  <a:pt x="1545" y="2294"/>
                </a:lnTo>
                <a:lnTo>
                  <a:pt x="1546" y="2287"/>
                </a:lnTo>
                <a:lnTo>
                  <a:pt x="1543" y="2283"/>
                </a:lnTo>
                <a:lnTo>
                  <a:pt x="1545" y="2278"/>
                </a:lnTo>
                <a:lnTo>
                  <a:pt x="1543" y="2277"/>
                </a:lnTo>
                <a:lnTo>
                  <a:pt x="1545" y="2274"/>
                </a:lnTo>
                <a:lnTo>
                  <a:pt x="1548" y="2274"/>
                </a:lnTo>
                <a:lnTo>
                  <a:pt x="1550" y="2271"/>
                </a:lnTo>
                <a:lnTo>
                  <a:pt x="1550" y="2266"/>
                </a:lnTo>
                <a:lnTo>
                  <a:pt x="1552" y="2266"/>
                </a:lnTo>
                <a:lnTo>
                  <a:pt x="1556" y="2253"/>
                </a:lnTo>
                <a:lnTo>
                  <a:pt x="1558" y="2249"/>
                </a:lnTo>
                <a:lnTo>
                  <a:pt x="1558" y="2244"/>
                </a:lnTo>
                <a:lnTo>
                  <a:pt x="1563" y="2237"/>
                </a:lnTo>
                <a:lnTo>
                  <a:pt x="1568" y="2225"/>
                </a:lnTo>
                <a:lnTo>
                  <a:pt x="1567" y="2221"/>
                </a:lnTo>
                <a:lnTo>
                  <a:pt x="1570" y="2215"/>
                </a:lnTo>
                <a:lnTo>
                  <a:pt x="1572" y="2214"/>
                </a:lnTo>
                <a:lnTo>
                  <a:pt x="1571" y="2203"/>
                </a:lnTo>
                <a:lnTo>
                  <a:pt x="1571" y="2203"/>
                </a:lnTo>
                <a:lnTo>
                  <a:pt x="1574" y="2196"/>
                </a:lnTo>
                <a:lnTo>
                  <a:pt x="1574" y="2192"/>
                </a:lnTo>
                <a:lnTo>
                  <a:pt x="1574" y="2190"/>
                </a:lnTo>
                <a:lnTo>
                  <a:pt x="1574" y="2181"/>
                </a:lnTo>
                <a:lnTo>
                  <a:pt x="1570" y="2164"/>
                </a:lnTo>
                <a:lnTo>
                  <a:pt x="1570" y="2158"/>
                </a:lnTo>
                <a:lnTo>
                  <a:pt x="1573" y="2157"/>
                </a:lnTo>
                <a:lnTo>
                  <a:pt x="1574" y="2152"/>
                </a:lnTo>
                <a:lnTo>
                  <a:pt x="1574" y="2144"/>
                </a:lnTo>
                <a:lnTo>
                  <a:pt x="1574" y="2141"/>
                </a:lnTo>
                <a:lnTo>
                  <a:pt x="1574" y="2135"/>
                </a:lnTo>
                <a:lnTo>
                  <a:pt x="1578" y="2125"/>
                </a:lnTo>
                <a:lnTo>
                  <a:pt x="1581" y="2118"/>
                </a:lnTo>
                <a:lnTo>
                  <a:pt x="1582" y="2114"/>
                </a:lnTo>
                <a:lnTo>
                  <a:pt x="1582" y="2107"/>
                </a:lnTo>
                <a:lnTo>
                  <a:pt x="1582" y="2104"/>
                </a:lnTo>
                <a:lnTo>
                  <a:pt x="1582" y="2103"/>
                </a:lnTo>
                <a:lnTo>
                  <a:pt x="1586" y="2093"/>
                </a:lnTo>
                <a:lnTo>
                  <a:pt x="1586" y="2088"/>
                </a:lnTo>
                <a:lnTo>
                  <a:pt x="1586" y="2085"/>
                </a:lnTo>
                <a:lnTo>
                  <a:pt x="1590" y="2078"/>
                </a:lnTo>
                <a:lnTo>
                  <a:pt x="1587" y="2067"/>
                </a:lnTo>
                <a:lnTo>
                  <a:pt x="1589" y="2054"/>
                </a:lnTo>
                <a:lnTo>
                  <a:pt x="1590" y="2050"/>
                </a:lnTo>
                <a:lnTo>
                  <a:pt x="1589" y="2049"/>
                </a:lnTo>
                <a:lnTo>
                  <a:pt x="1586" y="2049"/>
                </a:lnTo>
                <a:lnTo>
                  <a:pt x="1586" y="2045"/>
                </a:lnTo>
                <a:lnTo>
                  <a:pt x="1590" y="2045"/>
                </a:lnTo>
                <a:lnTo>
                  <a:pt x="1593" y="2039"/>
                </a:lnTo>
                <a:lnTo>
                  <a:pt x="1594" y="2020"/>
                </a:lnTo>
                <a:lnTo>
                  <a:pt x="1595" y="2015"/>
                </a:lnTo>
                <a:lnTo>
                  <a:pt x="1593" y="2006"/>
                </a:lnTo>
                <a:lnTo>
                  <a:pt x="1593" y="1993"/>
                </a:lnTo>
                <a:lnTo>
                  <a:pt x="1590" y="1976"/>
                </a:lnTo>
                <a:lnTo>
                  <a:pt x="1590" y="1970"/>
                </a:lnTo>
                <a:lnTo>
                  <a:pt x="1588" y="1971"/>
                </a:lnTo>
                <a:lnTo>
                  <a:pt x="1578" y="1961"/>
                </a:lnTo>
                <a:lnTo>
                  <a:pt x="1575" y="1954"/>
                </a:lnTo>
                <a:lnTo>
                  <a:pt x="1570" y="1952"/>
                </a:lnTo>
                <a:lnTo>
                  <a:pt x="1560" y="1946"/>
                </a:lnTo>
                <a:lnTo>
                  <a:pt x="1541" y="1938"/>
                </a:lnTo>
                <a:lnTo>
                  <a:pt x="1539" y="1934"/>
                </a:lnTo>
                <a:lnTo>
                  <a:pt x="1523" y="1927"/>
                </a:lnTo>
                <a:lnTo>
                  <a:pt x="1516" y="1918"/>
                </a:lnTo>
                <a:lnTo>
                  <a:pt x="1512" y="1915"/>
                </a:lnTo>
                <a:lnTo>
                  <a:pt x="1506" y="1908"/>
                </a:lnTo>
                <a:lnTo>
                  <a:pt x="1505" y="1905"/>
                </a:lnTo>
                <a:lnTo>
                  <a:pt x="1506" y="1905"/>
                </a:lnTo>
                <a:lnTo>
                  <a:pt x="1506" y="1895"/>
                </a:lnTo>
                <a:lnTo>
                  <a:pt x="1504" y="1890"/>
                </a:lnTo>
                <a:lnTo>
                  <a:pt x="1499" y="1880"/>
                </a:lnTo>
                <a:lnTo>
                  <a:pt x="1494" y="1875"/>
                </a:lnTo>
                <a:lnTo>
                  <a:pt x="1493" y="1869"/>
                </a:lnTo>
                <a:lnTo>
                  <a:pt x="1486" y="1864"/>
                </a:lnTo>
                <a:lnTo>
                  <a:pt x="1486" y="1857"/>
                </a:lnTo>
                <a:lnTo>
                  <a:pt x="1479" y="1849"/>
                </a:lnTo>
                <a:lnTo>
                  <a:pt x="1473" y="1830"/>
                </a:lnTo>
                <a:lnTo>
                  <a:pt x="1472" y="1830"/>
                </a:lnTo>
                <a:lnTo>
                  <a:pt x="1471" y="1822"/>
                </a:lnTo>
                <a:lnTo>
                  <a:pt x="1468" y="1817"/>
                </a:lnTo>
                <a:lnTo>
                  <a:pt x="1462" y="1811"/>
                </a:lnTo>
                <a:lnTo>
                  <a:pt x="1456" y="1798"/>
                </a:lnTo>
                <a:lnTo>
                  <a:pt x="1453" y="1794"/>
                </a:lnTo>
                <a:lnTo>
                  <a:pt x="1434" y="1784"/>
                </a:lnTo>
                <a:lnTo>
                  <a:pt x="1434" y="1780"/>
                </a:lnTo>
                <a:lnTo>
                  <a:pt x="1439" y="1780"/>
                </a:lnTo>
                <a:lnTo>
                  <a:pt x="1440" y="1776"/>
                </a:lnTo>
                <a:lnTo>
                  <a:pt x="1439" y="1774"/>
                </a:lnTo>
                <a:lnTo>
                  <a:pt x="1436" y="1770"/>
                </a:lnTo>
                <a:lnTo>
                  <a:pt x="1437" y="1768"/>
                </a:lnTo>
                <a:lnTo>
                  <a:pt x="1433" y="1763"/>
                </a:lnTo>
                <a:lnTo>
                  <a:pt x="1434" y="1757"/>
                </a:lnTo>
                <a:lnTo>
                  <a:pt x="1439" y="1749"/>
                </a:lnTo>
                <a:lnTo>
                  <a:pt x="1446" y="1742"/>
                </a:lnTo>
                <a:lnTo>
                  <a:pt x="1446" y="1741"/>
                </a:lnTo>
                <a:lnTo>
                  <a:pt x="1452" y="1739"/>
                </a:lnTo>
                <a:lnTo>
                  <a:pt x="1456" y="1730"/>
                </a:lnTo>
                <a:lnTo>
                  <a:pt x="1453" y="1727"/>
                </a:lnTo>
                <a:lnTo>
                  <a:pt x="1455" y="1721"/>
                </a:lnTo>
                <a:lnTo>
                  <a:pt x="1450" y="1724"/>
                </a:lnTo>
                <a:lnTo>
                  <a:pt x="1450" y="1727"/>
                </a:lnTo>
                <a:lnTo>
                  <a:pt x="1450" y="1730"/>
                </a:lnTo>
                <a:lnTo>
                  <a:pt x="1448" y="1732"/>
                </a:lnTo>
                <a:lnTo>
                  <a:pt x="1440" y="1727"/>
                </a:lnTo>
                <a:lnTo>
                  <a:pt x="1439" y="1724"/>
                </a:lnTo>
                <a:lnTo>
                  <a:pt x="1438" y="1724"/>
                </a:lnTo>
                <a:lnTo>
                  <a:pt x="1438" y="1720"/>
                </a:lnTo>
                <a:lnTo>
                  <a:pt x="1438" y="1716"/>
                </a:lnTo>
                <a:lnTo>
                  <a:pt x="1442" y="1713"/>
                </a:lnTo>
                <a:lnTo>
                  <a:pt x="1439" y="1708"/>
                </a:lnTo>
                <a:lnTo>
                  <a:pt x="1440" y="1708"/>
                </a:lnTo>
                <a:lnTo>
                  <a:pt x="1443" y="1708"/>
                </a:lnTo>
                <a:lnTo>
                  <a:pt x="1446" y="1702"/>
                </a:lnTo>
                <a:lnTo>
                  <a:pt x="1445" y="1697"/>
                </a:lnTo>
                <a:lnTo>
                  <a:pt x="1451" y="1690"/>
                </a:lnTo>
                <a:lnTo>
                  <a:pt x="1452" y="1687"/>
                </a:lnTo>
                <a:lnTo>
                  <a:pt x="1450" y="1682"/>
                </a:lnTo>
                <a:lnTo>
                  <a:pt x="1450" y="1679"/>
                </a:lnTo>
                <a:lnTo>
                  <a:pt x="1467" y="1675"/>
                </a:lnTo>
                <a:lnTo>
                  <a:pt x="1471" y="1671"/>
                </a:lnTo>
                <a:lnTo>
                  <a:pt x="1471" y="1671"/>
                </a:lnTo>
                <a:lnTo>
                  <a:pt x="1469" y="1669"/>
                </a:lnTo>
                <a:lnTo>
                  <a:pt x="1466" y="1668"/>
                </a:lnTo>
                <a:lnTo>
                  <a:pt x="1469" y="1664"/>
                </a:lnTo>
                <a:lnTo>
                  <a:pt x="1474" y="1666"/>
                </a:lnTo>
                <a:lnTo>
                  <a:pt x="1474" y="1663"/>
                </a:lnTo>
                <a:lnTo>
                  <a:pt x="1472" y="1660"/>
                </a:lnTo>
                <a:lnTo>
                  <a:pt x="1474" y="1657"/>
                </a:lnTo>
                <a:lnTo>
                  <a:pt x="1476" y="1656"/>
                </a:lnTo>
                <a:lnTo>
                  <a:pt x="1477" y="1656"/>
                </a:lnTo>
                <a:lnTo>
                  <a:pt x="1480" y="1656"/>
                </a:lnTo>
                <a:lnTo>
                  <a:pt x="1481" y="1656"/>
                </a:lnTo>
                <a:lnTo>
                  <a:pt x="1483" y="1656"/>
                </a:lnTo>
                <a:lnTo>
                  <a:pt x="1482" y="1654"/>
                </a:lnTo>
                <a:lnTo>
                  <a:pt x="1482" y="1653"/>
                </a:lnTo>
                <a:lnTo>
                  <a:pt x="1482" y="1652"/>
                </a:lnTo>
                <a:lnTo>
                  <a:pt x="1482" y="1653"/>
                </a:lnTo>
                <a:lnTo>
                  <a:pt x="1482" y="1652"/>
                </a:lnTo>
                <a:lnTo>
                  <a:pt x="1487" y="1645"/>
                </a:lnTo>
                <a:lnTo>
                  <a:pt x="1487" y="1644"/>
                </a:lnTo>
                <a:lnTo>
                  <a:pt x="1490" y="1644"/>
                </a:lnTo>
                <a:lnTo>
                  <a:pt x="1490" y="1643"/>
                </a:lnTo>
                <a:lnTo>
                  <a:pt x="1490" y="1641"/>
                </a:lnTo>
                <a:lnTo>
                  <a:pt x="1495" y="1636"/>
                </a:lnTo>
                <a:lnTo>
                  <a:pt x="1496" y="1633"/>
                </a:lnTo>
                <a:lnTo>
                  <a:pt x="1494" y="1635"/>
                </a:lnTo>
                <a:lnTo>
                  <a:pt x="1491" y="1633"/>
                </a:lnTo>
                <a:lnTo>
                  <a:pt x="1491" y="1633"/>
                </a:lnTo>
                <a:lnTo>
                  <a:pt x="1490" y="1633"/>
                </a:lnTo>
                <a:lnTo>
                  <a:pt x="1488" y="1632"/>
                </a:lnTo>
                <a:lnTo>
                  <a:pt x="1490" y="1632"/>
                </a:lnTo>
                <a:lnTo>
                  <a:pt x="1494" y="1630"/>
                </a:lnTo>
                <a:lnTo>
                  <a:pt x="1490" y="1627"/>
                </a:lnTo>
                <a:lnTo>
                  <a:pt x="1490" y="1626"/>
                </a:lnTo>
                <a:lnTo>
                  <a:pt x="1490" y="1626"/>
                </a:lnTo>
                <a:lnTo>
                  <a:pt x="1490" y="1626"/>
                </a:lnTo>
                <a:lnTo>
                  <a:pt x="1490" y="1623"/>
                </a:lnTo>
                <a:lnTo>
                  <a:pt x="1490" y="1614"/>
                </a:lnTo>
                <a:lnTo>
                  <a:pt x="1490" y="1610"/>
                </a:lnTo>
                <a:lnTo>
                  <a:pt x="1488" y="1609"/>
                </a:lnTo>
                <a:lnTo>
                  <a:pt x="1494" y="1605"/>
                </a:lnTo>
                <a:lnTo>
                  <a:pt x="1490" y="1598"/>
                </a:lnTo>
                <a:lnTo>
                  <a:pt x="1491" y="1595"/>
                </a:lnTo>
                <a:lnTo>
                  <a:pt x="1482" y="1584"/>
                </a:lnTo>
                <a:lnTo>
                  <a:pt x="1482" y="1581"/>
                </a:lnTo>
                <a:lnTo>
                  <a:pt x="1482" y="1583"/>
                </a:lnTo>
                <a:lnTo>
                  <a:pt x="1479" y="1577"/>
                </a:lnTo>
                <a:lnTo>
                  <a:pt x="1475" y="1571"/>
                </a:lnTo>
                <a:lnTo>
                  <a:pt x="1479" y="1571"/>
                </a:lnTo>
                <a:lnTo>
                  <a:pt x="1476" y="1567"/>
                </a:lnTo>
                <a:lnTo>
                  <a:pt x="1475" y="1567"/>
                </a:lnTo>
                <a:lnTo>
                  <a:pt x="1472" y="1563"/>
                </a:lnTo>
                <a:lnTo>
                  <a:pt x="1464" y="1557"/>
                </a:lnTo>
                <a:lnTo>
                  <a:pt x="1464" y="1556"/>
                </a:lnTo>
                <a:lnTo>
                  <a:pt x="1458" y="1557"/>
                </a:lnTo>
                <a:lnTo>
                  <a:pt x="1454" y="1559"/>
                </a:lnTo>
                <a:lnTo>
                  <a:pt x="1454" y="1563"/>
                </a:lnTo>
                <a:lnTo>
                  <a:pt x="1452" y="1565"/>
                </a:lnTo>
                <a:lnTo>
                  <a:pt x="1443" y="1568"/>
                </a:lnTo>
                <a:lnTo>
                  <a:pt x="1444" y="1571"/>
                </a:lnTo>
                <a:lnTo>
                  <a:pt x="1452" y="1577"/>
                </a:lnTo>
                <a:lnTo>
                  <a:pt x="1447" y="1581"/>
                </a:lnTo>
                <a:lnTo>
                  <a:pt x="1444" y="1584"/>
                </a:lnTo>
                <a:lnTo>
                  <a:pt x="1437" y="1584"/>
                </a:lnTo>
                <a:lnTo>
                  <a:pt x="1438" y="1583"/>
                </a:lnTo>
                <a:lnTo>
                  <a:pt x="1435" y="1575"/>
                </a:lnTo>
                <a:lnTo>
                  <a:pt x="1430" y="1575"/>
                </a:lnTo>
                <a:lnTo>
                  <a:pt x="1430" y="1579"/>
                </a:lnTo>
                <a:lnTo>
                  <a:pt x="1428" y="1579"/>
                </a:lnTo>
                <a:lnTo>
                  <a:pt x="1424" y="1571"/>
                </a:lnTo>
                <a:lnTo>
                  <a:pt x="1418" y="1571"/>
                </a:lnTo>
                <a:lnTo>
                  <a:pt x="1417" y="1567"/>
                </a:lnTo>
                <a:lnTo>
                  <a:pt x="1410" y="1567"/>
                </a:lnTo>
                <a:lnTo>
                  <a:pt x="1410" y="1567"/>
                </a:lnTo>
                <a:lnTo>
                  <a:pt x="1410" y="1567"/>
                </a:lnTo>
                <a:lnTo>
                  <a:pt x="1410" y="1567"/>
                </a:lnTo>
                <a:lnTo>
                  <a:pt x="1410" y="1567"/>
                </a:lnTo>
                <a:lnTo>
                  <a:pt x="1410" y="1567"/>
                </a:lnTo>
                <a:lnTo>
                  <a:pt x="1410" y="1569"/>
                </a:lnTo>
                <a:lnTo>
                  <a:pt x="1409" y="1568"/>
                </a:lnTo>
                <a:lnTo>
                  <a:pt x="1410" y="1567"/>
                </a:lnTo>
                <a:lnTo>
                  <a:pt x="1410" y="1567"/>
                </a:lnTo>
                <a:lnTo>
                  <a:pt x="1410" y="1567"/>
                </a:lnTo>
                <a:lnTo>
                  <a:pt x="1409" y="1567"/>
                </a:lnTo>
                <a:lnTo>
                  <a:pt x="1409" y="1568"/>
                </a:lnTo>
                <a:lnTo>
                  <a:pt x="1409" y="1568"/>
                </a:lnTo>
                <a:lnTo>
                  <a:pt x="1409" y="1567"/>
                </a:lnTo>
                <a:lnTo>
                  <a:pt x="1408" y="1567"/>
                </a:lnTo>
                <a:lnTo>
                  <a:pt x="1405" y="1571"/>
                </a:lnTo>
                <a:lnTo>
                  <a:pt x="1405" y="1567"/>
                </a:lnTo>
                <a:lnTo>
                  <a:pt x="1404" y="1567"/>
                </a:lnTo>
                <a:lnTo>
                  <a:pt x="1408" y="1565"/>
                </a:lnTo>
                <a:lnTo>
                  <a:pt x="1407" y="1565"/>
                </a:lnTo>
                <a:lnTo>
                  <a:pt x="1404" y="1563"/>
                </a:lnTo>
                <a:lnTo>
                  <a:pt x="1402" y="1563"/>
                </a:lnTo>
                <a:lnTo>
                  <a:pt x="1401" y="1565"/>
                </a:lnTo>
                <a:lnTo>
                  <a:pt x="1401" y="1566"/>
                </a:lnTo>
                <a:lnTo>
                  <a:pt x="1395" y="1564"/>
                </a:lnTo>
                <a:lnTo>
                  <a:pt x="1397" y="1560"/>
                </a:lnTo>
                <a:lnTo>
                  <a:pt x="1397" y="1557"/>
                </a:lnTo>
                <a:lnTo>
                  <a:pt x="1388" y="1550"/>
                </a:lnTo>
                <a:lnTo>
                  <a:pt x="1385" y="1550"/>
                </a:lnTo>
                <a:lnTo>
                  <a:pt x="1382" y="1545"/>
                </a:lnTo>
                <a:lnTo>
                  <a:pt x="1373" y="1542"/>
                </a:lnTo>
                <a:lnTo>
                  <a:pt x="1373" y="1544"/>
                </a:lnTo>
                <a:lnTo>
                  <a:pt x="1380" y="1547"/>
                </a:lnTo>
                <a:lnTo>
                  <a:pt x="1377" y="1550"/>
                </a:lnTo>
                <a:lnTo>
                  <a:pt x="1373" y="1547"/>
                </a:lnTo>
                <a:lnTo>
                  <a:pt x="1369" y="1545"/>
                </a:lnTo>
                <a:lnTo>
                  <a:pt x="1366" y="1540"/>
                </a:lnTo>
                <a:lnTo>
                  <a:pt x="1370" y="1537"/>
                </a:lnTo>
                <a:lnTo>
                  <a:pt x="1369" y="1535"/>
                </a:lnTo>
                <a:lnTo>
                  <a:pt x="1366" y="1535"/>
                </a:lnTo>
                <a:lnTo>
                  <a:pt x="1369" y="1535"/>
                </a:lnTo>
                <a:lnTo>
                  <a:pt x="1369" y="1530"/>
                </a:lnTo>
                <a:lnTo>
                  <a:pt x="1370" y="1527"/>
                </a:lnTo>
                <a:lnTo>
                  <a:pt x="1381" y="1532"/>
                </a:lnTo>
                <a:lnTo>
                  <a:pt x="1383" y="1530"/>
                </a:lnTo>
                <a:lnTo>
                  <a:pt x="1394" y="1534"/>
                </a:lnTo>
                <a:lnTo>
                  <a:pt x="1398" y="1534"/>
                </a:lnTo>
                <a:lnTo>
                  <a:pt x="1400" y="1532"/>
                </a:lnTo>
                <a:lnTo>
                  <a:pt x="1404" y="1541"/>
                </a:lnTo>
                <a:lnTo>
                  <a:pt x="1414" y="1550"/>
                </a:lnTo>
                <a:lnTo>
                  <a:pt x="1411" y="1550"/>
                </a:lnTo>
                <a:lnTo>
                  <a:pt x="1414" y="1553"/>
                </a:lnTo>
                <a:lnTo>
                  <a:pt x="1417" y="1559"/>
                </a:lnTo>
                <a:lnTo>
                  <a:pt x="1422" y="1559"/>
                </a:lnTo>
                <a:lnTo>
                  <a:pt x="1422" y="1555"/>
                </a:lnTo>
                <a:lnTo>
                  <a:pt x="1427" y="1559"/>
                </a:lnTo>
                <a:lnTo>
                  <a:pt x="1433" y="1561"/>
                </a:lnTo>
                <a:lnTo>
                  <a:pt x="1449" y="1555"/>
                </a:lnTo>
                <a:lnTo>
                  <a:pt x="1456" y="1549"/>
                </a:lnTo>
                <a:lnTo>
                  <a:pt x="1466" y="1551"/>
                </a:lnTo>
                <a:lnTo>
                  <a:pt x="1464" y="1555"/>
                </a:lnTo>
                <a:lnTo>
                  <a:pt x="1472" y="1555"/>
                </a:lnTo>
                <a:lnTo>
                  <a:pt x="1481" y="1555"/>
                </a:lnTo>
                <a:lnTo>
                  <a:pt x="1487" y="1561"/>
                </a:lnTo>
                <a:lnTo>
                  <a:pt x="1490" y="1563"/>
                </a:lnTo>
                <a:lnTo>
                  <a:pt x="1490" y="1562"/>
                </a:lnTo>
                <a:lnTo>
                  <a:pt x="1494" y="1568"/>
                </a:lnTo>
                <a:lnTo>
                  <a:pt x="1494" y="1570"/>
                </a:lnTo>
                <a:lnTo>
                  <a:pt x="1489" y="1564"/>
                </a:lnTo>
                <a:lnTo>
                  <a:pt x="1488" y="1564"/>
                </a:lnTo>
                <a:lnTo>
                  <a:pt x="1490" y="1571"/>
                </a:lnTo>
                <a:lnTo>
                  <a:pt x="1490" y="1572"/>
                </a:lnTo>
                <a:lnTo>
                  <a:pt x="1490" y="1574"/>
                </a:lnTo>
                <a:lnTo>
                  <a:pt x="1490" y="1575"/>
                </a:lnTo>
                <a:lnTo>
                  <a:pt x="1494" y="1572"/>
                </a:lnTo>
                <a:lnTo>
                  <a:pt x="1498" y="1574"/>
                </a:lnTo>
                <a:lnTo>
                  <a:pt x="1498" y="1564"/>
                </a:lnTo>
                <a:lnTo>
                  <a:pt x="1497" y="1563"/>
                </a:lnTo>
                <a:lnTo>
                  <a:pt x="1506" y="1557"/>
                </a:lnTo>
                <a:lnTo>
                  <a:pt x="1509" y="1552"/>
                </a:lnTo>
                <a:lnTo>
                  <a:pt x="1516" y="1548"/>
                </a:lnTo>
                <a:lnTo>
                  <a:pt x="1516" y="1547"/>
                </a:lnTo>
                <a:lnTo>
                  <a:pt x="1515" y="1545"/>
                </a:lnTo>
                <a:lnTo>
                  <a:pt x="1517" y="1533"/>
                </a:lnTo>
                <a:lnTo>
                  <a:pt x="1518" y="1530"/>
                </a:lnTo>
                <a:lnTo>
                  <a:pt x="1518" y="1529"/>
                </a:lnTo>
                <a:lnTo>
                  <a:pt x="1523" y="1528"/>
                </a:lnTo>
                <a:lnTo>
                  <a:pt x="1527" y="1525"/>
                </a:lnTo>
                <a:lnTo>
                  <a:pt x="1533" y="1527"/>
                </a:lnTo>
                <a:lnTo>
                  <a:pt x="1536" y="1527"/>
                </a:lnTo>
                <a:lnTo>
                  <a:pt x="1539" y="1521"/>
                </a:lnTo>
                <a:lnTo>
                  <a:pt x="1550" y="1522"/>
                </a:lnTo>
                <a:lnTo>
                  <a:pt x="1559" y="1517"/>
                </a:lnTo>
                <a:lnTo>
                  <a:pt x="1565" y="1513"/>
                </a:lnTo>
                <a:lnTo>
                  <a:pt x="1566" y="1509"/>
                </a:lnTo>
                <a:lnTo>
                  <a:pt x="1566" y="1511"/>
                </a:lnTo>
                <a:lnTo>
                  <a:pt x="1568" y="1511"/>
                </a:lnTo>
                <a:lnTo>
                  <a:pt x="1569" y="1511"/>
                </a:lnTo>
                <a:lnTo>
                  <a:pt x="1573" y="1505"/>
                </a:lnTo>
                <a:lnTo>
                  <a:pt x="1578" y="1506"/>
                </a:lnTo>
                <a:lnTo>
                  <a:pt x="1578" y="1511"/>
                </a:lnTo>
                <a:lnTo>
                  <a:pt x="1578" y="1513"/>
                </a:lnTo>
                <a:lnTo>
                  <a:pt x="1569" y="1517"/>
                </a:lnTo>
                <a:lnTo>
                  <a:pt x="1566" y="1522"/>
                </a:lnTo>
                <a:lnTo>
                  <a:pt x="1562" y="1524"/>
                </a:lnTo>
                <a:lnTo>
                  <a:pt x="1555" y="1534"/>
                </a:lnTo>
                <a:lnTo>
                  <a:pt x="1555" y="1535"/>
                </a:lnTo>
                <a:lnTo>
                  <a:pt x="1561" y="1527"/>
                </a:lnTo>
                <a:lnTo>
                  <a:pt x="1565" y="1525"/>
                </a:lnTo>
                <a:lnTo>
                  <a:pt x="1568" y="1521"/>
                </a:lnTo>
                <a:lnTo>
                  <a:pt x="1570" y="1532"/>
                </a:lnTo>
                <a:lnTo>
                  <a:pt x="1570" y="1536"/>
                </a:lnTo>
                <a:lnTo>
                  <a:pt x="1563" y="1546"/>
                </a:lnTo>
                <a:lnTo>
                  <a:pt x="1570" y="1552"/>
                </a:lnTo>
                <a:lnTo>
                  <a:pt x="1570" y="1555"/>
                </a:lnTo>
                <a:lnTo>
                  <a:pt x="1572" y="1557"/>
                </a:lnTo>
                <a:lnTo>
                  <a:pt x="1578" y="1555"/>
                </a:lnTo>
                <a:lnTo>
                  <a:pt x="1582" y="1552"/>
                </a:lnTo>
                <a:lnTo>
                  <a:pt x="1582" y="1546"/>
                </a:lnTo>
                <a:lnTo>
                  <a:pt x="1574" y="1535"/>
                </a:lnTo>
                <a:lnTo>
                  <a:pt x="1574" y="1531"/>
                </a:lnTo>
                <a:lnTo>
                  <a:pt x="1574" y="1530"/>
                </a:lnTo>
                <a:lnTo>
                  <a:pt x="1589" y="1525"/>
                </a:lnTo>
                <a:lnTo>
                  <a:pt x="1591" y="1523"/>
                </a:lnTo>
                <a:lnTo>
                  <a:pt x="1590" y="1523"/>
                </a:lnTo>
                <a:lnTo>
                  <a:pt x="1590" y="1515"/>
                </a:lnTo>
                <a:lnTo>
                  <a:pt x="1592" y="1512"/>
                </a:lnTo>
                <a:lnTo>
                  <a:pt x="1598" y="1509"/>
                </a:lnTo>
                <a:lnTo>
                  <a:pt x="1598" y="1512"/>
                </a:lnTo>
                <a:lnTo>
                  <a:pt x="1602" y="1521"/>
                </a:lnTo>
                <a:lnTo>
                  <a:pt x="1606" y="1520"/>
                </a:lnTo>
                <a:lnTo>
                  <a:pt x="1613" y="1521"/>
                </a:lnTo>
                <a:lnTo>
                  <a:pt x="1619" y="1527"/>
                </a:lnTo>
                <a:lnTo>
                  <a:pt x="1622" y="1530"/>
                </a:lnTo>
                <a:lnTo>
                  <a:pt x="1618" y="1531"/>
                </a:lnTo>
                <a:lnTo>
                  <a:pt x="1618" y="1535"/>
                </a:lnTo>
                <a:lnTo>
                  <a:pt x="1623" y="1538"/>
                </a:lnTo>
                <a:lnTo>
                  <a:pt x="1650" y="1539"/>
                </a:lnTo>
                <a:lnTo>
                  <a:pt x="1650" y="1536"/>
                </a:lnTo>
                <a:lnTo>
                  <a:pt x="1656" y="1539"/>
                </a:lnTo>
                <a:lnTo>
                  <a:pt x="1668" y="1543"/>
                </a:lnTo>
                <a:lnTo>
                  <a:pt x="1673" y="1543"/>
                </a:lnTo>
                <a:lnTo>
                  <a:pt x="1681" y="1539"/>
                </a:lnTo>
                <a:lnTo>
                  <a:pt x="1688" y="1539"/>
                </a:lnTo>
                <a:lnTo>
                  <a:pt x="1683" y="1537"/>
                </a:lnTo>
                <a:lnTo>
                  <a:pt x="1679" y="1536"/>
                </a:lnTo>
                <a:lnTo>
                  <a:pt x="1679" y="1532"/>
                </a:lnTo>
                <a:lnTo>
                  <a:pt x="1689" y="1537"/>
                </a:lnTo>
                <a:lnTo>
                  <a:pt x="1697" y="1535"/>
                </a:lnTo>
                <a:lnTo>
                  <a:pt x="1714" y="1535"/>
                </a:lnTo>
                <a:lnTo>
                  <a:pt x="1709" y="1538"/>
                </a:lnTo>
                <a:lnTo>
                  <a:pt x="1708" y="1539"/>
                </a:lnTo>
                <a:lnTo>
                  <a:pt x="1703" y="1539"/>
                </a:lnTo>
                <a:lnTo>
                  <a:pt x="1706" y="1548"/>
                </a:lnTo>
                <a:lnTo>
                  <a:pt x="1707" y="1544"/>
                </a:lnTo>
                <a:lnTo>
                  <a:pt x="1707" y="1549"/>
                </a:lnTo>
                <a:lnTo>
                  <a:pt x="1710" y="1547"/>
                </a:lnTo>
                <a:lnTo>
                  <a:pt x="1713" y="1547"/>
                </a:lnTo>
                <a:lnTo>
                  <a:pt x="1709" y="1545"/>
                </a:lnTo>
                <a:lnTo>
                  <a:pt x="1710" y="1543"/>
                </a:lnTo>
                <a:lnTo>
                  <a:pt x="1714" y="1544"/>
                </a:lnTo>
                <a:lnTo>
                  <a:pt x="1717" y="1550"/>
                </a:lnTo>
                <a:lnTo>
                  <a:pt x="1716" y="1547"/>
                </a:lnTo>
                <a:lnTo>
                  <a:pt x="1719" y="1547"/>
                </a:lnTo>
                <a:lnTo>
                  <a:pt x="1719" y="1544"/>
                </a:lnTo>
                <a:lnTo>
                  <a:pt x="1723" y="1551"/>
                </a:lnTo>
                <a:lnTo>
                  <a:pt x="1727" y="1551"/>
                </a:lnTo>
                <a:lnTo>
                  <a:pt x="1727" y="1552"/>
                </a:lnTo>
                <a:lnTo>
                  <a:pt x="1727" y="1554"/>
                </a:lnTo>
                <a:lnTo>
                  <a:pt x="1726" y="1557"/>
                </a:lnTo>
                <a:lnTo>
                  <a:pt x="1725" y="1562"/>
                </a:lnTo>
                <a:lnTo>
                  <a:pt x="1727" y="1561"/>
                </a:lnTo>
                <a:lnTo>
                  <a:pt x="1730" y="1558"/>
                </a:lnTo>
                <a:lnTo>
                  <a:pt x="1728" y="1563"/>
                </a:lnTo>
                <a:lnTo>
                  <a:pt x="1728" y="1563"/>
                </a:lnTo>
                <a:lnTo>
                  <a:pt x="1728" y="1562"/>
                </a:lnTo>
                <a:lnTo>
                  <a:pt x="1726" y="1563"/>
                </a:lnTo>
                <a:lnTo>
                  <a:pt x="1725" y="1563"/>
                </a:lnTo>
                <a:lnTo>
                  <a:pt x="1724" y="1563"/>
                </a:lnTo>
                <a:lnTo>
                  <a:pt x="1723" y="1564"/>
                </a:lnTo>
                <a:lnTo>
                  <a:pt x="1723" y="1565"/>
                </a:lnTo>
                <a:lnTo>
                  <a:pt x="1723" y="1567"/>
                </a:lnTo>
                <a:lnTo>
                  <a:pt x="1724" y="1567"/>
                </a:lnTo>
                <a:lnTo>
                  <a:pt x="1725" y="1566"/>
                </a:lnTo>
                <a:lnTo>
                  <a:pt x="1725" y="1566"/>
                </a:lnTo>
                <a:lnTo>
                  <a:pt x="1727" y="1566"/>
                </a:lnTo>
                <a:lnTo>
                  <a:pt x="1727" y="1567"/>
                </a:lnTo>
                <a:lnTo>
                  <a:pt x="1728" y="1565"/>
                </a:lnTo>
                <a:lnTo>
                  <a:pt x="1735" y="1567"/>
                </a:lnTo>
                <a:lnTo>
                  <a:pt x="1736" y="1567"/>
                </a:lnTo>
                <a:lnTo>
                  <a:pt x="1738" y="1567"/>
                </a:lnTo>
                <a:lnTo>
                  <a:pt x="1742" y="1567"/>
                </a:lnTo>
                <a:lnTo>
                  <a:pt x="1742" y="1566"/>
                </a:lnTo>
                <a:lnTo>
                  <a:pt x="1743" y="1567"/>
                </a:lnTo>
                <a:lnTo>
                  <a:pt x="1745" y="1567"/>
                </a:lnTo>
                <a:lnTo>
                  <a:pt x="1755" y="1573"/>
                </a:lnTo>
                <a:lnTo>
                  <a:pt x="1763" y="1585"/>
                </a:lnTo>
                <a:lnTo>
                  <a:pt x="1763" y="1589"/>
                </a:lnTo>
                <a:lnTo>
                  <a:pt x="1763" y="1590"/>
                </a:lnTo>
                <a:lnTo>
                  <a:pt x="1761" y="1598"/>
                </a:lnTo>
                <a:lnTo>
                  <a:pt x="1764" y="1592"/>
                </a:lnTo>
                <a:lnTo>
                  <a:pt x="1765" y="1592"/>
                </a:lnTo>
                <a:lnTo>
                  <a:pt x="1771" y="1593"/>
                </a:lnTo>
                <a:lnTo>
                  <a:pt x="1776" y="1597"/>
                </a:lnTo>
                <a:lnTo>
                  <a:pt x="1777" y="1601"/>
                </a:lnTo>
                <a:lnTo>
                  <a:pt x="1779" y="1600"/>
                </a:lnTo>
                <a:lnTo>
                  <a:pt x="1782" y="1602"/>
                </a:lnTo>
                <a:lnTo>
                  <a:pt x="1783" y="1605"/>
                </a:lnTo>
                <a:lnTo>
                  <a:pt x="1782" y="1613"/>
                </a:lnTo>
                <a:lnTo>
                  <a:pt x="1780" y="1615"/>
                </a:lnTo>
                <a:lnTo>
                  <a:pt x="1782" y="1620"/>
                </a:lnTo>
                <a:lnTo>
                  <a:pt x="1783" y="1620"/>
                </a:lnTo>
                <a:lnTo>
                  <a:pt x="1781" y="1616"/>
                </a:lnTo>
                <a:lnTo>
                  <a:pt x="1783" y="1614"/>
                </a:lnTo>
                <a:lnTo>
                  <a:pt x="1783" y="1612"/>
                </a:lnTo>
                <a:lnTo>
                  <a:pt x="1784" y="1607"/>
                </a:lnTo>
                <a:lnTo>
                  <a:pt x="1787" y="1607"/>
                </a:lnTo>
                <a:lnTo>
                  <a:pt x="1799" y="1612"/>
                </a:lnTo>
                <a:lnTo>
                  <a:pt x="1799" y="1608"/>
                </a:lnTo>
                <a:lnTo>
                  <a:pt x="1809" y="1608"/>
                </a:lnTo>
                <a:lnTo>
                  <a:pt x="1811" y="1606"/>
                </a:lnTo>
                <a:lnTo>
                  <a:pt x="1811" y="1609"/>
                </a:lnTo>
                <a:lnTo>
                  <a:pt x="1813" y="1608"/>
                </a:lnTo>
                <a:lnTo>
                  <a:pt x="1823" y="1609"/>
                </a:lnTo>
                <a:lnTo>
                  <a:pt x="1823" y="1612"/>
                </a:lnTo>
                <a:lnTo>
                  <a:pt x="1824" y="1612"/>
                </a:lnTo>
                <a:lnTo>
                  <a:pt x="1827" y="1611"/>
                </a:lnTo>
                <a:lnTo>
                  <a:pt x="1828" y="1606"/>
                </a:lnTo>
                <a:lnTo>
                  <a:pt x="1830" y="1605"/>
                </a:lnTo>
                <a:lnTo>
                  <a:pt x="1835" y="1609"/>
                </a:lnTo>
                <a:lnTo>
                  <a:pt x="1843" y="1610"/>
                </a:lnTo>
                <a:lnTo>
                  <a:pt x="1855" y="1622"/>
                </a:lnTo>
                <a:lnTo>
                  <a:pt x="1855" y="1622"/>
                </a:lnTo>
                <a:lnTo>
                  <a:pt x="1857" y="1623"/>
                </a:lnTo>
                <a:lnTo>
                  <a:pt x="1859" y="1629"/>
                </a:lnTo>
                <a:lnTo>
                  <a:pt x="1859" y="1633"/>
                </a:lnTo>
                <a:lnTo>
                  <a:pt x="1851" y="1646"/>
                </a:lnTo>
                <a:lnTo>
                  <a:pt x="1848" y="1657"/>
                </a:lnTo>
                <a:lnTo>
                  <a:pt x="1843" y="1664"/>
                </a:lnTo>
                <a:lnTo>
                  <a:pt x="1845" y="1664"/>
                </a:lnTo>
                <a:lnTo>
                  <a:pt x="1851" y="1658"/>
                </a:lnTo>
                <a:lnTo>
                  <a:pt x="1854" y="1647"/>
                </a:lnTo>
                <a:lnTo>
                  <a:pt x="1862" y="1634"/>
                </a:lnTo>
                <a:lnTo>
                  <a:pt x="1865" y="1632"/>
                </a:lnTo>
                <a:lnTo>
                  <a:pt x="1866" y="1634"/>
                </a:lnTo>
                <a:lnTo>
                  <a:pt x="1865" y="1629"/>
                </a:lnTo>
                <a:lnTo>
                  <a:pt x="1870" y="1633"/>
                </a:lnTo>
                <a:lnTo>
                  <a:pt x="1871" y="1636"/>
                </a:lnTo>
                <a:lnTo>
                  <a:pt x="1871" y="1636"/>
                </a:lnTo>
                <a:lnTo>
                  <a:pt x="1871" y="1647"/>
                </a:lnTo>
                <a:lnTo>
                  <a:pt x="1877" y="1662"/>
                </a:lnTo>
                <a:lnTo>
                  <a:pt x="1880" y="1668"/>
                </a:lnTo>
                <a:lnTo>
                  <a:pt x="1881" y="1668"/>
                </a:lnTo>
                <a:lnTo>
                  <a:pt x="1885" y="1668"/>
                </a:lnTo>
                <a:lnTo>
                  <a:pt x="1887" y="1668"/>
                </a:lnTo>
                <a:lnTo>
                  <a:pt x="1887" y="1674"/>
                </a:lnTo>
                <a:lnTo>
                  <a:pt x="1887" y="1676"/>
                </a:lnTo>
                <a:lnTo>
                  <a:pt x="1879" y="1685"/>
                </a:lnTo>
                <a:lnTo>
                  <a:pt x="1877" y="1692"/>
                </a:lnTo>
                <a:lnTo>
                  <a:pt x="1874" y="1692"/>
                </a:lnTo>
                <a:lnTo>
                  <a:pt x="1868" y="1696"/>
                </a:lnTo>
                <a:lnTo>
                  <a:pt x="1859" y="1704"/>
                </a:lnTo>
                <a:lnTo>
                  <a:pt x="1859" y="1708"/>
                </a:lnTo>
                <a:lnTo>
                  <a:pt x="1863" y="1704"/>
                </a:lnTo>
                <a:lnTo>
                  <a:pt x="1865" y="1703"/>
                </a:lnTo>
                <a:lnTo>
                  <a:pt x="1867" y="1701"/>
                </a:lnTo>
                <a:lnTo>
                  <a:pt x="1867" y="1700"/>
                </a:lnTo>
                <a:lnTo>
                  <a:pt x="1869" y="1698"/>
                </a:lnTo>
                <a:lnTo>
                  <a:pt x="1867" y="1701"/>
                </a:lnTo>
                <a:lnTo>
                  <a:pt x="1870" y="1698"/>
                </a:lnTo>
                <a:lnTo>
                  <a:pt x="1872" y="1700"/>
                </a:lnTo>
                <a:lnTo>
                  <a:pt x="1867" y="1703"/>
                </a:lnTo>
                <a:lnTo>
                  <a:pt x="1867" y="1704"/>
                </a:lnTo>
                <a:lnTo>
                  <a:pt x="1868" y="1708"/>
                </a:lnTo>
                <a:lnTo>
                  <a:pt x="1871" y="1706"/>
                </a:lnTo>
                <a:lnTo>
                  <a:pt x="1870" y="1711"/>
                </a:lnTo>
                <a:lnTo>
                  <a:pt x="1873" y="1708"/>
                </a:lnTo>
                <a:lnTo>
                  <a:pt x="1875" y="1708"/>
                </a:lnTo>
                <a:lnTo>
                  <a:pt x="1875" y="1705"/>
                </a:lnTo>
                <a:lnTo>
                  <a:pt x="1875" y="1706"/>
                </a:lnTo>
                <a:lnTo>
                  <a:pt x="1875" y="1706"/>
                </a:lnTo>
                <a:lnTo>
                  <a:pt x="1872" y="1707"/>
                </a:lnTo>
                <a:lnTo>
                  <a:pt x="1873" y="1704"/>
                </a:lnTo>
                <a:lnTo>
                  <a:pt x="1875" y="1703"/>
                </a:lnTo>
                <a:lnTo>
                  <a:pt x="1875" y="1703"/>
                </a:lnTo>
                <a:lnTo>
                  <a:pt x="1875" y="1702"/>
                </a:lnTo>
                <a:lnTo>
                  <a:pt x="1875" y="1703"/>
                </a:lnTo>
                <a:lnTo>
                  <a:pt x="1875" y="1700"/>
                </a:lnTo>
                <a:lnTo>
                  <a:pt x="1875" y="1699"/>
                </a:lnTo>
                <a:lnTo>
                  <a:pt x="1875" y="1700"/>
                </a:lnTo>
                <a:lnTo>
                  <a:pt x="1876" y="1698"/>
                </a:lnTo>
                <a:lnTo>
                  <a:pt x="1880" y="1700"/>
                </a:lnTo>
                <a:lnTo>
                  <a:pt x="1881" y="1700"/>
                </a:lnTo>
                <a:lnTo>
                  <a:pt x="1893" y="1699"/>
                </a:lnTo>
                <a:lnTo>
                  <a:pt x="1899" y="1696"/>
                </a:lnTo>
                <a:lnTo>
                  <a:pt x="1911" y="1697"/>
                </a:lnTo>
                <a:lnTo>
                  <a:pt x="1910" y="1708"/>
                </a:lnTo>
                <a:lnTo>
                  <a:pt x="1903" y="1716"/>
                </a:lnTo>
                <a:lnTo>
                  <a:pt x="1901" y="1719"/>
                </a:lnTo>
                <a:lnTo>
                  <a:pt x="1900" y="1719"/>
                </a:lnTo>
                <a:lnTo>
                  <a:pt x="1900" y="1719"/>
                </a:lnTo>
                <a:lnTo>
                  <a:pt x="1899" y="1720"/>
                </a:lnTo>
                <a:lnTo>
                  <a:pt x="1897" y="1720"/>
                </a:lnTo>
                <a:lnTo>
                  <a:pt x="1891" y="1726"/>
                </a:lnTo>
                <a:lnTo>
                  <a:pt x="1891" y="1731"/>
                </a:lnTo>
                <a:lnTo>
                  <a:pt x="1898" y="1722"/>
                </a:lnTo>
                <a:lnTo>
                  <a:pt x="1900" y="1721"/>
                </a:lnTo>
                <a:lnTo>
                  <a:pt x="1899" y="1722"/>
                </a:lnTo>
                <a:lnTo>
                  <a:pt x="1900" y="1721"/>
                </a:lnTo>
                <a:lnTo>
                  <a:pt x="1903" y="1720"/>
                </a:lnTo>
                <a:lnTo>
                  <a:pt x="1906" y="1716"/>
                </a:lnTo>
                <a:lnTo>
                  <a:pt x="1907" y="1716"/>
                </a:lnTo>
                <a:lnTo>
                  <a:pt x="1907" y="1714"/>
                </a:lnTo>
                <a:lnTo>
                  <a:pt x="1907" y="1712"/>
                </a:lnTo>
                <a:lnTo>
                  <a:pt x="1911" y="1714"/>
                </a:lnTo>
                <a:lnTo>
                  <a:pt x="1911" y="1712"/>
                </a:lnTo>
                <a:lnTo>
                  <a:pt x="1912" y="1708"/>
                </a:lnTo>
                <a:lnTo>
                  <a:pt x="1911" y="1708"/>
                </a:lnTo>
                <a:lnTo>
                  <a:pt x="1911" y="1707"/>
                </a:lnTo>
                <a:lnTo>
                  <a:pt x="1915" y="1704"/>
                </a:lnTo>
                <a:lnTo>
                  <a:pt x="1916" y="1707"/>
                </a:lnTo>
                <a:lnTo>
                  <a:pt x="1919" y="1704"/>
                </a:lnTo>
                <a:lnTo>
                  <a:pt x="1919" y="1704"/>
                </a:lnTo>
                <a:lnTo>
                  <a:pt x="1919" y="1704"/>
                </a:lnTo>
                <a:lnTo>
                  <a:pt x="1920" y="1703"/>
                </a:lnTo>
                <a:lnTo>
                  <a:pt x="1920" y="1706"/>
                </a:lnTo>
                <a:lnTo>
                  <a:pt x="1922" y="1703"/>
                </a:lnTo>
                <a:lnTo>
                  <a:pt x="1924" y="1706"/>
                </a:lnTo>
                <a:lnTo>
                  <a:pt x="1924" y="1703"/>
                </a:lnTo>
                <a:lnTo>
                  <a:pt x="1931" y="1704"/>
                </a:lnTo>
                <a:lnTo>
                  <a:pt x="1932" y="1704"/>
                </a:lnTo>
                <a:lnTo>
                  <a:pt x="1932" y="1707"/>
                </a:lnTo>
                <a:lnTo>
                  <a:pt x="1933" y="1704"/>
                </a:lnTo>
                <a:lnTo>
                  <a:pt x="1936" y="1708"/>
                </a:lnTo>
                <a:lnTo>
                  <a:pt x="1936" y="1708"/>
                </a:lnTo>
                <a:lnTo>
                  <a:pt x="1936" y="1708"/>
                </a:lnTo>
                <a:lnTo>
                  <a:pt x="1938" y="1708"/>
                </a:lnTo>
                <a:lnTo>
                  <a:pt x="1940" y="1707"/>
                </a:lnTo>
                <a:lnTo>
                  <a:pt x="1940" y="1708"/>
                </a:lnTo>
                <a:lnTo>
                  <a:pt x="1944" y="1708"/>
                </a:lnTo>
                <a:lnTo>
                  <a:pt x="1942" y="1712"/>
                </a:lnTo>
                <a:lnTo>
                  <a:pt x="1944" y="1712"/>
                </a:lnTo>
                <a:lnTo>
                  <a:pt x="1944" y="1712"/>
                </a:lnTo>
                <a:lnTo>
                  <a:pt x="1945" y="1708"/>
                </a:lnTo>
                <a:lnTo>
                  <a:pt x="1948" y="1712"/>
                </a:lnTo>
                <a:lnTo>
                  <a:pt x="1948" y="1711"/>
                </a:lnTo>
                <a:lnTo>
                  <a:pt x="1948" y="1714"/>
                </a:lnTo>
                <a:lnTo>
                  <a:pt x="1948" y="1712"/>
                </a:lnTo>
                <a:lnTo>
                  <a:pt x="1952" y="1714"/>
                </a:lnTo>
                <a:lnTo>
                  <a:pt x="1952" y="1718"/>
                </a:lnTo>
                <a:lnTo>
                  <a:pt x="1956" y="1714"/>
                </a:lnTo>
                <a:lnTo>
                  <a:pt x="1956" y="1716"/>
                </a:lnTo>
                <a:lnTo>
                  <a:pt x="1961" y="1716"/>
                </a:lnTo>
                <a:lnTo>
                  <a:pt x="1963" y="1716"/>
                </a:lnTo>
                <a:lnTo>
                  <a:pt x="1961" y="1720"/>
                </a:lnTo>
                <a:lnTo>
                  <a:pt x="1964" y="1720"/>
                </a:lnTo>
                <a:lnTo>
                  <a:pt x="1964" y="1719"/>
                </a:lnTo>
                <a:lnTo>
                  <a:pt x="1966" y="1720"/>
                </a:lnTo>
                <a:lnTo>
                  <a:pt x="1968" y="1720"/>
                </a:lnTo>
                <a:lnTo>
                  <a:pt x="1969" y="1724"/>
                </a:lnTo>
                <a:lnTo>
                  <a:pt x="1966" y="1729"/>
                </a:lnTo>
                <a:lnTo>
                  <a:pt x="1969" y="1726"/>
                </a:lnTo>
                <a:lnTo>
                  <a:pt x="1971" y="1729"/>
                </a:lnTo>
                <a:lnTo>
                  <a:pt x="1968" y="1731"/>
                </a:lnTo>
                <a:lnTo>
                  <a:pt x="1966" y="1738"/>
                </a:lnTo>
                <a:lnTo>
                  <a:pt x="1964" y="1743"/>
                </a:lnTo>
                <a:lnTo>
                  <a:pt x="1969" y="1737"/>
                </a:lnTo>
                <a:lnTo>
                  <a:pt x="1969" y="1736"/>
                </a:lnTo>
                <a:lnTo>
                  <a:pt x="1970" y="1736"/>
                </a:lnTo>
                <a:lnTo>
                  <a:pt x="1969" y="1736"/>
                </a:lnTo>
                <a:lnTo>
                  <a:pt x="1971" y="1731"/>
                </a:lnTo>
                <a:lnTo>
                  <a:pt x="1975" y="1730"/>
                </a:lnTo>
                <a:lnTo>
                  <a:pt x="1976" y="1732"/>
                </a:lnTo>
                <a:lnTo>
                  <a:pt x="1972" y="1735"/>
                </a:lnTo>
                <a:lnTo>
                  <a:pt x="1977" y="1732"/>
                </a:lnTo>
                <a:lnTo>
                  <a:pt x="1982" y="1732"/>
                </a:lnTo>
                <a:lnTo>
                  <a:pt x="1985" y="1732"/>
                </a:lnTo>
                <a:lnTo>
                  <a:pt x="1995" y="1733"/>
                </a:lnTo>
                <a:lnTo>
                  <a:pt x="2001" y="1736"/>
                </a:lnTo>
                <a:lnTo>
                  <a:pt x="2004" y="1736"/>
                </a:lnTo>
                <a:lnTo>
                  <a:pt x="2008" y="1735"/>
                </a:lnTo>
                <a:lnTo>
                  <a:pt x="2009" y="1740"/>
                </a:lnTo>
                <a:lnTo>
                  <a:pt x="2014" y="1740"/>
                </a:lnTo>
                <a:lnTo>
                  <a:pt x="2012" y="1738"/>
                </a:lnTo>
                <a:lnTo>
                  <a:pt x="2012" y="1737"/>
                </a:lnTo>
                <a:lnTo>
                  <a:pt x="2027" y="1736"/>
                </a:lnTo>
                <a:lnTo>
                  <a:pt x="2034" y="1736"/>
                </a:lnTo>
                <a:lnTo>
                  <a:pt x="2055" y="1749"/>
                </a:lnTo>
                <a:lnTo>
                  <a:pt x="2068" y="1761"/>
                </a:lnTo>
                <a:lnTo>
                  <a:pt x="2073" y="1764"/>
                </a:lnTo>
                <a:lnTo>
                  <a:pt x="2074" y="1766"/>
                </a:lnTo>
                <a:lnTo>
                  <a:pt x="2079" y="1770"/>
                </a:lnTo>
                <a:lnTo>
                  <a:pt x="2080" y="1772"/>
                </a:lnTo>
                <a:lnTo>
                  <a:pt x="2092" y="1772"/>
                </a:lnTo>
                <a:lnTo>
                  <a:pt x="2100" y="1773"/>
                </a:lnTo>
                <a:lnTo>
                  <a:pt x="2106" y="1789"/>
                </a:lnTo>
                <a:lnTo>
                  <a:pt x="2109" y="1799"/>
                </a:lnTo>
                <a:close/>
                <a:moveTo>
                  <a:pt x="1412" y="1550"/>
                </a:moveTo>
                <a:lnTo>
                  <a:pt x="1412" y="1550"/>
                </a:lnTo>
                <a:lnTo>
                  <a:pt x="1412" y="1550"/>
                </a:lnTo>
                <a:lnTo>
                  <a:pt x="1412" y="1550"/>
                </a:lnTo>
                <a:close/>
                <a:moveTo>
                  <a:pt x="1490" y="1575"/>
                </a:moveTo>
                <a:lnTo>
                  <a:pt x="1486" y="1577"/>
                </a:lnTo>
                <a:lnTo>
                  <a:pt x="1488" y="1578"/>
                </a:lnTo>
                <a:lnTo>
                  <a:pt x="1490" y="1576"/>
                </a:lnTo>
                <a:lnTo>
                  <a:pt x="1490" y="1575"/>
                </a:lnTo>
                <a:close/>
                <a:moveTo>
                  <a:pt x="1494" y="1630"/>
                </a:moveTo>
                <a:lnTo>
                  <a:pt x="1492" y="1632"/>
                </a:lnTo>
                <a:lnTo>
                  <a:pt x="1494" y="1632"/>
                </a:lnTo>
                <a:lnTo>
                  <a:pt x="1494" y="1630"/>
                </a:lnTo>
                <a:close/>
                <a:moveTo>
                  <a:pt x="1488" y="1644"/>
                </a:moveTo>
                <a:lnTo>
                  <a:pt x="1487" y="1646"/>
                </a:lnTo>
                <a:lnTo>
                  <a:pt x="1488" y="1645"/>
                </a:lnTo>
                <a:lnTo>
                  <a:pt x="1488" y="1644"/>
                </a:lnTo>
                <a:close/>
                <a:moveTo>
                  <a:pt x="1535" y="1527"/>
                </a:moveTo>
                <a:lnTo>
                  <a:pt x="1530" y="1528"/>
                </a:lnTo>
                <a:lnTo>
                  <a:pt x="1530" y="1529"/>
                </a:lnTo>
                <a:lnTo>
                  <a:pt x="1534" y="1530"/>
                </a:lnTo>
                <a:lnTo>
                  <a:pt x="1535" y="1527"/>
                </a:lnTo>
                <a:close/>
                <a:moveTo>
                  <a:pt x="1560" y="2359"/>
                </a:moveTo>
                <a:lnTo>
                  <a:pt x="1560" y="2359"/>
                </a:lnTo>
                <a:lnTo>
                  <a:pt x="1559" y="2361"/>
                </a:lnTo>
                <a:lnTo>
                  <a:pt x="1560" y="2361"/>
                </a:lnTo>
                <a:lnTo>
                  <a:pt x="1560" y="2359"/>
                </a:lnTo>
                <a:close/>
                <a:moveTo>
                  <a:pt x="1549" y="2564"/>
                </a:moveTo>
                <a:lnTo>
                  <a:pt x="1546" y="2564"/>
                </a:lnTo>
                <a:lnTo>
                  <a:pt x="1547" y="2566"/>
                </a:lnTo>
                <a:lnTo>
                  <a:pt x="1549" y="2564"/>
                </a:lnTo>
                <a:close/>
                <a:moveTo>
                  <a:pt x="1548" y="2546"/>
                </a:moveTo>
                <a:lnTo>
                  <a:pt x="1545" y="2540"/>
                </a:lnTo>
                <a:lnTo>
                  <a:pt x="1543" y="2542"/>
                </a:lnTo>
                <a:lnTo>
                  <a:pt x="1548" y="2546"/>
                </a:lnTo>
                <a:close/>
                <a:moveTo>
                  <a:pt x="1558" y="2543"/>
                </a:moveTo>
                <a:lnTo>
                  <a:pt x="1557" y="2543"/>
                </a:lnTo>
                <a:lnTo>
                  <a:pt x="1548" y="2540"/>
                </a:lnTo>
                <a:lnTo>
                  <a:pt x="1548" y="2539"/>
                </a:lnTo>
                <a:lnTo>
                  <a:pt x="1548" y="2540"/>
                </a:lnTo>
                <a:lnTo>
                  <a:pt x="1546" y="2539"/>
                </a:lnTo>
                <a:lnTo>
                  <a:pt x="1546" y="2539"/>
                </a:lnTo>
                <a:lnTo>
                  <a:pt x="1549" y="2542"/>
                </a:lnTo>
                <a:lnTo>
                  <a:pt x="1549" y="2548"/>
                </a:lnTo>
                <a:lnTo>
                  <a:pt x="1550" y="2547"/>
                </a:lnTo>
                <a:lnTo>
                  <a:pt x="1549" y="2546"/>
                </a:lnTo>
                <a:lnTo>
                  <a:pt x="1549" y="2542"/>
                </a:lnTo>
                <a:lnTo>
                  <a:pt x="1551" y="2544"/>
                </a:lnTo>
                <a:lnTo>
                  <a:pt x="1550" y="2546"/>
                </a:lnTo>
                <a:lnTo>
                  <a:pt x="1553" y="2547"/>
                </a:lnTo>
                <a:lnTo>
                  <a:pt x="1553" y="2547"/>
                </a:lnTo>
                <a:lnTo>
                  <a:pt x="1553" y="2547"/>
                </a:lnTo>
                <a:lnTo>
                  <a:pt x="1553" y="2547"/>
                </a:lnTo>
                <a:lnTo>
                  <a:pt x="1550" y="2550"/>
                </a:lnTo>
                <a:lnTo>
                  <a:pt x="1554" y="2551"/>
                </a:lnTo>
                <a:lnTo>
                  <a:pt x="1554" y="2547"/>
                </a:lnTo>
                <a:lnTo>
                  <a:pt x="1556" y="2547"/>
                </a:lnTo>
                <a:lnTo>
                  <a:pt x="1557" y="2547"/>
                </a:lnTo>
                <a:lnTo>
                  <a:pt x="1558" y="2547"/>
                </a:lnTo>
                <a:lnTo>
                  <a:pt x="1558" y="2543"/>
                </a:lnTo>
                <a:close/>
                <a:moveTo>
                  <a:pt x="1558" y="2542"/>
                </a:moveTo>
                <a:lnTo>
                  <a:pt x="1556" y="2538"/>
                </a:lnTo>
                <a:lnTo>
                  <a:pt x="1549" y="2536"/>
                </a:lnTo>
                <a:lnTo>
                  <a:pt x="1558" y="2542"/>
                </a:lnTo>
                <a:lnTo>
                  <a:pt x="1558" y="2542"/>
                </a:lnTo>
                <a:close/>
                <a:moveTo>
                  <a:pt x="1562" y="2557"/>
                </a:moveTo>
                <a:lnTo>
                  <a:pt x="1559" y="2560"/>
                </a:lnTo>
                <a:lnTo>
                  <a:pt x="1562" y="2560"/>
                </a:lnTo>
                <a:lnTo>
                  <a:pt x="1562" y="2557"/>
                </a:lnTo>
                <a:close/>
                <a:moveTo>
                  <a:pt x="1570" y="2360"/>
                </a:moveTo>
                <a:lnTo>
                  <a:pt x="1570" y="2360"/>
                </a:lnTo>
                <a:lnTo>
                  <a:pt x="1570" y="2360"/>
                </a:lnTo>
                <a:lnTo>
                  <a:pt x="1570" y="2360"/>
                </a:lnTo>
                <a:close/>
                <a:moveTo>
                  <a:pt x="1573" y="2560"/>
                </a:moveTo>
                <a:lnTo>
                  <a:pt x="1566" y="2560"/>
                </a:lnTo>
                <a:lnTo>
                  <a:pt x="1570" y="2561"/>
                </a:lnTo>
                <a:lnTo>
                  <a:pt x="1573" y="2560"/>
                </a:lnTo>
                <a:close/>
                <a:moveTo>
                  <a:pt x="1698" y="1539"/>
                </a:moveTo>
                <a:lnTo>
                  <a:pt x="1699" y="1539"/>
                </a:lnTo>
                <a:lnTo>
                  <a:pt x="1699" y="1538"/>
                </a:lnTo>
                <a:lnTo>
                  <a:pt x="1700" y="1539"/>
                </a:lnTo>
                <a:lnTo>
                  <a:pt x="1700" y="1538"/>
                </a:lnTo>
                <a:lnTo>
                  <a:pt x="1699" y="1538"/>
                </a:lnTo>
                <a:lnTo>
                  <a:pt x="1698" y="1538"/>
                </a:lnTo>
                <a:lnTo>
                  <a:pt x="1698" y="1539"/>
                </a:lnTo>
                <a:close/>
                <a:moveTo>
                  <a:pt x="1703" y="1542"/>
                </a:moveTo>
                <a:lnTo>
                  <a:pt x="1698" y="1543"/>
                </a:lnTo>
                <a:lnTo>
                  <a:pt x="1701" y="1543"/>
                </a:lnTo>
                <a:lnTo>
                  <a:pt x="1703" y="1543"/>
                </a:lnTo>
                <a:lnTo>
                  <a:pt x="1703" y="1542"/>
                </a:lnTo>
                <a:close/>
                <a:moveTo>
                  <a:pt x="1703" y="1539"/>
                </a:moveTo>
                <a:lnTo>
                  <a:pt x="1700" y="1539"/>
                </a:lnTo>
                <a:lnTo>
                  <a:pt x="1703" y="1542"/>
                </a:lnTo>
                <a:lnTo>
                  <a:pt x="1703" y="1542"/>
                </a:lnTo>
                <a:lnTo>
                  <a:pt x="1703" y="1539"/>
                </a:lnTo>
                <a:close/>
                <a:moveTo>
                  <a:pt x="1800" y="2168"/>
                </a:moveTo>
                <a:lnTo>
                  <a:pt x="1800" y="2168"/>
                </a:lnTo>
                <a:lnTo>
                  <a:pt x="1800" y="2168"/>
                </a:lnTo>
                <a:lnTo>
                  <a:pt x="1800" y="2168"/>
                </a:lnTo>
                <a:lnTo>
                  <a:pt x="1800" y="2168"/>
                </a:lnTo>
                <a:close/>
                <a:moveTo>
                  <a:pt x="1802" y="2130"/>
                </a:moveTo>
                <a:lnTo>
                  <a:pt x="1800" y="2130"/>
                </a:lnTo>
                <a:lnTo>
                  <a:pt x="1794" y="2135"/>
                </a:lnTo>
                <a:lnTo>
                  <a:pt x="1793" y="2138"/>
                </a:lnTo>
                <a:lnTo>
                  <a:pt x="1790" y="2138"/>
                </a:lnTo>
                <a:lnTo>
                  <a:pt x="1783" y="2148"/>
                </a:lnTo>
                <a:lnTo>
                  <a:pt x="1779" y="2149"/>
                </a:lnTo>
                <a:lnTo>
                  <a:pt x="1779" y="2151"/>
                </a:lnTo>
                <a:lnTo>
                  <a:pt x="1783" y="2151"/>
                </a:lnTo>
                <a:lnTo>
                  <a:pt x="1791" y="2142"/>
                </a:lnTo>
                <a:lnTo>
                  <a:pt x="1795" y="2142"/>
                </a:lnTo>
                <a:lnTo>
                  <a:pt x="1796" y="2137"/>
                </a:lnTo>
                <a:lnTo>
                  <a:pt x="1802" y="2130"/>
                </a:lnTo>
                <a:close/>
                <a:moveTo>
                  <a:pt x="1855" y="2188"/>
                </a:moveTo>
                <a:lnTo>
                  <a:pt x="1855" y="2189"/>
                </a:lnTo>
                <a:lnTo>
                  <a:pt x="1855" y="2187"/>
                </a:lnTo>
                <a:lnTo>
                  <a:pt x="1855" y="2188"/>
                </a:lnTo>
                <a:close/>
                <a:moveTo>
                  <a:pt x="1880" y="2158"/>
                </a:moveTo>
                <a:lnTo>
                  <a:pt x="1878" y="2158"/>
                </a:lnTo>
                <a:lnTo>
                  <a:pt x="1878" y="2162"/>
                </a:lnTo>
                <a:lnTo>
                  <a:pt x="1878" y="2162"/>
                </a:lnTo>
                <a:lnTo>
                  <a:pt x="1880" y="2158"/>
                </a:lnTo>
                <a:close/>
                <a:moveTo>
                  <a:pt x="1890" y="1724"/>
                </a:moveTo>
                <a:lnTo>
                  <a:pt x="1893" y="1724"/>
                </a:lnTo>
                <a:lnTo>
                  <a:pt x="1897" y="1720"/>
                </a:lnTo>
                <a:lnTo>
                  <a:pt x="1895" y="1720"/>
                </a:lnTo>
                <a:lnTo>
                  <a:pt x="1891" y="1720"/>
                </a:lnTo>
                <a:lnTo>
                  <a:pt x="1891" y="1718"/>
                </a:lnTo>
                <a:lnTo>
                  <a:pt x="1890" y="1720"/>
                </a:lnTo>
                <a:lnTo>
                  <a:pt x="1887" y="1719"/>
                </a:lnTo>
                <a:lnTo>
                  <a:pt x="1881" y="1720"/>
                </a:lnTo>
                <a:lnTo>
                  <a:pt x="1880" y="1720"/>
                </a:lnTo>
                <a:lnTo>
                  <a:pt x="1881" y="1722"/>
                </a:lnTo>
                <a:lnTo>
                  <a:pt x="1887" y="1721"/>
                </a:lnTo>
                <a:lnTo>
                  <a:pt x="1890" y="1724"/>
                </a:lnTo>
                <a:close/>
                <a:moveTo>
                  <a:pt x="1923" y="2071"/>
                </a:moveTo>
                <a:lnTo>
                  <a:pt x="1919" y="2074"/>
                </a:lnTo>
                <a:lnTo>
                  <a:pt x="1919" y="2075"/>
                </a:lnTo>
                <a:lnTo>
                  <a:pt x="1923" y="2071"/>
                </a:lnTo>
                <a:close/>
                <a:moveTo>
                  <a:pt x="2048" y="1884"/>
                </a:moveTo>
                <a:lnTo>
                  <a:pt x="2048" y="1886"/>
                </a:lnTo>
                <a:lnTo>
                  <a:pt x="2048" y="1886"/>
                </a:lnTo>
                <a:lnTo>
                  <a:pt x="2048" y="1884"/>
                </a:lnTo>
                <a:close/>
                <a:moveTo>
                  <a:pt x="1530" y="2527"/>
                </a:moveTo>
                <a:lnTo>
                  <a:pt x="1531" y="2531"/>
                </a:lnTo>
                <a:lnTo>
                  <a:pt x="1533" y="2528"/>
                </a:lnTo>
                <a:lnTo>
                  <a:pt x="1531" y="2527"/>
                </a:lnTo>
                <a:lnTo>
                  <a:pt x="1530" y="2527"/>
                </a:lnTo>
                <a:close/>
                <a:moveTo>
                  <a:pt x="1548" y="2540"/>
                </a:moveTo>
                <a:lnTo>
                  <a:pt x="1549" y="2542"/>
                </a:lnTo>
                <a:lnTo>
                  <a:pt x="1549" y="2542"/>
                </a:lnTo>
                <a:lnTo>
                  <a:pt x="1548" y="2540"/>
                </a:lnTo>
                <a:lnTo>
                  <a:pt x="1548" y="2540"/>
                </a:lnTo>
                <a:close/>
                <a:moveTo>
                  <a:pt x="1540" y="2531"/>
                </a:moveTo>
                <a:lnTo>
                  <a:pt x="1540" y="2531"/>
                </a:lnTo>
                <a:lnTo>
                  <a:pt x="1541" y="2531"/>
                </a:lnTo>
                <a:lnTo>
                  <a:pt x="1540" y="2531"/>
                </a:lnTo>
                <a:close/>
                <a:moveTo>
                  <a:pt x="1534" y="2359"/>
                </a:moveTo>
                <a:lnTo>
                  <a:pt x="1534" y="2359"/>
                </a:lnTo>
                <a:lnTo>
                  <a:pt x="1534" y="2359"/>
                </a:lnTo>
                <a:lnTo>
                  <a:pt x="1534" y="2359"/>
                </a:lnTo>
                <a:close/>
                <a:moveTo>
                  <a:pt x="1537" y="2532"/>
                </a:moveTo>
                <a:lnTo>
                  <a:pt x="1535" y="2532"/>
                </a:lnTo>
                <a:lnTo>
                  <a:pt x="1535" y="2534"/>
                </a:lnTo>
                <a:lnTo>
                  <a:pt x="1537" y="2536"/>
                </a:lnTo>
                <a:lnTo>
                  <a:pt x="1537" y="2532"/>
                </a:lnTo>
                <a:close/>
                <a:moveTo>
                  <a:pt x="2217" y="391"/>
                </a:moveTo>
                <a:lnTo>
                  <a:pt x="2217" y="391"/>
                </a:lnTo>
                <a:lnTo>
                  <a:pt x="2220" y="391"/>
                </a:lnTo>
                <a:lnTo>
                  <a:pt x="2221" y="391"/>
                </a:lnTo>
                <a:lnTo>
                  <a:pt x="2217" y="389"/>
                </a:lnTo>
                <a:lnTo>
                  <a:pt x="2217" y="391"/>
                </a:lnTo>
                <a:close/>
                <a:moveTo>
                  <a:pt x="1541" y="2531"/>
                </a:moveTo>
                <a:lnTo>
                  <a:pt x="1541" y="2531"/>
                </a:lnTo>
                <a:lnTo>
                  <a:pt x="1541" y="2531"/>
                </a:lnTo>
                <a:lnTo>
                  <a:pt x="1541" y="2531"/>
                </a:lnTo>
                <a:close/>
                <a:moveTo>
                  <a:pt x="1531" y="2408"/>
                </a:moveTo>
                <a:lnTo>
                  <a:pt x="1530" y="2408"/>
                </a:lnTo>
                <a:lnTo>
                  <a:pt x="1533" y="2409"/>
                </a:lnTo>
                <a:lnTo>
                  <a:pt x="1531" y="2408"/>
                </a:lnTo>
                <a:close/>
                <a:moveTo>
                  <a:pt x="1530" y="2405"/>
                </a:moveTo>
                <a:lnTo>
                  <a:pt x="1527" y="2406"/>
                </a:lnTo>
                <a:lnTo>
                  <a:pt x="1531" y="2406"/>
                </a:lnTo>
                <a:lnTo>
                  <a:pt x="1530" y="2405"/>
                </a:lnTo>
                <a:close/>
                <a:moveTo>
                  <a:pt x="1526" y="2405"/>
                </a:moveTo>
                <a:lnTo>
                  <a:pt x="1526" y="2406"/>
                </a:lnTo>
                <a:lnTo>
                  <a:pt x="1527" y="2405"/>
                </a:lnTo>
                <a:lnTo>
                  <a:pt x="1526" y="2405"/>
                </a:lnTo>
                <a:close/>
                <a:moveTo>
                  <a:pt x="1530" y="2423"/>
                </a:moveTo>
                <a:lnTo>
                  <a:pt x="1531" y="2423"/>
                </a:lnTo>
                <a:lnTo>
                  <a:pt x="1531" y="2420"/>
                </a:lnTo>
                <a:lnTo>
                  <a:pt x="1530" y="2423"/>
                </a:lnTo>
                <a:close/>
                <a:moveTo>
                  <a:pt x="1535" y="2408"/>
                </a:moveTo>
                <a:lnTo>
                  <a:pt x="1539" y="2406"/>
                </a:lnTo>
                <a:lnTo>
                  <a:pt x="1538" y="2405"/>
                </a:lnTo>
                <a:lnTo>
                  <a:pt x="1533" y="2406"/>
                </a:lnTo>
                <a:lnTo>
                  <a:pt x="1535" y="2408"/>
                </a:lnTo>
                <a:close/>
                <a:moveTo>
                  <a:pt x="2039" y="548"/>
                </a:moveTo>
                <a:lnTo>
                  <a:pt x="2042" y="548"/>
                </a:lnTo>
                <a:lnTo>
                  <a:pt x="2036" y="548"/>
                </a:lnTo>
                <a:lnTo>
                  <a:pt x="2039" y="548"/>
                </a:lnTo>
                <a:close/>
                <a:moveTo>
                  <a:pt x="1538" y="2405"/>
                </a:moveTo>
                <a:lnTo>
                  <a:pt x="1539" y="2405"/>
                </a:lnTo>
                <a:lnTo>
                  <a:pt x="1539" y="2402"/>
                </a:lnTo>
                <a:lnTo>
                  <a:pt x="1537" y="2401"/>
                </a:lnTo>
                <a:lnTo>
                  <a:pt x="1538" y="2405"/>
                </a:lnTo>
                <a:close/>
                <a:moveTo>
                  <a:pt x="1527" y="2425"/>
                </a:moveTo>
                <a:lnTo>
                  <a:pt x="1530" y="2425"/>
                </a:lnTo>
                <a:lnTo>
                  <a:pt x="1530" y="2423"/>
                </a:lnTo>
                <a:lnTo>
                  <a:pt x="1527" y="2424"/>
                </a:lnTo>
                <a:lnTo>
                  <a:pt x="1527" y="2425"/>
                </a:lnTo>
                <a:close/>
                <a:moveTo>
                  <a:pt x="1535" y="2413"/>
                </a:moveTo>
                <a:lnTo>
                  <a:pt x="1539" y="2412"/>
                </a:lnTo>
                <a:lnTo>
                  <a:pt x="1537" y="2409"/>
                </a:lnTo>
                <a:lnTo>
                  <a:pt x="1533" y="2413"/>
                </a:lnTo>
                <a:lnTo>
                  <a:pt x="1535" y="2413"/>
                </a:lnTo>
                <a:close/>
                <a:moveTo>
                  <a:pt x="1543" y="2405"/>
                </a:moveTo>
                <a:lnTo>
                  <a:pt x="1541" y="2405"/>
                </a:lnTo>
                <a:lnTo>
                  <a:pt x="1543" y="2408"/>
                </a:lnTo>
                <a:lnTo>
                  <a:pt x="1545" y="2406"/>
                </a:lnTo>
                <a:lnTo>
                  <a:pt x="1543" y="2405"/>
                </a:lnTo>
                <a:close/>
                <a:moveTo>
                  <a:pt x="1535" y="2424"/>
                </a:moveTo>
                <a:lnTo>
                  <a:pt x="1533" y="2421"/>
                </a:lnTo>
                <a:lnTo>
                  <a:pt x="1531" y="2423"/>
                </a:lnTo>
                <a:lnTo>
                  <a:pt x="1531" y="2425"/>
                </a:lnTo>
                <a:lnTo>
                  <a:pt x="1535" y="2424"/>
                </a:lnTo>
                <a:close/>
                <a:moveTo>
                  <a:pt x="1538" y="2355"/>
                </a:moveTo>
                <a:lnTo>
                  <a:pt x="1538" y="2356"/>
                </a:lnTo>
                <a:lnTo>
                  <a:pt x="1539" y="2355"/>
                </a:lnTo>
                <a:lnTo>
                  <a:pt x="1538" y="2355"/>
                </a:lnTo>
                <a:close/>
                <a:moveTo>
                  <a:pt x="1545" y="2408"/>
                </a:moveTo>
                <a:lnTo>
                  <a:pt x="1544" y="2408"/>
                </a:lnTo>
                <a:lnTo>
                  <a:pt x="1543" y="2408"/>
                </a:lnTo>
                <a:lnTo>
                  <a:pt x="1543" y="2409"/>
                </a:lnTo>
                <a:lnTo>
                  <a:pt x="1545" y="2408"/>
                </a:lnTo>
                <a:close/>
                <a:moveTo>
                  <a:pt x="1541" y="2412"/>
                </a:moveTo>
                <a:lnTo>
                  <a:pt x="1539" y="2408"/>
                </a:lnTo>
                <a:lnTo>
                  <a:pt x="1539" y="2409"/>
                </a:lnTo>
                <a:lnTo>
                  <a:pt x="1541" y="2412"/>
                </a:lnTo>
                <a:close/>
                <a:moveTo>
                  <a:pt x="1538" y="2409"/>
                </a:moveTo>
                <a:lnTo>
                  <a:pt x="1539" y="2408"/>
                </a:lnTo>
                <a:lnTo>
                  <a:pt x="1537" y="2409"/>
                </a:lnTo>
                <a:lnTo>
                  <a:pt x="1538" y="2409"/>
                </a:lnTo>
                <a:close/>
                <a:moveTo>
                  <a:pt x="1532" y="2380"/>
                </a:moveTo>
                <a:lnTo>
                  <a:pt x="1542" y="2384"/>
                </a:lnTo>
                <a:lnTo>
                  <a:pt x="1541" y="2379"/>
                </a:lnTo>
                <a:lnTo>
                  <a:pt x="1546" y="2379"/>
                </a:lnTo>
                <a:lnTo>
                  <a:pt x="1545" y="2376"/>
                </a:lnTo>
                <a:lnTo>
                  <a:pt x="1543" y="2375"/>
                </a:lnTo>
                <a:lnTo>
                  <a:pt x="1542" y="2375"/>
                </a:lnTo>
                <a:lnTo>
                  <a:pt x="1542" y="2372"/>
                </a:lnTo>
                <a:lnTo>
                  <a:pt x="1538" y="2368"/>
                </a:lnTo>
                <a:lnTo>
                  <a:pt x="1538" y="2367"/>
                </a:lnTo>
                <a:lnTo>
                  <a:pt x="1538" y="2366"/>
                </a:lnTo>
                <a:lnTo>
                  <a:pt x="1543" y="2371"/>
                </a:lnTo>
                <a:lnTo>
                  <a:pt x="1544" y="2371"/>
                </a:lnTo>
                <a:lnTo>
                  <a:pt x="1542" y="2368"/>
                </a:lnTo>
                <a:lnTo>
                  <a:pt x="1542" y="2367"/>
                </a:lnTo>
                <a:lnTo>
                  <a:pt x="1543" y="2367"/>
                </a:lnTo>
                <a:lnTo>
                  <a:pt x="1544" y="2367"/>
                </a:lnTo>
                <a:lnTo>
                  <a:pt x="1546" y="2367"/>
                </a:lnTo>
                <a:lnTo>
                  <a:pt x="1546" y="2362"/>
                </a:lnTo>
                <a:lnTo>
                  <a:pt x="1542" y="2361"/>
                </a:lnTo>
                <a:lnTo>
                  <a:pt x="1542" y="2359"/>
                </a:lnTo>
                <a:lnTo>
                  <a:pt x="1542" y="2357"/>
                </a:lnTo>
                <a:lnTo>
                  <a:pt x="1542" y="2356"/>
                </a:lnTo>
                <a:lnTo>
                  <a:pt x="1541" y="2356"/>
                </a:lnTo>
                <a:lnTo>
                  <a:pt x="1539" y="2359"/>
                </a:lnTo>
                <a:lnTo>
                  <a:pt x="1534" y="2359"/>
                </a:lnTo>
                <a:lnTo>
                  <a:pt x="1535" y="2362"/>
                </a:lnTo>
                <a:lnTo>
                  <a:pt x="1533" y="2367"/>
                </a:lnTo>
                <a:lnTo>
                  <a:pt x="1534" y="2368"/>
                </a:lnTo>
                <a:lnTo>
                  <a:pt x="1534" y="2374"/>
                </a:lnTo>
                <a:lnTo>
                  <a:pt x="1532" y="2380"/>
                </a:lnTo>
                <a:close/>
                <a:moveTo>
                  <a:pt x="1533" y="2543"/>
                </a:moveTo>
                <a:lnTo>
                  <a:pt x="1537" y="2545"/>
                </a:lnTo>
                <a:lnTo>
                  <a:pt x="1543" y="2550"/>
                </a:lnTo>
                <a:lnTo>
                  <a:pt x="1541" y="2546"/>
                </a:lnTo>
                <a:lnTo>
                  <a:pt x="1537" y="2543"/>
                </a:lnTo>
                <a:lnTo>
                  <a:pt x="1531" y="2539"/>
                </a:lnTo>
                <a:lnTo>
                  <a:pt x="1533" y="2543"/>
                </a:lnTo>
                <a:close/>
                <a:moveTo>
                  <a:pt x="1960" y="25"/>
                </a:moveTo>
                <a:lnTo>
                  <a:pt x="1960" y="25"/>
                </a:lnTo>
                <a:lnTo>
                  <a:pt x="1947" y="19"/>
                </a:lnTo>
                <a:lnTo>
                  <a:pt x="1935" y="23"/>
                </a:lnTo>
                <a:lnTo>
                  <a:pt x="1947" y="25"/>
                </a:lnTo>
                <a:lnTo>
                  <a:pt x="1935" y="24"/>
                </a:lnTo>
                <a:lnTo>
                  <a:pt x="1947" y="29"/>
                </a:lnTo>
                <a:lnTo>
                  <a:pt x="1964" y="28"/>
                </a:lnTo>
                <a:lnTo>
                  <a:pt x="1960" y="25"/>
                </a:lnTo>
                <a:lnTo>
                  <a:pt x="1960" y="25"/>
                </a:lnTo>
                <a:lnTo>
                  <a:pt x="1960" y="25"/>
                </a:lnTo>
                <a:close/>
                <a:moveTo>
                  <a:pt x="1796" y="327"/>
                </a:moveTo>
                <a:lnTo>
                  <a:pt x="1794" y="330"/>
                </a:lnTo>
                <a:lnTo>
                  <a:pt x="1796" y="330"/>
                </a:lnTo>
                <a:lnTo>
                  <a:pt x="1799" y="330"/>
                </a:lnTo>
                <a:lnTo>
                  <a:pt x="1799" y="329"/>
                </a:lnTo>
                <a:lnTo>
                  <a:pt x="1796" y="327"/>
                </a:lnTo>
                <a:close/>
                <a:moveTo>
                  <a:pt x="1979" y="49"/>
                </a:moveTo>
                <a:lnTo>
                  <a:pt x="1979" y="49"/>
                </a:lnTo>
                <a:lnTo>
                  <a:pt x="1978" y="49"/>
                </a:lnTo>
                <a:lnTo>
                  <a:pt x="1979" y="49"/>
                </a:lnTo>
                <a:close/>
                <a:moveTo>
                  <a:pt x="1788" y="302"/>
                </a:moveTo>
                <a:lnTo>
                  <a:pt x="1787" y="301"/>
                </a:lnTo>
                <a:lnTo>
                  <a:pt x="1786" y="302"/>
                </a:lnTo>
                <a:lnTo>
                  <a:pt x="1788" y="302"/>
                </a:lnTo>
                <a:close/>
                <a:moveTo>
                  <a:pt x="1650" y="214"/>
                </a:moveTo>
                <a:lnTo>
                  <a:pt x="1650" y="214"/>
                </a:lnTo>
                <a:lnTo>
                  <a:pt x="1644" y="214"/>
                </a:lnTo>
                <a:lnTo>
                  <a:pt x="1650" y="214"/>
                </a:lnTo>
                <a:close/>
                <a:moveTo>
                  <a:pt x="2333" y="158"/>
                </a:moveTo>
                <a:lnTo>
                  <a:pt x="2333" y="158"/>
                </a:lnTo>
                <a:lnTo>
                  <a:pt x="2332" y="158"/>
                </a:lnTo>
                <a:lnTo>
                  <a:pt x="2333" y="159"/>
                </a:lnTo>
                <a:lnTo>
                  <a:pt x="2333" y="158"/>
                </a:lnTo>
                <a:lnTo>
                  <a:pt x="2333" y="158"/>
                </a:lnTo>
                <a:lnTo>
                  <a:pt x="2333" y="158"/>
                </a:lnTo>
                <a:lnTo>
                  <a:pt x="2333" y="158"/>
                </a:lnTo>
                <a:close/>
                <a:moveTo>
                  <a:pt x="2046" y="8"/>
                </a:moveTo>
                <a:lnTo>
                  <a:pt x="2039" y="10"/>
                </a:lnTo>
                <a:lnTo>
                  <a:pt x="2048" y="11"/>
                </a:lnTo>
                <a:lnTo>
                  <a:pt x="2048" y="10"/>
                </a:lnTo>
                <a:lnTo>
                  <a:pt x="2046" y="8"/>
                </a:lnTo>
                <a:close/>
                <a:moveTo>
                  <a:pt x="1843" y="539"/>
                </a:moveTo>
                <a:lnTo>
                  <a:pt x="1843" y="539"/>
                </a:lnTo>
                <a:lnTo>
                  <a:pt x="1843" y="539"/>
                </a:lnTo>
                <a:lnTo>
                  <a:pt x="1843" y="539"/>
                </a:lnTo>
                <a:close/>
                <a:moveTo>
                  <a:pt x="1835" y="531"/>
                </a:moveTo>
                <a:lnTo>
                  <a:pt x="1837" y="530"/>
                </a:lnTo>
                <a:lnTo>
                  <a:pt x="1835" y="529"/>
                </a:lnTo>
                <a:lnTo>
                  <a:pt x="1835" y="531"/>
                </a:lnTo>
                <a:close/>
                <a:moveTo>
                  <a:pt x="2260" y="346"/>
                </a:moveTo>
                <a:lnTo>
                  <a:pt x="2281" y="342"/>
                </a:lnTo>
                <a:lnTo>
                  <a:pt x="2251" y="337"/>
                </a:lnTo>
                <a:lnTo>
                  <a:pt x="2277" y="341"/>
                </a:lnTo>
                <a:lnTo>
                  <a:pt x="2260" y="334"/>
                </a:lnTo>
                <a:lnTo>
                  <a:pt x="2249" y="336"/>
                </a:lnTo>
                <a:lnTo>
                  <a:pt x="2244" y="339"/>
                </a:lnTo>
                <a:lnTo>
                  <a:pt x="2242" y="341"/>
                </a:lnTo>
                <a:lnTo>
                  <a:pt x="2260" y="346"/>
                </a:lnTo>
                <a:close/>
                <a:moveTo>
                  <a:pt x="1808" y="377"/>
                </a:moveTo>
                <a:lnTo>
                  <a:pt x="1808" y="377"/>
                </a:lnTo>
                <a:lnTo>
                  <a:pt x="1804" y="380"/>
                </a:lnTo>
                <a:lnTo>
                  <a:pt x="1808" y="381"/>
                </a:lnTo>
                <a:lnTo>
                  <a:pt x="1810" y="380"/>
                </a:lnTo>
                <a:lnTo>
                  <a:pt x="1808" y="378"/>
                </a:lnTo>
                <a:lnTo>
                  <a:pt x="1808" y="377"/>
                </a:lnTo>
                <a:lnTo>
                  <a:pt x="1808" y="377"/>
                </a:lnTo>
                <a:close/>
                <a:moveTo>
                  <a:pt x="1848" y="479"/>
                </a:moveTo>
                <a:lnTo>
                  <a:pt x="1854" y="480"/>
                </a:lnTo>
                <a:lnTo>
                  <a:pt x="1855" y="480"/>
                </a:lnTo>
                <a:lnTo>
                  <a:pt x="1848" y="479"/>
                </a:lnTo>
                <a:close/>
                <a:moveTo>
                  <a:pt x="1843" y="539"/>
                </a:moveTo>
                <a:lnTo>
                  <a:pt x="1843" y="538"/>
                </a:lnTo>
                <a:lnTo>
                  <a:pt x="1841" y="539"/>
                </a:lnTo>
                <a:lnTo>
                  <a:pt x="1843" y="539"/>
                </a:lnTo>
                <a:close/>
                <a:moveTo>
                  <a:pt x="1838" y="480"/>
                </a:moveTo>
                <a:lnTo>
                  <a:pt x="1839" y="481"/>
                </a:lnTo>
                <a:lnTo>
                  <a:pt x="1839" y="480"/>
                </a:lnTo>
                <a:lnTo>
                  <a:pt x="1838" y="480"/>
                </a:lnTo>
                <a:close/>
                <a:moveTo>
                  <a:pt x="1845" y="395"/>
                </a:moveTo>
                <a:lnTo>
                  <a:pt x="1843" y="395"/>
                </a:lnTo>
                <a:lnTo>
                  <a:pt x="1843" y="398"/>
                </a:lnTo>
                <a:lnTo>
                  <a:pt x="1846" y="399"/>
                </a:lnTo>
                <a:lnTo>
                  <a:pt x="1855" y="396"/>
                </a:lnTo>
                <a:lnTo>
                  <a:pt x="1853" y="395"/>
                </a:lnTo>
                <a:lnTo>
                  <a:pt x="1862" y="391"/>
                </a:lnTo>
                <a:lnTo>
                  <a:pt x="1853" y="391"/>
                </a:lnTo>
                <a:lnTo>
                  <a:pt x="1845" y="395"/>
                </a:lnTo>
                <a:close/>
                <a:moveTo>
                  <a:pt x="1862" y="391"/>
                </a:moveTo>
                <a:lnTo>
                  <a:pt x="1862" y="391"/>
                </a:lnTo>
                <a:lnTo>
                  <a:pt x="1862" y="391"/>
                </a:lnTo>
                <a:lnTo>
                  <a:pt x="1862" y="391"/>
                </a:lnTo>
                <a:close/>
                <a:moveTo>
                  <a:pt x="1859" y="479"/>
                </a:moveTo>
                <a:lnTo>
                  <a:pt x="1867" y="476"/>
                </a:lnTo>
                <a:lnTo>
                  <a:pt x="1864" y="477"/>
                </a:lnTo>
                <a:lnTo>
                  <a:pt x="1857" y="478"/>
                </a:lnTo>
                <a:lnTo>
                  <a:pt x="1859" y="479"/>
                </a:lnTo>
                <a:close/>
                <a:moveTo>
                  <a:pt x="2357" y="69"/>
                </a:moveTo>
                <a:lnTo>
                  <a:pt x="2358" y="69"/>
                </a:lnTo>
                <a:lnTo>
                  <a:pt x="2357" y="69"/>
                </a:lnTo>
                <a:lnTo>
                  <a:pt x="2357" y="69"/>
                </a:lnTo>
                <a:close/>
                <a:moveTo>
                  <a:pt x="1840" y="480"/>
                </a:moveTo>
                <a:lnTo>
                  <a:pt x="1841" y="480"/>
                </a:lnTo>
                <a:lnTo>
                  <a:pt x="1841" y="480"/>
                </a:lnTo>
                <a:lnTo>
                  <a:pt x="1839" y="480"/>
                </a:lnTo>
                <a:lnTo>
                  <a:pt x="1840" y="481"/>
                </a:lnTo>
                <a:lnTo>
                  <a:pt x="1840" y="480"/>
                </a:lnTo>
                <a:close/>
                <a:moveTo>
                  <a:pt x="1886" y="571"/>
                </a:moveTo>
                <a:lnTo>
                  <a:pt x="1886" y="571"/>
                </a:lnTo>
                <a:lnTo>
                  <a:pt x="1886" y="571"/>
                </a:lnTo>
                <a:lnTo>
                  <a:pt x="1886" y="571"/>
                </a:lnTo>
                <a:close/>
                <a:moveTo>
                  <a:pt x="2281" y="437"/>
                </a:moveTo>
                <a:lnTo>
                  <a:pt x="2283" y="434"/>
                </a:lnTo>
                <a:lnTo>
                  <a:pt x="2278" y="434"/>
                </a:lnTo>
                <a:lnTo>
                  <a:pt x="2277" y="434"/>
                </a:lnTo>
                <a:lnTo>
                  <a:pt x="2281" y="437"/>
                </a:lnTo>
                <a:close/>
                <a:moveTo>
                  <a:pt x="1899" y="624"/>
                </a:moveTo>
                <a:lnTo>
                  <a:pt x="1899" y="625"/>
                </a:lnTo>
                <a:lnTo>
                  <a:pt x="1899" y="625"/>
                </a:lnTo>
                <a:lnTo>
                  <a:pt x="1899" y="624"/>
                </a:lnTo>
                <a:lnTo>
                  <a:pt x="1899" y="624"/>
                </a:lnTo>
                <a:close/>
                <a:moveTo>
                  <a:pt x="2000" y="610"/>
                </a:moveTo>
                <a:lnTo>
                  <a:pt x="1998" y="610"/>
                </a:lnTo>
                <a:lnTo>
                  <a:pt x="2000" y="612"/>
                </a:lnTo>
                <a:lnTo>
                  <a:pt x="2001" y="612"/>
                </a:lnTo>
                <a:lnTo>
                  <a:pt x="2000" y="612"/>
                </a:lnTo>
                <a:lnTo>
                  <a:pt x="2000" y="610"/>
                </a:lnTo>
                <a:close/>
                <a:moveTo>
                  <a:pt x="2098" y="526"/>
                </a:moveTo>
                <a:lnTo>
                  <a:pt x="2098" y="527"/>
                </a:lnTo>
                <a:lnTo>
                  <a:pt x="2098" y="529"/>
                </a:lnTo>
                <a:lnTo>
                  <a:pt x="2100" y="527"/>
                </a:lnTo>
                <a:lnTo>
                  <a:pt x="2100" y="527"/>
                </a:lnTo>
                <a:lnTo>
                  <a:pt x="2098" y="526"/>
                </a:lnTo>
                <a:close/>
                <a:moveTo>
                  <a:pt x="1873" y="484"/>
                </a:moveTo>
                <a:lnTo>
                  <a:pt x="1874" y="484"/>
                </a:lnTo>
                <a:lnTo>
                  <a:pt x="1874" y="483"/>
                </a:lnTo>
                <a:lnTo>
                  <a:pt x="1873" y="484"/>
                </a:lnTo>
                <a:close/>
                <a:moveTo>
                  <a:pt x="1906" y="640"/>
                </a:moveTo>
                <a:lnTo>
                  <a:pt x="1905" y="640"/>
                </a:lnTo>
                <a:lnTo>
                  <a:pt x="1908" y="640"/>
                </a:lnTo>
                <a:lnTo>
                  <a:pt x="1906" y="640"/>
                </a:lnTo>
                <a:close/>
                <a:moveTo>
                  <a:pt x="1875" y="484"/>
                </a:moveTo>
                <a:lnTo>
                  <a:pt x="1875" y="485"/>
                </a:lnTo>
                <a:lnTo>
                  <a:pt x="1879" y="487"/>
                </a:lnTo>
                <a:lnTo>
                  <a:pt x="1881" y="486"/>
                </a:lnTo>
                <a:lnTo>
                  <a:pt x="1875" y="484"/>
                </a:lnTo>
                <a:close/>
                <a:moveTo>
                  <a:pt x="2277" y="439"/>
                </a:moveTo>
                <a:lnTo>
                  <a:pt x="2277" y="438"/>
                </a:lnTo>
                <a:lnTo>
                  <a:pt x="2277" y="439"/>
                </a:lnTo>
                <a:lnTo>
                  <a:pt x="2277" y="439"/>
                </a:lnTo>
                <a:close/>
                <a:moveTo>
                  <a:pt x="2219" y="81"/>
                </a:moveTo>
                <a:lnTo>
                  <a:pt x="2221" y="80"/>
                </a:lnTo>
                <a:lnTo>
                  <a:pt x="2218" y="81"/>
                </a:lnTo>
                <a:lnTo>
                  <a:pt x="2219" y="81"/>
                </a:lnTo>
                <a:lnTo>
                  <a:pt x="2219" y="81"/>
                </a:lnTo>
                <a:lnTo>
                  <a:pt x="2219" y="81"/>
                </a:lnTo>
                <a:close/>
                <a:moveTo>
                  <a:pt x="2043" y="545"/>
                </a:moveTo>
                <a:lnTo>
                  <a:pt x="2045" y="547"/>
                </a:lnTo>
                <a:lnTo>
                  <a:pt x="2045" y="545"/>
                </a:lnTo>
                <a:lnTo>
                  <a:pt x="2043" y="545"/>
                </a:lnTo>
                <a:close/>
                <a:moveTo>
                  <a:pt x="2277" y="438"/>
                </a:moveTo>
                <a:lnTo>
                  <a:pt x="2277" y="437"/>
                </a:lnTo>
                <a:lnTo>
                  <a:pt x="2277" y="437"/>
                </a:lnTo>
                <a:lnTo>
                  <a:pt x="2277" y="438"/>
                </a:lnTo>
                <a:lnTo>
                  <a:pt x="2277" y="438"/>
                </a:lnTo>
                <a:close/>
                <a:moveTo>
                  <a:pt x="2328" y="122"/>
                </a:moveTo>
                <a:lnTo>
                  <a:pt x="2325" y="127"/>
                </a:lnTo>
                <a:lnTo>
                  <a:pt x="2339" y="125"/>
                </a:lnTo>
                <a:lnTo>
                  <a:pt x="2330" y="122"/>
                </a:lnTo>
                <a:lnTo>
                  <a:pt x="2329" y="122"/>
                </a:lnTo>
                <a:lnTo>
                  <a:pt x="2328" y="122"/>
                </a:lnTo>
                <a:close/>
                <a:moveTo>
                  <a:pt x="2240" y="401"/>
                </a:moveTo>
                <a:lnTo>
                  <a:pt x="2240" y="401"/>
                </a:lnTo>
                <a:lnTo>
                  <a:pt x="2232" y="406"/>
                </a:lnTo>
                <a:lnTo>
                  <a:pt x="2221" y="407"/>
                </a:lnTo>
                <a:lnTo>
                  <a:pt x="2213" y="411"/>
                </a:lnTo>
                <a:lnTo>
                  <a:pt x="2208" y="414"/>
                </a:lnTo>
                <a:lnTo>
                  <a:pt x="2206" y="418"/>
                </a:lnTo>
                <a:lnTo>
                  <a:pt x="2235" y="415"/>
                </a:lnTo>
                <a:lnTo>
                  <a:pt x="2248" y="411"/>
                </a:lnTo>
                <a:lnTo>
                  <a:pt x="2247" y="406"/>
                </a:lnTo>
                <a:lnTo>
                  <a:pt x="2241" y="404"/>
                </a:lnTo>
                <a:lnTo>
                  <a:pt x="2241" y="400"/>
                </a:lnTo>
                <a:lnTo>
                  <a:pt x="2240" y="400"/>
                </a:lnTo>
                <a:lnTo>
                  <a:pt x="2240" y="401"/>
                </a:lnTo>
                <a:close/>
                <a:moveTo>
                  <a:pt x="2304" y="306"/>
                </a:moveTo>
                <a:lnTo>
                  <a:pt x="2302" y="307"/>
                </a:lnTo>
                <a:lnTo>
                  <a:pt x="2295" y="311"/>
                </a:lnTo>
                <a:lnTo>
                  <a:pt x="2307" y="315"/>
                </a:lnTo>
                <a:lnTo>
                  <a:pt x="2322" y="313"/>
                </a:lnTo>
                <a:lnTo>
                  <a:pt x="2317" y="310"/>
                </a:lnTo>
                <a:lnTo>
                  <a:pt x="2316" y="307"/>
                </a:lnTo>
                <a:lnTo>
                  <a:pt x="2315" y="306"/>
                </a:lnTo>
                <a:lnTo>
                  <a:pt x="2310" y="306"/>
                </a:lnTo>
                <a:lnTo>
                  <a:pt x="2304" y="306"/>
                </a:lnTo>
                <a:close/>
                <a:moveTo>
                  <a:pt x="2276" y="440"/>
                </a:moveTo>
                <a:lnTo>
                  <a:pt x="2277" y="439"/>
                </a:lnTo>
                <a:lnTo>
                  <a:pt x="2275" y="439"/>
                </a:lnTo>
                <a:lnTo>
                  <a:pt x="2276" y="440"/>
                </a:lnTo>
                <a:close/>
                <a:moveTo>
                  <a:pt x="2245" y="1101"/>
                </a:moveTo>
                <a:lnTo>
                  <a:pt x="2244" y="1102"/>
                </a:lnTo>
                <a:lnTo>
                  <a:pt x="2245" y="1102"/>
                </a:lnTo>
                <a:lnTo>
                  <a:pt x="2245" y="1101"/>
                </a:lnTo>
                <a:close/>
                <a:moveTo>
                  <a:pt x="2220" y="2644"/>
                </a:moveTo>
                <a:lnTo>
                  <a:pt x="2221" y="2643"/>
                </a:lnTo>
                <a:lnTo>
                  <a:pt x="2220" y="2643"/>
                </a:lnTo>
                <a:lnTo>
                  <a:pt x="2220" y="2644"/>
                </a:lnTo>
                <a:close/>
                <a:moveTo>
                  <a:pt x="2229" y="2666"/>
                </a:moveTo>
                <a:lnTo>
                  <a:pt x="2231" y="2668"/>
                </a:lnTo>
                <a:lnTo>
                  <a:pt x="2231" y="2666"/>
                </a:lnTo>
                <a:lnTo>
                  <a:pt x="2229" y="2666"/>
                </a:lnTo>
                <a:close/>
                <a:moveTo>
                  <a:pt x="2233" y="2681"/>
                </a:moveTo>
                <a:lnTo>
                  <a:pt x="2233" y="2680"/>
                </a:lnTo>
                <a:lnTo>
                  <a:pt x="2229" y="2681"/>
                </a:lnTo>
                <a:lnTo>
                  <a:pt x="2233" y="2681"/>
                </a:lnTo>
                <a:close/>
                <a:moveTo>
                  <a:pt x="2244" y="1102"/>
                </a:moveTo>
                <a:lnTo>
                  <a:pt x="2238" y="1102"/>
                </a:lnTo>
                <a:lnTo>
                  <a:pt x="2240" y="1103"/>
                </a:lnTo>
                <a:lnTo>
                  <a:pt x="2243" y="1103"/>
                </a:lnTo>
                <a:lnTo>
                  <a:pt x="2244" y="1102"/>
                </a:lnTo>
                <a:close/>
                <a:moveTo>
                  <a:pt x="2179" y="478"/>
                </a:moveTo>
                <a:lnTo>
                  <a:pt x="2182" y="479"/>
                </a:lnTo>
                <a:lnTo>
                  <a:pt x="2184" y="477"/>
                </a:lnTo>
                <a:lnTo>
                  <a:pt x="2183" y="476"/>
                </a:lnTo>
                <a:lnTo>
                  <a:pt x="2179" y="478"/>
                </a:lnTo>
                <a:close/>
                <a:moveTo>
                  <a:pt x="2248" y="1115"/>
                </a:moveTo>
                <a:lnTo>
                  <a:pt x="2250" y="1116"/>
                </a:lnTo>
                <a:lnTo>
                  <a:pt x="2250" y="1115"/>
                </a:lnTo>
                <a:lnTo>
                  <a:pt x="2248" y="1115"/>
                </a:lnTo>
                <a:close/>
                <a:moveTo>
                  <a:pt x="2247" y="1437"/>
                </a:moveTo>
                <a:lnTo>
                  <a:pt x="2248" y="1439"/>
                </a:lnTo>
                <a:lnTo>
                  <a:pt x="2250" y="1437"/>
                </a:lnTo>
                <a:lnTo>
                  <a:pt x="2248" y="1436"/>
                </a:lnTo>
                <a:lnTo>
                  <a:pt x="2247" y="1437"/>
                </a:lnTo>
                <a:close/>
                <a:moveTo>
                  <a:pt x="2247" y="1433"/>
                </a:moveTo>
                <a:lnTo>
                  <a:pt x="2243" y="1434"/>
                </a:lnTo>
                <a:lnTo>
                  <a:pt x="2243" y="1436"/>
                </a:lnTo>
                <a:lnTo>
                  <a:pt x="2248" y="1434"/>
                </a:lnTo>
                <a:lnTo>
                  <a:pt x="2247" y="1433"/>
                </a:lnTo>
                <a:close/>
                <a:moveTo>
                  <a:pt x="2123" y="512"/>
                </a:moveTo>
                <a:lnTo>
                  <a:pt x="2123" y="510"/>
                </a:lnTo>
                <a:lnTo>
                  <a:pt x="2121" y="513"/>
                </a:lnTo>
                <a:lnTo>
                  <a:pt x="2123" y="512"/>
                </a:lnTo>
                <a:close/>
                <a:moveTo>
                  <a:pt x="2051" y="1889"/>
                </a:moveTo>
                <a:lnTo>
                  <a:pt x="2051" y="1889"/>
                </a:lnTo>
                <a:lnTo>
                  <a:pt x="2051" y="1888"/>
                </a:lnTo>
                <a:lnTo>
                  <a:pt x="2051" y="1889"/>
                </a:lnTo>
                <a:close/>
                <a:moveTo>
                  <a:pt x="2084" y="533"/>
                </a:moveTo>
                <a:lnTo>
                  <a:pt x="2080" y="535"/>
                </a:lnTo>
                <a:lnTo>
                  <a:pt x="2080" y="536"/>
                </a:lnTo>
                <a:lnTo>
                  <a:pt x="2080" y="537"/>
                </a:lnTo>
                <a:lnTo>
                  <a:pt x="2084" y="533"/>
                </a:lnTo>
                <a:close/>
                <a:moveTo>
                  <a:pt x="2076" y="540"/>
                </a:moveTo>
                <a:lnTo>
                  <a:pt x="2075" y="540"/>
                </a:lnTo>
                <a:lnTo>
                  <a:pt x="2076" y="543"/>
                </a:lnTo>
                <a:lnTo>
                  <a:pt x="2078" y="541"/>
                </a:lnTo>
                <a:lnTo>
                  <a:pt x="2076" y="540"/>
                </a:lnTo>
                <a:close/>
                <a:moveTo>
                  <a:pt x="2079" y="540"/>
                </a:moveTo>
                <a:lnTo>
                  <a:pt x="2080" y="536"/>
                </a:lnTo>
                <a:lnTo>
                  <a:pt x="2078" y="536"/>
                </a:lnTo>
                <a:lnTo>
                  <a:pt x="2079" y="540"/>
                </a:lnTo>
                <a:close/>
                <a:moveTo>
                  <a:pt x="2198" y="1087"/>
                </a:moveTo>
                <a:lnTo>
                  <a:pt x="2200" y="1089"/>
                </a:lnTo>
                <a:lnTo>
                  <a:pt x="2203" y="1091"/>
                </a:lnTo>
                <a:lnTo>
                  <a:pt x="2206" y="1089"/>
                </a:lnTo>
                <a:lnTo>
                  <a:pt x="2202" y="1087"/>
                </a:lnTo>
                <a:lnTo>
                  <a:pt x="2198" y="1087"/>
                </a:lnTo>
                <a:close/>
                <a:moveTo>
                  <a:pt x="2159" y="1072"/>
                </a:moveTo>
                <a:lnTo>
                  <a:pt x="2160" y="1070"/>
                </a:lnTo>
                <a:lnTo>
                  <a:pt x="2159" y="1070"/>
                </a:lnTo>
                <a:lnTo>
                  <a:pt x="2159" y="1072"/>
                </a:lnTo>
                <a:close/>
                <a:moveTo>
                  <a:pt x="2132" y="501"/>
                </a:moveTo>
                <a:lnTo>
                  <a:pt x="2132" y="498"/>
                </a:lnTo>
                <a:lnTo>
                  <a:pt x="2131" y="498"/>
                </a:lnTo>
                <a:lnTo>
                  <a:pt x="2132" y="501"/>
                </a:lnTo>
                <a:close/>
                <a:moveTo>
                  <a:pt x="2216" y="1083"/>
                </a:moveTo>
                <a:lnTo>
                  <a:pt x="2216" y="1085"/>
                </a:lnTo>
                <a:lnTo>
                  <a:pt x="2219" y="1085"/>
                </a:lnTo>
                <a:lnTo>
                  <a:pt x="2221" y="1083"/>
                </a:lnTo>
                <a:lnTo>
                  <a:pt x="2216" y="1083"/>
                </a:lnTo>
                <a:close/>
                <a:moveTo>
                  <a:pt x="1875" y="579"/>
                </a:moveTo>
                <a:lnTo>
                  <a:pt x="1875" y="578"/>
                </a:lnTo>
                <a:lnTo>
                  <a:pt x="1871" y="579"/>
                </a:lnTo>
                <a:lnTo>
                  <a:pt x="1875" y="579"/>
                </a:lnTo>
                <a:close/>
                <a:moveTo>
                  <a:pt x="1864" y="583"/>
                </a:moveTo>
                <a:lnTo>
                  <a:pt x="1867" y="582"/>
                </a:lnTo>
                <a:lnTo>
                  <a:pt x="1867" y="582"/>
                </a:lnTo>
                <a:lnTo>
                  <a:pt x="1864" y="583"/>
                </a:lnTo>
                <a:close/>
                <a:moveTo>
                  <a:pt x="1875" y="603"/>
                </a:moveTo>
                <a:lnTo>
                  <a:pt x="1876" y="600"/>
                </a:lnTo>
                <a:lnTo>
                  <a:pt x="1875" y="602"/>
                </a:lnTo>
                <a:lnTo>
                  <a:pt x="1875" y="603"/>
                </a:lnTo>
                <a:close/>
                <a:moveTo>
                  <a:pt x="1864" y="579"/>
                </a:moveTo>
                <a:lnTo>
                  <a:pt x="1867" y="580"/>
                </a:lnTo>
                <a:lnTo>
                  <a:pt x="1871" y="579"/>
                </a:lnTo>
                <a:lnTo>
                  <a:pt x="1868" y="579"/>
                </a:lnTo>
                <a:lnTo>
                  <a:pt x="1864" y="579"/>
                </a:lnTo>
                <a:close/>
                <a:moveTo>
                  <a:pt x="1875" y="604"/>
                </a:moveTo>
                <a:lnTo>
                  <a:pt x="1875" y="603"/>
                </a:lnTo>
                <a:lnTo>
                  <a:pt x="1875" y="604"/>
                </a:lnTo>
                <a:lnTo>
                  <a:pt x="1875" y="604"/>
                </a:lnTo>
                <a:close/>
                <a:moveTo>
                  <a:pt x="1849" y="545"/>
                </a:moveTo>
                <a:lnTo>
                  <a:pt x="1851" y="543"/>
                </a:lnTo>
                <a:lnTo>
                  <a:pt x="1848" y="544"/>
                </a:lnTo>
                <a:lnTo>
                  <a:pt x="1849" y="545"/>
                </a:lnTo>
                <a:close/>
                <a:moveTo>
                  <a:pt x="1852" y="543"/>
                </a:moveTo>
                <a:lnTo>
                  <a:pt x="1851" y="543"/>
                </a:lnTo>
                <a:lnTo>
                  <a:pt x="1851" y="543"/>
                </a:lnTo>
                <a:lnTo>
                  <a:pt x="1852" y="543"/>
                </a:lnTo>
                <a:close/>
                <a:moveTo>
                  <a:pt x="1881" y="567"/>
                </a:moveTo>
                <a:lnTo>
                  <a:pt x="1875" y="567"/>
                </a:lnTo>
                <a:lnTo>
                  <a:pt x="1881" y="568"/>
                </a:lnTo>
                <a:lnTo>
                  <a:pt x="1879" y="569"/>
                </a:lnTo>
                <a:lnTo>
                  <a:pt x="1879" y="571"/>
                </a:lnTo>
                <a:lnTo>
                  <a:pt x="1886" y="571"/>
                </a:lnTo>
                <a:lnTo>
                  <a:pt x="1885" y="567"/>
                </a:lnTo>
                <a:lnTo>
                  <a:pt x="1881" y="567"/>
                </a:lnTo>
                <a:close/>
                <a:moveTo>
                  <a:pt x="1934" y="656"/>
                </a:moveTo>
                <a:lnTo>
                  <a:pt x="1935" y="656"/>
                </a:lnTo>
                <a:lnTo>
                  <a:pt x="1934" y="656"/>
                </a:lnTo>
                <a:lnTo>
                  <a:pt x="1934" y="656"/>
                </a:lnTo>
                <a:close/>
                <a:moveTo>
                  <a:pt x="1891" y="629"/>
                </a:moveTo>
                <a:lnTo>
                  <a:pt x="1895" y="628"/>
                </a:lnTo>
                <a:lnTo>
                  <a:pt x="1891" y="628"/>
                </a:lnTo>
                <a:lnTo>
                  <a:pt x="1891" y="629"/>
                </a:lnTo>
                <a:close/>
                <a:moveTo>
                  <a:pt x="2003" y="620"/>
                </a:moveTo>
                <a:lnTo>
                  <a:pt x="2000" y="619"/>
                </a:lnTo>
                <a:lnTo>
                  <a:pt x="2000" y="620"/>
                </a:lnTo>
                <a:lnTo>
                  <a:pt x="2003" y="620"/>
                </a:lnTo>
                <a:close/>
                <a:moveTo>
                  <a:pt x="1935" y="656"/>
                </a:moveTo>
                <a:lnTo>
                  <a:pt x="1935" y="656"/>
                </a:lnTo>
                <a:lnTo>
                  <a:pt x="1935" y="656"/>
                </a:lnTo>
                <a:lnTo>
                  <a:pt x="1935" y="656"/>
                </a:lnTo>
                <a:close/>
                <a:moveTo>
                  <a:pt x="2000" y="620"/>
                </a:moveTo>
                <a:lnTo>
                  <a:pt x="2000" y="620"/>
                </a:lnTo>
                <a:lnTo>
                  <a:pt x="1997" y="620"/>
                </a:lnTo>
                <a:lnTo>
                  <a:pt x="2000" y="620"/>
                </a:lnTo>
                <a:close/>
                <a:moveTo>
                  <a:pt x="1897" y="628"/>
                </a:moveTo>
                <a:lnTo>
                  <a:pt x="1898" y="628"/>
                </a:lnTo>
                <a:lnTo>
                  <a:pt x="1895" y="628"/>
                </a:lnTo>
                <a:lnTo>
                  <a:pt x="1897" y="628"/>
                </a:lnTo>
                <a:close/>
                <a:moveTo>
                  <a:pt x="1898" y="628"/>
                </a:moveTo>
                <a:lnTo>
                  <a:pt x="1899" y="625"/>
                </a:lnTo>
                <a:lnTo>
                  <a:pt x="1898" y="628"/>
                </a:lnTo>
                <a:lnTo>
                  <a:pt x="1898" y="628"/>
                </a:lnTo>
                <a:close/>
                <a:moveTo>
                  <a:pt x="2087" y="536"/>
                </a:moveTo>
                <a:lnTo>
                  <a:pt x="2086" y="536"/>
                </a:lnTo>
                <a:lnTo>
                  <a:pt x="2090" y="535"/>
                </a:lnTo>
                <a:lnTo>
                  <a:pt x="2088" y="535"/>
                </a:lnTo>
                <a:lnTo>
                  <a:pt x="2087" y="535"/>
                </a:lnTo>
                <a:lnTo>
                  <a:pt x="2087" y="536"/>
                </a:lnTo>
                <a:lnTo>
                  <a:pt x="2087" y="536"/>
                </a:lnTo>
                <a:close/>
                <a:moveTo>
                  <a:pt x="4639" y="1940"/>
                </a:moveTo>
                <a:lnTo>
                  <a:pt x="4636" y="1940"/>
                </a:lnTo>
                <a:lnTo>
                  <a:pt x="4634" y="1941"/>
                </a:lnTo>
                <a:lnTo>
                  <a:pt x="4633" y="1942"/>
                </a:lnTo>
                <a:lnTo>
                  <a:pt x="4632" y="1944"/>
                </a:lnTo>
                <a:lnTo>
                  <a:pt x="4632" y="1945"/>
                </a:lnTo>
                <a:lnTo>
                  <a:pt x="4637" y="1945"/>
                </a:lnTo>
                <a:lnTo>
                  <a:pt x="4637" y="1941"/>
                </a:lnTo>
                <a:lnTo>
                  <a:pt x="4639" y="1941"/>
                </a:lnTo>
                <a:lnTo>
                  <a:pt x="4639" y="1940"/>
                </a:lnTo>
                <a:close/>
                <a:moveTo>
                  <a:pt x="4395" y="1820"/>
                </a:moveTo>
                <a:lnTo>
                  <a:pt x="4393" y="1820"/>
                </a:lnTo>
                <a:lnTo>
                  <a:pt x="4393" y="1820"/>
                </a:lnTo>
                <a:lnTo>
                  <a:pt x="4395" y="1820"/>
                </a:lnTo>
                <a:lnTo>
                  <a:pt x="4392" y="1817"/>
                </a:lnTo>
                <a:lnTo>
                  <a:pt x="4389" y="1820"/>
                </a:lnTo>
                <a:lnTo>
                  <a:pt x="4388" y="1820"/>
                </a:lnTo>
                <a:lnTo>
                  <a:pt x="4382" y="1820"/>
                </a:lnTo>
                <a:lnTo>
                  <a:pt x="4379" y="1820"/>
                </a:lnTo>
                <a:lnTo>
                  <a:pt x="4377" y="1820"/>
                </a:lnTo>
                <a:lnTo>
                  <a:pt x="4367" y="1816"/>
                </a:lnTo>
                <a:lnTo>
                  <a:pt x="4363" y="1816"/>
                </a:lnTo>
                <a:lnTo>
                  <a:pt x="4359" y="1815"/>
                </a:lnTo>
                <a:lnTo>
                  <a:pt x="4354" y="1818"/>
                </a:lnTo>
                <a:lnTo>
                  <a:pt x="4349" y="1820"/>
                </a:lnTo>
                <a:lnTo>
                  <a:pt x="4349" y="1820"/>
                </a:lnTo>
                <a:lnTo>
                  <a:pt x="4349" y="1822"/>
                </a:lnTo>
                <a:lnTo>
                  <a:pt x="4348" y="1824"/>
                </a:lnTo>
                <a:lnTo>
                  <a:pt x="4349" y="1824"/>
                </a:lnTo>
                <a:lnTo>
                  <a:pt x="4349" y="1821"/>
                </a:lnTo>
                <a:lnTo>
                  <a:pt x="4351" y="1822"/>
                </a:lnTo>
                <a:lnTo>
                  <a:pt x="4353" y="1824"/>
                </a:lnTo>
                <a:lnTo>
                  <a:pt x="4362" y="1824"/>
                </a:lnTo>
                <a:lnTo>
                  <a:pt x="4366" y="1827"/>
                </a:lnTo>
                <a:lnTo>
                  <a:pt x="4369" y="1829"/>
                </a:lnTo>
                <a:lnTo>
                  <a:pt x="4374" y="1829"/>
                </a:lnTo>
                <a:lnTo>
                  <a:pt x="4374" y="1826"/>
                </a:lnTo>
                <a:lnTo>
                  <a:pt x="4375" y="1824"/>
                </a:lnTo>
                <a:lnTo>
                  <a:pt x="4380" y="1826"/>
                </a:lnTo>
                <a:lnTo>
                  <a:pt x="4388" y="1823"/>
                </a:lnTo>
                <a:lnTo>
                  <a:pt x="4395" y="1820"/>
                </a:lnTo>
                <a:close/>
                <a:moveTo>
                  <a:pt x="4321" y="1816"/>
                </a:moveTo>
                <a:lnTo>
                  <a:pt x="4320" y="1816"/>
                </a:lnTo>
                <a:lnTo>
                  <a:pt x="4321" y="1816"/>
                </a:lnTo>
                <a:lnTo>
                  <a:pt x="4321" y="1816"/>
                </a:lnTo>
                <a:close/>
                <a:moveTo>
                  <a:pt x="4401" y="1819"/>
                </a:moveTo>
                <a:lnTo>
                  <a:pt x="4401" y="1816"/>
                </a:lnTo>
                <a:lnTo>
                  <a:pt x="4399" y="1816"/>
                </a:lnTo>
                <a:lnTo>
                  <a:pt x="4397" y="1819"/>
                </a:lnTo>
                <a:lnTo>
                  <a:pt x="4400" y="1819"/>
                </a:lnTo>
                <a:lnTo>
                  <a:pt x="4401" y="1819"/>
                </a:lnTo>
                <a:close/>
                <a:moveTo>
                  <a:pt x="4395" y="1820"/>
                </a:moveTo>
                <a:lnTo>
                  <a:pt x="4397" y="1820"/>
                </a:lnTo>
                <a:lnTo>
                  <a:pt x="4397" y="1819"/>
                </a:lnTo>
                <a:lnTo>
                  <a:pt x="4397" y="1819"/>
                </a:lnTo>
                <a:lnTo>
                  <a:pt x="4395" y="1820"/>
                </a:lnTo>
                <a:lnTo>
                  <a:pt x="4396" y="1820"/>
                </a:lnTo>
                <a:lnTo>
                  <a:pt x="4395" y="1820"/>
                </a:lnTo>
                <a:close/>
                <a:moveTo>
                  <a:pt x="4380" y="1850"/>
                </a:moveTo>
                <a:lnTo>
                  <a:pt x="4381" y="1850"/>
                </a:lnTo>
                <a:lnTo>
                  <a:pt x="4382" y="1849"/>
                </a:lnTo>
                <a:lnTo>
                  <a:pt x="4382" y="1849"/>
                </a:lnTo>
                <a:lnTo>
                  <a:pt x="4381" y="1849"/>
                </a:lnTo>
                <a:lnTo>
                  <a:pt x="4381" y="1849"/>
                </a:lnTo>
                <a:lnTo>
                  <a:pt x="4380" y="1850"/>
                </a:lnTo>
                <a:close/>
                <a:moveTo>
                  <a:pt x="4320" y="1816"/>
                </a:moveTo>
                <a:lnTo>
                  <a:pt x="4320" y="1816"/>
                </a:lnTo>
                <a:lnTo>
                  <a:pt x="4320" y="1816"/>
                </a:lnTo>
                <a:lnTo>
                  <a:pt x="4320" y="1816"/>
                </a:lnTo>
                <a:close/>
                <a:moveTo>
                  <a:pt x="4319" y="1817"/>
                </a:moveTo>
                <a:lnTo>
                  <a:pt x="4319" y="1816"/>
                </a:lnTo>
                <a:lnTo>
                  <a:pt x="4319" y="1816"/>
                </a:lnTo>
                <a:lnTo>
                  <a:pt x="4317" y="1816"/>
                </a:lnTo>
                <a:lnTo>
                  <a:pt x="4317" y="1818"/>
                </a:lnTo>
                <a:lnTo>
                  <a:pt x="4319" y="1819"/>
                </a:lnTo>
                <a:lnTo>
                  <a:pt x="4319" y="1817"/>
                </a:lnTo>
                <a:close/>
                <a:moveTo>
                  <a:pt x="4320" y="1816"/>
                </a:moveTo>
                <a:lnTo>
                  <a:pt x="4320" y="1816"/>
                </a:lnTo>
                <a:lnTo>
                  <a:pt x="4319" y="1816"/>
                </a:lnTo>
                <a:lnTo>
                  <a:pt x="4319" y="1816"/>
                </a:lnTo>
                <a:lnTo>
                  <a:pt x="4320" y="1816"/>
                </a:lnTo>
                <a:lnTo>
                  <a:pt x="4320" y="1816"/>
                </a:lnTo>
                <a:close/>
                <a:moveTo>
                  <a:pt x="4401" y="1819"/>
                </a:moveTo>
                <a:lnTo>
                  <a:pt x="4401" y="1819"/>
                </a:lnTo>
                <a:lnTo>
                  <a:pt x="4401" y="1819"/>
                </a:lnTo>
                <a:lnTo>
                  <a:pt x="4401" y="1819"/>
                </a:lnTo>
                <a:close/>
                <a:moveTo>
                  <a:pt x="4405" y="1937"/>
                </a:moveTo>
                <a:lnTo>
                  <a:pt x="4405" y="1938"/>
                </a:lnTo>
                <a:lnTo>
                  <a:pt x="4408" y="1938"/>
                </a:lnTo>
                <a:lnTo>
                  <a:pt x="4411" y="1937"/>
                </a:lnTo>
                <a:lnTo>
                  <a:pt x="4408" y="1937"/>
                </a:lnTo>
                <a:lnTo>
                  <a:pt x="4405" y="1937"/>
                </a:lnTo>
                <a:close/>
                <a:moveTo>
                  <a:pt x="4393" y="1816"/>
                </a:moveTo>
                <a:lnTo>
                  <a:pt x="4394" y="1816"/>
                </a:lnTo>
                <a:lnTo>
                  <a:pt x="4394" y="1816"/>
                </a:lnTo>
                <a:lnTo>
                  <a:pt x="4395" y="1815"/>
                </a:lnTo>
                <a:lnTo>
                  <a:pt x="4396" y="1813"/>
                </a:lnTo>
                <a:lnTo>
                  <a:pt x="4394" y="1815"/>
                </a:lnTo>
                <a:lnTo>
                  <a:pt x="4396" y="1812"/>
                </a:lnTo>
                <a:lnTo>
                  <a:pt x="4396" y="1812"/>
                </a:lnTo>
                <a:lnTo>
                  <a:pt x="4396" y="1812"/>
                </a:lnTo>
                <a:lnTo>
                  <a:pt x="4393" y="1812"/>
                </a:lnTo>
                <a:lnTo>
                  <a:pt x="4393" y="1815"/>
                </a:lnTo>
                <a:lnTo>
                  <a:pt x="4392" y="1816"/>
                </a:lnTo>
                <a:lnTo>
                  <a:pt x="4392" y="1817"/>
                </a:lnTo>
                <a:lnTo>
                  <a:pt x="4393" y="1816"/>
                </a:lnTo>
                <a:lnTo>
                  <a:pt x="4393" y="1816"/>
                </a:lnTo>
                <a:close/>
                <a:moveTo>
                  <a:pt x="4427" y="1912"/>
                </a:moveTo>
                <a:lnTo>
                  <a:pt x="4428" y="1913"/>
                </a:lnTo>
                <a:lnTo>
                  <a:pt x="4430" y="1914"/>
                </a:lnTo>
                <a:lnTo>
                  <a:pt x="4430" y="1914"/>
                </a:lnTo>
                <a:lnTo>
                  <a:pt x="4430" y="1910"/>
                </a:lnTo>
                <a:lnTo>
                  <a:pt x="4430" y="1910"/>
                </a:lnTo>
                <a:lnTo>
                  <a:pt x="4428" y="1911"/>
                </a:lnTo>
                <a:lnTo>
                  <a:pt x="4427" y="1912"/>
                </a:lnTo>
                <a:close/>
                <a:moveTo>
                  <a:pt x="4409" y="1812"/>
                </a:moveTo>
                <a:lnTo>
                  <a:pt x="4408" y="1812"/>
                </a:lnTo>
                <a:lnTo>
                  <a:pt x="4409" y="1813"/>
                </a:lnTo>
                <a:lnTo>
                  <a:pt x="4409" y="1813"/>
                </a:lnTo>
                <a:lnTo>
                  <a:pt x="4409" y="1812"/>
                </a:lnTo>
                <a:close/>
                <a:moveTo>
                  <a:pt x="4317" y="1818"/>
                </a:moveTo>
                <a:lnTo>
                  <a:pt x="4316" y="1818"/>
                </a:lnTo>
                <a:lnTo>
                  <a:pt x="4314" y="1816"/>
                </a:lnTo>
                <a:lnTo>
                  <a:pt x="4308" y="1820"/>
                </a:lnTo>
                <a:lnTo>
                  <a:pt x="4308" y="1822"/>
                </a:lnTo>
                <a:lnTo>
                  <a:pt x="4307" y="1826"/>
                </a:lnTo>
                <a:lnTo>
                  <a:pt x="4310" y="1827"/>
                </a:lnTo>
                <a:lnTo>
                  <a:pt x="4312" y="1829"/>
                </a:lnTo>
                <a:lnTo>
                  <a:pt x="4313" y="1829"/>
                </a:lnTo>
                <a:lnTo>
                  <a:pt x="4315" y="1829"/>
                </a:lnTo>
                <a:lnTo>
                  <a:pt x="4316" y="1829"/>
                </a:lnTo>
                <a:lnTo>
                  <a:pt x="4321" y="1826"/>
                </a:lnTo>
                <a:lnTo>
                  <a:pt x="4325" y="1824"/>
                </a:lnTo>
                <a:lnTo>
                  <a:pt x="4317" y="1819"/>
                </a:lnTo>
                <a:lnTo>
                  <a:pt x="4317" y="1818"/>
                </a:lnTo>
                <a:close/>
                <a:moveTo>
                  <a:pt x="4401" y="1819"/>
                </a:moveTo>
                <a:lnTo>
                  <a:pt x="4401" y="1819"/>
                </a:lnTo>
                <a:lnTo>
                  <a:pt x="4403" y="1820"/>
                </a:lnTo>
                <a:lnTo>
                  <a:pt x="4411" y="1815"/>
                </a:lnTo>
                <a:lnTo>
                  <a:pt x="4409" y="1814"/>
                </a:lnTo>
                <a:lnTo>
                  <a:pt x="4409" y="1813"/>
                </a:lnTo>
                <a:lnTo>
                  <a:pt x="4408" y="1814"/>
                </a:lnTo>
                <a:lnTo>
                  <a:pt x="4407" y="1816"/>
                </a:lnTo>
                <a:lnTo>
                  <a:pt x="4406" y="1816"/>
                </a:lnTo>
                <a:lnTo>
                  <a:pt x="4404" y="1816"/>
                </a:lnTo>
                <a:lnTo>
                  <a:pt x="4404" y="1816"/>
                </a:lnTo>
                <a:lnTo>
                  <a:pt x="4403" y="1816"/>
                </a:lnTo>
                <a:lnTo>
                  <a:pt x="4402" y="1816"/>
                </a:lnTo>
                <a:lnTo>
                  <a:pt x="4404" y="1817"/>
                </a:lnTo>
                <a:lnTo>
                  <a:pt x="4401" y="1819"/>
                </a:lnTo>
                <a:close/>
                <a:moveTo>
                  <a:pt x="4402" y="1816"/>
                </a:moveTo>
                <a:lnTo>
                  <a:pt x="4401" y="1815"/>
                </a:lnTo>
                <a:lnTo>
                  <a:pt x="4401" y="1816"/>
                </a:lnTo>
                <a:lnTo>
                  <a:pt x="4402" y="1816"/>
                </a:lnTo>
                <a:lnTo>
                  <a:pt x="4402" y="1816"/>
                </a:lnTo>
                <a:close/>
                <a:moveTo>
                  <a:pt x="4401" y="1820"/>
                </a:moveTo>
                <a:lnTo>
                  <a:pt x="4401" y="1819"/>
                </a:lnTo>
                <a:lnTo>
                  <a:pt x="4400" y="1820"/>
                </a:lnTo>
                <a:lnTo>
                  <a:pt x="4401" y="1820"/>
                </a:lnTo>
                <a:close/>
                <a:moveTo>
                  <a:pt x="4393" y="1762"/>
                </a:moveTo>
                <a:lnTo>
                  <a:pt x="4393" y="1765"/>
                </a:lnTo>
                <a:lnTo>
                  <a:pt x="4395" y="1760"/>
                </a:lnTo>
                <a:lnTo>
                  <a:pt x="4399" y="1758"/>
                </a:lnTo>
                <a:lnTo>
                  <a:pt x="4398" y="1759"/>
                </a:lnTo>
                <a:lnTo>
                  <a:pt x="4397" y="1760"/>
                </a:lnTo>
                <a:lnTo>
                  <a:pt x="4397" y="1762"/>
                </a:lnTo>
                <a:lnTo>
                  <a:pt x="4399" y="1763"/>
                </a:lnTo>
                <a:lnTo>
                  <a:pt x="4400" y="1764"/>
                </a:lnTo>
                <a:lnTo>
                  <a:pt x="4400" y="1764"/>
                </a:lnTo>
                <a:lnTo>
                  <a:pt x="4397" y="1764"/>
                </a:lnTo>
                <a:lnTo>
                  <a:pt x="4397" y="1763"/>
                </a:lnTo>
                <a:lnTo>
                  <a:pt x="4395" y="1768"/>
                </a:lnTo>
                <a:lnTo>
                  <a:pt x="4398" y="1770"/>
                </a:lnTo>
                <a:lnTo>
                  <a:pt x="4400" y="1771"/>
                </a:lnTo>
                <a:lnTo>
                  <a:pt x="4397" y="1772"/>
                </a:lnTo>
                <a:lnTo>
                  <a:pt x="4393" y="1773"/>
                </a:lnTo>
                <a:lnTo>
                  <a:pt x="4393" y="1776"/>
                </a:lnTo>
                <a:lnTo>
                  <a:pt x="4393" y="1776"/>
                </a:lnTo>
                <a:lnTo>
                  <a:pt x="4391" y="1775"/>
                </a:lnTo>
                <a:lnTo>
                  <a:pt x="4391" y="1776"/>
                </a:lnTo>
                <a:lnTo>
                  <a:pt x="4388" y="1776"/>
                </a:lnTo>
                <a:lnTo>
                  <a:pt x="4389" y="1772"/>
                </a:lnTo>
                <a:lnTo>
                  <a:pt x="4389" y="1768"/>
                </a:lnTo>
                <a:lnTo>
                  <a:pt x="4388" y="1766"/>
                </a:lnTo>
                <a:lnTo>
                  <a:pt x="4388" y="1764"/>
                </a:lnTo>
                <a:lnTo>
                  <a:pt x="4391" y="1763"/>
                </a:lnTo>
                <a:lnTo>
                  <a:pt x="4393" y="1762"/>
                </a:lnTo>
                <a:close/>
                <a:moveTo>
                  <a:pt x="4392" y="1768"/>
                </a:moveTo>
                <a:lnTo>
                  <a:pt x="4389" y="1770"/>
                </a:lnTo>
                <a:lnTo>
                  <a:pt x="4389" y="1770"/>
                </a:lnTo>
                <a:lnTo>
                  <a:pt x="4392" y="1768"/>
                </a:lnTo>
                <a:close/>
                <a:moveTo>
                  <a:pt x="4401" y="1845"/>
                </a:moveTo>
                <a:lnTo>
                  <a:pt x="4402" y="1845"/>
                </a:lnTo>
                <a:lnTo>
                  <a:pt x="4401" y="1845"/>
                </a:lnTo>
                <a:lnTo>
                  <a:pt x="4401" y="1845"/>
                </a:lnTo>
                <a:close/>
                <a:moveTo>
                  <a:pt x="4399" y="1745"/>
                </a:moveTo>
                <a:lnTo>
                  <a:pt x="4399" y="1747"/>
                </a:lnTo>
                <a:lnTo>
                  <a:pt x="4399" y="1747"/>
                </a:lnTo>
                <a:lnTo>
                  <a:pt x="4400" y="1746"/>
                </a:lnTo>
                <a:lnTo>
                  <a:pt x="4400" y="1745"/>
                </a:lnTo>
                <a:lnTo>
                  <a:pt x="4399" y="1745"/>
                </a:lnTo>
                <a:close/>
                <a:moveTo>
                  <a:pt x="4396" y="1712"/>
                </a:moveTo>
                <a:lnTo>
                  <a:pt x="4394" y="1716"/>
                </a:lnTo>
                <a:lnTo>
                  <a:pt x="4396" y="1717"/>
                </a:lnTo>
                <a:lnTo>
                  <a:pt x="4399" y="1714"/>
                </a:lnTo>
                <a:lnTo>
                  <a:pt x="4400" y="1714"/>
                </a:lnTo>
                <a:lnTo>
                  <a:pt x="4400" y="1714"/>
                </a:lnTo>
                <a:lnTo>
                  <a:pt x="4400" y="1718"/>
                </a:lnTo>
                <a:lnTo>
                  <a:pt x="4400" y="1720"/>
                </a:lnTo>
                <a:lnTo>
                  <a:pt x="4400" y="1720"/>
                </a:lnTo>
                <a:lnTo>
                  <a:pt x="4400" y="1720"/>
                </a:lnTo>
                <a:lnTo>
                  <a:pt x="4400" y="1720"/>
                </a:lnTo>
                <a:lnTo>
                  <a:pt x="4402" y="1716"/>
                </a:lnTo>
                <a:lnTo>
                  <a:pt x="4403" y="1716"/>
                </a:lnTo>
                <a:lnTo>
                  <a:pt x="4404" y="1714"/>
                </a:lnTo>
                <a:lnTo>
                  <a:pt x="4404" y="1712"/>
                </a:lnTo>
                <a:lnTo>
                  <a:pt x="4403" y="1712"/>
                </a:lnTo>
                <a:lnTo>
                  <a:pt x="4400" y="1713"/>
                </a:lnTo>
                <a:lnTo>
                  <a:pt x="4397" y="1713"/>
                </a:lnTo>
                <a:lnTo>
                  <a:pt x="4397" y="1712"/>
                </a:lnTo>
                <a:lnTo>
                  <a:pt x="4396" y="1712"/>
                </a:lnTo>
                <a:close/>
                <a:moveTo>
                  <a:pt x="4397" y="1752"/>
                </a:moveTo>
                <a:lnTo>
                  <a:pt x="4399" y="1754"/>
                </a:lnTo>
                <a:lnTo>
                  <a:pt x="4400" y="1755"/>
                </a:lnTo>
                <a:lnTo>
                  <a:pt x="4402" y="1752"/>
                </a:lnTo>
                <a:lnTo>
                  <a:pt x="4401" y="1752"/>
                </a:lnTo>
                <a:lnTo>
                  <a:pt x="4399" y="1751"/>
                </a:lnTo>
                <a:lnTo>
                  <a:pt x="4397" y="1752"/>
                </a:lnTo>
                <a:close/>
                <a:moveTo>
                  <a:pt x="4410" y="1721"/>
                </a:moveTo>
                <a:lnTo>
                  <a:pt x="4408" y="1721"/>
                </a:lnTo>
                <a:lnTo>
                  <a:pt x="4410" y="1722"/>
                </a:lnTo>
                <a:lnTo>
                  <a:pt x="4410" y="1721"/>
                </a:lnTo>
                <a:close/>
                <a:moveTo>
                  <a:pt x="4440" y="1641"/>
                </a:moveTo>
                <a:lnTo>
                  <a:pt x="4439" y="1640"/>
                </a:lnTo>
                <a:lnTo>
                  <a:pt x="4438" y="1638"/>
                </a:lnTo>
                <a:lnTo>
                  <a:pt x="4436" y="1638"/>
                </a:lnTo>
                <a:lnTo>
                  <a:pt x="4438" y="1643"/>
                </a:lnTo>
                <a:lnTo>
                  <a:pt x="4439" y="1642"/>
                </a:lnTo>
                <a:lnTo>
                  <a:pt x="4440" y="1641"/>
                </a:lnTo>
                <a:close/>
                <a:moveTo>
                  <a:pt x="4416" y="1813"/>
                </a:moveTo>
                <a:lnTo>
                  <a:pt x="4414" y="1816"/>
                </a:lnTo>
                <a:lnTo>
                  <a:pt x="4411" y="1816"/>
                </a:lnTo>
                <a:lnTo>
                  <a:pt x="4412" y="1818"/>
                </a:lnTo>
                <a:lnTo>
                  <a:pt x="4414" y="1820"/>
                </a:lnTo>
                <a:lnTo>
                  <a:pt x="4416" y="1813"/>
                </a:lnTo>
                <a:close/>
                <a:moveTo>
                  <a:pt x="4429" y="1720"/>
                </a:moveTo>
                <a:lnTo>
                  <a:pt x="4418" y="1720"/>
                </a:lnTo>
                <a:lnTo>
                  <a:pt x="4416" y="1721"/>
                </a:lnTo>
                <a:lnTo>
                  <a:pt x="4418" y="1723"/>
                </a:lnTo>
                <a:lnTo>
                  <a:pt x="4421" y="1723"/>
                </a:lnTo>
                <a:lnTo>
                  <a:pt x="4424" y="1724"/>
                </a:lnTo>
                <a:lnTo>
                  <a:pt x="4430" y="1724"/>
                </a:lnTo>
                <a:lnTo>
                  <a:pt x="4434" y="1724"/>
                </a:lnTo>
                <a:lnTo>
                  <a:pt x="4440" y="1722"/>
                </a:lnTo>
                <a:lnTo>
                  <a:pt x="4439" y="1723"/>
                </a:lnTo>
                <a:lnTo>
                  <a:pt x="4438" y="1725"/>
                </a:lnTo>
                <a:lnTo>
                  <a:pt x="4441" y="1729"/>
                </a:lnTo>
                <a:lnTo>
                  <a:pt x="4441" y="1725"/>
                </a:lnTo>
                <a:lnTo>
                  <a:pt x="4440" y="1722"/>
                </a:lnTo>
                <a:lnTo>
                  <a:pt x="4447" y="1720"/>
                </a:lnTo>
                <a:lnTo>
                  <a:pt x="4432" y="1720"/>
                </a:lnTo>
                <a:lnTo>
                  <a:pt x="4429" y="1721"/>
                </a:lnTo>
                <a:lnTo>
                  <a:pt x="4429" y="1720"/>
                </a:lnTo>
                <a:lnTo>
                  <a:pt x="4429" y="1720"/>
                </a:lnTo>
                <a:close/>
                <a:moveTo>
                  <a:pt x="4385" y="1773"/>
                </a:moveTo>
                <a:lnTo>
                  <a:pt x="4384" y="1770"/>
                </a:lnTo>
                <a:lnTo>
                  <a:pt x="4382" y="1768"/>
                </a:lnTo>
                <a:lnTo>
                  <a:pt x="4381" y="1768"/>
                </a:lnTo>
                <a:lnTo>
                  <a:pt x="4381" y="1770"/>
                </a:lnTo>
                <a:lnTo>
                  <a:pt x="4380" y="1771"/>
                </a:lnTo>
                <a:lnTo>
                  <a:pt x="4382" y="1773"/>
                </a:lnTo>
                <a:lnTo>
                  <a:pt x="4385" y="1773"/>
                </a:lnTo>
                <a:close/>
                <a:moveTo>
                  <a:pt x="4349" y="1841"/>
                </a:moveTo>
                <a:lnTo>
                  <a:pt x="4359" y="1845"/>
                </a:lnTo>
                <a:lnTo>
                  <a:pt x="4363" y="1845"/>
                </a:lnTo>
                <a:lnTo>
                  <a:pt x="4367" y="1844"/>
                </a:lnTo>
                <a:lnTo>
                  <a:pt x="4365" y="1840"/>
                </a:lnTo>
                <a:lnTo>
                  <a:pt x="4362" y="1837"/>
                </a:lnTo>
                <a:lnTo>
                  <a:pt x="4360" y="1835"/>
                </a:lnTo>
                <a:lnTo>
                  <a:pt x="4357" y="1837"/>
                </a:lnTo>
                <a:lnTo>
                  <a:pt x="4357" y="1833"/>
                </a:lnTo>
                <a:lnTo>
                  <a:pt x="4352" y="1831"/>
                </a:lnTo>
                <a:lnTo>
                  <a:pt x="4352" y="1832"/>
                </a:lnTo>
                <a:lnTo>
                  <a:pt x="4352" y="1833"/>
                </a:lnTo>
                <a:lnTo>
                  <a:pt x="4344" y="1833"/>
                </a:lnTo>
                <a:lnTo>
                  <a:pt x="4340" y="1834"/>
                </a:lnTo>
                <a:lnTo>
                  <a:pt x="4339" y="1836"/>
                </a:lnTo>
                <a:lnTo>
                  <a:pt x="4344" y="1841"/>
                </a:lnTo>
                <a:lnTo>
                  <a:pt x="4349" y="1841"/>
                </a:lnTo>
                <a:close/>
                <a:moveTo>
                  <a:pt x="4443" y="1828"/>
                </a:moveTo>
                <a:lnTo>
                  <a:pt x="4446" y="1827"/>
                </a:lnTo>
                <a:lnTo>
                  <a:pt x="4448" y="1826"/>
                </a:lnTo>
                <a:lnTo>
                  <a:pt x="4449" y="1824"/>
                </a:lnTo>
                <a:lnTo>
                  <a:pt x="4449" y="1823"/>
                </a:lnTo>
                <a:lnTo>
                  <a:pt x="4452" y="1822"/>
                </a:lnTo>
                <a:lnTo>
                  <a:pt x="4456" y="1821"/>
                </a:lnTo>
                <a:lnTo>
                  <a:pt x="4457" y="1819"/>
                </a:lnTo>
                <a:lnTo>
                  <a:pt x="4458" y="1816"/>
                </a:lnTo>
                <a:lnTo>
                  <a:pt x="4457" y="1816"/>
                </a:lnTo>
                <a:lnTo>
                  <a:pt x="4456" y="1815"/>
                </a:lnTo>
                <a:lnTo>
                  <a:pt x="4452" y="1817"/>
                </a:lnTo>
                <a:lnTo>
                  <a:pt x="4449" y="1819"/>
                </a:lnTo>
                <a:lnTo>
                  <a:pt x="4447" y="1816"/>
                </a:lnTo>
                <a:lnTo>
                  <a:pt x="4438" y="1818"/>
                </a:lnTo>
                <a:lnTo>
                  <a:pt x="4429" y="1820"/>
                </a:lnTo>
                <a:lnTo>
                  <a:pt x="4425" y="1826"/>
                </a:lnTo>
                <a:lnTo>
                  <a:pt x="4421" y="1829"/>
                </a:lnTo>
                <a:lnTo>
                  <a:pt x="4414" y="1832"/>
                </a:lnTo>
                <a:lnTo>
                  <a:pt x="4410" y="1835"/>
                </a:lnTo>
                <a:lnTo>
                  <a:pt x="4407" y="1837"/>
                </a:lnTo>
                <a:lnTo>
                  <a:pt x="4406" y="1840"/>
                </a:lnTo>
                <a:lnTo>
                  <a:pt x="4404" y="1843"/>
                </a:lnTo>
                <a:lnTo>
                  <a:pt x="4408" y="1844"/>
                </a:lnTo>
                <a:lnTo>
                  <a:pt x="4404" y="1845"/>
                </a:lnTo>
                <a:lnTo>
                  <a:pt x="4404" y="1844"/>
                </a:lnTo>
                <a:lnTo>
                  <a:pt x="4403" y="1844"/>
                </a:lnTo>
                <a:lnTo>
                  <a:pt x="4402" y="1845"/>
                </a:lnTo>
                <a:lnTo>
                  <a:pt x="4401" y="1846"/>
                </a:lnTo>
                <a:lnTo>
                  <a:pt x="4401" y="1849"/>
                </a:lnTo>
                <a:lnTo>
                  <a:pt x="4403" y="1849"/>
                </a:lnTo>
                <a:lnTo>
                  <a:pt x="4397" y="1854"/>
                </a:lnTo>
                <a:lnTo>
                  <a:pt x="4397" y="1855"/>
                </a:lnTo>
                <a:lnTo>
                  <a:pt x="4399" y="1855"/>
                </a:lnTo>
                <a:lnTo>
                  <a:pt x="4401" y="1854"/>
                </a:lnTo>
                <a:lnTo>
                  <a:pt x="4403" y="1853"/>
                </a:lnTo>
                <a:lnTo>
                  <a:pt x="4405" y="1851"/>
                </a:lnTo>
                <a:lnTo>
                  <a:pt x="4405" y="1849"/>
                </a:lnTo>
                <a:lnTo>
                  <a:pt x="4410" y="1849"/>
                </a:lnTo>
                <a:lnTo>
                  <a:pt x="4414" y="1845"/>
                </a:lnTo>
                <a:lnTo>
                  <a:pt x="4418" y="1845"/>
                </a:lnTo>
                <a:lnTo>
                  <a:pt x="4425" y="1838"/>
                </a:lnTo>
                <a:lnTo>
                  <a:pt x="4427" y="1834"/>
                </a:lnTo>
                <a:lnTo>
                  <a:pt x="4429" y="1832"/>
                </a:lnTo>
                <a:lnTo>
                  <a:pt x="4432" y="1831"/>
                </a:lnTo>
                <a:lnTo>
                  <a:pt x="4443" y="1828"/>
                </a:lnTo>
                <a:close/>
                <a:moveTo>
                  <a:pt x="4320" y="1816"/>
                </a:moveTo>
                <a:lnTo>
                  <a:pt x="4321" y="1816"/>
                </a:lnTo>
                <a:lnTo>
                  <a:pt x="4322" y="1816"/>
                </a:lnTo>
                <a:lnTo>
                  <a:pt x="4321" y="1815"/>
                </a:lnTo>
                <a:lnTo>
                  <a:pt x="4321" y="1813"/>
                </a:lnTo>
                <a:lnTo>
                  <a:pt x="4320" y="1816"/>
                </a:lnTo>
                <a:close/>
                <a:moveTo>
                  <a:pt x="4360" y="1788"/>
                </a:moveTo>
                <a:lnTo>
                  <a:pt x="4362" y="1782"/>
                </a:lnTo>
                <a:lnTo>
                  <a:pt x="4360" y="1780"/>
                </a:lnTo>
                <a:lnTo>
                  <a:pt x="4360" y="1780"/>
                </a:lnTo>
                <a:lnTo>
                  <a:pt x="4357" y="1780"/>
                </a:lnTo>
                <a:lnTo>
                  <a:pt x="4357" y="1788"/>
                </a:lnTo>
                <a:lnTo>
                  <a:pt x="4360" y="1788"/>
                </a:lnTo>
                <a:lnTo>
                  <a:pt x="4360" y="1788"/>
                </a:lnTo>
                <a:close/>
                <a:moveTo>
                  <a:pt x="4348" y="1820"/>
                </a:moveTo>
                <a:lnTo>
                  <a:pt x="4348" y="1818"/>
                </a:lnTo>
                <a:lnTo>
                  <a:pt x="4347" y="1816"/>
                </a:lnTo>
                <a:lnTo>
                  <a:pt x="4345" y="1821"/>
                </a:lnTo>
                <a:lnTo>
                  <a:pt x="4347" y="1821"/>
                </a:lnTo>
                <a:lnTo>
                  <a:pt x="4347" y="1820"/>
                </a:lnTo>
                <a:lnTo>
                  <a:pt x="4348" y="1820"/>
                </a:lnTo>
                <a:close/>
                <a:moveTo>
                  <a:pt x="4326" y="1819"/>
                </a:moveTo>
                <a:lnTo>
                  <a:pt x="4328" y="1819"/>
                </a:lnTo>
                <a:lnTo>
                  <a:pt x="4329" y="1820"/>
                </a:lnTo>
                <a:lnTo>
                  <a:pt x="4329" y="1820"/>
                </a:lnTo>
                <a:lnTo>
                  <a:pt x="4326" y="1823"/>
                </a:lnTo>
                <a:lnTo>
                  <a:pt x="4325" y="1824"/>
                </a:lnTo>
                <a:lnTo>
                  <a:pt x="4325" y="1824"/>
                </a:lnTo>
                <a:lnTo>
                  <a:pt x="4326" y="1824"/>
                </a:lnTo>
                <a:lnTo>
                  <a:pt x="4329" y="1824"/>
                </a:lnTo>
                <a:lnTo>
                  <a:pt x="4333" y="1824"/>
                </a:lnTo>
                <a:lnTo>
                  <a:pt x="4336" y="1824"/>
                </a:lnTo>
                <a:lnTo>
                  <a:pt x="4337" y="1824"/>
                </a:lnTo>
                <a:lnTo>
                  <a:pt x="4337" y="1824"/>
                </a:lnTo>
                <a:lnTo>
                  <a:pt x="4339" y="1824"/>
                </a:lnTo>
                <a:lnTo>
                  <a:pt x="4340" y="1824"/>
                </a:lnTo>
                <a:lnTo>
                  <a:pt x="4343" y="1822"/>
                </a:lnTo>
                <a:lnTo>
                  <a:pt x="4337" y="1820"/>
                </a:lnTo>
                <a:lnTo>
                  <a:pt x="4337" y="1816"/>
                </a:lnTo>
                <a:lnTo>
                  <a:pt x="4337" y="1816"/>
                </a:lnTo>
                <a:lnTo>
                  <a:pt x="4335" y="1818"/>
                </a:lnTo>
                <a:lnTo>
                  <a:pt x="4333" y="1820"/>
                </a:lnTo>
                <a:lnTo>
                  <a:pt x="4333" y="1816"/>
                </a:lnTo>
                <a:lnTo>
                  <a:pt x="4333" y="1816"/>
                </a:lnTo>
                <a:lnTo>
                  <a:pt x="4331" y="1817"/>
                </a:lnTo>
                <a:lnTo>
                  <a:pt x="4327" y="1813"/>
                </a:lnTo>
                <a:lnTo>
                  <a:pt x="4325" y="1814"/>
                </a:lnTo>
                <a:lnTo>
                  <a:pt x="4322" y="1816"/>
                </a:lnTo>
                <a:lnTo>
                  <a:pt x="4324" y="1817"/>
                </a:lnTo>
                <a:lnTo>
                  <a:pt x="4326" y="1819"/>
                </a:lnTo>
                <a:close/>
                <a:moveTo>
                  <a:pt x="4370" y="1801"/>
                </a:moveTo>
                <a:lnTo>
                  <a:pt x="4370" y="1801"/>
                </a:lnTo>
                <a:lnTo>
                  <a:pt x="4370" y="1802"/>
                </a:lnTo>
                <a:lnTo>
                  <a:pt x="4371" y="1802"/>
                </a:lnTo>
                <a:lnTo>
                  <a:pt x="4370" y="1801"/>
                </a:lnTo>
                <a:lnTo>
                  <a:pt x="4370" y="1801"/>
                </a:lnTo>
                <a:close/>
                <a:moveTo>
                  <a:pt x="4366" y="1797"/>
                </a:moveTo>
                <a:lnTo>
                  <a:pt x="4363" y="1797"/>
                </a:lnTo>
                <a:lnTo>
                  <a:pt x="4365" y="1798"/>
                </a:lnTo>
                <a:lnTo>
                  <a:pt x="4366" y="1798"/>
                </a:lnTo>
                <a:lnTo>
                  <a:pt x="4366" y="1797"/>
                </a:lnTo>
                <a:close/>
                <a:moveTo>
                  <a:pt x="4569" y="1576"/>
                </a:moveTo>
                <a:lnTo>
                  <a:pt x="4569" y="1576"/>
                </a:lnTo>
                <a:lnTo>
                  <a:pt x="4567" y="1581"/>
                </a:lnTo>
                <a:lnTo>
                  <a:pt x="4567" y="1582"/>
                </a:lnTo>
                <a:lnTo>
                  <a:pt x="4567" y="1582"/>
                </a:lnTo>
                <a:lnTo>
                  <a:pt x="4569" y="1579"/>
                </a:lnTo>
                <a:lnTo>
                  <a:pt x="4569" y="1576"/>
                </a:lnTo>
                <a:close/>
                <a:moveTo>
                  <a:pt x="4735" y="983"/>
                </a:moveTo>
                <a:lnTo>
                  <a:pt x="4728" y="991"/>
                </a:lnTo>
                <a:lnTo>
                  <a:pt x="4725" y="994"/>
                </a:lnTo>
                <a:lnTo>
                  <a:pt x="4722" y="997"/>
                </a:lnTo>
                <a:lnTo>
                  <a:pt x="4722" y="998"/>
                </a:lnTo>
                <a:lnTo>
                  <a:pt x="4725" y="997"/>
                </a:lnTo>
                <a:lnTo>
                  <a:pt x="4726" y="997"/>
                </a:lnTo>
                <a:lnTo>
                  <a:pt x="4727" y="997"/>
                </a:lnTo>
                <a:lnTo>
                  <a:pt x="4728" y="997"/>
                </a:lnTo>
                <a:lnTo>
                  <a:pt x="4729" y="994"/>
                </a:lnTo>
                <a:lnTo>
                  <a:pt x="4731" y="991"/>
                </a:lnTo>
                <a:lnTo>
                  <a:pt x="4740" y="986"/>
                </a:lnTo>
                <a:lnTo>
                  <a:pt x="4738" y="984"/>
                </a:lnTo>
                <a:lnTo>
                  <a:pt x="4735" y="983"/>
                </a:lnTo>
                <a:close/>
                <a:moveTo>
                  <a:pt x="4583" y="1722"/>
                </a:moveTo>
                <a:lnTo>
                  <a:pt x="4588" y="1724"/>
                </a:lnTo>
                <a:lnTo>
                  <a:pt x="4593" y="1724"/>
                </a:lnTo>
                <a:lnTo>
                  <a:pt x="4596" y="1722"/>
                </a:lnTo>
                <a:lnTo>
                  <a:pt x="4599" y="1722"/>
                </a:lnTo>
                <a:lnTo>
                  <a:pt x="4578" y="1720"/>
                </a:lnTo>
                <a:lnTo>
                  <a:pt x="4578" y="1720"/>
                </a:lnTo>
                <a:lnTo>
                  <a:pt x="4583" y="1722"/>
                </a:lnTo>
                <a:close/>
                <a:moveTo>
                  <a:pt x="4580" y="1706"/>
                </a:moveTo>
                <a:lnTo>
                  <a:pt x="4581" y="1705"/>
                </a:lnTo>
                <a:lnTo>
                  <a:pt x="4581" y="1705"/>
                </a:lnTo>
                <a:lnTo>
                  <a:pt x="4582" y="1707"/>
                </a:lnTo>
                <a:lnTo>
                  <a:pt x="4582" y="1710"/>
                </a:lnTo>
                <a:lnTo>
                  <a:pt x="4588" y="1711"/>
                </a:lnTo>
                <a:lnTo>
                  <a:pt x="4592" y="1710"/>
                </a:lnTo>
                <a:lnTo>
                  <a:pt x="4588" y="1708"/>
                </a:lnTo>
                <a:lnTo>
                  <a:pt x="4582" y="1704"/>
                </a:lnTo>
                <a:lnTo>
                  <a:pt x="4581" y="1704"/>
                </a:lnTo>
                <a:lnTo>
                  <a:pt x="4578" y="1704"/>
                </a:lnTo>
                <a:lnTo>
                  <a:pt x="4578" y="1704"/>
                </a:lnTo>
                <a:lnTo>
                  <a:pt x="4578" y="1705"/>
                </a:lnTo>
                <a:lnTo>
                  <a:pt x="4580" y="1706"/>
                </a:lnTo>
                <a:close/>
                <a:moveTo>
                  <a:pt x="4506" y="1694"/>
                </a:moveTo>
                <a:lnTo>
                  <a:pt x="4507" y="1694"/>
                </a:lnTo>
                <a:lnTo>
                  <a:pt x="4507" y="1694"/>
                </a:lnTo>
                <a:lnTo>
                  <a:pt x="4507" y="1694"/>
                </a:lnTo>
                <a:lnTo>
                  <a:pt x="4506" y="1694"/>
                </a:lnTo>
                <a:lnTo>
                  <a:pt x="4506" y="1694"/>
                </a:lnTo>
                <a:lnTo>
                  <a:pt x="4506" y="1694"/>
                </a:lnTo>
                <a:lnTo>
                  <a:pt x="4506" y="1694"/>
                </a:lnTo>
                <a:lnTo>
                  <a:pt x="4506" y="1694"/>
                </a:lnTo>
                <a:lnTo>
                  <a:pt x="4506" y="1694"/>
                </a:lnTo>
                <a:lnTo>
                  <a:pt x="4506" y="1694"/>
                </a:lnTo>
                <a:lnTo>
                  <a:pt x="4506" y="1694"/>
                </a:lnTo>
                <a:lnTo>
                  <a:pt x="4506" y="1694"/>
                </a:lnTo>
                <a:lnTo>
                  <a:pt x="4506" y="1694"/>
                </a:lnTo>
                <a:close/>
                <a:moveTo>
                  <a:pt x="4637" y="1153"/>
                </a:moveTo>
                <a:lnTo>
                  <a:pt x="4637" y="1154"/>
                </a:lnTo>
                <a:lnTo>
                  <a:pt x="4639" y="1154"/>
                </a:lnTo>
                <a:lnTo>
                  <a:pt x="4638" y="1153"/>
                </a:lnTo>
                <a:lnTo>
                  <a:pt x="4637" y="1153"/>
                </a:lnTo>
                <a:close/>
                <a:moveTo>
                  <a:pt x="4728" y="1471"/>
                </a:moveTo>
                <a:lnTo>
                  <a:pt x="4728" y="1468"/>
                </a:lnTo>
                <a:lnTo>
                  <a:pt x="4725" y="1469"/>
                </a:lnTo>
                <a:lnTo>
                  <a:pt x="4728" y="1471"/>
                </a:lnTo>
                <a:lnTo>
                  <a:pt x="4728" y="1471"/>
                </a:lnTo>
                <a:close/>
                <a:moveTo>
                  <a:pt x="4736" y="1002"/>
                </a:moveTo>
                <a:lnTo>
                  <a:pt x="4734" y="1002"/>
                </a:lnTo>
                <a:lnTo>
                  <a:pt x="4736" y="1003"/>
                </a:lnTo>
                <a:lnTo>
                  <a:pt x="4736" y="1003"/>
                </a:lnTo>
                <a:lnTo>
                  <a:pt x="4736" y="1002"/>
                </a:lnTo>
                <a:close/>
                <a:moveTo>
                  <a:pt x="4731" y="1764"/>
                </a:moveTo>
                <a:lnTo>
                  <a:pt x="4733" y="1764"/>
                </a:lnTo>
                <a:lnTo>
                  <a:pt x="4731" y="1763"/>
                </a:lnTo>
                <a:lnTo>
                  <a:pt x="4731" y="1761"/>
                </a:lnTo>
                <a:lnTo>
                  <a:pt x="4730" y="1763"/>
                </a:lnTo>
                <a:lnTo>
                  <a:pt x="4729" y="1764"/>
                </a:lnTo>
                <a:lnTo>
                  <a:pt x="4730" y="1764"/>
                </a:lnTo>
                <a:lnTo>
                  <a:pt x="4731" y="1765"/>
                </a:lnTo>
                <a:lnTo>
                  <a:pt x="4731" y="1764"/>
                </a:lnTo>
                <a:close/>
                <a:moveTo>
                  <a:pt x="4717" y="1488"/>
                </a:moveTo>
                <a:lnTo>
                  <a:pt x="4714" y="1491"/>
                </a:lnTo>
                <a:lnTo>
                  <a:pt x="4715" y="1494"/>
                </a:lnTo>
                <a:lnTo>
                  <a:pt x="4718" y="1488"/>
                </a:lnTo>
                <a:lnTo>
                  <a:pt x="4717" y="1488"/>
                </a:lnTo>
                <a:close/>
                <a:moveTo>
                  <a:pt x="4451" y="1634"/>
                </a:moveTo>
                <a:lnTo>
                  <a:pt x="4455" y="1630"/>
                </a:lnTo>
                <a:lnTo>
                  <a:pt x="4453" y="1628"/>
                </a:lnTo>
                <a:lnTo>
                  <a:pt x="4452" y="1627"/>
                </a:lnTo>
                <a:lnTo>
                  <a:pt x="4451" y="1625"/>
                </a:lnTo>
                <a:lnTo>
                  <a:pt x="4451" y="1624"/>
                </a:lnTo>
                <a:lnTo>
                  <a:pt x="4449" y="1624"/>
                </a:lnTo>
                <a:lnTo>
                  <a:pt x="4449" y="1628"/>
                </a:lnTo>
                <a:lnTo>
                  <a:pt x="4450" y="1629"/>
                </a:lnTo>
                <a:lnTo>
                  <a:pt x="4451" y="1630"/>
                </a:lnTo>
                <a:lnTo>
                  <a:pt x="4451" y="1632"/>
                </a:lnTo>
                <a:lnTo>
                  <a:pt x="4451" y="1634"/>
                </a:lnTo>
                <a:close/>
                <a:moveTo>
                  <a:pt x="4517" y="1220"/>
                </a:moveTo>
                <a:lnTo>
                  <a:pt x="4515" y="1221"/>
                </a:lnTo>
                <a:lnTo>
                  <a:pt x="4514" y="1222"/>
                </a:lnTo>
                <a:lnTo>
                  <a:pt x="4514" y="1227"/>
                </a:lnTo>
                <a:lnTo>
                  <a:pt x="4516" y="1227"/>
                </a:lnTo>
                <a:lnTo>
                  <a:pt x="4517" y="1220"/>
                </a:lnTo>
                <a:close/>
                <a:moveTo>
                  <a:pt x="4494" y="1721"/>
                </a:moveTo>
                <a:lnTo>
                  <a:pt x="4497" y="1723"/>
                </a:lnTo>
                <a:lnTo>
                  <a:pt x="4500" y="1724"/>
                </a:lnTo>
                <a:lnTo>
                  <a:pt x="4504" y="1724"/>
                </a:lnTo>
                <a:lnTo>
                  <a:pt x="4505" y="1722"/>
                </a:lnTo>
                <a:lnTo>
                  <a:pt x="4505" y="1720"/>
                </a:lnTo>
                <a:lnTo>
                  <a:pt x="4505" y="1718"/>
                </a:lnTo>
                <a:lnTo>
                  <a:pt x="4504" y="1717"/>
                </a:lnTo>
                <a:lnTo>
                  <a:pt x="4499" y="1719"/>
                </a:lnTo>
                <a:lnTo>
                  <a:pt x="4494" y="1721"/>
                </a:lnTo>
                <a:close/>
                <a:moveTo>
                  <a:pt x="4503" y="1700"/>
                </a:moveTo>
                <a:lnTo>
                  <a:pt x="4505" y="1696"/>
                </a:lnTo>
                <a:lnTo>
                  <a:pt x="4504" y="1696"/>
                </a:lnTo>
                <a:lnTo>
                  <a:pt x="4503" y="1696"/>
                </a:lnTo>
                <a:lnTo>
                  <a:pt x="4505" y="1695"/>
                </a:lnTo>
                <a:lnTo>
                  <a:pt x="4506" y="1694"/>
                </a:lnTo>
                <a:lnTo>
                  <a:pt x="4507" y="1695"/>
                </a:lnTo>
                <a:lnTo>
                  <a:pt x="4508" y="1696"/>
                </a:lnTo>
                <a:lnTo>
                  <a:pt x="4509" y="1696"/>
                </a:lnTo>
                <a:lnTo>
                  <a:pt x="4506" y="1694"/>
                </a:lnTo>
                <a:lnTo>
                  <a:pt x="4507" y="1694"/>
                </a:lnTo>
                <a:lnTo>
                  <a:pt x="4509" y="1696"/>
                </a:lnTo>
                <a:lnTo>
                  <a:pt x="4515" y="1696"/>
                </a:lnTo>
                <a:lnTo>
                  <a:pt x="4516" y="1696"/>
                </a:lnTo>
                <a:lnTo>
                  <a:pt x="4518" y="1695"/>
                </a:lnTo>
                <a:lnTo>
                  <a:pt x="4518" y="1696"/>
                </a:lnTo>
                <a:lnTo>
                  <a:pt x="4517" y="1698"/>
                </a:lnTo>
                <a:lnTo>
                  <a:pt x="4517" y="1700"/>
                </a:lnTo>
                <a:lnTo>
                  <a:pt x="4514" y="1700"/>
                </a:lnTo>
                <a:lnTo>
                  <a:pt x="4512" y="1698"/>
                </a:lnTo>
                <a:lnTo>
                  <a:pt x="4511" y="1700"/>
                </a:lnTo>
                <a:lnTo>
                  <a:pt x="4510" y="1698"/>
                </a:lnTo>
                <a:lnTo>
                  <a:pt x="4510" y="1700"/>
                </a:lnTo>
                <a:lnTo>
                  <a:pt x="4508" y="1700"/>
                </a:lnTo>
                <a:lnTo>
                  <a:pt x="4507" y="1700"/>
                </a:lnTo>
                <a:lnTo>
                  <a:pt x="4506" y="1700"/>
                </a:lnTo>
                <a:lnTo>
                  <a:pt x="4503" y="1700"/>
                </a:lnTo>
                <a:close/>
                <a:moveTo>
                  <a:pt x="4509" y="1697"/>
                </a:moveTo>
                <a:lnTo>
                  <a:pt x="4509" y="1698"/>
                </a:lnTo>
                <a:lnTo>
                  <a:pt x="4510" y="1698"/>
                </a:lnTo>
                <a:lnTo>
                  <a:pt x="4509" y="1697"/>
                </a:lnTo>
                <a:close/>
                <a:moveTo>
                  <a:pt x="4509" y="1229"/>
                </a:moveTo>
                <a:lnTo>
                  <a:pt x="4510" y="1227"/>
                </a:lnTo>
                <a:lnTo>
                  <a:pt x="4509" y="1226"/>
                </a:lnTo>
                <a:lnTo>
                  <a:pt x="4506" y="1227"/>
                </a:lnTo>
                <a:lnTo>
                  <a:pt x="4507" y="1228"/>
                </a:lnTo>
                <a:lnTo>
                  <a:pt x="4507" y="1229"/>
                </a:lnTo>
                <a:lnTo>
                  <a:pt x="4509" y="1229"/>
                </a:lnTo>
                <a:close/>
                <a:moveTo>
                  <a:pt x="4569" y="1710"/>
                </a:moveTo>
                <a:lnTo>
                  <a:pt x="4571" y="1708"/>
                </a:lnTo>
                <a:lnTo>
                  <a:pt x="4569" y="1706"/>
                </a:lnTo>
                <a:lnTo>
                  <a:pt x="4567" y="1708"/>
                </a:lnTo>
                <a:lnTo>
                  <a:pt x="4569" y="1710"/>
                </a:lnTo>
                <a:close/>
                <a:moveTo>
                  <a:pt x="4566" y="1582"/>
                </a:moveTo>
                <a:lnTo>
                  <a:pt x="4564" y="1582"/>
                </a:lnTo>
                <a:lnTo>
                  <a:pt x="4566" y="1583"/>
                </a:lnTo>
                <a:lnTo>
                  <a:pt x="4566" y="1582"/>
                </a:lnTo>
                <a:close/>
                <a:moveTo>
                  <a:pt x="4511" y="1705"/>
                </a:moveTo>
                <a:lnTo>
                  <a:pt x="4505" y="1705"/>
                </a:lnTo>
                <a:lnTo>
                  <a:pt x="4505" y="1705"/>
                </a:lnTo>
                <a:lnTo>
                  <a:pt x="4504" y="1706"/>
                </a:lnTo>
                <a:lnTo>
                  <a:pt x="4508" y="1705"/>
                </a:lnTo>
                <a:lnTo>
                  <a:pt x="4511" y="1705"/>
                </a:lnTo>
                <a:close/>
                <a:moveTo>
                  <a:pt x="4466" y="1741"/>
                </a:moveTo>
                <a:lnTo>
                  <a:pt x="4466" y="1740"/>
                </a:lnTo>
                <a:lnTo>
                  <a:pt x="4465" y="1741"/>
                </a:lnTo>
                <a:lnTo>
                  <a:pt x="4463" y="1744"/>
                </a:lnTo>
                <a:lnTo>
                  <a:pt x="4466" y="1744"/>
                </a:lnTo>
                <a:lnTo>
                  <a:pt x="4468" y="1744"/>
                </a:lnTo>
                <a:lnTo>
                  <a:pt x="4469" y="1745"/>
                </a:lnTo>
                <a:lnTo>
                  <a:pt x="4469" y="1745"/>
                </a:lnTo>
                <a:lnTo>
                  <a:pt x="4469" y="1745"/>
                </a:lnTo>
                <a:lnTo>
                  <a:pt x="4471" y="1740"/>
                </a:lnTo>
                <a:lnTo>
                  <a:pt x="4468" y="1740"/>
                </a:lnTo>
                <a:lnTo>
                  <a:pt x="4466" y="1741"/>
                </a:lnTo>
                <a:close/>
                <a:moveTo>
                  <a:pt x="4478" y="1798"/>
                </a:moveTo>
                <a:lnTo>
                  <a:pt x="4478" y="1798"/>
                </a:lnTo>
                <a:lnTo>
                  <a:pt x="4479" y="1798"/>
                </a:lnTo>
                <a:lnTo>
                  <a:pt x="4480" y="1798"/>
                </a:lnTo>
                <a:lnTo>
                  <a:pt x="4481" y="1797"/>
                </a:lnTo>
                <a:lnTo>
                  <a:pt x="4479" y="1797"/>
                </a:lnTo>
                <a:lnTo>
                  <a:pt x="4478" y="1798"/>
                </a:lnTo>
                <a:close/>
                <a:moveTo>
                  <a:pt x="4497" y="1812"/>
                </a:moveTo>
                <a:lnTo>
                  <a:pt x="4497" y="1812"/>
                </a:lnTo>
                <a:lnTo>
                  <a:pt x="4497" y="1809"/>
                </a:lnTo>
                <a:lnTo>
                  <a:pt x="4493" y="1809"/>
                </a:lnTo>
                <a:lnTo>
                  <a:pt x="4493" y="1809"/>
                </a:lnTo>
                <a:lnTo>
                  <a:pt x="4497" y="1812"/>
                </a:lnTo>
                <a:close/>
                <a:moveTo>
                  <a:pt x="4473" y="1816"/>
                </a:moveTo>
                <a:lnTo>
                  <a:pt x="4469" y="1813"/>
                </a:lnTo>
                <a:lnTo>
                  <a:pt x="4469" y="1813"/>
                </a:lnTo>
                <a:lnTo>
                  <a:pt x="4469" y="1813"/>
                </a:lnTo>
                <a:lnTo>
                  <a:pt x="4467" y="1813"/>
                </a:lnTo>
                <a:lnTo>
                  <a:pt x="4465" y="1812"/>
                </a:lnTo>
                <a:lnTo>
                  <a:pt x="4465" y="1815"/>
                </a:lnTo>
                <a:lnTo>
                  <a:pt x="4466" y="1814"/>
                </a:lnTo>
                <a:lnTo>
                  <a:pt x="4467" y="1813"/>
                </a:lnTo>
                <a:lnTo>
                  <a:pt x="4469" y="1815"/>
                </a:lnTo>
                <a:lnTo>
                  <a:pt x="4469" y="1816"/>
                </a:lnTo>
                <a:lnTo>
                  <a:pt x="4473" y="1816"/>
                </a:lnTo>
                <a:close/>
                <a:moveTo>
                  <a:pt x="4485" y="1739"/>
                </a:moveTo>
                <a:lnTo>
                  <a:pt x="4483" y="1740"/>
                </a:lnTo>
                <a:lnTo>
                  <a:pt x="4472" y="1740"/>
                </a:lnTo>
                <a:lnTo>
                  <a:pt x="4477" y="1745"/>
                </a:lnTo>
                <a:lnTo>
                  <a:pt x="4475" y="1747"/>
                </a:lnTo>
                <a:lnTo>
                  <a:pt x="4477" y="1746"/>
                </a:lnTo>
                <a:lnTo>
                  <a:pt x="4477" y="1746"/>
                </a:lnTo>
                <a:lnTo>
                  <a:pt x="4477" y="1746"/>
                </a:lnTo>
                <a:lnTo>
                  <a:pt x="4478" y="1746"/>
                </a:lnTo>
                <a:lnTo>
                  <a:pt x="4478" y="1748"/>
                </a:lnTo>
                <a:lnTo>
                  <a:pt x="4478" y="1748"/>
                </a:lnTo>
                <a:lnTo>
                  <a:pt x="4480" y="1746"/>
                </a:lnTo>
                <a:lnTo>
                  <a:pt x="4482" y="1745"/>
                </a:lnTo>
                <a:lnTo>
                  <a:pt x="4482" y="1745"/>
                </a:lnTo>
                <a:lnTo>
                  <a:pt x="4483" y="1744"/>
                </a:lnTo>
                <a:lnTo>
                  <a:pt x="4485" y="1744"/>
                </a:lnTo>
                <a:lnTo>
                  <a:pt x="4483" y="1743"/>
                </a:lnTo>
                <a:lnTo>
                  <a:pt x="4487" y="1743"/>
                </a:lnTo>
                <a:lnTo>
                  <a:pt x="4490" y="1744"/>
                </a:lnTo>
                <a:lnTo>
                  <a:pt x="4490" y="1744"/>
                </a:lnTo>
                <a:lnTo>
                  <a:pt x="4498" y="1744"/>
                </a:lnTo>
                <a:lnTo>
                  <a:pt x="4499" y="1745"/>
                </a:lnTo>
                <a:lnTo>
                  <a:pt x="4510" y="1751"/>
                </a:lnTo>
                <a:lnTo>
                  <a:pt x="4510" y="1751"/>
                </a:lnTo>
                <a:lnTo>
                  <a:pt x="4510" y="1751"/>
                </a:lnTo>
                <a:lnTo>
                  <a:pt x="4511" y="1745"/>
                </a:lnTo>
                <a:lnTo>
                  <a:pt x="4511" y="1744"/>
                </a:lnTo>
                <a:lnTo>
                  <a:pt x="4508" y="1741"/>
                </a:lnTo>
                <a:lnTo>
                  <a:pt x="4507" y="1739"/>
                </a:lnTo>
                <a:lnTo>
                  <a:pt x="4506" y="1740"/>
                </a:lnTo>
                <a:lnTo>
                  <a:pt x="4504" y="1740"/>
                </a:lnTo>
                <a:lnTo>
                  <a:pt x="4499" y="1740"/>
                </a:lnTo>
                <a:lnTo>
                  <a:pt x="4496" y="1737"/>
                </a:lnTo>
                <a:lnTo>
                  <a:pt x="4493" y="1734"/>
                </a:lnTo>
                <a:lnTo>
                  <a:pt x="4489" y="1736"/>
                </a:lnTo>
                <a:lnTo>
                  <a:pt x="4486" y="1737"/>
                </a:lnTo>
                <a:lnTo>
                  <a:pt x="4485" y="1739"/>
                </a:lnTo>
                <a:close/>
                <a:moveTo>
                  <a:pt x="4562" y="1160"/>
                </a:moveTo>
                <a:lnTo>
                  <a:pt x="4565" y="1158"/>
                </a:lnTo>
                <a:lnTo>
                  <a:pt x="4562" y="1158"/>
                </a:lnTo>
                <a:lnTo>
                  <a:pt x="4562" y="1159"/>
                </a:lnTo>
                <a:lnTo>
                  <a:pt x="4562" y="1160"/>
                </a:lnTo>
                <a:close/>
                <a:moveTo>
                  <a:pt x="4470" y="1720"/>
                </a:moveTo>
                <a:lnTo>
                  <a:pt x="4471" y="1720"/>
                </a:lnTo>
                <a:lnTo>
                  <a:pt x="4463" y="1715"/>
                </a:lnTo>
                <a:lnTo>
                  <a:pt x="4463" y="1715"/>
                </a:lnTo>
                <a:lnTo>
                  <a:pt x="4461" y="1715"/>
                </a:lnTo>
                <a:lnTo>
                  <a:pt x="4457" y="1716"/>
                </a:lnTo>
                <a:lnTo>
                  <a:pt x="4457" y="1720"/>
                </a:lnTo>
                <a:lnTo>
                  <a:pt x="4463" y="1720"/>
                </a:lnTo>
                <a:lnTo>
                  <a:pt x="4470" y="1720"/>
                </a:lnTo>
                <a:close/>
                <a:moveTo>
                  <a:pt x="4465" y="1816"/>
                </a:moveTo>
                <a:lnTo>
                  <a:pt x="4465" y="1816"/>
                </a:lnTo>
                <a:lnTo>
                  <a:pt x="4465" y="1816"/>
                </a:lnTo>
                <a:lnTo>
                  <a:pt x="4465" y="1816"/>
                </a:lnTo>
                <a:close/>
                <a:moveTo>
                  <a:pt x="4471" y="1740"/>
                </a:moveTo>
                <a:lnTo>
                  <a:pt x="4471" y="1740"/>
                </a:lnTo>
                <a:lnTo>
                  <a:pt x="4472" y="1740"/>
                </a:lnTo>
                <a:lnTo>
                  <a:pt x="4471" y="1739"/>
                </a:lnTo>
                <a:lnTo>
                  <a:pt x="4471" y="1740"/>
                </a:lnTo>
                <a:close/>
                <a:moveTo>
                  <a:pt x="4475" y="1745"/>
                </a:moveTo>
                <a:lnTo>
                  <a:pt x="4470" y="1745"/>
                </a:lnTo>
                <a:lnTo>
                  <a:pt x="4469" y="1746"/>
                </a:lnTo>
                <a:lnTo>
                  <a:pt x="4469" y="1747"/>
                </a:lnTo>
                <a:lnTo>
                  <a:pt x="4469" y="1749"/>
                </a:lnTo>
                <a:lnTo>
                  <a:pt x="4469" y="1749"/>
                </a:lnTo>
                <a:lnTo>
                  <a:pt x="4471" y="1747"/>
                </a:lnTo>
                <a:lnTo>
                  <a:pt x="4471" y="1749"/>
                </a:lnTo>
                <a:lnTo>
                  <a:pt x="4473" y="1749"/>
                </a:lnTo>
                <a:lnTo>
                  <a:pt x="4475" y="1745"/>
                </a:lnTo>
                <a:close/>
                <a:moveTo>
                  <a:pt x="4488" y="1164"/>
                </a:moveTo>
                <a:lnTo>
                  <a:pt x="4492" y="1162"/>
                </a:lnTo>
                <a:lnTo>
                  <a:pt x="4491" y="1162"/>
                </a:lnTo>
                <a:lnTo>
                  <a:pt x="4490" y="1162"/>
                </a:lnTo>
                <a:lnTo>
                  <a:pt x="4489" y="1163"/>
                </a:lnTo>
                <a:lnTo>
                  <a:pt x="4488" y="1164"/>
                </a:lnTo>
                <a:close/>
                <a:moveTo>
                  <a:pt x="4490" y="1162"/>
                </a:moveTo>
                <a:lnTo>
                  <a:pt x="4492" y="1162"/>
                </a:lnTo>
                <a:lnTo>
                  <a:pt x="4493" y="1158"/>
                </a:lnTo>
                <a:lnTo>
                  <a:pt x="4494" y="1154"/>
                </a:lnTo>
                <a:lnTo>
                  <a:pt x="4490" y="1157"/>
                </a:lnTo>
                <a:lnTo>
                  <a:pt x="4490" y="1162"/>
                </a:lnTo>
                <a:close/>
                <a:moveTo>
                  <a:pt x="4510" y="1214"/>
                </a:moveTo>
                <a:lnTo>
                  <a:pt x="4510" y="1214"/>
                </a:lnTo>
                <a:lnTo>
                  <a:pt x="4510" y="1214"/>
                </a:lnTo>
                <a:lnTo>
                  <a:pt x="4510" y="1214"/>
                </a:lnTo>
                <a:lnTo>
                  <a:pt x="4510" y="1214"/>
                </a:lnTo>
                <a:close/>
                <a:moveTo>
                  <a:pt x="4493" y="1696"/>
                </a:moveTo>
                <a:lnTo>
                  <a:pt x="4493" y="1696"/>
                </a:lnTo>
                <a:lnTo>
                  <a:pt x="4493" y="1695"/>
                </a:lnTo>
                <a:lnTo>
                  <a:pt x="4489" y="1692"/>
                </a:lnTo>
                <a:lnTo>
                  <a:pt x="4493" y="1696"/>
                </a:lnTo>
                <a:close/>
                <a:moveTo>
                  <a:pt x="4489" y="1263"/>
                </a:moveTo>
                <a:lnTo>
                  <a:pt x="4490" y="1263"/>
                </a:lnTo>
                <a:lnTo>
                  <a:pt x="4490" y="1264"/>
                </a:lnTo>
                <a:lnTo>
                  <a:pt x="4492" y="1264"/>
                </a:lnTo>
                <a:lnTo>
                  <a:pt x="4494" y="1261"/>
                </a:lnTo>
                <a:lnTo>
                  <a:pt x="4496" y="1259"/>
                </a:lnTo>
                <a:lnTo>
                  <a:pt x="4496" y="1258"/>
                </a:lnTo>
                <a:lnTo>
                  <a:pt x="4496" y="1258"/>
                </a:lnTo>
                <a:lnTo>
                  <a:pt x="4492" y="1260"/>
                </a:lnTo>
                <a:lnTo>
                  <a:pt x="4488" y="1262"/>
                </a:lnTo>
                <a:lnTo>
                  <a:pt x="4489" y="1263"/>
                </a:lnTo>
                <a:close/>
                <a:moveTo>
                  <a:pt x="4487" y="1184"/>
                </a:moveTo>
                <a:lnTo>
                  <a:pt x="4487" y="1185"/>
                </a:lnTo>
                <a:lnTo>
                  <a:pt x="4487" y="1185"/>
                </a:lnTo>
                <a:lnTo>
                  <a:pt x="4488" y="1185"/>
                </a:lnTo>
                <a:lnTo>
                  <a:pt x="4488" y="1184"/>
                </a:lnTo>
                <a:lnTo>
                  <a:pt x="4488" y="1183"/>
                </a:lnTo>
                <a:lnTo>
                  <a:pt x="4488" y="1181"/>
                </a:lnTo>
                <a:lnTo>
                  <a:pt x="4488" y="1181"/>
                </a:lnTo>
                <a:lnTo>
                  <a:pt x="4488" y="1182"/>
                </a:lnTo>
                <a:lnTo>
                  <a:pt x="4487" y="1184"/>
                </a:lnTo>
                <a:close/>
                <a:moveTo>
                  <a:pt x="4462" y="1805"/>
                </a:moveTo>
                <a:lnTo>
                  <a:pt x="4460" y="1804"/>
                </a:lnTo>
                <a:lnTo>
                  <a:pt x="4460" y="1805"/>
                </a:lnTo>
                <a:lnTo>
                  <a:pt x="4462" y="1805"/>
                </a:lnTo>
                <a:close/>
                <a:moveTo>
                  <a:pt x="4722" y="1481"/>
                </a:moveTo>
                <a:lnTo>
                  <a:pt x="4718" y="1481"/>
                </a:lnTo>
                <a:lnTo>
                  <a:pt x="4721" y="1482"/>
                </a:lnTo>
                <a:lnTo>
                  <a:pt x="4722" y="1481"/>
                </a:lnTo>
                <a:close/>
                <a:moveTo>
                  <a:pt x="4421" y="1533"/>
                </a:moveTo>
                <a:lnTo>
                  <a:pt x="4421" y="1533"/>
                </a:lnTo>
                <a:lnTo>
                  <a:pt x="4421" y="1533"/>
                </a:lnTo>
                <a:lnTo>
                  <a:pt x="4421" y="1535"/>
                </a:lnTo>
                <a:lnTo>
                  <a:pt x="4421" y="1535"/>
                </a:lnTo>
                <a:lnTo>
                  <a:pt x="4421" y="1535"/>
                </a:lnTo>
                <a:lnTo>
                  <a:pt x="4421" y="1540"/>
                </a:lnTo>
                <a:lnTo>
                  <a:pt x="4427" y="1541"/>
                </a:lnTo>
                <a:lnTo>
                  <a:pt x="4427" y="1536"/>
                </a:lnTo>
                <a:lnTo>
                  <a:pt x="4429" y="1539"/>
                </a:lnTo>
                <a:lnTo>
                  <a:pt x="4429" y="1539"/>
                </a:lnTo>
                <a:lnTo>
                  <a:pt x="4429" y="1539"/>
                </a:lnTo>
                <a:lnTo>
                  <a:pt x="4431" y="1537"/>
                </a:lnTo>
                <a:lnTo>
                  <a:pt x="4426" y="1531"/>
                </a:lnTo>
                <a:lnTo>
                  <a:pt x="4424" y="1532"/>
                </a:lnTo>
                <a:lnTo>
                  <a:pt x="4421" y="1533"/>
                </a:lnTo>
                <a:close/>
                <a:moveTo>
                  <a:pt x="4423" y="1528"/>
                </a:moveTo>
                <a:lnTo>
                  <a:pt x="4425" y="1529"/>
                </a:lnTo>
                <a:lnTo>
                  <a:pt x="4425" y="1522"/>
                </a:lnTo>
                <a:lnTo>
                  <a:pt x="4426" y="1521"/>
                </a:lnTo>
                <a:lnTo>
                  <a:pt x="4427" y="1520"/>
                </a:lnTo>
                <a:lnTo>
                  <a:pt x="4423" y="1522"/>
                </a:lnTo>
                <a:lnTo>
                  <a:pt x="4418" y="1518"/>
                </a:lnTo>
                <a:lnTo>
                  <a:pt x="4419" y="1525"/>
                </a:lnTo>
                <a:lnTo>
                  <a:pt x="4421" y="1531"/>
                </a:lnTo>
                <a:lnTo>
                  <a:pt x="4421" y="1527"/>
                </a:lnTo>
                <a:lnTo>
                  <a:pt x="4423" y="1528"/>
                </a:lnTo>
                <a:close/>
                <a:moveTo>
                  <a:pt x="4421" y="1517"/>
                </a:moveTo>
                <a:lnTo>
                  <a:pt x="4418" y="1517"/>
                </a:lnTo>
                <a:lnTo>
                  <a:pt x="4421" y="1520"/>
                </a:lnTo>
                <a:lnTo>
                  <a:pt x="4423" y="1518"/>
                </a:lnTo>
                <a:lnTo>
                  <a:pt x="4421" y="1517"/>
                </a:lnTo>
                <a:close/>
                <a:moveTo>
                  <a:pt x="4426" y="1531"/>
                </a:moveTo>
                <a:lnTo>
                  <a:pt x="4427" y="1530"/>
                </a:lnTo>
                <a:lnTo>
                  <a:pt x="4425" y="1529"/>
                </a:lnTo>
                <a:lnTo>
                  <a:pt x="4425" y="1530"/>
                </a:lnTo>
                <a:lnTo>
                  <a:pt x="4426" y="1531"/>
                </a:lnTo>
                <a:close/>
                <a:moveTo>
                  <a:pt x="4421" y="1531"/>
                </a:moveTo>
                <a:lnTo>
                  <a:pt x="4421" y="1531"/>
                </a:lnTo>
                <a:lnTo>
                  <a:pt x="4421" y="1533"/>
                </a:lnTo>
                <a:lnTo>
                  <a:pt x="4421" y="1531"/>
                </a:lnTo>
                <a:close/>
                <a:moveTo>
                  <a:pt x="4423" y="1552"/>
                </a:moveTo>
                <a:lnTo>
                  <a:pt x="4423" y="1553"/>
                </a:lnTo>
                <a:lnTo>
                  <a:pt x="4424" y="1554"/>
                </a:lnTo>
                <a:lnTo>
                  <a:pt x="4424" y="1555"/>
                </a:lnTo>
                <a:lnTo>
                  <a:pt x="4424" y="1555"/>
                </a:lnTo>
                <a:lnTo>
                  <a:pt x="4424" y="1553"/>
                </a:lnTo>
                <a:lnTo>
                  <a:pt x="4424" y="1553"/>
                </a:lnTo>
                <a:lnTo>
                  <a:pt x="4423" y="1552"/>
                </a:lnTo>
                <a:lnTo>
                  <a:pt x="4423" y="1552"/>
                </a:lnTo>
                <a:close/>
                <a:moveTo>
                  <a:pt x="4389" y="1545"/>
                </a:moveTo>
                <a:lnTo>
                  <a:pt x="4391" y="1547"/>
                </a:lnTo>
                <a:lnTo>
                  <a:pt x="4393" y="1548"/>
                </a:lnTo>
                <a:lnTo>
                  <a:pt x="4395" y="1550"/>
                </a:lnTo>
                <a:lnTo>
                  <a:pt x="4397" y="1554"/>
                </a:lnTo>
                <a:lnTo>
                  <a:pt x="4399" y="1559"/>
                </a:lnTo>
                <a:lnTo>
                  <a:pt x="4401" y="1559"/>
                </a:lnTo>
                <a:lnTo>
                  <a:pt x="4403" y="1556"/>
                </a:lnTo>
                <a:lnTo>
                  <a:pt x="4404" y="1553"/>
                </a:lnTo>
                <a:lnTo>
                  <a:pt x="4400" y="1548"/>
                </a:lnTo>
                <a:lnTo>
                  <a:pt x="4404" y="1536"/>
                </a:lnTo>
                <a:lnTo>
                  <a:pt x="4405" y="1529"/>
                </a:lnTo>
                <a:lnTo>
                  <a:pt x="4405" y="1528"/>
                </a:lnTo>
                <a:lnTo>
                  <a:pt x="4403" y="1528"/>
                </a:lnTo>
                <a:lnTo>
                  <a:pt x="4401" y="1527"/>
                </a:lnTo>
                <a:lnTo>
                  <a:pt x="4399" y="1528"/>
                </a:lnTo>
                <a:lnTo>
                  <a:pt x="4397" y="1528"/>
                </a:lnTo>
                <a:lnTo>
                  <a:pt x="4397" y="1530"/>
                </a:lnTo>
                <a:lnTo>
                  <a:pt x="4394" y="1532"/>
                </a:lnTo>
                <a:lnTo>
                  <a:pt x="4394" y="1532"/>
                </a:lnTo>
                <a:lnTo>
                  <a:pt x="4394" y="1530"/>
                </a:lnTo>
                <a:lnTo>
                  <a:pt x="4390" y="1534"/>
                </a:lnTo>
                <a:lnTo>
                  <a:pt x="4391" y="1535"/>
                </a:lnTo>
                <a:lnTo>
                  <a:pt x="4393" y="1536"/>
                </a:lnTo>
                <a:lnTo>
                  <a:pt x="4393" y="1536"/>
                </a:lnTo>
                <a:lnTo>
                  <a:pt x="4393" y="1541"/>
                </a:lnTo>
                <a:lnTo>
                  <a:pt x="4394" y="1543"/>
                </a:lnTo>
                <a:lnTo>
                  <a:pt x="4389" y="1543"/>
                </a:lnTo>
                <a:lnTo>
                  <a:pt x="4389" y="1545"/>
                </a:lnTo>
                <a:close/>
                <a:moveTo>
                  <a:pt x="4409" y="1545"/>
                </a:moveTo>
                <a:lnTo>
                  <a:pt x="4409" y="1546"/>
                </a:lnTo>
                <a:lnTo>
                  <a:pt x="4413" y="1551"/>
                </a:lnTo>
                <a:lnTo>
                  <a:pt x="4420" y="1551"/>
                </a:lnTo>
                <a:lnTo>
                  <a:pt x="4422" y="1548"/>
                </a:lnTo>
                <a:lnTo>
                  <a:pt x="4423" y="1546"/>
                </a:lnTo>
                <a:lnTo>
                  <a:pt x="4421" y="1545"/>
                </a:lnTo>
                <a:lnTo>
                  <a:pt x="4421" y="1541"/>
                </a:lnTo>
                <a:lnTo>
                  <a:pt x="4419" y="1540"/>
                </a:lnTo>
                <a:lnTo>
                  <a:pt x="4416" y="1540"/>
                </a:lnTo>
                <a:lnTo>
                  <a:pt x="4409" y="1545"/>
                </a:lnTo>
                <a:close/>
                <a:moveTo>
                  <a:pt x="4394" y="1509"/>
                </a:moveTo>
                <a:lnTo>
                  <a:pt x="4394" y="1506"/>
                </a:lnTo>
                <a:lnTo>
                  <a:pt x="4390" y="1506"/>
                </a:lnTo>
                <a:lnTo>
                  <a:pt x="4394" y="1509"/>
                </a:lnTo>
                <a:lnTo>
                  <a:pt x="4394" y="1509"/>
                </a:lnTo>
                <a:close/>
                <a:moveTo>
                  <a:pt x="4417" y="1531"/>
                </a:moveTo>
                <a:lnTo>
                  <a:pt x="4417" y="1531"/>
                </a:lnTo>
                <a:lnTo>
                  <a:pt x="4417" y="1535"/>
                </a:lnTo>
                <a:lnTo>
                  <a:pt x="4420" y="1535"/>
                </a:lnTo>
                <a:lnTo>
                  <a:pt x="4421" y="1535"/>
                </a:lnTo>
                <a:lnTo>
                  <a:pt x="4419" y="1533"/>
                </a:lnTo>
                <a:lnTo>
                  <a:pt x="4417" y="1531"/>
                </a:lnTo>
                <a:close/>
                <a:moveTo>
                  <a:pt x="4383" y="1535"/>
                </a:moveTo>
                <a:lnTo>
                  <a:pt x="4383" y="1535"/>
                </a:lnTo>
                <a:lnTo>
                  <a:pt x="4383" y="1535"/>
                </a:lnTo>
                <a:lnTo>
                  <a:pt x="4383" y="1535"/>
                </a:lnTo>
                <a:lnTo>
                  <a:pt x="4383" y="1535"/>
                </a:lnTo>
                <a:close/>
                <a:moveTo>
                  <a:pt x="4408" y="1503"/>
                </a:moveTo>
                <a:lnTo>
                  <a:pt x="4409" y="1506"/>
                </a:lnTo>
                <a:lnTo>
                  <a:pt x="4409" y="1503"/>
                </a:lnTo>
                <a:lnTo>
                  <a:pt x="4408" y="1503"/>
                </a:lnTo>
                <a:close/>
                <a:moveTo>
                  <a:pt x="4381" y="1519"/>
                </a:moveTo>
                <a:lnTo>
                  <a:pt x="4385" y="1519"/>
                </a:lnTo>
                <a:lnTo>
                  <a:pt x="4384" y="1526"/>
                </a:lnTo>
                <a:lnTo>
                  <a:pt x="4382" y="1534"/>
                </a:lnTo>
                <a:lnTo>
                  <a:pt x="4383" y="1535"/>
                </a:lnTo>
                <a:lnTo>
                  <a:pt x="4383" y="1535"/>
                </a:lnTo>
                <a:lnTo>
                  <a:pt x="4385" y="1534"/>
                </a:lnTo>
                <a:lnTo>
                  <a:pt x="4386" y="1533"/>
                </a:lnTo>
                <a:lnTo>
                  <a:pt x="4390" y="1531"/>
                </a:lnTo>
                <a:lnTo>
                  <a:pt x="4393" y="1529"/>
                </a:lnTo>
                <a:lnTo>
                  <a:pt x="4393" y="1528"/>
                </a:lnTo>
                <a:lnTo>
                  <a:pt x="4395" y="1527"/>
                </a:lnTo>
                <a:lnTo>
                  <a:pt x="4397" y="1526"/>
                </a:lnTo>
                <a:lnTo>
                  <a:pt x="4397" y="1523"/>
                </a:lnTo>
                <a:lnTo>
                  <a:pt x="4399" y="1520"/>
                </a:lnTo>
                <a:lnTo>
                  <a:pt x="4401" y="1518"/>
                </a:lnTo>
                <a:lnTo>
                  <a:pt x="4397" y="1519"/>
                </a:lnTo>
                <a:lnTo>
                  <a:pt x="4393" y="1520"/>
                </a:lnTo>
                <a:lnTo>
                  <a:pt x="4393" y="1519"/>
                </a:lnTo>
                <a:lnTo>
                  <a:pt x="4393" y="1519"/>
                </a:lnTo>
                <a:lnTo>
                  <a:pt x="4389" y="1517"/>
                </a:lnTo>
                <a:lnTo>
                  <a:pt x="4385" y="1515"/>
                </a:lnTo>
                <a:lnTo>
                  <a:pt x="4381" y="1514"/>
                </a:lnTo>
                <a:lnTo>
                  <a:pt x="4381" y="1519"/>
                </a:lnTo>
                <a:close/>
                <a:moveTo>
                  <a:pt x="4415" y="1519"/>
                </a:moveTo>
                <a:lnTo>
                  <a:pt x="4416" y="1519"/>
                </a:lnTo>
                <a:lnTo>
                  <a:pt x="4413" y="1516"/>
                </a:lnTo>
                <a:lnTo>
                  <a:pt x="4413" y="1519"/>
                </a:lnTo>
                <a:lnTo>
                  <a:pt x="4415" y="1519"/>
                </a:lnTo>
                <a:close/>
                <a:moveTo>
                  <a:pt x="4401" y="1515"/>
                </a:moveTo>
                <a:lnTo>
                  <a:pt x="4401" y="1515"/>
                </a:lnTo>
                <a:lnTo>
                  <a:pt x="4402" y="1513"/>
                </a:lnTo>
                <a:lnTo>
                  <a:pt x="4401" y="1515"/>
                </a:lnTo>
                <a:lnTo>
                  <a:pt x="4401" y="1515"/>
                </a:lnTo>
                <a:close/>
                <a:moveTo>
                  <a:pt x="4409" y="1507"/>
                </a:moveTo>
                <a:lnTo>
                  <a:pt x="4410" y="1507"/>
                </a:lnTo>
                <a:lnTo>
                  <a:pt x="4409" y="1506"/>
                </a:lnTo>
                <a:lnTo>
                  <a:pt x="4409" y="1507"/>
                </a:lnTo>
                <a:lnTo>
                  <a:pt x="4409" y="1507"/>
                </a:lnTo>
                <a:close/>
                <a:moveTo>
                  <a:pt x="4409" y="1507"/>
                </a:moveTo>
                <a:lnTo>
                  <a:pt x="4409" y="1507"/>
                </a:lnTo>
                <a:lnTo>
                  <a:pt x="4409" y="1507"/>
                </a:lnTo>
                <a:lnTo>
                  <a:pt x="4401" y="1502"/>
                </a:lnTo>
                <a:lnTo>
                  <a:pt x="4401" y="1503"/>
                </a:lnTo>
                <a:lnTo>
                  <a:pt x="4401" y="1503"/>
                </a:lnTo>
                <a:lnTo>
                  <a:pt x="4403" y="1506"/>
                </a:lnTo>
                <a:lnTo>
                  <a:pt x="4404" y="1509"/>
                </a:lnTo>
                <a:lnTo>
                  <a:pt x="4403" y="1512"/>
                </a:lnTo>
                <a:lnTo>
                  <a:pt x="4402" y="1513"/>
                </a:lnTo>
                <a:lnTo>
                  <a:pt x="4404" y="1512"/>
                </a:lnTo>
                <a:lnTo>
                  <a:pt x="4406" y="1509"/>
                </a:lnTo>
                <a:lnTo>
                  <a:pt x="4411" y="1514"/>
                </a:lnTo>
                <a:lnTo>
                  <a:pt x="4413" y="1516"/>
                </a:lnTo>
                <a:lnTo>
                  <a:pt x="4413" y="1511"/>
                </a:lnTo>
                <a:lnTo>
                  <a:pt x="4413" y="1510"/>
                </a:lnTo>
                <a:lnTo>
                  <a:pt x="4412" y="1508"/>
                </a:lnTo>
                <a:lnTo>
                  <a:pt x="4410" y="1507"/>
                </a:lnTo>
                <a:lnTo>
                  <a:pt x="4410" y="1507"/>
                </a:lnTo>
                <a:lnTo>
                  <a:pt x="4410" y="1507"/>
                </a:lnTo>
                <a:lnTo>
                  <a:pt x="4409" y="1507"/>
                </a:lnTo>
                <a:close/>
                <a:moveTo>
                  <a:pt x="4416" y="1523"/>
                </a:moveTo>
                <a:lnTo>
                  <a:pt x="4415" y="1523"/>
                </a:lnTo>
                <a:lnTo>
                  <a:pt x="4413" y="1523"/>
                </a:lnTo>
                <a:lnTo>
                  <a:pt x="4413" y="1526"/>
                </a:lnTo>
                <a:lnTo>
                  <a:pt x="4414" y="1524"/>
                </a:lnTo>
                <a:lnTo>
                  <a:pt x="4416" y="1523"/>
                </a:lnTo>
                <a:close/>
                <a:moveTo>
                  <a:pt x="4351" y="1534"/>
                </a:moveTo>
                <a:lnTo>
                  <a:pt x="4355" y="1533"/>
                </a:lnTo>
                <a:lnTo>
                  <a:pt x="4351" y="1533"/>
                </a:lnTo>
                <a:lnTo>
                  <a:pt x="4351" y="1534"/>
                </a:lnTo>
                <a:close/>
                <a:moveTo>
                  <a:pt x="4369" y="1507"/>
                </a:moveTo>
                <a:lnTo>
                  <a:pt x="4369" y="1507"/>
                </a:lnTo>
                <a:lnTo>
                  <a:pt x="4369" y="1507"/>
                </a:lnTo>
                <a:lnTo>
                  <a:pt x="4369" y="1507"/>
                </a:lnTo>
                <a:close/>
                <a:moveTo>
                  <a:pt x="4362" y="1598"/>
                </a:moveTo>
                <a:lnTo>
                  <a:pt x="4362" y="1594"/>
                </a:lnTo>
                <a:lnTo>
                  <a:pt x="4362" y="1594"/>
                </a:lnTo>
                <a:lnTo>
                  <a:pt x="4360" y="1598"/>
                </a:lnTo>
                <a:lnTo>
                  <a:pt x="4362" y="1598"/>
                </a:lnTo>
                <a:close/>
                <a:moveTo>
                  <a:pt x="4367" y="1603"/>
                </a:moveTo>
                <a:lnTo>
                  <a:pt x="4372" y="1603"/>
                </a:lnTo>
                <a:lnTo>
                  <a:pt x="4374" y="1603"/>
                </a:lnTo>
                <a:lnTo>
                  <a:pt x="4374" y="1602"/>
                </a:lnTo>
                <a:lnTo>
                  <a:pt x="4375" y="1602"/>
                </a:lnTo>
                <a:lnTo>
                  <a:pt x="4371" y="1599"/>
                </a:lnTo>
                <a:lnTo>
                  <a:pt x="4367" y="1602"/>
                </a:lnTo>
                <a:lnTo>
                  <a:pt x="4367" y="1603"/>
                </a:lnTo>
                <a:close/>
                <a:moveTo>
                  <a:pt x="4352" y="1511"/>
                </a:moveTo>
                <a:lnTo>
                  <a:pt x="4352" y="1511"/>
                </a:lnTo>
                <a:lnTo>
                  <a:pt x="4352" y="1517"/>
                </a:lnTo>
                <a:lnTo>
                  <a:pt x="4352" y="1517"/>
                </a:lnTo>
                <a:lnTo>
                  <a:pt x="4356" y="1514"/>
                </a:lnTo>
                <a:lnTo>
                  <a:pt x="4352" y="1511"/>
                </a:lnTo>
                <a:close/>
                <a:moveTo>
                  <a:pt x="4358" y="1485"/>
                </a:moveTo>
                <a:lnTo>
                  <a:pt x="4356" y="1485"/>
                </a:lnTo>
                <a:lnTo>
                  <a:pt x="4358" y="1488"/>
                </a:lnTo>
                <a:lnTo>
                  <a:pt x="4358" y="1488"/>
                </a:lnTo>
                <a:lnTo>
                  <a:pt x="4358" y="1485"/>
                </a:lnTo>
                <a:close/>
                <a:moveTo>
                  <a:pt x="4359" y="1511"/>
                </a:moveTo>
                <a:lnTo>
                  <a:pt x="4359" y="1510"/>
                </a:lnTo>
                <a:lnTo>
                  <a:pt x="4355" y="1509"/>
                </a:lnTo>
                <a:lnTo>
                  <a:pt x="4352" y="1508"/>
                </a:lnTo>
                <a:lnTo>
                  <a:pt x="4353" y="1509"/>
                </a:lnTo>
                <a:lnTo>
                  <a:pt x="4355" y="1511"/>
                </a:lnTo>
                <a:lnTo>
                  <a:pt x="4358" y="1511"/>
                </a:lnTo>
                <a:lnTo>
                  <a:pt x="4359" y="1511"/>
                </a:lnTo>
                <a:close/>
                <a:moveTo>
                  <a:pt x="4351" y="1615"/>
                </a:moveTo>
                <a:lnTo>
                  <a:pt x="4352" y="1616"/>
                </a:lnTo>
                <a:lnTo>
                  <a:pt x="4353" y="1614"/>
                </a:lnTo>
                <a:lnTo>
                  <a:pt x="4355" y="1612"/>
                </a:lnTo>
                <a:lnTo>
                  <a:pt x="4356" y="1613"/>
                </a:lnTo>
                <a:lnTo>
                  <a:pt x="4358" y="1613"/>
                </a:lnTo>
                <a:lnTo>
                  <a:pt x="4358" y="1610"/>
                </a:lnTo>
                <a:lnTo>
                  <a:pt x="4354" y="1612"/>
                </a:lnTo>
                <a:lnTo>
                  <a:pt x="4351" y="1613"/>
                </a:lnTo>
                <a:lnTo>
                  <a:pt x="4351" y="1615"/>
                </a:lnTo>
                <a:close/>
                <a:moveTo>
                  <a:pt x="4437" y="1534"/>
                </a:moveTo>
                <a:lnTo>
                  <a:pt x="4437" y="1534"/>
                </a:lnTo>
                <a:lnTo>
                  <a:pt x="4437" y="1534"/>
                </a:lnTo>
                <a:lnTo>
                  <a:pt x="4435" y="1540"/>
                </a:lnTo>
                <a:lnTo>
                  <a:pt x="4437" y="1542"/>
                </a:lnTo>
                <a:lnTo>
                  <a:pt x="4437" y="1543"/>
                </a:lnTo>
                <a:lnTo>
                  <a:pt x="4439" y="1543"/>
                </a:lnTo>
                <a:lnTo>
                  <a:pt x="4439" y="1542"/>
                </a:lnTo>
                <a:lnTo>
                  <a:pt x="4440" y="1541"/>
                </a:lnTo>
                <a:lnTo>
                  <a:pt x="4438" y="1538"/>
                </a:lnTo>
                <a:lnTo>
                  <a:pt x="4437" y="1534"/>
                </a:lnTo>
                <a:close/>
                <a:moveTo>
                  <a:pt x="4400" y="1496"/>
                </a:moveTo>
                <a:lnTo>
                  <a:pt x="4399" y="1496"/>
                </a:lnTo>
                <a:lnTo>
                  <a:pt x="4402" y="1499"/>
                </a:lnTo>
                <a:lnTo>
                  <a:pt x="4405" y="1503"/>
                </a:lnTo>
                <a:lnTo>
                  <a:pt x="4403" y="1499"/>
                </a:lnTo>
                <a:lnTo>
                  <a:pt x="4400" y="1496"/>
                </a:lnTo>
                <a:close/>
                <a:moveTo>
                  <a:pt x="4408" y="1555"/>
                </a:moveTo>
                <a:lnTo>
                  <a:pt x="4410" y="1553"/>
                </a:lnTo>
                <a:lnTo>
                  <a:pt x="4408" y="1552"/>
                </a:lnTo>
                <a:lnTo>
                  <a:pt x="4407" y="1553"/>
                </a:lnTo>
                <a:lnTo>
                  <a:pt x="4405" y="1553"/>
                </a:lnTo>
                <a:lnTo>
                  <a:pt x="4407" y="1554"/>
                </a:lnTo>
                <a:lnTo>
                  <a:pt x="4408" y="1555"/>
                </a:lnTo>
                <a:close/>
                <a:moveTo>
                  <a:pt x="4406" y="1548"/>
                </a:moveTo>
                <a:lnTo>
                  <a:pt x="4408" y="1541"/>
                </a:lnTo>
                <a:lnTo>
                  <a:pt x="4411" y="1538"/>
                </a:lnTo>
                <a:lnTo>
                  <a:pt x="4413" y="1536"/>
                </a:lnTo>
                <a:lnTo>
                  <a:pt x="4413" y="1526"/>
                </a:lnTo>
                <a:lnTo>
                  <a:pt x="4413" y="1526"/>
                </a:lnTo>
                <a:lnTo>
                  <a:pt x="4410" y="1534"/>
                </a:lnTo>
                <a:lnTo>
                  <a:pt x="4408" y="1538"/>
                </a:lnTo>
                <a:lnTo>
                  <a:pt x="4405" y="1541"/>
                </a:lnTo>
                <a:lnTo>
                  <a:pt x="4405" y="1546"/>
                </a:lnTo>
                <a:lnTo>
                  <a:pt x="4404" y="1551"/>
                </a:lnTo>
                <a:lnTo>
                  <a:pt x="4404" y="1551"/>
                </a:lnTo>
                <a:lnTo>
                  <a:pt x="4404" y="1551"/>
                </a:lnTo>
                <a:lnTo>
                  <a:pt x="4406" y="1548"/>
                </a:lnTo>
                <a:close/>
                <a:moveTo>
                  <a:pt x="4370" y="1510"/>
                </a:moveTo>
                <a:lnTo>
                  <a:pt x="4369" y="1507"/>
                </a:lnTo>
                <a:lnTo>
                  <a:pt x="4369" y="1510"/>
                </a:lnTo>
                <a:lnTo>
                  <a:pt x="4370" y="1510"/>
                </a:lnTo>
                <a:close/>
                <a:moveTo>
                  <a:pt x="4378" y="1495"/>
                </a:moveTo>
                <a:lnTo>
                  <a:pt x="4373" y="1493"/>
                </a:lnTo>
                <a:lnTo>
                  <a:pt x="4369" y="1491"/>
                </a:lnTo>
                <a:lnTo>
                  <a:pt x="4359" y="1491"/>
                </a:lnTo>
                <a:lnTo>
                  <a:pt x="4361" y="1494"/>
                </a:lnTo>
                <a:lnTo>
                  <a:pt x="4363" y="1497"/>
                </a:lnTo>
                <a:lnTo>
                  <a:pt x="4366" y="1501"/>
                </a:lnTo>
                <a:lnTo>
                  <a:pt x="4369" y="1504"/>
                </a:lnTo>
                <a:lnTo>
                  <a:pt x="4370" y="1507"/>
                </a:lnTo>
                <a:lnTo>
                  <a:pt x="4370" y="1507"/>
                </a:lnTo>
                <a:lnTo>
                  <a:pt x="4373" y="1508"/>
                </a:lnTo>
                <a:lnTo>
                  <a:pt x="4373" y="1506"/>
                </a:lnTo>
                <a:lnTo>
                  <a:pt x="4375" y="1504"/>
                </a:lnTo>
                <a:lnTo>
                  <a:pt x="4377" y="1503"/>
                </a:lnTo>
                <a:lnTo>
                  <a:pt x="4376" y="1502"/>
                </a:lnTo>
                <a:lnTo>
                  <a:pt x="4375" y="1501"/>
                </a:lnTo>
                <a:lnTo>
                  <a:pt x="4376" y="1498"/>
                </a:lnTo>
                <a:lnTo>
                  <a:pt x="4378" y="1495"/>
                </a:lnTo>
                <a:close/>
                <a:moveTo>
                  <a:pt x="4441" y="1530"/>
                </a:moveTo>
                <a:lnTo>
                  <a:pt x="4440" y="1530"/>
                </a:lnTo>
                <a:lnTo>
                  <a:pt x="4440" y="1529"/>
                </a:lnTo>
                <a:lnTo>
                  <a:pt x="4439" y="1529"/>
                </a:lnTo>
                <a:lnTo>
                  <a:pt x="4439" y="1530"/>
                </a:lnTo>
                <a:lnTo>
                  <a:pt x="4440" y="1530"/>
                </a:lnTo>
                <a:lnTo>
                  <a:pt x="4441" y="1530"/>
                </a:lnTo>
                <a:close/>
                <a:moveTo>
                  <a:pt x="4409" y="1324"/>
                </a:moveTo>
                <a:lnTo>
                  <a:pt x="4408" y="1324"/>
                </a:lnTo>
                <a:lnTo>
                  <a:pt x="4411" y="1327"/>
                </a:lnTo>
                <a:lnTo>
                  <a:pt x="4412" y="1326"/>
                </a:lnTo>
                <a:lnTo>
                  <a:pt x="4413" y="1324"/>
                </a:lnTo>
                <a:lnTo>
                  <a:pt x="4409" y="1323"/>
                </a:lnTo>
                <a:lnTo>
                  <a:pt x="4409" y="1324"/>
                </a:lnTo>
                <a:close/>
                <a:moveTo>
                  <a:pt x="4483" y="1692"/>
                </a:moveTo>
                <a:lnTo>
                  <a:pt x="4482" y="1691"/>
                </a:lnTo>
                <a:lnTo>
                  <a:pt x="4483" y="1692"/>
                </a:lnTo>
                <a:lnTo>
                  <a:pt x="4483" y="1692"/>
                </a:lnTo>
                <a:close/>
                <a:moveTo>
                  <a:pt x="4484" y="1266"/>
                </a:moveTo>
                <a:lnTo>
                  <a:pt x="4484" y="1266"/>
                </a:lnTo>
                <a:lnTo>
                  <a:pt x="4484" y="1269"/>
                </a:lnTo>
                <a:lnTo>
                  <a:pt x="4484" y="1272"/>
                </a:lnTo>
                <a:lnTo>
                  <a:pt x="4484" y="1272"/>
                </a:lnTo>
                <a:lnTo>
                  <a:pt x="4486" y="1271"/>
                </a:lnTo>
                <a:lnTo>
                  <a:pt x="4487" y="1270"/>
                </a:lnTo>
                <a:lnTo>
                  <a:pt x="4486" y="1268"/>
                </a:lnTo>
                <a:lnTo>
                  <a:pt x="4484" y="1266"/>
                </a:lnTo>
                <a:close/>
                <a:moveTo>
                  <a:pt x="4481" y="1277"/>
                </a:moveTo>
                <a:lnTo>
                  <a:pt x="4482" y="1276"/>
                </a:lnTo>
                <a:lnTo>
                  <a:pt x="4483" y="1276"/>
                </a:lnTo>
                <a:lnTo>
                  <a:pt x="4481" y="1276"/>
                </a:lnTo>
                <a:lnTo>
                  <a:pt x="4481" y="1277"/>
                </a:lnTo>
                <a:close/>
                <a:moveTo>
                  <a:pt x="4463" y="1740"/>
                </a:moveTo>
                <a:lnTo>
                  <a:pt x="4463" y="1740"/>
                </a:lnTo>
                <a:lnTo>
                  <a:pt x="4463" y="1741"/>
                </a:lnTo>
                <a:lnTo>
                  <a:pt x="4462" y="1741"/>
                </a:lnTo>
                <a:lnTo>
                  <a:pt x="4463" y="1741"/>
                </a:lnTo>
                <a:lnTo>
                  <a:pt x="4463" y="1740"/>
                </a:lnTo>
                <a:close/>
                <a:moveTo>
                  <a:pt x="4479" y="1654"/>
                </a:moveTo>
                <a:lnTo>
                  <a:pt x="4478" y="1654"/>
                </a:lnTo>
                <a:lnTo>
                  <a:pt x="4473" y="1658"/>
                </a:lnTo>
                <a:lnTo>
                  <a:pt x="4473" y="1662"/>
                </a:lnTo>
                <a:lnTo>
                  <a:pt x="4478" y="1662"/>
                </a:lnTo>
                <a:lnTo>
                  <a:pt x="4478" y="1660"/>
                </a:lnTo>
                <a:lnTo>
                  <a:pt x="4479" y="1658"/>
                </a:lnTo>
                <a:lnTo>
                  <a:pt x="4480" y="1657"/>
                </a:lnTo>
                <a:lnTo>
                  <a:pt x="4481" y="1656"/>
                </a:lnTo>
                <a:lnTo>
                  <a:pt x="4480" y="1655"/>
                </a:lnTo>
                <a:lnTo>
                  <a:pt x="4479" y="1654"/>
                </a:lnTo>
                <a:close/>
                <a:moveTo>
                  <a:pt x="4469" y="1290"/>
                </a:moveTo>
                <a:lnTo>
                  <a:pt x="4469" y="1290"/>
                </a:lnTo>
                <a:lnTo>
                  <a:pt x="4465" y="1292"/>
                </a:lnTo>
                <a:lnTo>
                  <a:pt x="4469" y="1290"/>
                </a:lnTo>
                <a:close/>
                <a:moveTo>
                  <a:pt x="4471" y="1288"/>
                </a:moveTo>
                <a:lnTo>
                  <a:pt x="4472" y="1289"/>
                </a:lnTo>
                <a:lnTo>
                  <a:pt x="4473" y="1287"/>
                </a:lnTo>
                <a:lnTo>
                  <a:pt x="4474" y="1287"/>
                </a:lnTo>
                <a:lnTo>
                  <a:pt x="4473" y="1287"/>
                </a:lnTo>
                <a:lnTo>
                  <a:pt x="4471" y="1288"/>
                </a:lnTo>
                <a:close/>
                <a:moveTo>
                  <a:pt x="4470" y="1287"/>
                </a:moveTo>
                <a:lnTo>
                  <a:pt x="4470" y="1287"/>
                </a:lnTo>
                <a:lnTo>
                  <a:pt x="4469" y="1287"/>
                </a:lnTo>
                <a:lnTo>
                  <a:pt x="4469" y="1290"/>
                </a:lnTo>
                <a:lnTo>
                  <a:pt x="4471" y="1288"/>
                </a:lnTo>
                <a:lnTo>
                  <a:pt x="4471" y="1288"/>
                </a:lnTo>
                <a:lnTo>
                  <a:pt x="4470" y="1287"/>
                </a:lnTo>
                <a:close/>
                <a:moveTo>
                  <a:pt x="4469" y="1737"/>
                </a:moveTo>
                <a:lnTo>
                  <a:pt x="4469" y="1736"/>
                </a:lnTo>
                <a:lnTo>
                  <a:pt x="4468" y="1737"/>
                </a:lnTo>
                <a:lnTo>
                  <a:pt x="4466" y="1737"/>
                </a:lnTo>
                <a:lnTo>
                  <a:pt x="4469" y="1737"/>
                </a:lnTo>
                <a:close/>
                <a:moveTo>
                  <a:pt x="4458" y="1702"/>
                </a:moveTo>
                <a:lnTo>
                  <a:pt x="4458" y="1703"/>
                </a:lnTo>
                <a:lnTo>
                  <a:pt x="4458" y="1705"/>
                </a:lnTo>
                <a:lnTo>
                  <a:pt x="4458" y="1705"/>
                </a:lnTo>
                <a:lnTo>
                  <a:pt x="4458" y="1702"/>
                </a:lnTo>
                <a:lnTo>
                  <a:pt x="4458" y="1702"/>
                </a:lnTo>
                <a:close/>
                <a:moveTo>
                  <a:pt x="4418" y="1821"/>
                </a:moveTo>
                <a:lnTo>
                  <a:pt x="4429" y="1817"/>
                </a:lnTo>
                <a:lnTo>
                  <a:pt x="4427" y="1816"/>
                </a:lnTo>
                <a:lnTo>
                  <a:pt x="4419" y="1816"/>
                </a:lnTo>
                <a:lnTo>
                  <a:pt x="4418" y="1821"/>
                </a:lnTo>
                <a:close/>
                <a:moveTo>
                  <a:pt x="4449" y="1805"/>
                </a:moveTo>
                <a:lnTo>
                  <a:pt x="4443" y="1808"/>
                </a:lnTo>
                <a:lnTo>
                  <a:pt x="4442" y="1806"/>
                </a:lnTo>
                <a:lnTo>
                  <a:pt x="4440" y="1805"/>
                </a:lnTo>
                <a:lnTo>
                  <a:pt x="4437" y="1812"/>
                </a:lnTo>
                <a:lnTo>
                  <a:pt x="4439" y="1810"/>
                </a:lnTo>
                <a:lnTo>
                  <a:pt x="4441" y="1809"/>
                </a:lnTo>
                <a:lnTo>
                  <a:pt x="4447" y="1809"/>
                </a:lnTo>
                <a:lnTo>
                  <a:pt x="4449" y="1809"/>
                </a:lnTo>
                <a:lnTo>
                  <a:pt x="4452" y="1808"/>
                </a:lnTo>
                <a:lnTo>
                  <a:pt x="4450" y="1806"/>
                </a:lnTo>
                <a:lnTo>
                  <a:pt x="4449" y="1805"/>
                </a:lnTo>
                <a:close/>
                <a:moveTo>
                  <a:pt x="4475" y="1704"/>
                </a:moveTo>
                <a:lnTo>
                  <a:pt x="4472" y="1701"/>
                </a:lnTo>
                <a:lnTo>
                  <a:pt x="4470" y="1698"/>
                </a:lnTo>
                <a:lnTo>
                  <a:pt x="4467" y="1696"/>
                </a:lnTo>
                <a:lnTo>
                  <a:pt x="4465" y="1693"/>
                </a:lnTo>
                <a:lnTo>
                  <a:pt x="4465" y="1696"/>
                </a:lnTo>
                <a:lnTo>
                  <a:pt x="4466" y="1697"/>
                </a:lnTo>
                <a:lnTo>
                  <a:pt x="4466" y="1698"/>
                </a:lnTo>
                <a:lnTo>
                  <a:pt x="4470" y="1703"/>
                </a:lnTo>
                <a:lnTo>
                  <a:pt x="4472" y="1703"/>
                </a:lnTo>
                <a:lnTo>
                  <a:pt x="4475" y="1704"/>
                </a:lnTo>
                <a:close/>
                <a:moveTo>
                  <a:pt x="4458" y="1749"/>
                </a:moveTo>
                <a:lnTo>
                  <a:pt x="4458" y="1749"/>
                </a:lnTo>
                <a:lnTo>
                  <a:pt x="4458" y="1750"/>
                </a:lnTo>
                <a:lnTo>
                  <a:pt x="4458" y="1751"/>
                </a:lnTo>
                <a:lnTo>
                  <a:pt x="4458" y="1751"/>
                </a:lnTo>
                <a:lnTo>
                  <a:pt x="4458" y="1749"/>
                </a:lnTo>
                <a:close/>
                <a:moveTo>
                  <a:pt x="4441" y="1740"/>
                </a:moveTo>
                <a:lnTo>
                  <a:pt x="4441" y="1744"/>
                </a:lnTo>
                <a:lnTo>
                  <a:pt x="4445" y="1748"/>
                </a:lnTo>
                <a:lnTo>
                  <a:pt x="4448" y="1752"/>
                </a:lnTo>
                <a:lnTo>
                  <a:pt x="4451" y="1752"/>
                </a:lnTo>
                <a:lnTo>
                  <a:pt x="4457" y="1747"/>
                </a:lnTo>
                <a:lnTo>
                  <a:pt x="4457" y="1744"/>
                </a:lnTo>
                <a:lnTo>
                  <a:pt x="4456" y="1744"/>
                </a:lnTo>
                <a:lnTo>
                  <a:pt x="4458" y="1742"/>
                </a:lnTo>
                <a:lnTo>
                  <a:pt x="4456" y="1740"/>
                </a:lnTo>
                <a:lnTo>
                  <a:pt x="4453" y="1738"/>
                </a:lnTo>
                <a:lnTo>
                  <a:pt x="4451" y="1737"/>
                </a:lnTo>
                <a:lnTo>
                  <a:pt x="4446" y="1739"/>
                </a:lnTo>
                <a:lnTo>
                  <a:pt x="4441" y="1740"/>
                </a:lnTo>
                <a:close/>
                <a:moveTo>
                  <a:pt x="4475" y="1704"/>
                </a:moveTo>
                <a:lnTo>
                  <a:pt x="4475" y="1704"/>
                </a:lnTo>
                <a:lnTo>
                  <a:pt x="4475" y="1704"/>
                </a:lnTo>
                <a:lnTo>
                  <a:pt x="4475" y="1704"/>
                </a:lnTo>
                <a:lnTo>
                  <a:pt x="4475" y="1704"/>
                </a:lnTo>
                <a:close/>
                <a:moveTo>
                  <a:pt x="4474" y="1287"/>
                </a:moveTo>
                <a:lnTo>
                  <a:pt x="4475" y="1287"/>
                </a:lnTo>
                <a:lnTo>
                  <a:pt x="4477" y="1286"/>
                </a:lnTo>
                <a:lnTo>
                  <a:pt x="4475" y="1286"/>
                </a:lnTo>
                <a:lnTo>
                  <a:pt x="4474" y="1287"/>
                </a:lnTo>
                <a:close/>
                <a:moveTo>
                  <a:pt x="4463" y="1710"/>
                </a:moveTo>
                <a:lnTo>
                  <a:pt x="4463" y="1710"/>
                </a:lnTo>
                <a:lnTo>
                  <a:pt x="4463" y="1710"/>
                </a:lnTo>
                <a:lnTo>
                  <a:pt x="4462" y="1711"/>
                </a:lnTo>
                <a:lnTo>
                  <a:pt x="4463" y="1711"/>
                </a:lnTo>
                <a:lnTo>
                  <a:pt x="4463" y="1710"/>
                </a:lnTo>
                <a:close/>
                <a:moveTo>
                  <a:pt x="4457" y="1700"/>
                </a:moveTo>
                <a:lnTo>
                  <a:pt x="4458" y="1700"/>
                </a:lnTo>
                <a:lnTo>
                  <a:pt x="4462" y="1708"/>
                </a:lnTo>
                <a:lnTo>
                  <a:pt x="4463" y="1708"/>
                </a:lnTo>
                <a:lnTo>
                  <a:pt x="4465" y="1707"/>
                </a:lnTo>
                <a:lnTo>
                  <a:pt x="4466" y="1707"/>
                </a:lnTo>
                <a:lnTo>
                  <a:pt x="4468" y="1706"/>
                </a:lnTo>
                <a:lnTo>
                  <a:pt x="4469" y="1705"/>
                </a:lnTo>
                <a:lnTo>
                  <a:pt x="4468" y="1705"/>
                </a:lnTo>
                <a:lnTo>
                  <a:pt x="4466" y="1704"/>
                </a:lnTo>
                <a:lnTo>
                  <a:pt x="4465" y="1704"/>
                </a:lnTo>
                <a:lnTo>
                  <a:pt x="4463" y="1703"/>
                </a:lnTo>
                <a:lnTo>
                  <a:pt x="4465" y="1699"/>
                </a:lnTo>
                <a:lnTo>
                  <a:pt x="4464" y="1698"/>
                </a:lnTo>
                <a:lnTo>
                  <a:pt x="4462" y="1696"/>
                </a:lnTo>
                <a:lnTo>
                  <a:pt x="4457" y="1698"/>
                </a:lnTo>
                <a:lnTo>
                  <a:pt x="4457" y="1700"/>
                </a:lnTo>
                <a:close/>
                <a:moveTo>
                  <a:pt x="4400" y="1579"/>
                </a:moveTo>
                <a:lnTo>
                  <a:pt x="4401" y="1579"/>
                </a:lnTo>
                <a:lnTo>
                  <a:pt x="4401" y="1579"/>
                </a:lnTo>
                <a:lnTo>
                  <a:pt x="4400" y="1579"/>
                </a:lnTo>
                <a:close/>
                <a:moveTo>
                  <a:pt x="4443" y="1550"/>
                </a:moveTo>
                <a:lnTo>
                  <a:pt x="4444" y="1555"/>
                </a:lnTo>
                <a:lnTo>
                  <a:pt x="4445" y="1555"/>
                </a:lnTo>
                <a:lnTo>
                  <a:pt x="4445" y="1555"/>
                </a:lnTo>
                <a:lnTo>
                  <a:pt x="4449" y="1560"/>
                </a:lnTo>
                <a:lnTo>
                  <a:pt x="4444" y="1563"/>
                </a:lnTo>
                <a:lnTo>
                  <a:pt x="4446" y="1567"/>
                </a:lnTo>
                <a:lnTo>
                  <a:pt x="4450" y="1567"/>
                </a:lnTo>
                <a:lnTo>
                  <a:pt x="4449" y="1569"/>
                </a:lnTo>
                <a:lnTo>
                  <a:pt x="4447" y="1571"/>
                </a:lnTo>
                <a:lnTo>
                  <a:pt x="4451" y="1571"/>
                </a:lnTo>
                <a:lnTo>
                  <a:pt x="4451" y="1572"/>
                </a:lnTo>
                <a:lnTo>
                  <a:pt x="4450" y="1573"/>
                </a:lnTo>
                <a:lnTo>
                  <a:pt x="4451" y="1575"/>
                </a:lnTo>
                <a:lnTo>
                  <a:pt x="4451" y="1576"/>
                </a:lnTo>
                <a:lnTo>
                  <a:pt x="4451" y="1579"/>
                </a:lnTo>
                <a:lnTo>
                  <a:pt x="4452" y="1583"/>
                </a:lnTo>
                <a:lnTo>
                  <a:pt x="4450" y="1585"/>
                </a:lnTo>
                <a:lnTo>
                  <a:pt x="4447" y="1588"/>
                </a:lnTo>
                <a:lnTo>
                  <a:pt x="4446" y="1588"/>
                </a:lnTo>
                <a:lnTo>
                  <a:pt x="4447" y="1589"/>
                </a:lnTo>
                <a:lnTo>
                  <a:pt x="4447" y="1590"/>
                </a:lnTo>
                <a:lnTo>
                  <a:pt x="4447" y="1595"/>
                </a:lnTo>
                <a:lnTo>
                  <a:pt x="4446" y="1600"/>
                </a:lnTo>
                <a:lnTo>
                  <a:pt x="4445" y="1600"/>
                </a:lnTo>
                <a:lnTo>
                  <a:pt x="4445" y="1598"/>
                </a:lnTo>
                <a:lnTo>
                  <a:pt x="4444" y="1588"/>
                </a:lnTo>
                <a:lnTo>
                  <a:pt x="4442" y="1587"/>
                </a:lnTo>
                <a:lnTo>
                  <a:pt x="4440" y="1586"/>
                </a:lnTo>
                <a:lnTo>
                  <a:pt x="4441" y="1587"/>
                </a:lnTo>
                <a:lnTo>
                  <a:pt x="4441" y="1588"/>
                </a:lnTo>
                <a:lnTo>
                  <a:pt x="4441" y="1588"/>
                </a:lnTo>
                <a:lnTo>
                  <a:pt x="4440" y="1588"/>
                </a:lnTo>
                <a:lnTo>
                  <a:pt x="4439" y="1587"/>
                </a:lnTo>
                <a:lnTo>
                  <a:pt x="4438" y="1586"/>
                </a:lnTo>
                <a:lnTo>
                  <a:pt x="4436" y="1587"/>
                </a:lnTo>
                <a:lnTo>
                  <a:pt x="4433" y="1590"/>
                </a:lnTo>
                <a:lnTo>
                  <a:pt x="4433" y="1593"/>
                </a:lnTo>
                <a:lnTo>
                  <a:pt x="4438" y="1594"/>
                </a:lnTo>
                <a:lnTo>
                  <a:pt x="4439" y="1598"/>
                </a:lnTo>
                <a:lnTo>
                  <a:pt x="4440" y="1603"/>
                </a:lnTo>
                <a:lnTo>
                  <a:pt x="4437" y="1607"/>
                </a:lnTo>
                <a:lnTo>
                  <a:pt x="4435" y="1612"/>
                </a:lnTo>
                <a:lnTo>
                  <a:pt x="4433" y="1612"/>
                </a:lnTo>
                <a:lnTo>
                  <a:pt x="4432" y="1608"/>
                </a:lnTo>
                <a:lnTo>
                  <a:pt x="4432" y="1605"/>
                </a:lnTo>
                <a:lnTo>
                  <a:pt x="4432" y="1602"/>
                </a:lnTo>
                <a:lnTo>
                  <a:pt x="4433" y="1600"/>
                </a:lnTo>
                <a:lnTo>
                  <a:pt x="4432" y="1600"/>
                </a:lnTo>
                <a:lnTo>
                  <a:pt x="4431" y="1602"/>
                </a:lnTo>
                <a:lnTo>
                  <a:pt x="4429" y="1604"/>
                </a:lnTo>
                <a:lnTo>
                  <a:pt x="4428" y="1604"/>
                </a:lnTo>
                <a:lnTo>
                  <a:pt x="4423" y="1601"/>
                </a:lnTo>
                <a:lnTo>
                  <a:pt x="4418" y="1599"/>
                </a:lnTo>
                <a:lnTo>
                  <a:pt x="4416" y="1597"/>
                </a:lnTo>
                <a:lnTo>
                  <a:pt x="4414" y="1592"/>
                </a:lnTo>
                <a:lnTo>
                  <a:pt x="4413" y="1588"/>
                </a:lnTo>
                <a:lnTo>
                  <a:pt x="4415" y="1584"/>
                </a:lnTo>
                <a:lnTo>
                  <a:pt x="4418" y="1579"/>
                </a:lnTo>
                <a:lnTo>
                  <a:pt x="4415" y="1578"/>
                </a:lnTo>
                <a:lnTo>
                  <a:pt x="4413" y="1577"/>
                </a:lnTo>
                <a:lnTo>
                  <a:pt x="4406" y="1575"/>
                </a:lnTo>
                <a:lnTo>
                  <a:pt x="4405" y="1575"/>
                </a:lnTo>
                <a:lnTo>
                  <a:pt x="4405" y="1576"/>
                </a:lnTo>
                <a:lnTo>
                  <a:pt x="4405" y="1578"/>
                </a:lnTo>
                <a:lnTo>
                  <a:pt x="4404" y="1579"/>
                </a:lnTo>
                <a:lnTo>
                  <a:pt x="4404" y="1578"/>
                </a:lnTo>
                <a:lnTo>
                  <a:pt x="4403" y="1579"/>
                </a:lnTo>
                <a:lnTo>
                  <a:pt x="4401" y="1579"/>
                </a:lnTo>
                <a:lnTo>
                  <a:pt x="4401" y="1579"/>
                </a:lnTo>
                <a:lnTo>
                  <a:pt x="4401" y="1579"/>
                </a:lnTo>
                <a:lnTo>
                  <a:pt x="4401" y="1577"/>
                </a:lnTo>
                <a:lnTo>
                  <a:pt x="4400" y="1574"/>
                </a:lnTo>
                <a:lnTo>
                  <a:pt x="4397" y="1579"/>
                </a:lnTo>
                <a:lnTo>
                  <a:pt x="4397" y="1584"/>
                </a:lnTo>
                <a:lnTo>
                  <a:pt x="4397" y="1584"/>
                </a:lnTo>
                <a:lnTo>
                  <a:pt x="4396" y="1582"/>
                </a:lnTo>
                <a:lnTo>
                  <a:pt x="4395" y="1579"/>
                </a:lnTo>
                <a:lnTo>
                  <a:pt x="4396" y="1577"/>
                </a:lnTo>
                <a:lnTo>
                  <a:pt x="4397" y="1575"/>
                </a:lnTo>
                <a:lnTo>
                  <a:pt x="4394" y="1575"/>
                </a:lnTo>
                <a:lnTo>
                  <a:pt x="4391" y="1577"/>
                </a:lnTo>
                <a:lnTo>
                  <a:pt x="4389" y="1579"/>
                </a:lnTo>
                <a:lnTo>
                  <a:pt x="4390" y="1579"/>
                </a:lnTo>
                <a:lnTo>
                  <a:pt x="4389" y="1581"/>
                </a:lnTo>
                <a:lnTo>
                  <a:pt x="4389" y="1583"/>
                </a:lnTo>
                <a:lnTo>
                  <a:pt x="4385" y="1588"/>
                </a:lnTo>
                <a:lnTo>
                  <a:pt x="4383" y="1587"/>
                </a:lnTo>
                <a:lnTo>
                  <a:pt x="4383" y="1586"/>
                </a:lnTo>
                <a:lnTo>
                  <a:pt x="4382" y="1586"/>
                </a:lnTo>
                <a:lnTo>
                  <a:pt x="4385" y="1571"/>
                </a:lnTo>
                <a:lnTo>
                  <a:pt x="4397" y="1568"/>
                </a:lnTo>
                <a:lnTo>
                  <a:pt x="4397" y="1567"/>
                </a:lnTo>
                <a:lnTo>
                  <a:pt x="4404" y="1567"/>
                </a:lnTo>
                <a:lnTo>
                  <a:pt x="4405" y="1563"/>
                </a:lnTo>
                <a:lnTo>
                  <a:pt x="4405" y="1560"/>
                </a:lnTo>
                <a:lnTo>
                  <a:pt x="4407" y="1561"/>
                </a:lnTo>
                <a:lnTo>
                  <a:pt x="4409" y="1562"/>
                </a:lnTo>
                <a:lnTo>
                  <a:pt x="4409" y="1564"/>
                </a:lnTo>
                <a:lnTo>
                  <a:pt x="4409" y="1568"/>
                </a:lnTo>
                <a:lnTo>
                  <a:pt x="4407" y="1573"/>
                </a:lnTo>
                <a:lnTo>
                  <a:pt x="4413" y="1571"/>
                </a:lnTo>
                <a:lnTo>
                  <a:pt x="4417" y="1571"/>
                </a:lnTo>
                <a:lnTo>
                  <a:pt x="4417" y="1568"/>
                </a:lnTo>
                <a:lnTo>
                  <a:pt x="4418" y="1565"/>
                </a:lnTo>
                <a:lnTo>
                  <a:pt x="4419" y="1563"/>
                </a:lnTo>
                <a:lnTo>
                  <a:pt x="4420" y="1562"/>
                </a:lnTo>
                <a:lnTo>
                  <a:pt x="4424" y="1564"/>
                </a:lnTo>
                <a:lnTo>
                  <a:pt x="4427" y="1560"/>
                </a:lnTo>
                <a:lnTo>
                  <a:pt x="4429" y="1557"/>
                </a:lnTo>
                <a:lnTo>
                  <a:pt x="4429" y="1557"/>
                </a:lnTo>
                <a:lnTo>
                  <a:pt x="4429" y="1557"/>
                </a:lnTo>
                <a:lnTo>
                  <a:pt x="4429" y="1558"/>
                </a:lnTo>
                <a:lnTo>
                  <a:pt x="4430" y="1560"/>
                </a:lnTo>
                <a:lnTo>
                  <a:pt x="4433" y="1559"/>
                </a:lnTo>
                <a:lnTo>
                  <a:pt x="4437" y="1559"/>
                </a:lnTo>
                <a:lnTo>
                  <a:pt x="4433" y="1548"/>
                </a:lnTo>
                <a:lnTo>
                  <a:pt x="4433" y="1543"/>
                </a:lnTo>
                <a:lnTo>
                  <a:pt x="4435" y="1543"/>
                </a:lnTo>
                <a:lnTo>
                  <a:pt x="4439" y="1547"/>
                </a:lnTo>
                <a:lnTo>
                  <a:pt x="4441" y="1548"/>
                </a:lnTo>
                <a:lnTo>
                  <a:pt x="4443" y="1550"/>
                </a:lnTo>
                <a:close/>
                <a:moveTo>
                  <a:pt x="4441" y="1583"/>
                </a:moveTo>
                <a:lnTo>
                  <a:pt x="4439" y="1584"/>
                </a:lnTo>
                <a:lnTo>
                  <a:pt x="4439" y="1586"/>
                </a:lnTo>
                <a:lnTo>
                  <a:pt x="4439" y="1585"/>
                </a:lnTo>
                <a:lnTo>
                  <a:pt x="4440" y="1584"/>
                </a:lnTo>
                <a:lnTo>
                  <a:pt x="4440" y="1585"/>
                </a:lnTo>
                <a:lnTo>
                  <a:pt x="4441" y="1586"/>
                </a:lnTo>
                <a:lnTo>
                  <a:pt x="4441" y="1583"/>
                </a:lnTo>
                <a:close/>
                <a:moveTo>
                  <a:pt x="4404" y="1579"/>
                </a:moveTo>
                <a:lnTo>
                  <a:pt x="4405" y="1579"/>
                </a:lnTo>
                <a:lnTo>
                  <a:pt x="4404" y="1579"/>
                </a:lnTo>
                <a:lnTo>
                  <a:pt x="4404" y="1579"/>
                </a:lnTo>
                <a:lnTo>
                  <a:pt x="4404" y="1579"/>
                </a:lnTo>
                <a:close/>
                <a:moveTo>
                  <a:pt x="4405" y="1583"/>
                </a:moveTo>
                <a:lnTo>
                  <a:pt x="4405" y="1583"/>
                </a:lnTo>
                <a:lnTo>
                  <a:pt x="4405" y="1582"/>
                </a:lnTo>
                <a:lnTo>
                  <a:pt x="4405" y="1583"/>
                </a:lnTo>
                <a:lnTo>
                  <a:pt x="4405" y="1583"/>
                </a:lnTo>
                <a:close/>
                <a:moveTo>
                  <a:pt x="4405" y="1582"/>
                </a:moveTo>
                <a:lnTo>
                  <a:pt x="4405" y="1579"/>
                </a:lnTo>
                <a:lnTo>
                  <a:pt x="4405" y="1579"/>
                </a:lnTo>
                <a:lnTo>
                  <a:pt x="4405" y="1579"/>
                </a:lnTo>
                <a:lnTo>
                  <a:pt x="4405" y="1579"/>
                </a:lnTo>
                <a:lnTo>
                  <a:pt x="4405" y="1581"/>
                </a:lnTo>
                <a:lnTo>
                  <a:pt x="4405" y="1582"/>
                </a:lnTo>
                <a:close/>
                <a:moveTo>
                  <a:pt x="4383" y="1509"/>
                </a:moveTo>
                <a:lnTo>
                  <a:pt x="4383" y="1510"/>
                </a:lnTo>
                <a:lnTo>
                  <a:pt x="4385" y="1503"/>
                </a:lnTo>
                <a:lnTo>
                  <a:pt x="4383" y="1504"/>
                </a:lnTo>
                <a:lnTo>
                  <a:pt x="4383" y="1506"/>
                </a:lnTo>
                <a:lnTo>
                  <a:pt x="4382" y="1508"/>
                </a:lnTo>
                <a:lnTo>
                  <a:pt x="4383" y="1509"/>
                </a:lnTo>
                <a:close/>
                <a:moveTo>
                  <a:pt x="4380" y="1599"/>
                </a:moveTo>
                <a:lnTo>
                  <a:pt x="4382" y="1602"/>
                </a:lnTo>
                <a:lnTo>
                  <a:pt x="4383" y="1602"/>
                </a:lnTo>
                <a:lnTo>
                  <a:pt x="4382" y="1600"/>
                </a:lnTo>
                <a:lnTo>
                  <a:pt x="4380" y="1599"/>
                </a:lnTo>
                <a:close/>
                <a:moveTo>
                  <a:pt x="4386" y="1594"/>
                </a:moveTo>
                <a:lnTo>
                  <a:pt x="4386" y="1593"/>
                </a:lnTo>
                <a:lnTo>
                  <a:pt x="4386" y="1592"/>
                </a:lnTo>
                <a:lnTo>
                  <a:pt x="4385" y="1590"/>
                </a:lnTo>
                <a:lnTo>
                  <a:pt x="4383" y="1591"/>
                </a:lnTo>
                <a:lnTo>
                  <a:pt x="4380" y="1591"/>
                </a:lnTo>
                <a:lnTo>
                  <a:pt x="4382" y="1593"/>
                </a:lnTo>
                <a:lnTo>
                  <a:pt x="4383" y="1594"/>
                </a:lnTo>
                <a:lnTo>
                  <a:pt x="4386" y="1594"/>
                </a:lnTo>
                <a:close/>
                <a:moveTo>
                  <a:pt x="4465" y="1298"/>
                </a:moveTo>
                <a:lnTo>
                  <a:pt x="4467" y="1298"/>
                </a:lnTo>
                <a:lnTo>
                  <a:pt x="4465" y="1296"/>
                </a:lnTo>
                <a:lnTo>
                  <a:pt x="4465" y="1298"/>
                </a:lnTo>
                <a:close/>
                <a:moveTo>
                  <a:pt x="4451" y="1635"/>
                </a:moveTo>
                <a:lnTo>
                  <a:pt x="4451" y="1635"/>
                </a:lnTo>
                <a:lnTo>
                  <a:pt x="4451" y="1635"/>
                </a:lnTo>
                <a:lnTo>
                  <a:pt x="4449" y="1634"/>
                </a:lnTo>
                <a:lnTo>
                  <a:pt x="4451" y="1635"/>
                </a:lnTo>
                <a:close/>
                <a:moveTo>
                  <a:pt x="4470" y="1661"/>
                </a:moveTo>
                <a:lnTo>
                  <a:pt x="4469" y="1661"/>
                </a:lnTo>
                <a:lnTo>
                  <a:pt x="4467" y="1663"/>
                </a:lnTo>
                <a:lnTo>
                  <a:pt x="4468" y="1662"/>
                </a:lnTo>
                <a:lnTo>
                  <a:pt x="4470" y="1661"/>
                </a:lnTo>
                <a:close/>
                <a:moveTo>
                  <a:pt x="4467" y="1663"/>
                </a:moveTo>
                <a:lnTo>
                  <a:pt x="4466" y="1664"/>
                </a:lnTo>
                <a:lnTo>
                  <a:pt x="4466" y="1664"/>
                </a:lnTo>
                <a:lnTo>
                  <a:pt x="4466" y="1664"/>
                </a:lnTo>
                <a:lnTo>
                  <a:pt x="4467" y="1663"/>
                </a:lnTo>
                <a:lnTo>
                  <a:pt x="4467" y="1663"/>
                </a:lnTo>
                <a:close/>
                <a:moveTo>
                  <a:pt x="4443" y="1545"/>
                </a:moveTo>
                <a:lnTo>
                  <a:pt x="4444" y="1546"/>
                </a:lnTo>
                <a:lnTo>
                  <a:pt x="4446" y="1545"/>
                </a:lnTo>
                <a:lnTo>
                  <a:pt x="4444" y="1541"/>
                </a:lnTo>
                <a:lnTo>
                  <a:pt x="4443" y="1545"/>
                </a:lnTo>
                <a:close/>
                <a:moveTo>
                  <a:pt x="4456" y="1172"/>
                </a:moveTo>
                <a:lnTo>
                  <a:pt x="4447" y="1174"/>
                </a:lnTo>
                <a:lnTo>
                  <a:pt x="4447" y="1176"/>
                </a:lnTo>
                <a:lnTo>
                  <a:pt x="4446" y="1178"/>
                </a:lnTo>
                <a:lnTo>
                  <a:pt x="4447" y="1178"/>
                </a:lnTo>
                <a:lnTo>
                  <a:pt x="4456" y="1176"/>
                </a:lnTo>
                <a:lnTo>
                  <a:pt x="4457" y="1175"/>
                </a:lnTo>
                <a:lnTo>
                  <a:pt x="4458" y="1174"/>
                </a:lnTo>
                <a:lnTo>
                  <a:pt x="4457" y="1173"/>
                </a:lnTo>
                <a:lnTo>
                  <a:pt x="4456" y="1172"/>
                </a:lnTo>
                <a:close/>
                <a:moveTo>
                  <a:pt x="4463" y="1668"/>
                </a:moveTo>
                <a:lnTo>
                  <a:pt x="4466" y="1664"/>
                </a:lnTo>
                <a:lnTo>
                  <a:pt x="4467" y="1665"/>
                </a:lnTo>
                <a:lnTo>
                  <a:pt x="4469" y="1668"/>
                </a:lnTo>
                <a:lnTo>
                  <a:pt x="4469" y="1673"/>
                </a:lnTo>
                <a:lnTo>
                  <a:pt x="4466" y="1676"/>
                </a:lnTo>
                <a:lnTo>
                  <a:pt x="4469" y="1675"/>
                </a:lnTo>
                <a:lnTo>
                  <a:pt x="4469" y="1673"/>
                </a:lnTo>
                <a:lnTo>
                  <a:pt x="4474" y="1670"/>
                </a:lnTo>
                <a:lnTo>
                  <a:pt x="4478" y="1669"/>
                </a:lnTo>
                <a:lnTo>
                  <a:pt x="4478" y="1676"/>
                </a:lnTo>
                <a:lnTo>
                  <a:pt x="4470" y="1680"/>
                </a:lnTo>
                <a:lnTo>
                  <a:pt x="4473" y="1684"/>
                </a:lnTo>
                <a:lnTo>
                  <a:pt x="4478" y="1685"/>
                </a:lnTo>
                <a:lnTo>
                  <a:pt x="4478" y="1687"/>
                </a:lnTo>
                <a:lnTo>
                  <a:pt x="4482" y="1691"/>
                </a:lnTo>
                <a:lnTo>
                  <a:pt x="4477" y="1688"/>
                </a:lnTo>
                <a:lnTo>
                  <a:pt x="4469" y="1685"/>
                </a:lnTo>
                <a:lnTo>
                  <a:pt x="4467" y="1686"/>
                </a:lnTo>
                <a:lnTo>
                  <a:pt x="4465" y="1687"/>
                </a:lnTo>
                <a:lnTo>
                  <a:pt x="4465" y="1688"/>
                </a:lnTo>
                <a:lnTo>
                  <a:pt x="4465" y="1691"/>
                </a:lnTo>
                <a:lnTo>
                  <a:pt x="4464" y="1688"/>
                </a:lnTo>
                <a:lnTo>
                  <a:pt x="4462" y="1685"/>
                </a:lnTo>
                <a:lnTo>
                  <a:pt x="4463" y="1684"/>
                </a:lnTo>
                <a:lnTo>
                  <a:pt x="4461" y="1684"/>
                </a:lnTo>
                <a:lnTo>
                  <a:pt x="4461" y="1684"/>
                </a:lnTo>
                <a:lnTo>
                  <a:pt x="4461" y="1683"/>
                </a:lnTo>
                <a:lnTo>
                  <a:pt x="4461" y="1680"/>
                </a:lnTo>
                <a:lnTo>
                  <a:pt x="4460" y="1680"/>
                </a:lnTo>
                <a:lnTo>
                  <a:pt x="4462" y="1674"/>
                </a:lnTo>
                <a:lnTo>
                  <a:pt x="4463" y="1668"/>
                </a:lnTo>
                <a:close/>
                <a:moveTo>
                  <a:pt x="4465" y="1678"/>
                </a:moveTo>
                <a:lnTo>
                  <a:pt x="4463" y="1680"/>
                </a:lnTo>
                <a:lnTo>
                  <a:pt x="4465" y="1682"/>
                </a:lnTo>
                <a:lnTo>
                  <a:pt x="4465" y="1682"/>
                </a:lnTo>
                <a:lnTo>
                  <a:pt x="4465" y="1678"/>
                </a:lnTo>
                <a:close/>
                <a:moveTo>
                  <a:pt x="4383" y="1495"/>
                </a:moveTo>
                <a:lnTo>
                  <a:pt x="4385" y="1491"/>
                </a:lnTo>
                <a:lnTo>
                  <a:pt x="4384" y="1490"/>
                </a:lnTo>
                <a:lnTo>
                  <a:pt x="4382" y="1489"/>
                </a:lnTo>
                <a:lnTo>
                  <a:pt x="4382" y="1489"/>
                </a:lnTo>
                <a:lnTo>
                  <a:pt x="4382" y="1492"/>
                </a:lnTo>
                <a:lnTo>
                  <a:pt x="4383" y="1494"/>
                </a:lnTo>
                <a:lnTo>
                  <a:pt x="4383" y="1495"/>
                </a:lnTo>
                <a:close/>
                <a:moveTo>
                  <a:pt x="4337" y="1543"/>
                </a:moveTo>
                <a:lnTo>
                  <a:pt x="4337" y="1542"/>
                </a:lnTo>
                <a:lnTo>
                  <a:pt x="4336" y="1542"/>
                </a:lnTo>
                <a:lnTo>
                  <a:pt x="4335" y="1543"/>
                </a:lnTo>
                <a:lnTo>
                  <a:pt x="4336" y="1543"/>
                </a:lnTo>
                <a:lnTo>
                  <a:pt x="4337" y="1543"/>
                </a:lnTo>
                <a:close/>
                <a:moveTo>
                  <a:pt x="4353" y="1449"/>
                </a:moveTo>
                <a:lnTo>
                  <a:pt x="4354" y="1450"/>
                </a:lnTo>
                <a:lnTo>
                  <a:pt x="4353" y="1448"/>
                </a:lnTo>
                <a:lnTo>
                  <a:pt x="4353" y="1449"/>
                </a:lnTo>
                <a:close/>
                <a:moveTo>
                  <a:pt x="4387" y="1226"/>
                </a:moveTo>
                <a:lnTo>
                  <a:pt x="4385" y="1228"/>
                </a:lnTo>
                <a:lnTo>
                  <a:pt x="4387" y="1228"/>
                </a:lnTo>
                <a:lnTo>
                  <a:pt x="4387" y="1226"/>
                </a:lnTo>
                <a:lnTo>
                  <a:pt x="4387" y="1226"/>
                </a:lnTo>
                <a:close/>
                <a:moveTo>
                  <a:pt x="4383" y="1230"/>
                </a:moveTo>
                <a:lnTo>
                  <a:pt x="4383" y="1231"/>
                </a:lnTo>
                <a:lnTo>
                  <a:pt x="4386" y="1232"/>
                </a:lnTo>
                <a:lnTo>
                  <a:pt x="4389" y="1233"/>
                </a:lnTo>
                <a:lnTo>
                  <a:pt x="4389" y="1231"/>
                </a:lnTo>
                <a:lnTo>
                  <a:pt x="4385" y="1230"/>
                </a:lnTo>
                <a:lnTo>
                  <a:pt x="4383" y="1230"/>
                </a:lnTo>
                <a:close/>
                <a:moveTo>
                  <a:pt x="4382" y="1468"/>
                </a:moveTo>
                <a:lnTo>
                  <a:pt x="4380" y="1469"/>
                </a:lnTo>
                <a:lnTo>
                  <a:pt x="4382" y="1471"/>
                </a:lnTo>
                <a:lnTo>
                  <a:pt x="4383" y="1473"/>
                </a:lnTo>
                <a:lnTo>
                  <a:pt x="4383" y="1473"/>
                </a:lnTo>
                <a:lnTo>
                  <a:pt x="4383" y="1472"/>
                </a:lnTo>
                <a:lnTo>
                  <a:pt x="4383" y="1469"/>
                </a:lnTo>
                <a:lnTo>
                  <a:pt x="4385" y="1469"/>
                </a:lnTo>
                <a:lnTo>
                  <a:pt x="4383" y="1467"/>
                </a:lnTo>
                <a:lnTo>
                  <a:pt x="4382" y="1468"/>
                </a:lnTo>
                <a:close/>
                <a:moveTo>
                  <a:pt x="4413" y="1485"/>
                </a:moveTo>
                <a:lnTo>
                  <a:pt x="4413" y="1488"/>
                </a:lnTo>
                <a:lnTo>
                  <a:pt x="4415" y="1489"/>
                </a:lnTo>
                <a:lnTo>
                  <a:pt x="4416" y="1491"/>
                </a:lnTo>
                <a:lnTo>
                  <a:pt x="4417" y="1491"/>
                </a:lnTo>
                <a:lnTo>
                  <a:pt x="4417" y="1491"/>
                </a:lnTo>
                <a:lnTo>
                  <a:pt x="4417" y="1489"/>
                </a:lnTo>
                <a:lnTo>
                  <a:pt x="4417" y="1488"/>
                </a:lnTo>
                <a:lnTo>
                  <a:pt x="4417" y="1491"/>
                </a:lnTo>
                <a:lnTo>
                  <a:pt x="4418" y="1491"/>
                </a:lnTo>
                <a:lnTo>
                  <a:pt x="4419" y="1488"/>
                </a:lnTo>
                <a:lnTo>
                  <a:pt x="4421" y="1486"/>
                </a:lnTo>
                <a:lnTo>
                  <a:pt x="4417" y="1483"/>
                </a:lnTo>
                <a:lnTo>
                  <a:pt x="4413" y="1483"/>
                </a:lnTo>
                <a:lnTo>
                  <a:pt x="4413" y="1485"/>
                </a:lnTo>
                <a:close/>
                <a:moveTo>
                  <a:pt x="4430" y="1506"/>
                </a:moveTo>
                <a:lnTo>
                  <a:pt x="4429" y="1506"/>
                </a:lnTo>
                <a:lnTo>
                  <a:pt x="4429" y="1507"/>
                </a:lnTo>
                <a:lnTo>
                  <a:pt x="4432" y="1507"/>
                </a:lnTo>
                <a:lnTo>
                  <a:pt x="4430" y="1506"/>
                </a:lnTo>
                <a:close/>
                <a:moveTo>
                  <a:pt x="4390" y="1234"/>
                </a:moveTo>
                <a:lnTo>
                  <a:pt x="4390" y="1234"/>
                </a:lnTo>
                <a:lnTo>
                  <a:pt x="4390" y="1233"/>
                </a:lnTo>
                <a:lnTo>
                  <a:pt x="4389" y="1233"/>
                </a:lnTo>
                <a:lnTo>
                  <a:pt x="4390" y="1233"/>
                </a:lnTo>
                <a:lnTo>
                  <a:pt x="4390" y="1234"/>
                </a:lnTo>
                <a:close/>
                <a:moveTo>
                  <a:pt x="4416" y="1323"/>
                </a:moveTo>
                <a:lnTo>
                  <a:pt x="4415" y="1323"/>
                </a:lnTo>
                <a:lnTo>
                  <a:pt x="4415" y="1324"/>
                </a:lnTo>
                <a:lnTo>
                  <a:pt x="4416" y="1324"/>
                </a:lnTo>
                <a:lnTo>
                  <a:pt x="4417" y="1322"/>
                </a:lnTo>
                <a:lnTo>
                  <a:pt x="4416" y="1323"/>
                </a:lnTo>
                <a:close/>
                <a:moveTo>
                  <a:pt x="4386" y="1472"/>
                </a:moveTo>
                <a:lnTo>
                  <a:pt x="4386" y="1472"/>
                </a:lnTo>
                <a:lnTo>
                  <a:pt x="4386" y="1470"/>
                </a:lnTo>
                <a:lnTo>
                  <a:pt x="4385" y="1470"/>
                </a:lnTo>
                <a:lnTo>
                  <a:pt x="4386" y="1471"/>
                </a:lnTo>
                <a:lnTo>
                  <a:pt x="4386" y="1472"/>
                </a:lnTo>
                <a:close/>
                <a:moveTo>
                  <a:pt x="4383" y="1452"/>
                </a:moveTo>
                <a:lnTo>
                  <a:pt x="4383" y="1452"/>
                </a:lnTo>
                <a:lnTo>
                  <a:pt x="4385" y="1451"/>
                </a:lnTo>
                <a:lnTo>
                  <a:pt x="4385" y="1450"/>
                </a:lnTo>
                <a:lnTo>
                  <a:pt x="4385" y="1450"/>
                </a:lnTo>
                <a:lnTo>
                  <a:pt x="4383" y="1452"/>
                </a:lnTo>
                <a:lnTo>
                  <a:pt x="4383" y="1452"/>
                </a:lnTo>
                <a:close/>
                <a:moveTo>
                  <a:pt x="4385" y="1450"/>
                </a:moveTo>
                <a:lnTo>
                  <a:pt x="4385" y="1450"/>
                </a:lnTo>
                <a:lnTo>
                  <a:pt x="4385" y="1450"/>
                </a:lnTo>
                <a:lnTo>
                  <a:pt x="4385" y="1450"/>
                </a:lnTo>
                <a:close/>
                <a:moveTo>
                  <a:pt x="4354" y="1450"/>
                </a:moveTo>
                <a:lnTo>
                  <a:pt x="4355" y="1451"/>
                </a:lnTo>
                <a:lnTo>
                  <a:pt x="4355" y="1451"/>
                </a:lnTo>
                <a:lnTo>
                  <a:pt x="4354" y="1450"/>
                </a:lnTo>
                <a:close/>
                <a:moveTo>
                  <a:pt x="4378" y="1403"/>
                </a:moveTo>
                <a:lnTo>
                  <a:pt x="4378" y="1402"/>
                </a:lnTo>
                <a:lnTo>
                  <a:pt x="4375" y="1402"/>
                </a:lnTo>
                <a:lnTo>
                  <a:pt x="4376" y="1402"/>
                </a:lnTo>
                <a:lnTo>
                  <a:pt x="4378" y="1403"/>
                </a:lnTo>
                <a:close/>
                <a:moveTo>
                  <a:pt x="4361" y="1477"/>
                </a:moveTo>
                <a:lnTo>
                  <a:pt x="4361" y="1477"/>
                </a:lnTo>
                <a:lnTo>
                  <a:pt x="4360" y="1476"/>
                </a:lnTo>
                <a:lnTo>
                  <a:pt x="4360" y="1477"/>
                </a:lnTo>
                <a:lnTo>
                  <a:pt x="4361" y="1477"/>
                </a:lnTo>
                <a:close/>
                <a:moveTo>
                  <a:pt x="4382" y="1410"/>
                </a:moveTo>
                <a:lnTo>
                  <a:pt x="4382" y="1410"/>
                </a:lnTo>
                <a:lnTo>
                  <a:pt x="4383" y="1409"/>
                </a:lnTo>
                <a:lnTo>
                  <a:pt x="4383" y="1408"/>
                </a:lnTo>
                <a:lnTo>
                  <a:pt x="4382" y="1408"/>
                </a:lnTo>
                <a:lnTo>
                  <a:pt x="4382" y="1410"/>
                </a:lnTo>
                <a:close/>
                <a:moveTo>
                  <a:pt x="4361" y="1333"/>
                </a:moveTo>
                <a:lnTo>
                  <a:pt x="4359" y="1337"/>
                </a:lnTo>
                <a:lnTo>
                  <a:pt x="4357" y="1344"/>
                </a:lnTo>
                <a:lnTo>
                  <a:pt x="4359" y="1345"/>
                </a:lnTo>
                <a:lnTo>
                  <a:pt x="4360" y="1348"/>
                </a:lnTo>
                <a:lnTo>
                  <a:pt x="4361" y="1352"/>
                </a:lnTo>
                <a:lnTo>
                  <a:pt x="4365" y="1356"/>
                </a:lnTo>
                <a:lnTo>
                  <a:pt x="4365" y="1363"/>
                </a:lnTo>
                <a:lnTo>
                  <a:pt x="4369" y="1363"/>
                </a:lnTo>
                <a:lnTo>
                  <a:pt x="4372" y="1353"/>
                </a:lnTo>
                <a:lnTo>
                  <a:pt x="4374" y="1346"/>
                </a:lnTo>
                <a:lnTo>
                  <a:pt x="4378" y="1341"/>
                </a:lnTo>
                <a:lnTo>
                  <a:pt x="4380" y="1334"/>
                </a:lnTo>
                <a:lnTo>
                  <a:pt x="4381" y="1327"/>
                </a:lnTo>
                <a:lnTo>
                  <a:pt x="4383" y="1325"/>
                </a:lnTo>
                <a:lnTo>
                  <a:pt x="4384" y="1322"/>
                </a:lnTo>
                <a:lnTo>
                  <a:pt x="4384" y="1319"/>
                </a:lnTo>
                <a:lnTo>
                  <a:pt x="4383" y="1315"/>
                </a:lnTo>
                <a:lnTo>
                  <a:pt x="4386" y="1313"/>
                </a:lnTo>
                <a:lnTo>
                  <a:pt x="4383" y="1311"/>
                </a:lnTo>
                <a:lnTo>
                  <a:pt x="4380" y="1310"/>
                </a:lnTo>
                <a:lnTo>
                  <a:pt x="4378" y="1311"/>
                </a:lnTo>
                <a:lnTo>
                  <a:pt x="4372" y="1315"/>
                </a:lnTo>
                <a:lnTo>
                  <a:pt x="4361" y="1333"/>
                </a:lnTo>
                <a:close/>
                <a:moveTo>
                  <a:pt x="4349" y="1452"/>
                </a:moveTo>
                <a:lnTo>
                  <a:pt x="4349" y="1454"/>
                </a:lnTo>
                <a:lnTo>
                  <a:pt x="4349" y="1455"/>
                </a:lnTo>
                <a:lnTo>
                  <a:pt x="4349" y="1461"/>
                </a:lnTo>
                <a:lnTo>
                  <a:pt x="4352" y="1462"/>
                </a:lnTo>
                <a:lnTo>
                  <a:pt x="4354" y="1464"/>
                </a:lnTo>
                <a:lnTo>
                  <a:pt x="4355" y="1467"/>
                </a:lnTo>
                <a:lnTo>
                  <a:pt x="4356" y="1471"/>
                </a:lnTo>
                <a:lnTo>
                  <a:pt x="4359" y="1471"/>
                </a:lnTo>
                <a:lnTo>
                  <a:pt x="4358" y="1472"/>
                </a:lnTo>
                <a:lnTo>
                  <a:pt x="4358" y="1472"/>
                </a:lnTo>
                <a:lnTo>
                  <a:pt x="4359" y="1475"/>
                </a:lnTo>
                <a:lnTo>
                  <a:pt x="4360" y="1476"/>
                </a:lnTo>
                <a:lnTo>
                  <a:pt x="4361" y="1474"/>
                </a:lnTo>
                <a:lnTo>
                  <a:pt x="4361" y="1471"/>
                </a:lnTo>
                <a:lnTo>
                  <a:pt x="4367" y="1471"/>
                </a:lnTo>
                <a:lnTo>
                  <a:pt x="4365" y="1473"/>
                </a:lnTo>
                <a:lnTo>
                  <a:pt x="4365" y="1474"/>
                </a:lnTo>
                <a:lnTo>
                  <a:pt x="4360" y="1478"/>
                </a:lnTo>
                <a:lnTo>
                  <a:pt x="4362" y="1483"/>
                </a:lnTo>
                <a:lnTo>
                  <a:pt x="4363" y="1487"/>
                </a:lnTo>
                <a:lnTo>
                  <a:pt x="4367" y="1487"/>
                </a:lnTo>
                <a:lnTo>
                  <a:pt x="4371" y="1491"/>
                </a:lnTo>
                <a:lnTo>
                  <a:pt x="4374" y="1491"/>
                </a:lnTo>
                <a:lnTo>
                  <a:pt x="4374" y="1488"/>
                </a:lnTo>
                <a:lnTo>
                  <a:pt x="4375" y="1486"/>
                </a:lnTo>
                <a:lnTo>
                  <a:pt x="4378" y="1485"/>
                </a:lnTo>
                <a:lnTo>
                  <a:pt x="4380" y="1484"/>
                </a:lnTo>
                <a:lnTo>
                  <a:pt x="4390" y="1491"/>
                </a:lnTo>
                <a:lnTo>
                  <a:pt x="4394" y="1499"/>
                </a:lnTo>
                <a:lnTo>
                  <a:pt x="4395" y="1499"/>
                </a:lnTo>
                <a:lnTo>
                  <a:pt x="4389" y="1486"/>
                </a:lnTo>
                <a:lnTo>
                  <a:pt x="4389" y="1484"/>
                </a:lnTo>
                <a:lnTo>
                  <a:pt x="4391" y="1485"/>
                </a:lnTo>
                <a:lnTo>
                  <a:pt x="4393" y="1486"/>
                </a:lnTo>
                <a:lnTo>
                  <a:pt x="4393" y="1488"/>
                </a:lnTo>
                <a:lnTo>
                  <a:pt x="4397" y="1489"/>
                </a:lnTo>
                <a:lnTo>
                  <a:pt x="4401" y="1491"/>
                </a:lnTo>
                <a:lnTo>
                  <a:pt x="4402" y="1495"/>
                </a:lnTo>
                <a:lnTo>
                  <a:pt x="4404" y="1499"/>
                </a:lnTo>
                <a:lnTo>
                  <a:pt x="4404" y="1499"/>
                </a:lnTo>
                <a:lnTo>
                  <a:pt x="4404" y="1499"/>
                </a:lnTo>
                <a:lnTo>
                  <a:pt x="4405" y="1498"/>
                </a:lnTo>
                <a:lnTo>
                  <a:pt x="4405" y="1497"/>
                </a:lnTo>
                <a:lnTo>
                  <a:pt x="4408" y="1498"/>
                </a:lnTo>
                <a:lnTo>
                  <a:pt x="4409" y="1499"/>
                </a:lnTo>
                <a:lnTo>
                  <a:pt x="4409" y="1501"/>
                </a:lnTo>
                <a:lnTo>
                  <a:pt x="4413" y="1507"/>
                </a:lnTo>
                <a:lnTo>
                  <a:pt x="4416" y="1507"/>
                </a:lnTo>
                <a:lnTo>
                  <a:pt x="4416" y="1502"/>
                </a:lnTo>
                <a:lnTo>
                  <a:pt x="4417" y="1496"/>
                </a:lnTo>
                <a:lnTo>
                  <a:pt x="4417" y="1496"/>
                </a:lnTo>
                <a:lnTo>
                  <a:pt x="4417" y="1496"/>
                </a:lnTo>
                <a:lnTo>
                  <a:pt x="4416" y="1497"/>
                </a:lnTo>
                <a:lnTo>
                  <a:pt x="4416" y="1497"/>
                </a:lnTo>
                <a:lnTo>
                  <a:pt x="4414" y="1496"/>
                </a:lnTo>
                <a:lnTo>
                  <a:pt x="4413" y="1496"/>
                </a:lnTo>
                <a:lnTo>
                  <a:pt x="4413" y="1496"/>
                </a:lnTo>
                <a:lnTo>
                  <a:pt x="4412" y="1496"/>
                </a:lnTo>
                <a:lnTo>
                  <a:pt x="4411" y="1495"/>
                </a:lnTo>
                <a:lnTo>
                  <a:pt x="4411" y="1495"/>
                </a:lnTo>
                <a:lnTo>
                  <a:pt x="4411" y="1495"/>
                </a:lnTo>
                <a:lnTo>
                  <a:pt x="4410" y="1495"/>
                </a:lnTo>
                <a:lnTo>
                  <a:pt x="4412" y="1495"/>
                </a:lnTo>
                <a:lnTo>
                  <a:pt x="4412" y="1495"/>
                </a:lnTo>
                <a:lnTo>
                  <a:pt x="4413" y="1495"/>
                </a:lnTo>
                <a:lnTo>
                  <a:pt x="4412" y="1493"/>
                </a:lnTo>
                <a:lnTo>
                  <a:pt x="4410" y="1492"/>
                </a:lnTo>
                <a:lnTo>
                  <a:pt x="4409" y="1491"/>
                </a:lnTo>
                <a:lnTo>
                  <a:pt x="4409" y="1492"/>
                </a:lnTo>
                <a:lnTo>
                  <a:pt x="4409" y="1495"/>
                </a:lnTo>
                <a:lnTo>
                  <a:pt x="4409" y="1495"/>
                </a:lnTo>
                <a:lnTo>
                  <a:pt x="4405" y="1488"/>
                </a:lnTo>
                <a:lnTo>
                  <a:pt x="4405" y="1487"/>
                </a:lnTo>
                <a:lnTo>
                  <a:pt x="4413" y="1487"/>
                </a:lnTo>
                <a:lnTo>
                  <a:pt x="4409" y="1485"/>
                </a:lnTo>
                <a:lnTo>
                  <a:pt x="4405" y="1484"/>
                </a:lnTo>
                <a:lnTo>
                  <a:pt x="4405" y="1484"/>
                </a:lnTo>
                <a:lnTo>
                  <a:pt x="4404" y="1483"/>
                </a:lnTo>
                <a:lnTo>
                  <a:pt x="4401" y="1483"/>
                </a:lnTo>
                <a:lnTo>
                  <a:pt x="4403" y="1484"/>
                </a:lnTo>
                <a:lnTo>
                  <a:pt x="4403" y="1485"/>
                </a:lnTo>
                <a:lnTo>
                  <a:pt x="4397" y="1488"/>
                </a:lnTo>
                <a:lnTo>
                  <a:pt x="4397" y="1484"/>
                </a:lnTo>
                <a:lnTo>
                  <a:pt x="4396" y="1481"/>
                </a:lnTo>
                <a:lnTo>
                  <a:pt x="4394" y="1478"/>
                </a:lnTo>
                <a:lnTo>
                  <a:pt x="4392" y="1478"/>
                </a:lnTo>
                <a:lnTo>
                  <a:pt x="4390" y="1477"/>
                </a:lnTo>
                <a:lnTo>
                  <a:pt x="4389" y="1479"/>
                </a:lnTo>
                <a:lnTo>
                  <a:pt x="4389" y="1481"/>
                </a:lnTo>
                <a:lnTo>
                  <a:pt x="4388" y="1480"/>
                </a:lnTo>
                <a:lnTo>
                  <a:pt x="4386" y="1479"/>
                </a:lnTo>
                <a:lnTo>
                  <a:pt x="4385" y="1479"/>
                </a:lnTo>
                <a:lnTo>
                  <a:pt x="4385" y="1480"/>
                </a:lnTo>
                <a:lnTo>
                  <a:pt x="4387" y="1480"/>
                </a:lnTo>
                <a:lnTo>
                  <a:pt x="4389" y="1481"/>
                </a:lnTo>
                <a:lnTo>
                  <a:pt x="4387" y="1482"/>
                </a:lnTo>
                <a:lnTo>
                  <a:pt x="4386" y="1484"/>
                </a:lnTo>
                <a:lnTo>
                  <a:pt x="4380" y="1480"/>
                </a:lnTo>
                <a:lnTo>
                  <a:pt x="4379" y="1477"/>
                </a:lnTo>
                <a:lnTo>
                  <a:pt x="4377" y="1473"/>
                </a:lnTo>
                <a:lnTo>
                  <a:pt x="4377" y="1472"/>
                </a:lnTo>
                <a:lnTo>
                  <a:pt x="4375" y="1467"/>
                </a:lnTo>
                <a:lnTo>
                  <a:pt x="4373" y="1462"/>
                </a:lnTo>
                <a:lnTo>
                  <a:pt x="4376" y="1460"/>
                </a:lnTo>
                <a:lnTo>
                  <a:pt x="4378" y="1458"/>
                </a:lnTo>
                <a:lnTo>
                  <a:pt x="4378" y="1456"/>
                </a:lnTo>
                <a:lnTo>
                  <a:pt x="4378" y="1454"/>
                </a:lnTo>
                <a:lnTo>
                  <a:pt x="4381" y="1452"/>
                </a:lnTo>
                <a:lnTo>
                  <a:pt x="4385" y="1450"/>
                </a:lnTo>
                <a:lnTo>
                  <a:pt x="4385" y="1450"/>
                </a:lnTo>
                <a:lnTo>
                  <a:pt x="4385" y="1447"/>
                </a:lnTo>
                <a:lnTo>
                  <a:pt x="4389" y="1440"/>
                </a:lnTo>
                <a:lnTo>
                  <a:pt x="4391" y="1439"/>
                </a:lnTo>
                <a:lnTo>
                  <a:pt x="4393" y="1439"/>
                </a:lnTo>
                <a:lnTo>
                  <a:pt x="4389" y="1439"/>
                </a:lnTo>
                <a:lnTo>
                  <a:pt x="4389" y="1433"/>
                </a:lnTo>
                <a:lnTo>
                  <a:pt x="4386" y="1432"/>
                </a:lnTo>
                <a:lnTo>
                  <a:pt x="4385" y="1429"/>
                </a:lnTo>
                <a:lnTo>
                  <a:pt x="4385" y="1425"/>
                </a:lnTo>
                <a:lnTo>
                  <a:pt x="4386" y="1423"/>
                </a:lnTo>
                <a:lnTo>
                  <a:pt x="4386" y="1421"/>
                </a:lnTo>
                <a:lnTo>
                  <a:pt x="4388" y="1420"/>
                </a:lnTo>
                <a:lnTo>
                  <a:pt x="4389" y="1418"/>
                </a:lnTo>
                <a:lnTo>
                  <a:pt x="4389" y="1417"/>
                </a:lnTo>
                <a:lnTo>
                  <a:pt x="4388" y="1416"/>
                </a:lnTo>
                <a:lnTo>
                  <a:pt x="4387" y="1415"/>
                </a:lnTo>
                <a:lnTo>
                  <a:pt x="4386" y="1415"/>
                </a:lnTo>
                <a:lnTo>
                  <a:pt x="4386" y="1415"/>
                </a:lnTo>
                <a:lnTo>
                  <a:pt x="4386" y="1416"/>
                </a:lnTo>
                <a:lnTo>
                  <a:pt x="4385" y="1417"/>
                </a:lnTo>
                <a:lnTo>
                  <a:pt x="4383" y="1418"/>
                </a:lnTo>
                <a:lnTo>
                  <a:pt x="4371" y="1412"/>
                </a:lnTo>
                <a:lnTo>
                  <a:pt x="4367" y="1413"/>
                </a:lnTo>
                <a:lnTo>
                  <a:pt x="4363" y="1414"/>
                </a:lnTo>
                <a:lnTo>
                  <a:pt x="4361" y="1421"/>
                </a:lnTo>
                <a:lnTo>
                  <a:pt x="4357" y="1429"/>
                </a:lnTo>
                <a:lnTo>
                  <a:pt x="4357" y="1432"/>
                </a:lnTo>
                <a:lnTo>
                  <a:pt x="4357" y="1439"/>
                </a:lnTo>
                <a:lnTo>
                  <a:pt x="4357" y="1443"/>
                </a:lnTo>
                <a:lnTo>
                  <a:pt x="4360" y="1450"/>
                </a:lnTo>
                <a:lnTo>
                  <a:pt x="4358" y="1451"/>
                </a:lnTo>
                <a:lnTo>
                  <a:pt x="4355" y="1452"/>
                </a:lnTo>
                <a:lnTo>
                  <a:pt x="4355" y="1451"/>
                </a:lnTo>
                <a:lnTo>
                  <a:pt x="4353" y="1451"/>
                </a:lnTo>
                <a:lnTo>
                  <a:pt x="4352" y="1451"/>
                </a:lnTo>
                <a:lnTo>
                  <a:pt x="4353" y="1447"/>
                </a:lnTo>
                <a:lnTo>
                  <a:pt x="4353" y="1447"/>
                </a:lnTo>
                <a:lnTo>
                  <a:pt x="4353" y="1447"/>
                </a:lnTo>
                <a:lnTo>
                  <a:pt x="4351" y="1448"/>
                </a:lnTo>
                <a:lnTo>
                  <a:pt x="4349" y="1450"/>
                </a:lnTo>
                <a:lnTo>
                  <a:pt x="4349" y="1452"/>
                </a:lnTo>
                <a:close/>
                <a:moveTo>
                  <a:pt x="4441" y="1527"/>
                </a:moveTo>
                <a:lnTo>
                  <a:pt x="4441" y="1526"/>
                </a:lnTo>
                <a:lnTo>
                  <a:pt x="4441" y="1526"/>
                </a:lnTo>
                <a:lnTo>
                  <a:pt x="4441" y="1527"/>
                </a:lnTo>
                <a:lnTo>
                  <a:pt x="4441" y="1527"/>
                </a:lnTo>
                <a:close/>
                <a:moveTo>
                  <a:pt x="4493" y="1182"/>
                </a:moveTo>
                <a:lnTo>
                  <a:pt x="4494" y="1182"/>
                </a:lnTo>
                <a:lnTo>
                  <a:pt x="4494" y="1182"/>
                </a:lnTo>
                <a:lnTo>
                  <a:pt x="4495" y="1180"/>
                </a:lnTo>
                <a:lnTo>
                  <a:pt x="4494" y="1180"/>
                </a:lnTo>
                <a:lnTo>
                  <a:pt x="4494" y="1178"/>
                </a:lnTo>
                <a:lnTo>
                  <a:pt x="4493" y="1182"/>
                </a:lnTo>
                <a:close/>
                <a:moveTo>
                  <a:pt x="4510" y="1207"/>
                </a:moveTo>
                <a:lnTo>
                  <a:pt x="4509" y="1207"/>
                </a:lnTo>
                <a:lnTo>
                  <a:pt x="4509" y="1207"/>
                </a:lnTo>
                <a:lnTo>
                  <a:pt x="4510" y="1207"/>
                </a:lnTo>
                <a:close/>
                <a:moveTo>
                  <a:pt x="4640" y="1150"/>
                </a:moveTo>
                <a:lnTo>
                  <a:pt x="4640" y="1150"/>
                </a:lnTo>
                <a:lnTo>
                  <a:pt x="4640" y="1146"/>
                </a:lnTo>
                <a:lnTo>
                  <a:pt x="4638" y="1146"/>
                </a:lnTo>
                <a:lnTo>
                  <a:pt x="4638" y="1150"/>
                </a:lnTo>
                <a:lnTo>
                  <a:pt x="4640" y="1150"/>
                </a:lnTo>
                <a:close/>
                <a:moveTo>
                  <a:pt x="4539" y="1166"/>
                </a:moveTo>
                <a:lnTo>
                  <a:pt x="4539" y="1164"/>
                </a:lnTo>
                <a:lnTo>
                  <a:pt x="4536" y="1164"/>
                </a:lnTo>
                <a:lnTo>
                  <a:pt x="4539" y="1166"/>
                </a:lnTo>
                <a:lnTo>
                  <a:pt x="4539" y="1166"/>
                </a:lnTo>
                <a:close/>
                <a:moveTo>
                  <a:pt x="4536" y="1164"/>
                </a:moveTo>
                <a:lnTo>
                  <a:pt x="4536" y="1164"/>
                </a:lnTo>
                <a:lnTo>
                  <a:pt x="4539" y="1162"/>
                </a:lnTo>
                <a:lnTo>
                  <a:pt x="4538" y="1162"/>
                </a:lnTo>
                <a:lnTo>
                  <a:pt x="4536" y="1162"/>
                </a:lnTo>
                <a:lnTo>
                  <a:pt x="4536" y="1164"/>
                </a:lnTo>
                <a:close/>
                <a:moveTo>
                  <a:pt x="4497" y="1181"/>
                </a:moveTo>
                <a:lnTo>
                  <a:pt x="4495" y="1180"/>
                </a:lnTo>
                <a:lnTo>
                  <a:pt x="4495" y="1178"/>
                </a:lnTo>
                <a:lnTo>
                  <a:pt x="4495" y="1178"/>
                </a:lnTo>
                <a:lnTo>
                  <a:pt x="4499" y="1178"/>
                </a:lnTo>
                <a:lnTo>
                  <a:pt x="4498" y="1176"/>
                </a:lnTo>
                <a:lnTo>
                  <a:pt x="4498" y="1174"/>
                </a:lnTo>
                <a:lnTo>
                  <a:pt x="4498" y="1174"/>
                </a:lnTo>
                <a:lnTo>
                  <a:pt x="4498" y="1174"/>
                </a:lnTo>
                <a:lnTo>
                  <a:pt x="4500" y="1176"/>
                </a:lnTo>
                <a:lnTo>
                  <a:pt x="4502" y="1177"/>
                </a:lnTo>
                <a:lnTo>
                  <a:pt x="4505" y="1174"/>
                </a:lnTo>
                <a:lnTo>
                  <a:pt x="4506" y="1174"/>
                </a:lnTo>
                <a:lnTo>
                  <a:pt x="4507" y="1172"/>
                </a:lnTo>
                <a:lnTo>
                  <a:pt x="4507" y="1170"/>
                </a:lnTo>
                <a:lnTo>
                  <a:pt x="4509" y="1170"/>
                </a:lnTo>
                <a:lnTo>
                  <a:pt x="4510" y="1170"/>
                </a:lnTo>
                <a:lnTo>
                  <a:pt x="4510" y="1170"/>
                </a:lnTo>
                <a:lnTo>
                  <a:pt x="4510" y="1170"/>
                </a:lnTo>
                <a:lnTo>
                  <a:pt x="4510" y="1170"/>
                </a:lnTo>
                <a:lnTo>
                  <a:pt x="4510" y="1162"/>
                </a:lnTo>
                <a:lnTo>
                  <a:pt x="4522" y="1162"/>
                </a:lnTo>
                <a:lnTo>
                  <a:pt x="4522" y="1159"/>
                </a:lnTo>
                <a:lnTo>
                  <a:pt x="4523" y="1157"/>
                </a:lnTo>
                <a:lnTo>
                  <a:pt x="4526" y="1155"/>
                </a:lnTo>
                <a:lnTo>
                  <a:pt x="4528" y="1154"/>
                </a:lnTo>
                <a:lnTo>
                  <a:pt x="4533" y="1150"/>
                </a:lnTo>
                <a:lnTo>
                  <a:pt x="4538" y="1145"/>
                </a:lnTo>
                <a:lnTo>
                  <a:pt x="4538" y="1142"/>
                </a:lnTo>
                <a:lnTo>
                  <a:pt x="4545" y="1140"/>
                </a:lnTo>
                <a:lnTo>
                  <a:pt x="4549" y="1141"/>
                </a:lnTo>
                <a:lnTo>
                  <a:pt x="4551" y="1142"/>
                </a:lnTo>
                <a:lnTo>
                  <a:pt x="4562" y="1140"/>
                </a:lnTo>
                <a:lnTo>
                  <a:pt x="4564" y="1139"/>
                </a:lnTo>
                <a:lnTo>
                  <a:pt x="4566" y="1138"/>
                </a:lnTo>
                <a:lnTo>
                  <a:pt x="4573" y="1138"/>
                </a:lnTo>
                <a:lnTo>
                  <a:pt x="4576" y="1137"/>
                </a:lnTo>
                <a:lnTo>
                  <a:pt x="4577" y="1137"/>
                </a:lnTo>
                <a:lnTo>
                  <a:pt x="4578" y="1138"/>
                </a:lnTo>
                <a:lnTo>
                  <a:pt x="4577" y="1139"/>
                </a:lnTo>
                <a:lnTo>
                  <a:pt x="4576" y="1140"/>
                </a:lnTo>
                <a:lnTo>
                  <a:pt x="4579" y="1142"/>
                </a:lnTo>
                <a:lnTo>
                  <a:pt x="4580" y="1142"/>
                </a:lnTo>
                <a:lnTo>
                  <a:pt x="4580" y="1142"/>
                </a:lnTo>
                <a:lnTo>
                  <a:pt x="4581" y="1142"/>
                </a:lnTo>
                <a:lnTo>
                  <a:pt x="4584" y="1142"/>
                </a:lnTo>
                <a:lnTo>
                  <a:pt x="4586" y="1139"/>
                </a:lnTo>
                <a:lnTo>
                  <a:pt x="4588" y="1137"/>
                </a:lnTo>
                <a:lnTo>
                  <a:pt x="4588" y="1135"/>
                </a:lnTo>
                <a:lnTo>
                  <a:pt x="4587" y="1134"/>
                </a:lnTo>
                <a:lnTo>
                  <a:pt x="4593" y="1127"/>
                </a:lnTo>
                <a:lnTo>
                  <a:pt x="4598" y="1120"/>
                </a:lnTo>
                <a:lnTo>
                  <a:pt x="4598" y="1116"/>
                </a:lnTo>
                <a:lnTo>
                  <a:pt x="4598" y="1111"/>
                </a:lnTo>
                <a:lnTo>
                  <a:pt x="4598" y="1110"/>
                </a:lnTo>
                <a:lnTo>
                  <a:pt x="4599" y="1108"/>
                </a:lnTo>
                <a:lnTo>
                  <a:pt x="4606" y="1107"/>
                </a:lnTo>
                <a:lnTo>
                  <a:pt x="4606" y="1108"/>
                </a:lnTo>
                <a:lnTo>
                  <a:pt x="4603" y="1114"/>
                </a:lnTo>
                <a:lnTo>
                  <a:pt x="4601" y="1114"/>
                </a:lnTo>
                <a:lnTo>
                  <a:pt x="4600" y="1114"/>
                </a:lnTo>
                <a:lnTo>
                  <a:pt x="4599" y="1114"/>
                </a:lnTo>
                <a:lnTo>
                  <a:pt x="4602" y="1115"/>
                </a:lnTo>
                <a:lnTo>
                  <a:pt x="4602" y="1119"/>
                </a:lnTo>
                <a:lnTo>
                  <a:pt x="4606" y="1120"/>
                </a:lnTo>
                <a:lnTo>
                  <a:pt x="4610" y="1116"/>
                </a:lnTo>
                <a:lnTo>
                  <a:pt x="4620" y="1111"/>
                </a:lnTo>
                <a:lnTo>
                  <a:pt x="4623" y="1110"/>
                </a:lnTo>
                <a:lnTo>
                  <a:pt x="4625" y="1108"/>
                </a:lnTo>
                <a:lnTo>
                  <a:pt x="4628" y="1103"/>
                </a:lnTo>
                <a:lnTo>
                  <a:pt x="4638" y="1095"/>
                </a:lnTo>
                <a:lnTo>
                  <a:pt x="4638" y="1089"/>
                </a:lnTo>
                <a:lnTo>
                  <a:pt x="4641" y="1086"/>
                </a:lnTo>
                <a:lnTo>
                  <a:pt x="4643" y="1083"/>
                </a:lnTo>
                <a:lnTo>
                  <a:pt x="4646" y="1072"/>
                </a:lnTo>
                <a:lnTo>
                  <a:pt x="4646" y="1066"/>
                </a:lnTo>
                <a:lnTo>
                  <a:pt x="4640" y="1065"/>
                </a:lnTo>
                <a:lnTo>
                  <a:pt x="4644" y="1065"/>
                </a:lnTo>
                <a:lnTo>
                  <a:pt x="4645" y="1061"/>
                </a:lnTo>
                <a:lnTo>
                  <a:pt x="4646" y="1057"/>
                </a:lnTo>
                <a:lnTo>
                  <a:pt x="4643" y="1051"/>
                </a:lnTo>
                <a:lnTo>
                  <a:pt x="4646" y="1049"/>
                </a:lnTo>
                <a:lnTo>
                  <a:pt x="4650" y="1049"/>
                </a:lnTo>
                <a:lnTo>
                  <a:pt x="4650" y="1044"/>
                </a:lnTo>
                <a:lnTo>
                  <a:pt x="4651" y="1040"/>
                </a:lnTo>
                <a:lnTo>
                  <a:pt x="4652" y="1040"/>
                </a:lnTo>
                <a:lnTo>
                  <a:pt x="4654" y="1041"/>
                </a:lnTo>
                <a:lnTo>
                  <a:pt x="4654" y="1048"/>
                </a:lnTo>
                <a:lnTo>
                  <a:pt x="4656" y="1047"/>
                </a:lnTo>
                <a:lnTo>
                  <a:pt x="4658" y="1046"/>
                </a:lnTo>
                <a:lnTo>
                  <a:pt x="4659" y="1045"/>
                </a:lnTo>
                <a:lnTo>
                  <a:pt x="4660" y="1047"/>
                </a:lnTo>
                <a:lnTo>
                  <a:pt x="4662" y="1049"/>
                </a:lnTo>
                <a:lnTo>
                  <a:pt x="4662" y="1041"/>
                </a:lnTo>
                <a:lnTo>
                  <a:pt x="4662" y="1040"/>
                </a:lnTo>
                <a:lnTo>
                  <a:pt x="4660" y="1040"/>
                </a:lnTo>
                <a:lnTo>
                  <a:pt x="4657" y="1041"/>
                </a:lnTo>
                <a:lnTo>
                  <a:pt x="4658" y="1034"/>
                </a:lnTo>
                <a:lnTo>
                  <a:pt x="4658" y="1034"/>
                </a:lnTo>
                <a:lnTo>
                  <a:pt x="4658" y="1034"/>
                </a:lnTo>
                <a:lnTo>
                  <a:pt x="4661" y="1038"/>
                </a:lnTo>
                <a:lnTo>
                  <a:pt x="4663" y="1041"/>
                </a:lnTo>
                <a:lnTo>
                  <a:pt x="4665" y="1041"/>
                </a:lnTo>
                <a:lnTo>
                  <a:pt x="4666" y="1046"/>
                </a:lnTo>
                <a:lnTo>
                  <a:pt x="4666" y="1051"/>
                </a:lnTo>
                <a:lnTo>
                  <a:pt x="4669" y="1054"/>
                </a:lnTo>
                <a:lnTo>
                  <a:pt x="4672" y="1057"/>
                </a:lnTo>
                <a:lnTo>
                  <a:pt x="4674" y="1063"/>
                </a:lnTo>
                <a:lnTo>
                  <a:pt x="4675" y="1068"/>
                </a:lnTo>
                <a:lnTo>
                  <a:pt x="4670" y="1075"/>
                </a:lnTo>
                <a:lnTo>
                  <a:pt x="4670" y="1081"/>
                </a:lnTo>
                <a:lnTo>
                  <a:pt x="4666" y="1081"/>
                </a:lnTo>
                <a:lnTo>
                  <a:pt x="4666" y="1083"/>
                </a:lnTo>
                <a:lnTo>
                  <a:pt x="4666" y="1091"/>
                </a:lnTo>
                <a:lnTo>
                  <a:pt x="4665" y="1089"/>
                </a:lnTo>
                <a:lnTo>
                  <a:pt x="4664" y="1091"/>
                </a:lnTo>
                <a:lnTo>
                  <a:pt x="4662" y="1092"/>
                </a:lnTo>
                <a:lnTo>
                  <a:pt x="4660" y="1094"/>
                </a:lnTo>
                <a:lnTo>
                  <a:pt x="4658" y="1095"/>
                </a:lnTo>
                <a:lnTo>
                  <a:pt x="4658" y="1099"/>
                </a:lnTo>
                <a:lnTo>
                  <a:pt x="4658" y="1103"/>
                </a:lnTo>
                <a:lnTo>
                  <a:pt x="4658" y="1108"/>
                </a:lnTo>
                <a:lnTo>
                  <a:pt x="4658" y="1115"/>
                </a:lnTo>
                <a:lnTo>
                  <a:pt x="4656" y="1119"/>
                </a:lnTo>
                <a:lnTo>
                  <a:pt x="4656" y="1123"/>
                </a:lnTo>
                <a:lnTo>
                  <a:pt x="4654" y="1127"/>
                </a:lnTo>
                <a:lnTo>
                  <a:pt x="4656" y="1133"/>
                </a:lnTo>
                <a:lnTo>
                  <a:pt x="4658" y="1138"/>
                </a:lnTo>
                <a:lnTo>
                  <a:pt x="4652" y="1142"/>
                </a:lnTo>
                <a:lnTo>
                  <a:pt x="4651" y="1150"/>
                </a:lnTo>
                <a:lnTo>
                  <a:pt x="4647" y="1150"/>
                </a:lnTo>
                <a:lnTo>
                  <a:pt x="4646" y="1150"/>
                </a:lnTo>
                <a:lnTo>
                  <a:pt x="4644" y="1150"/>
                </a:lnTo>
                <a:lnTo>
                  <a:pt x="4644" y="1150"/>
                </a:lnTo>
                <a:lnTo>
                  <a:pt x="4644" y="1150"/>
                </a:lnTo>
                <a:lnTo>
                  <a:pt x="4643" y="1145"/>
                </a:lnTo>
                <a:lnTo>
                  <a:pt x="4647" y="1140"/>
                </a:lnTo>
                <a:lnTo>
                  <a:pt x="4646" y="1139"/>
                </a:lnTo>
                <a:lnTo>
                  <a:pt x="4644" y="1138"/>
                </a:lnTo>
                <a:lnTo>
                  <a:pt x="4642" y="1138"/>
                </a:lnTo>
                <a:lnTo>
                  <a:pt x="4642" y="1142"/>
                </a:lnTo>
                <a:lnTo>
                  <a:pt x="4638" y="1142"/>
                </a:lnTo>
                <a:lnTo>
                  <a:pt x="4638" y="1145"/>
                </a:lnTo>
                <a:lnTo>
                  <a:pt x="4638" y="1146"/>
                </a:lnTo>
                <a:lnTo>
                  <a:pt x="4633" y="1146"/>
                </a:lnTo>
                <a:lnTo>
                  <a:pt x="4632" y="1147"/>
                </a:lnTo>
                <a:lnTo>
                  <a:pt x="4632" y="1148"/>
                </a:lnTo>
                <a:lnTo>
                  <a:pt x="4633" y="1150"/>
                </a:lnTo>
                <a:lnTo>
                  <a:pt x="4633" y="1151"/>
                </a:lnTo>
                <a:lnTo>
                  <a:pt x="4631" y="1154"/>
                </a:lnTo>
                <a:lnTo>
                  <a:pt x="4630" y="1157"/>
                </a:lnTo>
                <a:lnTo>
                  <a:pt x="4630" y="1157"/>
                </a:lnTo>
                <a:lnTo>
                  <a:pt x="4630" y="1157"/>
                </a:lnTo>
                <a:lnTo>
                  <a:pt x="4629" y="1156"/>
                </a:lnTo>
                <a:lnTo>
                  <a:pt x="4627" y="1155"/>
                </a:lnTo>
                <a:lnTo>
                  <a:pt x="4628" y="1154"/>
                </a:lnTo>
                <a:lnTo>
                  <a:pt x="4628" y="1154"/>
                </a:lnTo>
                <a:lnTo>
                  <a:pt x="4630" y="1154"/>
                </a:lnTo>
                <a:lnTo>
                  <a:pt x="4627" y="1150"/>
                </a:lnTo>
                <a:lnTo>
                  <a:pt x="4625" y="1150"/>
                </a:lnTo>
                <a:lnTo>
                  <a:pt x="4622" y="1152"/>
                </a:lnTo>
                <a:lnTo>
                  <a:pt x="4618" y="1157"/>
                </a:lnTo>
                <a:lnTo>
                  <a:pt x="4614" y="1155"/>
                </a:lnTo>
                <a:lnTo>
                  <a:pt x="4610" y="1154"/>
                </a:lnTo>
                <a:lnTo>
                  <a:pt x="4602" y="1157"/>
                </a:lnTo>
                <a:lnTo>
                  <a:pt x="4602" y="1157"/>
                </a:lnTo>
                <a:lnTo>
                  <a:pt x="4602" y="1157"/>
                </a:lnTo>
                <a:lnTo>
                  <a:pt x="4606" y="1154"/>
                </a:lnTo>
                <a:lnTo>
                  <a:pt x="4606" y="1154"/>
                </a:lnTo>
                <a:lnTo>
                  <a:pt x="4603" y="1154"/>
                </a:lnTo>
                <a:lnTo>
                  <a:pt x="4601" y="1153"/>
                </a:lnTo>
                <a:lnTo>
                  <a:pt x="4598" y="1151"/>
                </a:lnTo>
                <a:lnTo>
                  <a:pt x="4598" y="1148"/>
                </a:lnTo>
                <a:lnTo>
                  <a:pt x="4596" y="1150"/>
                </a:lnTo>
                <a:lnTo>
                  <a:pt x="4595" y="1152"/>
                </a:lnTo>
                <a:lnTo>
                  <a:pt x="4594" y="1154"/>
                </a:lnTo>
                <a:lnTo>
                  <a:pt x="4594" y="1157"/>
                </a:lnTo>
                <a:lnTo>
                  <a:pt x="4598" y="1160"/>
                </a:lnTo>
                <a:lnTo>
                  <a:pt x="4598" y="1162"/>
                </a:lnTo>
                <a:lnTo>
                  <a:pt x="4597" y="1162"/>
                </a:lnTo>
                <a:lnTo>
                  <a:pt x="4594" y="1163"/>
                </a:lnTo>
                <a:lnTo>
                  <a:pt x="4593" y="1165"/>
                </a:lnTo>
                <a:lnTo>
                  <a:pt x="4592" y="1168"/>
                </a:lnTo>
                <a:lnTo>
                  <a:pt x="4588" y="1172"/>
                </a:lnTo>
                <a:lnTo>
                  <a:pt x="4584" y="1177"/>
                </a:lnTo>
                <a:lnTo>
                  <a:pt x="4582" y="1175"/>
                </a:lnTo>
                <a:lnTo>
                  <a:pt x="4580" y="1174"/>
                </a:lnTo>
                <a:lnTo>
                  <a:pt x="4579" y="1173"/>
                </a:lnTo>
                <a:lnTo>
                  <a:pt x="4578" y="1173"/>
                </a:lnTo>
                <a:lnTo>
                  <a:pt x="4579" y="1172"/>
                </a:lnTo>
                <a:lnTo>
                  <a:pt x="4580" y="1172"/>
                </a:lnTo>
                <a:lnTo>
                  <a:pt x="4577" y="1170"/>
                </a:lnTo>
                <a:lnTo>
                  <a:pt x="4574" y="1168"/>
                </a:lnTo>
                <a:lnTo>
                  <a:pt x="4574" y="1166"/>
                </a:lnTo>
                <a:lnTo>
                  <a:pt x="4575" y="1164"/>
                </a:lnTo>
                <a:lnTo>
                  <a:pt x="4573" y="1163"/>
                </a:lnTo>
                <a:lnTo>
                  <a:pt x="4570" y="1162"/>
                </a:lnTo>
                <a:lnTo>
                  <a:pt x="4569" y="1162"/>
                </a:lnTo>
                <a:lnTo>
                  <a:pt x="4569" y="1162"/>
                </a:lnTo>
                <a:lnTo>
                  <a:pt x="4568" y="1162"/>
                </a:lnTo>
                <a:lnTo>
                  <a:pt x="4571" y="1159"/>
                </a:lnTo>
                <a:lnTo>
                  <a:pt x="4573" y="1157"/>
                </a:lnTo>
                <a:lnTo>
                  <a:pt x="4572" y="1160"/>
                </a:lnTo>
                <a:lnTo>
                  <a:pt x="4572" y="1160"/>
                </a:lnTo>
                <a:lnTo>
                  <a:pt x="4575" y="1159"/>
                </a:lnTo>
                <a:lnTo>
                  <a:pt x="4580" y="1157"/>
                </a:lnTo>
                <a:lnTo>
                  <a:pt x="4579" y="1155"/>
                </a:lnTo>
                <a:lnTo>
                  <a:pt x="4578" y="1154"/>
                </a:lnTo>
                <a:lnTo>
                  <a:pt x="4574" y="1157"/>
                </a:lnTo>
                <a:lnTo>
                  <a:pt x="4568" y="1153"/>
                </a:lnTo>
                <a:lnTo>
                  <a:pt x="4562" y="1154"/>
                </a:lnTo>
                <a:lnTo>
                  <a:pt x="4561" y="1157"/>
                </a:lnTo>
                <a:lnTo>
                  <a:pt x="4560" y="1158"/>
                </a:lnTo>
                <a:lnTo>
                  <a:pt x="4559" y="1160"/>
                </a:lnTo>
                <a:lnTo>
                  <a:pt x="4556" y="1159"/>
                </a:lnTo>
                <a:lnTo>
                  <a:pt x="4554" y="1158"/>
                </a:lnTo>
                <a:lnTo>
                  <a:pt x="4551" y="1160"/>
                </a:lnTo>
                <a:lnTo>
                  <a:pt x="4549" y="1162"/>
                </a:lnTo>
                <a:lnTo>
                  <a:pt x="4548" y="1161"/>
                </a:lnTo>
                <a:lnTo>
                  <a:pt x="4546" y="1160"/>
                </a:lnTo>
                <a:lnTo>
                  <a:pt x="4546" y="1162"/>
                </a:lnTo>
                <a:lnTo>
                  <a:pt x="4546" y="1162"/>
                </a:lnTo>
                <a:lnTo>
                  <a:pt x="4544" y="1162"/>
                </a:lnTo>
                <a:lnTo>
                  <a:pt x="4546" y="1162"/>
                </a:lnTo>
                <a:lnTo>
                  <a:pt x="4546" y="1163"/>
                </a:lnTo>
                <a:lnTo>
                  <a:pt x="4546" y="1163"/>
                </a:lnTo>
                <a:lnTo>
                  <a:pt x="4546" y="1166"/>
                </a:lnTo>
                <a:lnTo>
                  <a:pt x="4543" y="1166"/>
                </a:lnTo>
                <a:lnTo>
                  <a:pt x="4546" y="1170"/>
                </a:lnTo>
                <a:lnTo>
                  <a:pt x="4552" y="1170"/>
                </a:lnTo>
                <a:lnTo>
                  <a:pt x="4553" y="1166"/>
                </a:lnTo>
                <a:lnTo>
                  <a:pt x="4554" y="1163"/>
                </a:lnTo>
                <a:lnTo>
                  <a:pt x="4558" y="1162"/>
                </a:lnTo>
                <a:lnTo>
                  <a:pt x="4561" y="1161"/>
                </a:lnTo>
                <a:lnTo>
                  <a:pt x="4563" y="1163"/>
                </a:lnTo>
                <a:lnTo>
                  <a:pt x="4565" y="1166"/>
                </a:lnTo>
                <a:lnTo>
                  <a:pt x="4566" y="1166"/>
                </a:lnTo>
                <a:lnTo>
                  <a:pt x="4567" y="1166"/>
                </a:lnTo>
                <a:lnTo>
                  <a:pt x="4568" y="1166"/>
                </a:lnTo>
                <a:lnTo>
                  <a:pt x="4569" y="1168"/>
                </a:lnTo>
                <a:lnTo>
                  <a:pt x="4569" y="1169"/>
                </a:lnTo>
                <a:lnTo>
                  <a:pt x="4562" y="1174"/>
                </a:lnTo>
                <a:lnTo>
                  <a:pt x="4562" y="1177"/>
                </a:lnTo>
                <a:lnTo>
                  <a:pt x="4562" y="1180"/>
                </a:lnTo>
                <a:lnTo>
                  <a:pt x="4562" y="1180"/>
                </a:lnTo>
                <a:lnTo>
                  <a:pt x="4562" y="1180"/>
                </a:lnTo>
                <a:lnTo>
                  <a:pt x="4560" y="1178"/>
                </a:lnTo>
                <a:lnTo>
                  <a:pt x="4559" y="1177"/>
                </a:lnTo>
                <a:lnTo>
                  <a:pt x="4557" y="1175"/>
                </a:lnTo>
                <a:lnTo>
                  <a:pt x="4555" y="1174"/>
                </a:lnTo>
                <a:lnTo>
                  <a:pt x="4552" y="1176"/>
                </a:lnTo>
                <a:lnTo>
                  <a:pt x="4549" y="1178"/>
                </a:lnTo>
                <a:lnTo>
                  <a:pt x="4548" y="1179"/>
                </a:lnTo>
                <a:lnTo>
                  <a:pt x="4547" y="1180"/>
                </a:lnTo>
                <a:lnTo>
                  <a:pt x="4545" y="1181"/>
                </a:lnTo>
                <a:lnTo>
                  <a:pt x="4542" y="1183"/>
                </a:lnTo>
                <a:lnTo>
                  <a:pt x="4542" y="1190"/>
                </a:lnTo>
                <a:lnTo>
                  <a:pt x="4540" y="1190"/>
                </a:lnTo>
                <a:lnTo>
                  <a:pt x="4540" y="1188"/>
                </a:lnTo>
                <a:lnTo>
                  <a:pt x="4541" y="1186"/>
                </a:lnTo>
                <a:lnTo>
                  <a:pt x="4536" y="1186"/>
                </a:lnTo>
                <a:lnTo>
                  <a:pt x="4538" y="1180"/>
                </a:lnTo>
                <a:lnTo>
                  <a:pt x="4536" y="1179"/>
                </a:lnTo>
                <a:lnTo>
                  <a:pt x="4534" y="1178"/>
                </a:lnTo>
                <a:lnTo>
                  <a:pt x="4534" y="1177"/>
                </a:lnTo>
                <a:lnTo>
                  <a:pt x="4532" y="1177"/>
                </a:lnTo>
                <a:lnTo>
                  <a:pt x="4529" y="1178"/>
                </a:lnTo>
                <a:lnTo>
                  <a:pt x="4529" y="1178"/>
                </a:lnTo>
                <a:lnTo>
                  <a:pt x="4529" y="1178"/>
                </a:lnTo>
                <a:lnTo>
                  <a:pt x="4539" y="1173"/>
                </a:lnTo>
                <a:lnTo>
                  <a:pt x="4542" y="1164"/>
                </a:lnTo>
                <a:lnTo>
                  <a:pt x="4542" y="1164"/>
                </a:lnTo>
                <a:lnTo>
                  <a:pt x="4542" y="1164"/>
                </a:lnTo>
                <a:lnTo>
                  <a:pt x="4542" y="1162"/>
                </a:lnTo>
                <a:lnTo>
                  <a:pt x="4538" y="1162"/>
                </a:lnTo>
                <a:lnTo>
                  <a:pt x="4538" y="1162"/>
                </a:lnTo>
                <a:lnTo>
                  <a:pt x="4535" y="1162"/>
                </a:lnTo>
                <a:lnTo>
                  <a:pt x="4534" y="1162"/>
                </a:lnTo>
                <a:lnTo>
                  <a:pt x="4533" y="1162"/>
                </a:lnTo>
                <a:lnTo>
                  <a:pt x="4532" y="1168"/>
                </a:lnTo>
                <a:lnTo>
                  <a:pt x="4529" y="1170"/>
                </a:lnTo>
                <a:lnTo>
                  <a:pt x="4529" y="1170"/>
                </a:lnTo>
                <a:lnTo>
                  <a:pt x="4526" y="1170"/>
                </a:lnTo>
                <a:lnTo>
                  <a:pt x="4526" y="1168"/>
                </a:lnTo>
                <a:lnTo>
                  <a:pt x="4527" y="1167"/>
                </a:lnTo>
                <a:lnTo>
                  <a:pt x="4527" y="1166"/>
                </a:lnTo>
                <a:lnTo>
                  <a:pt x="4519" y="1168"/>
                </a:lnTo>
                <a:lnTo>
                  <a:pt x="4517" y="1167"/>
                </a:lnTo>
                <a:lnTo>
                  <a:pt x="4516" y="1167"/>
                </a:lnTo>
                <a:lnTo>
                  <a:pt x="4515" y="1168"/>
                </a:lnTo>
                <a:lnTo>
                  <a:pt x="4514" y="1170"/>
                </a:lnTo>
                <a:lnTo>
                  <a:pt x="4516" y="1170"/>
                </a:lnTo>
                <a:lnTo>
                  <a:pt x="4517" y="1174"/>
                </a:lnTo>
                <a:lnTo>
                  <a:pt x="4519" y="1174"/>
                </a:lnTo>
                <a:lnTo>
                  <a:pt x="4522" y="1175"/>
                </a:lnTo>
                <a:lnTo>
                  <a:pt x="4523" y="1174"/>
                </a:lnTo>
                <a:lnTo>
                  <a:pt x="4523" y="1174"/>
                </a:lnTo>
                <a:lnTo>
                  <a:pt x="4525" y="1174"/>
                </a:lnTo>
                <a:lnTo>
                  <a:pt x="4527" y="1177"/>
                </a:lnTo>
                <a:lnTo>
                  <a:pt x="4525" y="1177"/>
                </a:lnTo>
                <a:lnTo>
                  <a:pt x="4522" y="1178"/>
                </a:lnTo>
                <a:lnTo>
                  <a:pt x="4522" y="1182"/>
                </a:lnTo>
                <a:lnTo>
                  <a:pt x="4527" y="1182"/>
                </a:lnTo>
                <a:lnTo>
                  <a:pt x="4528" y="1183"/>
                </a:lnTo>
                <a:lnTo>
                  <a:pt x="4529" y="1185"/>
                </a:lnTo>
                <a:lnTo>
                  <a:pt x="4527" y="1188"/>
                </a:lnTo>
                <a:lnTo>
                  <a:pt x="4525" y="1191"/>
                </a:lnTo>
                <a:lnTo>
                  <a:pt x="4521" y="1211"/>
                </a:lnTo>
                <a:lnTo>
                  <a:pt x="4519" y="1210"/>
                </a:lnTo>
                <a:lnTo>
                  <a:pt x="4517" y="1209"/>
                </a:lnTo>
                <a:lnTo>
                  <a:pt x="4516" y="1211"/>
                </a:lnTo>
                <a:lnTo>
                  <a:pt x="4517" y="1212"/>
                </a:lnTo>
                <a:lnTo>
                  <a:pt x="4510" y="1218"/>
                </a:lnTo>
                <a:lnTo>
                  <a:pt x="4510" y="1218"/>
                </a:lnTo>
                <a:lnTo>
                  <a:pt x="4510" y="1218"/>
                </a:lnTo>
                <a:lnTo>
                  <a:pt x="4513" y="1210"/>
                </a:lnTo>
                <a:lnTo>
                  <a:pt x="4510" y="1206"/>
                </a:lnTo>
                <a:lnTo>
                  <a:pt x="4509" y="1207"/>
                </a:lnTo>
                <a:lnTo>
                  <a:pt x="4509" y="1207"/>
                </a:lnTo>
                <a:lnTo>
                  <a:pt x="4509" y="1207"/>
                </a:lnTo>
                <a:lnTo>
                  <a:pt x="4509" y="1207"/>
                </a:lnTo>
                <a:lnTo>
                  <a:pt x="4509" y="1206"/>
                </a:lnTo>
                <a:lnTo>
                  <a:pt x="4509" y="1206"/>
                </a:lnTo>
                <a:lnTo>
                  <a:pt x="4510" y="1213"/>
                </a:lnTo>
                <a:lnTo>
                  <a:pt x="4508" y="1213"/>
                </a:lnTo>
                <a:lnTo>
                  <a:pt x="4505" y="1212"/>
                </a:lnTo>
                <a:lnTo>
                  <a:pt x="4506" y="1209"/>
                </a:lnTo>
                <a:lnTo>
                  <a:pt x="4506" y="1206"/>
                </a:lnTo>
                <a:lnTo>
                  <a:pt x="4502" y="1204"/>
                </a:lnTo>
                <a:lnTo>
                  <a:pt x="4502" y="1200"/>
                </a:lnTo>
                <a:lnTo>
                  <a:pt x="4505" y="1195"/>
                </a:lnTo>
                <a:lnTo>
                  <a:pt x="4505" y="1195"/>
                </a:lnTo>
                <a:lnTo>
                  <a:pt x="4505" y="1194"/>
                </a:lnTo>
                <a:lnTo>
                  <a:pt x="4506" y="1193"/>
                </a:lnTo>
                <a:lnTo>
                  <a:pt x="4506" y="1194"/>
                </a:lnTo>
                <a:lnTo>
                  <a:pt x="4506" y="1195"/>
                </a:lnTo>
                <a:lnTo>
                  <a:pt x="4507" y="1193"/>
                </a:lnTo>
                <a:lnTo>
                  <a:pt x="4507" y="1191"/>
                </a:lnTo>
                <a:lnTo>
                  <a:pt x="4506" y="1192"/>
                </a:lnTo>
                <a:lnTo>
                  <a:pt x="4506" y="1190"/>
                </a:lnTo>
                <a:lnTo>
                  <a:pt x="4507" y="1190"/>
                </a:lnTo>
                <a:lnTo>
                  <a:pt x="4508" y="1189"/>
                </a:lnTo>
                <a:lnTo>
                  <a:pt x="4509" y="1188"/>
                </a:lnTo>
                <a:lnTo>
                  <a:pt x="4508" y="1186"/>
                </a:lnTo>
                <a:lnTo>
                  <a:pt x="4506" y="1184"/>
                </a:lnTo>
                <a:lnTo>
                  <a:pt x="4506" y="1183"/>
                </a:lnTo>
                <a:lnTo>
                  <a:pt x="4505" y="1182"/>
                </a:lnTo>
                <a:lnTo>
                  <a:pt x="4503" y="1182"/>
                </a:lnTo>
                <a:lnTo>
                  <a:pt x="4504" y="1183"/>
                </a:lnTo>
                <a:lnTo>
                  <a:pt x="4505" y="1185"/>
                </a:lnTo>
                <a:lnTo>
                  <a:pt x="4504" y="1185"/>
                </a:lnTo>
                <a:lnTo>
                  <a:pt x="4503" y="1186"/>
                </a:lnTo>
                <a:lnTo>
                  <a:pt x="4506" y="1186"/>
                </a:lnTo>
                <a:lnTo>
                  <a:pt x="4506" y="1189"/>
                </a:lnTo>
                <a:lnTo>
                  <a:pt x="4505" y="1190"/>
                </a:lnTo>
                <a:lnTo>
                  <a:pt x="4505" y="1190"/>
                </a:lnTo>
                <a:lnTo>
                  <a:pt x="4504" y="1190"/>
                </a:lnTo>
                <a:lnTo>
                  <a:pt x="4502" y="1191"/>
                </a:lnTo>
                <a:lnTo>
                  <a:pt x="4502" y="1190"/>
                </a:lnTo>
                <a:lnTo>
                  <a:pt x="4501" y="1190"/>
                </a:lnTo>
                <a:lnTo>
                  <a:pt x="4499" y="1190"/>
                </a:lnTo>
                <a:lnTo>
                  <a:pt x="4499" y="1189"/>
                </a:lnTo>
                <a:lnTo>
                  <a:pt x="4499" y="1188"/>
                </a:lnTo>
                <a:lnTo>
                  <a:pt x="4494" y="1185"/>
                </a:lnTo>
                <a:lnTo>
                  <a:pt x="4494" y="1183"/>
                </a:lnTo>
                <a:lnTo>
                  <a:pt x="4496" y="1184"/>
                </a:lnTo>
                <a:lnTo>
                  <a:pt x="4498" y="1184"/>
                </a:lnTo>
                <a:lnTo>
                  <a:pt x="4498" y="1186"/>
                </a:lnTo>
                <a:lnTo>
                  <a:pt x="4502" y="1186"/>
                </a:lnTo>
                <a:lnTo>
                  <a:pt x="4501" y="1185"/>
                </a:lnTo>
                <a:lnTo>
                  <a:pt x="4499" y="1183"/>
                </a:lnTo>
                <a:lnTo>
                  <a:pt x="4497" y="1181"/>
                </a:lnTo>
                <a:close/>
                <a:moveTo>
                  <a:pt x="4578" y="1142"/>
                </a:moveTo>
                <a:lnTo>
                  <a:pt x="4579" y="1142"/>
                </a:lnTo>
                <a:lnTo>
                  <a:pt x="4579" y="1142"/>
                </a:lnTo>
                <a:lnTo>
                  <a:pt x="4578" y="1142"/>
                </a:lnTo>
                <a:close/>
                <a:moveTo>
                  <a:pt x="4510" y="1206"/>
                </a:moveTo>
                <a:lnTo>
                  <a:pt x="4514" y="1206"/>
                </a:lnTo>
                <a:lnTo>
                  <a:pt x="4511" y="1204"/>
                </a:lnTo>
                <a:lnTo>
                  <a:pt x="4510" y="1206"/>
                </a:lnTo>
                <a:close/>
                <a:moveTo>
                  <a:pt x="4418" y="1507"/>
                </a:moveTo>
                <a:lnTo>
                  <a:pt x="4419" y="1508"/>
                </a:lnTo>
                <a:lnTo>
                  <a:pt x="4420" y="1509"/>
                </a:lnTo>
                <a:lnTo>
                  <a:pt x="4429" y="1516"/>
                </a:lnTo>
                <a:lnTo>
                  <a:pt x="4428" y="1519"/>
                </a:lnTo>
                <a:lnTo>
                  <a:pt x="4427" y="1523"/>
                </a:lnTo>
                <a:lnTo>
                  <a:pt x="4428" y="1523"/>
                </a:lnTo>
                <a:lnTo>
                  <a:pt x="4433" y="1527"/>
                </a:lnTo>
                <a:lnTo>
                  <a:pt x="4439" y="1527"/>
                </a:lnTo>
                <a:lnTo>
                  <a:pt x="4440" y="1527"/>
                </a:lnTo>
                <a:lnTo>
                  <a:pt x="4441" y="1526"/>
                </a:lnTo>
                <a:lnTo>
                  <a:pt x="4440" y="1525"/>
                </a:lnTo>
                <a:lnTo>
                  <a:pt x="4439" y="1523"/>
                </a:lnTo>
                <a:lnTo>
                  <a:pt x="4437" y="1523"/>
                </a:lnTo>
                <a:lnTo>
                  <a:pt x="4438" y="1522"/>
                </a:lnTo>
                <a:lnTo>
                  <a:pt x="4433" y="1518"/>
                </a:lnTo>
                <a:lnTo>
                  <a:pt x="4433" y="1511"/>
                </a:lnTo>
                <a:lnTo>
                  <a:pt x="4437" y="1511"/>
                </a:lnTo>
                <a:lnTo>
                  <a:pt x="4435" y="1511"/>
                </a:lnTo>
                <a:lnTo>
                  <a:pt x="4435" y="1509"/>
                </a:lnTo>
                <a:lnTo>
                  <a:pt x="4429" y="1508"/>
                </a:lnTo>
                <a:lnTo>
                  <a:pt x="4429" y="1507"/>
                </a:lnTo>
                <a:lnTo>
                  <a:pt x="4423" y="1507"/>
                </a:lnTo>
                <a:lnTo>
                  <a:pt x="4418" y="1507"/>
                </a:lnTo>
                <a:close/>
                <a:moveTo>
                  <a:pt x="4504" y="1193"/>
                </a:moveTo>
                <a:lnTo>
                  <a:pt x="4503" y="1191"/>
                </a:lnTo>
                <a:lnTo>
                  <a:pt x="4502" y="1192"/>
                </a:lnTo>
                <a:lnTo>
                  <a:pt x="4502" y="1193"/>
                </a:lnTo>
                <a:lnTo>
                  <a:pt x="4502" y="1197"/>
                </a:lnTo>
                <a:lnTo>
                  <a:pt x="4505" y="1195"/>
                </a:lnTo>
                <a:lnTo>
                  <a:pt x="4505" y="1194"/>
                </a:lnTo>
                <a:lnTo>
                  <a:pt x="4504" y="1193"/>
                </a:lnTo>
                <a:close/>
                <a:moveTo>
                  <a:pt x="4506" y="1192"/>
                </a:moveTo>
                <a:lnTo>
                  <a:pt x="4505" y="1193"/>
                </a:lnTo>
                <a:lnTo>
                  <a:pt x="4506" y="1193"/>
                </a:lnTo>
                <a:lnTo>
                  <a:pt x="4506" y="1193"/>
                </a:lnTo>
                <a:lnTo>
                  <a:pt x="4506" y="1192"/>
                </a:lnTo>
                <a:close/>
                <a:moveTo>
                  <a:pt x="4484" y="1189"/>
                </a:moveTo>
                <a:lnTo>
                  <a:pt x="4484" y="1189"/>
                </a:lnTo>
                <a:lnTo>
                  <a:pt x="4483" y="1188"/>
                </a:lnTo>
                <a:lnTo>
                  <a:pt x="4483" y="1188"/>
                </a:lnTo>
                <a:lnTo>
                  <a:pt x="4482" y="1189"/>
                </a:lnTo>
                <a:lnTo>
                  <a:pt x="4481" y="1189"/>
                </a:lnTo>
                <a:lnTo>
                  <a:pt x="4484" y="1189"/>
                </a:lnTo>
                <a:close/>
                <a:moveTo>
                  <a:pt x="4431" y="1317"/>
                </a:moveTo>
                <a:lnTo>
                  <a:pt x="4431" y="1317"/>
                </a:lnTo>
                <a:lnTo>
                  <a:pt x="4431" y="1318"/>
                </a:lnTo>
                <a:lnTo>
                  <a:pt x="4434" y="1318"/>
                </a:lnTo>
                <a:lnTo>
                  <a:pt x="4431" y="1317"/>
                </a:lnTo>
                <a:close/>
                <a:moveTo>
                  <a:pt x="4643" y="1154"/>
                </a:moveTo>
                <a:lnTo>
                  <a:pt x="4644" y="1154"/>
                </a:lnTo>
                <a:lnTo>
                  <a:pt x="4644" y="1150"/>
                </a:lnTo>
                <a:lnTo>
                  <a:pt x="4644" y="1150"/>
                </a:lnTo>
                <a:lnTo>
                  <a:pt x="4643" y="1154"/>
                </a:lnTo>
                <a:close/>
                <a:moveTo>
                  <a:pt x="4425" y="1100"/>
                </a:moveTo>
                <a:lnTo>
                  <a:pt x="4424" y="1100"/>
                </a:lnTo>
                <a:lnTo>
                  <a:pt x="4425" y="1101"/>
                </a:lnTo>
                <a:lnTo>
                  <a:pt x="4425" y="1101"/>
                </a:lnTo>
                <a:lnTo>
                  <a:pt x="4425" y="1100"/>
                </a:lnTo>
                <a:close/>
                <a:moveTo>
                  <a:pt x="4669" y="1094"/>
                </a:moveTo>
                <a:lnTo>
                  <a:pt x="4669" y="1094"/>
                </a:lnTo>
                <a:lnTo>
                  <a:pt x="4667" y="1092"/>
                </a:lnTo>
                <a:lnTo>
                  <a:pt x="4666" y="1091"/>
                </a:lnTo>
                <a:lnTo>
                  <a:pt x="4666" y="1094"/>
                </a:lnTo>
                <a:lnTo>
                  <a:pt x="4669" y="1094"/>
                </a:lnTo>
                <a:close/>
                <a:moveTo>
                  <a:pt x="4666" y="1041"/>
                </a:moveTo>
                <a:lnTo>
                  <a:pt x="4665" y="1041"/>
                </a:lnTo>
                <a:lnTo>
                  <a:pt x="4665" y="1041"/>
                </a:lnTo>
                <a:lnTo>
                  <a:pt x="4666" y="1041"/>
                </a:lnTo>
                <a:lnTo>
                  <a:pt x="4666" y="1041"/>
                </a:lnTo>
                <a:close/>
                <a:moveTo>
                  <a:pt x="4482" y="1152"/>
                </a:moveTo>
                <a:lnTo>
                  <a:pt x="4482" y="1153"/>
                </a:lnTo>
                <a:lnTo>
                  <a:pt x="4481" y="1154"/>
                </a:lnTo>
                <a:lnTo>
                  <a:pt x="4482" y="1154"/>
                </a:lnTo>
                <a:lnTo>
                  <a:pt x="4482" y="1152"/>
                </a:lnTo>
                <a:close/>
                <a:moveTo>
                  <a:pt x="4527" y="1182"/>
                </a:moveTo>
                <a:lnTo>
                  <a:pt x="4527" y="1182"/>
                </a:lnTo>
                <a:lnTo>
                  <a:pt x="4528" y="1182"/>
                </a:lnTo>
                <a:lnTo>
                  <a:pt x="4527" y="1182"/>
                </a:lnTo>
                <a:close/>
                <a:moveTo>
                  <a:pt x="4185" y="1638"/>
                </a:moveTo>
                <a:lnTo>
                  <a:pt x="4185" y="1634"/>
                </a:lnTo>
                <a:lnTo>
                  <a:pt x="4185" y="1633"/>
                </a:lnTo>
                <a:lnTo>
                  <a:pt x="4184" y="1632"/>
                </a:lnTo>
                <a:lnTo>
                  <a:pt x="4183" y="1633"/>
                </a:lnTo>
                <a:lnTo>
                  <a:pt x="4182" y="1634"/>
                </a:lnTo>
                <a:lnTo>
                  <a:pt x="4182" y="1635"/>
                </a:lnTo>
                <a:lnTo>
                  <a:pt x="4184" y="1635"/>
                </a:lnTo>
                <a:lnTo>
                  <a:pt x="4182" y="1638"/>
                </a:lnTo>
                <a:lnTo>
                  <a:pt x="4185" y="1638"/>
                </a:lnTo>
                <a:close/>
                <a:moveTo>
                  <a:pt x="4177" y="1732"/>
                </a:moveTo>
                <a:lnTo>
                  <a:pt x="4172" y="1733"/>
                </a:lnTo>
                <a:lnTo>
                  <a:pt x="4172" y="1735"/>
                </a:lnTo>
                <a:lnTo>
                  <a:pt x="4171" y="1736"/>
                </a:lnTo>
                <a:lnTo>
                  <a:pt x="4172" y="1736"/>
                </a:lnTo>
                <a:lnTo>
                  <a:pt x="4172" y="1740"/>
                </a:lnTo>
                <a:lnTo>
                  <a:pt x="4175" y="1740"/>
                </a:lnTo>
                <a:lnTo>
                  <a:pt x="4177" y="1739"/>
                </a:lnTo>
                <a:lnTo>
                  <a:pt x="4179" y="1738"/>
                </a:lnTo>
                <a:lnTo>
                  <a:pt x="4180" y="1737"/>
                </a:lnTo>
                <a:lnTo>
                  <a:pt x="4181" y="1741"/>
                </a:lnTo>
                <a:lnTo>
                  <a:pt x="4182" y="1744"/>
                </a:lnTo>
                <a:lnTo>
                  <a:pt x="4182" y="1744"/>
                </a:lnTo>
                <a:lnTo>
                  <a:pt x="4184" y="1740"/>
                </a:lnTo>
                <a:lnTo>
                  <a:pt x="4185" y="1737"/>
                </a:lnTo>
                <a:lnTo>
                  <a:pt x="4184" y="1735"/>
                </a:lnTo>
                <a:lnTo>
                  <a:pt x="4182" y="1732"/>
                </a:lnTo>
                <a:lnTo>
                  <a:pt x="4178" y="1732"/>
                </a:lnTo>
                <a:lnTo>
                  <a:pt x="4177" y="1732"/>
                </a:lnTo>
                <a:close/>
                <a:moveTo>
                  <a:pt x="4166" y="1537"/>
                </a:moveTo>
                <a:lnTo>
                  <a:pt x="4166" y="1539"/>
                </a:lnTo>
                <a:lnTo>
                  <a:pt x="4167" y="1539"/>
                </a:lnTo>
                <a:lnTo>
                  <a:pt x="4167" y="1537"/>
                </a:lnTo>
                <a:lnTo>
                  <a:pt x="4166" y="1537"/>
                </a:lnTo>
                <a:close/>
                <a:moveTo>
                  <a:pt x="4191" y="1402"/>
                </a:moveTo>
                <a:lnTo>
                  <a:pt x="4190" y="1405"/>
                </a:lnTo>
                <a:lnTo>
                  <a:pt x="4188" y="1407"/>
                </a:lnTo>
                <a:lnTo>
                  <a:pt x="4190" y="1411"/>
                </a:lnTo>
                <a:lnTo>
                  <a:pt x="4191" y="1415"/>
                </a:lnTo>
                <a:lnTo>
                  <a:pt x="4196" y="1417"/>
                </a:lnTo>
                <a:lnTo>
                  <a:pt x="4202" y="1419"/>
                </a:lnTo>
                <a:lnTo>
                  <a:pt x="4202" y="1421"/>
                </a:lnTo>
                <a:lnTo>
                  <a:pt x="4203" y="1422"/>
                </a:lnTo>
                <a:lnTo>
                  <a:pt x="4205" y="1419"/>
                </a:lnTo>
                <a:lnTo>
                  <a:pt x="4205" y="1419"/>
                </a:lnTo>
                <a:lnTo>
                  <a:pt x="4206" y="1419"/>
                </a:lnTo>
                <a:lnTo>
                  <a:pt x="4210" y="1419"/>
                </a:lnTo>
                <a:lnTo>
                  <a:pt x="4211" y="1417"/>
                </a:lnTo>
                <a:lnTo>
                  <a:pt x="4210" y="1415"/>
                </a:lnTo>
                <a:lnTo>
                  <a:pt x="4216" y="1412"/>
                </a:lnTo>
                <a:lnTo>
                  <a:pt x="4216" y="1407"/>
                </a:lnTo>
                <a:lnTo>
                  <a:pt x="4218" y="1407"/>
                </a:lnTo>
                <a:lnTo>
                  <a:pt x="4222" y="1401"/>
                </a:lnTo>
                <a:lnTo>
                  <a:pt x="4225" y="1399"/>
                </a:lnTo>
                <a:lnTo>
                  <a:pt x="4224" y="1397"/>
                </a:lnTo>
                <a:lnTo>
                  <a:pt x="4223" y="1395"/>
                </a:lnTo>
                <a:lnTo>
                  <a:pt x="4222" y="1395"/>
                </a:lnTo>
                <a:lnTo>
                  <a:pt x="4219" y="1394"/>
                </a:lnTo>
                <a:lnTo>
                  <a:pt x="4218" y="1395"/>
                </a:lnTo>
                <a:lnTo>
                  <a:pt x="4211" y="1395"/>
                </a:lnTo>
                <a:lnTo>
                  <a:pt x="4211" y="1395"/>
                </a:lnTo>
                <a:lnTo>
                  <a:pt x="4210" y="1395"/>
                </a:lnTo>
                <a:lnTo>
                  <a:pt x="4206" y="1394"/>
                </a:lnTo>
                <a:lnTo>
                  <a:pt x="4203" y="1392"/>
                </a:lnTo>
                <a:lnTo>
                  <a:pt x="4202" y="1394"/>
                </a:lnTo>
                <a:lnTo>
                  <a:pt x="4202" y="1396"/>
                </a:lnTo>
                <a:lnTo>
                  <a:pt x="4200" y="1395"/>
                </a:lnTo>
                <a:lnTo>
                  <a:pt x="4198" y="1397"/>
                </a:lnTo>
                <a:lnTo>
                  <a:pt x="4196" y="1399"/>
                </a:lnTo>
                <a:lnTo>
                  <a:pt x="4200" y="1399"/>
                </a:lnTo>
                <a:lnTo>
                  <a:pt x="4195" y="1401"/>
                </a:lnTo>
                <a:lnTo>
                  <a:pt x="4191" y="1402"/>
                </a:lnTo>
                <a:close/>
                <a:moveTo>
                  <a:pt x="4257" y="1815"/>
                </a:moveTo>
                <a:lnTo>
                  <a:pt x="4259" y="1816"/>
                </a:lnTo>
                <a:lnTo>
                  <a:pt x="4257" y="1816"/>
                </a:lnTo>
                <a:lnTo>
                  <a:pt x="4257" y="1820"/>
                </a:lnTo>
                <a:lnTo>
                  <a:pt x="4260" y="1820"/>
                </a:lnTo>
                <a:lnTo>
                  <a:pt x="4259" y="1818"/>
                </a:lnTo>
                <a:lnTo>
                  <a:pt x="4259" y="1816"/>
                </a:lnTo>
                <a:lnTo>
                  <a:pt x="4264" y="1819"/>
                </a:lnTo>
                <a:lnTo>
                  <a:pt x="4270" y="1820"/>
                </a:lnTo>
                <a:lnTo>
                  <a:pt x="4272" y="1820"/>
                </a:lnTo>
                <a:lnTo>
                  <a:pt x="4277" y="1823"/>
                </a:lnTo>
                <a:lnTo>
                  <a:pt x="4277" y="1821"/>
                </a:lnTo>
                <a:lnTo>
                  <a:pt x="4276" y="1820"/>
                </a:lnTo>
                <a:lnTo>
                  <a:pt x="4275" y="1820"/>
                </a:lnTo>
                <a:lnTo>
                  <a:pt x="4274" y="1818"/>
                </a:lnTo>
                <a:lnTo>
                  <a:pt x="4273" y="1816"/>
                </a:lnTo>
                <a:lnTo>
                  <a:pt x="4273" y="1813"/>
                </a:lnTo>
                <a:lnTo>
                  <a:pt x="4275" y="1815"/>
                </a:lnTo>
                <a:lnTo>
                  <a:pt x="4277" y="1816"/>
                </a:lnTo>
                <a:lnTo>
                  <a:pt x="4280" y="1819"/>
                </a:lnTo>
                <a:lnTo>
                  <a:pt x="4285" y="1821"/>
                </a:lnTo>
                <a:lnTo>
                  <a:pt x="4286" y="1820"/>
                </a:lnTo>
                <a:lnTo>
                  <a:pt x="4290" y="1818"/>
                </a:lnTo>
                <a:lnTo>
                  <a:pt x="4293" y="1816"/>
                </a:lnTo>
                <a:lnTo>
                  <a:pt x="4291" y="1815"/>
                </a:lnTo>
                <a:lnTo>
                  <a:pt x="4290" y="1813"/>
                </a:lnTo>
                <a:lnTo>
                  <a:pt x="4285" y="1812"/>
                </a:lnTo>
                <a:lnTo>
                  <a:pt x="4281" y="1813"/>
                </a:lnTo>
                <a:lnTo>
                  <a:pt x="4277" y="1813"/>
                </a:lnTo>
                <a:lnTo>
                  <a:pt x="4273" y="1812"/>
                </a:lnTo>
                <a:lnTo>
                  <a:pt x="4273" y="1809"/>
                </a:lnTo>
                <a:lnTo>
                  <a:pt x="4270" y="1805"/>
                </a:lnTo>
                <a:lnTo>
                  <a:pt x="4264" y="1808"/>
                </a:lnTo>
                <a:lnTo>
                  <a:pt x="4257" y="1808"/>
                </a:lnTo>
                <a:lnTo>
                  <a:pt x="4253" y="1806"/>
                </a:lnTo>
                <a:lnTo>
                  <a:pt x="4250" y="1804"/>
                </a:lnTo>
                <a:lnTo>
                  <a:pt x="4252" y="1802"/>
                </a:lnTo>
                <a:lnTo>
                  <a:pt x="4250" y="1800"/>
                </a:lnTo>
                <a:lnTo>
                  <a:pt x="4249" y="1800"/>
                </a:lnTo>
                <a:lnTo>
                  <a:pt x="4247" y="1800"/>
                </a:lnTo>
                <a:lnTo>
                  <a:pt x="4241" y="1800"/>
                </a:lnTo>
                <a:lnTo>
                  <a:pt x="4239" y="1796"/>
                </a:lnTo>
                <a:lnTo>
                  <a:pt x="4237" y="1796"/>
                </a:lnTo>
                <a:lnTo>
                  <a:pt x="4233" y="1794"/>
                </a:lnTo>
                <a:lnTo>
                  <a:pt x="4231" y="1796"/>
                </a:lnTo>
                <a:lnTo>
                  <a:pt x="4225" y="1796"/>
                </a:lnTo>
                <a:lnTo>
                  <a:pt x="4225" y="1788"/>
                </a:lnTo>
                <a:lnTo>
                  <a:pt x="4223" y="1788"/>
                </a:lnTo>
                <a:lnTo>
                  <a:pt x="4222" y="1788"/>
                </a:lnTo>
                <a:lnTo>
                  <a:pt x="4218" y="1794"/>
                </a:lnTo>
                <a:lnTo>
                  <a:pt x="4216" y="1796"/>
                </a:lnTo>
                <a:lnTo>
                  <a:pt x="4210" y="1796"/>
                </a:lnTo>
                <a:lnTo>
                  <a:pt x="4203" y="1796"/>
                </a:lnTo>
                <a:lnTo>
                  <a:pt x="4199" y="1796"/>
                </a:lnTo>
                <a:lnTo>
                  <a:pt x="4188" y="1792"/>
                </a:lnTo>
                <a:lnTo>
                  <a:pt x="4188" y="1790"/>
                </a:lnTo>
                <a:lnTo>
                  <a:pt x="4185" y="1788"/>
                </a:lnTo>
                <a:lnTo>
                  <a:pt x="4182" y="1788"/>
                </a:lnTo>
                <a:lnTo>
                  <a:pt x="4181" y="1786"/>
                </a:lnTo>
                <a:lnTo>
                  <a:pt x="4177" y="1786"/>
                </a:lnTo>
                <a:lnTo>
                  <a:pt x="4171" y="1781"/>
                </a:lnTo>
                <a:lnTo>
                  <a:pt x="4168" y="1780"/>
                </a:lnTo>
                <a:lnTo>
                  <a:pt x="4164" y="1779"/>
                </a:lnTo>
                <a:lnTo>
                  <a:pt x="4164" y="1784"/>
                </a:lnTo>
                <a:lnTo>
                  <a:pt x="4163" y="1784"/>
                </a:lnTo>
                <a:lnTo>
                  <a:pt x="4163" y="1782"/>
                </a:lnTo>
                <a:lnTo>
                  <a:pt x="4162" y="1781"/>
                </a:lnTo>
                <a:lnTo>
                  <a:pt x="4159" y="1782"/>
                </a:lnTo>
                <a:lnTo>
                  <a:pt x="4157" y="1783"/>
                </a:lnTo>
                <a:lnTo>
                  <a:pt x="4156" y="1784"/>
                </a:lnTo>
                <a:lnTo>
                  <a:pt x="4155" y="1784"/>
                </a:lnTo>
                <a:lnTo>
                  <a:pt x="4152" y="1781"/>
                </a:lnTo>
                <a:lnTo>
                  <a:pt x="4148" y="1782"/>
                </a:lnTo>
                <a:lnTo>
                  <a:pt x="4148" y="1787"/>
                </a:lnTo>
                <a:lnTo>
                  <a:pt x="4146" y="1788"/>
                </a:lnTo>
                <a:lnTo>
                  <a:pt x="4144" y="1790"/>
                </a:lnTo>
                <a:lnTo>
                  <a:pt x="4144" y="1790"/>
                </a:lnTo>
                <a:lnTo>
                  <a:pt x="4144" y="1796"/>
                </a:lnTo>
                <a:lnTo>
                  <a:pt x="4153" y="1796"/>
                </a:lnTo>
                <a:lnTo>
                  <a:pt x="4157" y="1800"/>
                </a:lnTo>
                <a:lnTo>
                  <a:pt x="4158" y="1800"/>
                </a:lnTo>
                <a:lnTo>
                  <a:pt x="4156" y="1801"/>
                </a:lnTo>
                <a:lnTo>
                  <a:pt x="4156" y="1802"/>
                </a:lnTo>
                <a:lnTo>
                  <a:pt x="4165" y="1803"/>
                </a:lnTo>
                <a:lnTo>
                  <a:pt x="4174" y="1804"/>
                </a:lnTo>
                <a:lnTo>
                  <a:pt x="4178" y="1808"/>
                </a:lnTo>
                <a:lnTo>
                  <a:pt x="4182" y="1812"/>
                </a:lnTo>
                <a:lnTo>
                  <a:pt x="4188" y="1812"/>
                </a:lnTo>
                <a:lnTo>
                  <a:pt x="4189" y="1810"/>
                </a:lnTo>
                <a:lnTo>
                  <a:pt x="4189" y="1808"/>
                </a:lnTo>
                <a:lnTo>
                  <a:pt x="4192" y="1807"/>
                </a:lnTo>
                <a:lnTo>
                  <a:pt x="4194" y="1805"/>
                </a:lnTo>
                <a:lnTo>
                  <a:pt x="4196" y="1808"/>
                </a:lnTo>
                <a:lnTo>
                  <a:pt x="4200" y="1808"/>
                </a:lnTo>
                <a:lnTo>
                  <a:pt x="4205" y="1808"/>
                </a:lnTo>
                <a:lnTo>
                  <a:pt x="4210" y="1809"/>
                </a:lnTo>
                <a:lnTo>
                  <a:pt x="4214" y="1811"/>
                </a:lnTo>
                <a:lnTo>
                  <a:pt x="4219" y="1813"/>
                </a:lnTo>
                <a:lnTo>
                  <a:pt x="4227" y="1815"/>
                </a:lnTo>
                <a:lnTo>
                  <a:pt x="4234" y="1816"/>
                </a:lnTo>
                <a:lnTo>
                  <a:pt x="4235" y="1816"/>
                </a:lnTo>
                <a:lnTo>
                  <a:pt x="4237" y="1815"/>
                </a:lnTo>
                <a:lnTo>
                  <a:pt x="4243" y="1816"/>
                </a:lnTo>
                <a:lnTo>
                  <a:pt x="4249" y="1816"/>
                </a:lnTo>
                <a:lnTo>
                  <a:pt x="4257" y="1815"/>
                </a:lnTo>
                <a:close/>
                <a:moveTo>
                  <a:pt x="4284" y="1616"/>
                </a:moveTo>
                <a:lnTo>
                  <a:pt x="4284" y="1617"/>
                </a:lnTo>
                <a:lnTo>
                  <a:pt x="4284" y="1616"/>
                </a:lnTo>
                <a:lnTo>
                  <a:pt x="4284" y="1616"/>
                </a:lnTo>
                <a:close/>
                <a:moveTo>
                  <a:pt x="4206" y="1664"/>
                </a:moveTo>
                <a:lnTo>
                  <a:pt x="4204" y="1664"/>
                </a:lnTo>
                <a:lnTo>
                  <a:pt x="4204" y="1666"/>
                </a:lnTo>
                <a:lnTo>
                  <a:pt x="4205" y="1667"/>
                </a:lnTo>
                <a:lnTo>
                  <a:pt x="4205" y="1666"/>
                </a:lnTo>
                <a:lnTo>
                  <a:pt x="4206" y="1664"/>
                </a:lnTo>
                <a:close/>
                <a:moveTo>
                  <a:pt x="4215" y="1375"/>
                </a:moveTo>
                <a:lnTo>
                  <a:pt x="4213" y="1375"/>
                </a:lnTo>
                <a:lnTo>
                  <a:pt x="4213" y="1376"/>
                </a:lnTo>
                <a:lnTo>
                  <a:pt x="4218" y="1376"/>
                </a:lnTo>
                <a:lnTo>
                  <a:pt x="4218" y="1375"/>
                </a:lnTo>
                <a:lnTo>
                  <a:pt x="4215" y="1375"/>
                </a:lnTo>
                <a:close/>
                <a:moveTo>
                  <a:pt x="4285" y="1620"/>
                </a:moveTo>
                <a:lnTo>
                  <a:pt x="4285" y="1620"/>
                </a:lnTo>
                <a:lnTo>
                  <a:pt x="4286" y="1620"/>
                </a:lnTo>
                <a:lnTo>
                  <a:pt x="4285" y="1620"/>
                </a:lnTo>
                <a:close/>
                <a:moveTo>
                  <a:pt x="4115" y="1680"/>
                </a:moveTo>
                <a:lnTo>
                  <a:pt x="4115" y="1684"/>
                </a:lnTo>
                <a:lnTo>
                  <a:pt x="4115" y="1684"/>
                </a:lnTo>
                <a:lnTo>
                  <a:pt x="4115" y="1683"/>
                </a:lnTo>
                <a:lnTo>
                  <a:pt x="4116" y="1682"/>
                </a:lnTo>
                <a:lnTo>
                  <a:pt x="4115" y="1681"/>
                </a:lnTo>
                <a:lnTo>
                  <a:pt x="4115" y="1680"/>
                </a:lnTo>
                <a:lnTo>
                  <a:pt x="4115" y="1680"/>
                </a:lnTo>
                <a:close/>
                <a:moveTo>
                  <a:pt x="4115" y="1679"/>
                </a:moveTo>
                <a:lnTo>
                  <a:pt x="4115" y="1679"/>
                </a:lnTo>
                <a:lnTo>
                  <a:pt x="4115" y="1676"/>
                </a:lnTo>
                <a:lnTo>
                  <a:pt x="4113" y="1675"/>
                </a:lnTo>
                <a:lnTo>
                  <a:pt x="4115" y="1679"/>
                </a:lnTo>
                <a:close/>
                <a:moveTo>
                  <a:pt x="4102" y="1674"/>
                </a:moveTo>
                <a:lnTo>
                  <a:pt x="4102" y="1673"/>
                </a:lnTo>
                <a:lnTo>
                  <a:pt x="4101" y="1671"/>
                </a:lnTo>
                <a:lnTo>
                  <a:pt x="4101" y="1670"/>
                </a:lnTo>
                <a:lnTo>
                  <a:pt x="4097" y="1669"/>
                </a:lnTo>
                <a:lnTo>
                  <a:pt x="4094" y="1669"/>
                </a:lnTo>
                <a:lnTo>
                  <a:pt x="4096" y="1670"/>
                </a:lnTo>
                <a:lnTo>
                  <a:pt x="4100" y="1673"/>
                </a:lnTo>
                <a:lnTo>
                  <a:pt x="4102" y="1674"/>
                </a:lnTo>
                <a:close/>
                <a:moveTo>
                  <a:pt x="4266" y="1798"/>
                </a:moveTo>
                <a:lnTo>
                  <a:pt x="4271" y="1798"/>
                </a:lnTo>
                <a:lnTo>
                  <a:pt x="4267" y="1796"/>
                </a:lnTo>
                <a:lnTo>
                  <a:pt x="4253" y="1796"/>
                </a:lnTo>
                <a:lnTo>
                  <a:pt x="4249" y="1798"/>
                </a:lnTo>
                <a:lnTo>
                  <a:pt x="4250" y="1799"/>
                </a:lnTo>
                <a:lnTo>
                  <a:pt x="4250" y="1800"/>
                </a:lnTo>
                <a:lnTo>
                  <a:pt x="4261" y="1800"/>
                </a:lnTo>
                <a:lnTo>
                  <a:pt x="4266" y="1798"/>
                </a:lnTo>
                <a:close/>
                <a:moveTo>
                  <a:pt x="4129" y="1675"/>
                </a:moveTo>
                <a:lnTo>
                  <a:pt x="4127" y="1676"/>
                </a:lnTo>
                <a:lnTo>
                  <a:pt x="4133" y="1680"/>
                </a:lnTo>
                <a:lnTo>
                  <a:pt x="4133" y="1678"/>
                </a:lnTo>
                <a:lnTo>
                  <a:pt x="4134" y="1676"/>
                </a:lnTo>
                <a:lnTo>
                  <a:pt x="4132" y="1676"/>
                </a:lnTo>
                <a:lnTo>
                  <a:pt x="4129" y="1675"/>
                </a:lnTo>
                <a:close/>
                <a:moveTo>
                  <a:pt x="4149" y="1648"/>
                </a:moveTo>
                <a:lnTo>
                  <a:pt x="4148" y="1647"/>
                </a:lnTo>
                <a:lnTo>
                  <a:pt x="4148" y="1647"/>
                </a:lnTo>
                <a:lnTo>
                  <a:pt x="4148" y="1651"/>
                </a:lnTo>
                <a:lnTo>
                  <a:pt x="4148" y="1651"/>
                </a:lnTo>
                <a:lnTo>
                  <a:pt x="4149" y="1650"/>
                </a:lnTo>
                <a:lnTo>
                  <a:pt x="4149" y="1650"/>
                </a:lnTo>
                <a:lnTo>
                  <a:pt x="4149" y="1648"/>
                </a:lnTo>
                <a:close/>
                <a:moveTo>
                  <a:pt x="4129" y="1701"/>
                </a:moveTo>
                <a:lnTo>
                  <a:pt x="4130" y="1702"/>
                </a:lnTo>
                <a:lnTo>
                  <a:pt x="4132" y="1701"/>
                </a:lnTo>
                <a:lnTo>
                  <a:pt x="4133" y="1699"/>
                </a:lnTo>
                <a:lnTo>
                  <a:pt x="4132" y="1699"/>
                </a:lnTo>
                <a:lnTo>
                  <a:pt x="4130" y="1698"/>
                </a:lnTo>
                <a:lnTo>
                  <a:pt x="4129" y="1699"/>
                </a:lnTo>
                <a:lnTo>
                  <a:pt x="4127" y="1699"/>
                </a:lnTo>
                <a:lnTo>
                  <a:pt x="4129" y="1701"/>
                </a:lnTo>
                <a:close/>
                <a:moveTo>
                  <a:pt x="4130" y="1693"/>
                </a:moveTo>
                <a:lnTo>
                  <a:pt x="4130" y="1695"/>
                </a:lnTo>
                <a:lnTo>
                  <a:pt x="4129" y="1696"/>
                </a:lnTo>
                <a:lnTo>
                  <a:pt x="4130" y="1696"/>
                </a:lnTo>
                <a:lnTo>
                  <a:pt x="4134" y="1696"/>
                </a:lnTo>
                <a:lnTo>
                  <a:pt x="4135" y="1697"/>
                </a:lnTo>
                <a:lnTo>
                  <a:pt x="4137" y="1698"/>
                </a:lnTo>
                <a:lnTo>
                  <a:pt x="4137" y="1698"/>
                </a:lnTo>
                <a:lnTo>
                  <a:pt x="4137" y="1695"/>
                </a:lnTo>
                <a:lnTo>
                  <a:pt x="4133" y="1694"/>
                </a:lnTo>
                <a:lnTo>
                  <a:pt x="4130" y="1693"/>
                </a:lnTo>
                <a:close/>
                <a:moveTo>
                  <a:pt x="4329" y="1600"/>
                </a:moveTo>
                <a:lnTo>
                  <a:pt x="4329" y="1600"/>
                </a:lnTo>
                <a:lnTo>
                  <a:pt x="4329" y="1601"/>
                </a:lnTo>
                <a:lnTo>
                  <a:pt x="4329" y="1601"/>
                </a:lnTo>
                <a:lnTo>
                  <a:pt x="4329" y="1600"/>
                </a:lnTo>
                <a:close/>
                <a:moveTo>
                  <a:pt x="4343" y="1541"/>
                </a:moveTo>
                <a:lnTo>
                  <a:pt x="4337" y="1542"/>
                </a:lnTo>
                <a:lnTo>
                  <a:pt x="4338" y="1539"/>
                </a:lnTo>
                <a:lnTo>
                  <a:pt x="4339" y="1536"/>
                </a:lnTo>
                <a:lnTo>
                  <a:pt x="4341" y="1533"/>
                </a:lnTo>
                <a:lnTo>
                  <a:pt x="4341" y="1530"/>
                </a:lnTo>
                <a:lnTo>
                  <a:pt x="4342" y="1529"/>
                </a:lnTo>
                <a:lnTo>
                  <a:pt x="4342" y="1528"/>
                </a:lnTo>
                <a:lnTo>
                  <a:pt x="4341" y="1527"/>
                </a:lnTo>
                <a:lnTo>
                  <a:pt x="4341" y="1526"/>
                </a:lnTo>
                <a:lnTo>
                  <a:pt x="4345" y="1527"/>
                </a:lnTo>
                <a:lnTo>
                  <a:pt x="4345" y="1519"/>
                </a:lnTo>
                <a:lnTo>
                  <a:pt x="4346" y="1519"/>
                </a:lnTo>
                <a:lnTo>
                  <a:pt x="4347" y="1521"/>
                </a:lnTo>
                <a:lnTo>
                  <a:pt x="4347" y="1523"/>
                </a:lnTo>
                <a:lnTo>
                  <a:pt x="4347" y="1526"/>
                </a:lnTo>
                <a:lnTo>
                  <a:pt x="4346" y="1528"/>
                </a:lnTo>
                <a:lnTo>
                  <a:pt x="4347" y="1529"/>
                </a:lnTo>
                <a:lnTo>
                  <a:pt x="4347" y="1529"/>
                </a:lnTo>
                <a:lnTo>
                  <a:pt x="4348" y="1532"/>
                </a:lnTo>
                <a:lnTo>
                  <a:pt x="4349" y="1534"/>
                </a:lnTo>
                <a:lnTo>
                  <a:pt x="4344" y="1537"/>
                </a:lnTo>
                <a:lnTo>
                  <a:pt x="4344" y="1539"/>
                </a:lnTo>
                <a:lnTo>
                  <a:pt x="4343" y="1541"/>
                </a:lnTo>
                <a:close/>
                <a:moveTo>
                  <a:pt x="4343" y="1527"/>
                </a:moveTo>
                <a:lnTo>
                  <a:pt x="4343" y="1527"/>
                </a:lnTo>
                <a:lnTo>
                  <a:pt x="4343" y="1527"/>
                </a:lnTo>
                <a:lnTo>
                  <a:pt x="4343" y="1527"/>
                </a:lnTo>
                <a:lnTo>
                  <a:pt x="4343" y="1527"/>
                </a:lnTo>
                <a:close/>
                <a:moveTo>
                  <a:pt x="4339" y="1535"/>
                </a:moveTo>
                <a:lnTo>
                  <a:pt x="4339" y="1535"/>
                </a:lnTo>
                <a:lnTo>
                  <a:pt x="4339" y="1536"/>
                </a:lnTo>
                <a:lnTo>
                  <a:pt x="4339" y="1536"/>
                </a:lnTo>
                <a:lnTo>
                  <a:pt x="4339" y="1536"/>
                </a:lnTo>
                <a:lnTo>
                  <a:pt x="4339" y="1535"/>
                </a:lnTo>
                <a:lnTo>
                  <a:pt x="4339" y="1535"/>
                </a:lnTo>
                <a:close/>
                <a:moveTo>
                  <a:pt x="4249" y="1368"/>
                </a:moveTo>
                <a:lnTo>
                  <a:pt x="4249" y="1368"/>
                </a:lnTo>
                <a:lnTo>
                  <a:pt x="4252" y="1365"/>
                </a:lnTo>
                <a:lnTo>
                  <a:pt x="4249" y="1365"/>
                </a:lnTo>
                <a:lnTo>
                  <a:pt x="4249" y="1368"/>
                </a:lnTo>
                <a:close/>
                <a:moveTo>
                  <a:pt x="4068" y="1611"/>
                </a:moveTo>
                <a:lnTo>
                  <a:pt x="4066" y="1611"/>
                </a:lnTo>
                <a:lnTo>
                  <a:pt x="4066" y="1615"/>
                </a:lnTo>
                <a:lnTo>
                  <a:pt x="4068" y="1615"/>
                </a:lnTo>
                <a:lnTo>
                  <a:pt x="4068" y="1611"/>
                </a:lnTo>
                <a:close/>
                <a:moveTo>
                  <a:pt x="4350" y="1334"/>
                </a:moveTo>
                <a:lnTo>
                  <a:pt x="4350" y="1337"/>
                </a:lnTo>
                <a:lnTo>
                  <a:pt x="4351" y="1337"/>
                </a:lnTo>
                <a:lnTo>
                  <a:pt x="4351" y="1336"/>
                </a:lnTo>
                <a:lnTo>
                  <a:pt x="4350" y="1334"/>
                </a:lnTo>
                <a:lnTo>
                  <a:pt x="4350" y="1334"/>
                </a:lnTo>
                <a:close/>
                <a:moveTo>
                  <a:pt x="4200" y="1664"/>
                </a:moveTo>
                <a:lnTo>
                  <a:pt x="4202" y="1663"/>
                </a:lnTo>
                <a:lnTo>
                  <a:pt x="4204" y="1662"/>
                </a:lnTo>
                <a:lnTo>
                  <a:pt x="4204" y="1663"/>
                </a:lnTo>
                <a:lnTo>
                  <a:pt x="4203" y="1664"/>
                </a:lnTo>
                <a:lnTo>
                  <a:pt x="4204" y="1666"/>
                </a:lnTo>
                <a:lnTo>
                  <a:pt x="4204" y="1669"/>
                </a:lnTo>
                <a:lnTo>
                  <a:pt x="4205" y="1670"/>
                </a:lnTo>
                <a:lnTo>
                  <a:pt x="4205" y="1667"/>
                </a:lnTo>
                <a:lnTo>
                  <a:pt x="4206" y="1669"/>
                </a:lnTo>
                <a:lnTo>
                  <a:pt x="4208" y="1672"/>
                </a:lnTo>
                <a:lnTo>
                  <a:pt x="4214" y="1672"/>
                </a:lnTo>
                <a:lnTo>
                  <a:pt x="4216" y="1667"/>
                </a:lnTo>
                <a:lnTo>
                  <a:pt x="4216" y="1668"/>
                </a:lnTo>
                <a:lnTo>
                  <a:pt x="4216" y="1668"/>
                </a:lnTo>
                <a:lnTo>
                  <a:pt x="4217" y="1671"/>
                </a:lnTo>
                <a:lnTo>
                  <a:pt x="4218" y="1671"/>
                </a:lnTo>
                <a:lnTo>
                  <a:pt x="4221" y="1672"/>
                </a:lnTo>
                <a:lnTo>
                  <a:pt x="4221" y="1671"/>
                </a:lnTo>
                <a:lnTo>
                  <a:pt x="4221" y="1671"/>
                </a:lnTo>
                <a:lnTo>
                  <a:pt x="4223" y="1671"/>
                </a:lnTo>
                <a:lnTo>
                  <a:pt x="4226" y="1673"/>
                </a:lnTo>
                <a:lnTo>
                  <a:pt x="4229" y="1676"/>
                </a:lnTo>
                <a:lnTo>
                  <a:pt x="4232" y="1676"/>
                </a:lnTo>
                <a:lnTo>
                  <a:pt x="4230" y="1674"/>
                </a:lnTo>
                <a:lnTo>
                  <a:pt x="4227" y="1672"/>
                </a:lnTo>
                <a:lnTo>
                  <a:pt x="4226" y="1671"/>
                </a:lnTo>
                <a:lnTo>
                  <a:pt x="4228" y="1668"/>
                </a:lnTo>
                <a:lnTo>
                  <a:pt x="4229" y="1665"/>
                </a:lnTo>
                <a:lnTo>
                  <a:pt x="4231" y="1664"/>
                </a:lnTo>
                <a:lnTo>
                  <a:pt x="4229" y="1664"/>
                </a:lnTo>
                <a:lnTo>
                  <a:pt x="4229" y="1660"/>
                </a:lnTo>
                <a:lnTo>
                  <a:pt x="4232" y="1660"/>
                </a:lnTo>
                <a:lnTo>
                  <a:pt x="4229" y="1657"/>
                </a:lnTo>
                <a:lnTo>
                  <a:pt x="4229" y="1659"/>
                </a:lnTo>
                <a:lnTo>
                  <a:pt x="4229" y="1657"/>
                </a:lnTo>
                <a:lnTo>
                  <a:pt x="4229" y="1654"/>
                </a:lnTo>
                <a:lnTo>
                  <a:pt x="4229" y="1652"/>
                </a:lnTo>
                <a:lnTo>
                  <a:pt x="4231" y="1652"/>
                </a:lnTo>
                <a:lnTo>
                  <a:pt x="4230" y="1654"/>
                </a:lnTo>
                <a:lnTo>
                  <a:pt x="4232" y="1653"/>
                </a:lnTo>
                <a:lnTo>
                  <a:pt x="4236" y="1651"/>
                </a:lnTo>
                <a:lnTo>
                  <a:pt x="4255" y="1647"/>
                </a:lnTo>
                <a:lnTo>
                  <a:pt x="4262" y="1639"/>
                </a:lnTo>
                <a:lnTo>
                  <a:pt x="4269" y="1631"/>
                </a:lnTo>
                <a:lnTo>
                  <a:pt x="4269" y="1628"/>
                </a:lnTo>
                <a:lnTo>
                  <a:pt x="4272" y="1628"/>
                </a:lnTo>
                <a:lnTo>
                  <a:pt x="4273" y="1628"/>
                </a:lnTo>
                <a:lnTo>
                  <a:pt x="4272" y="1624"/>
                </a:lnTo>
                <a:lnTo>
                  <a:pt x="4270" y="1624"/>
                </a:lnTo>
                <a:lnTo>
                  <a:pt x="4275" y="1622"/>
                </a:lnTo>
                <a:lnTo>
                  <a:pt x="4277" y="1621"/>
                </a:lnTo>
                <a:lnTo>
                  <a:pt x="4277" y="1627"/>
                </a:lnTo>
                <a:lnTo>
                  <a:pt x="4277" y="1630"/>
                </a:lnTo>
                <a:lnTo>
                  <a:pt x="4277" y="1632"/>
                </a:lnTo>
                <a:lnTo>
                  <a:pt x="4279" y="1634"/>
                </a:lnTo>
                <a:lnTo>
                  <a:pt x="4280" y="1633"/>
                </a:lnTo>
                <a:lnTo>
                  <a:pt x="4281" y="1631"/>
                </a:lnTo>
                <a:lnTo>
                  <a:pt x="4281" y="1628"/>
                </a:lnTo>
                <a:lnTo>
                  <a:pt x="4281" y="1626"/>
                </a:lnTo>
                <a:lnTo>
                  <a:pt x="4281" y="1620"/>
                </a:lnTo>
                <a:lnTo>
                  <a:pt x="4281" y="1620"/>
                </a:lnTo>
                <a:lnTo>
                  <a:pt x="4278" y="1620"/>
                </a:lnTo>
                <a:lnTo>
                  <a:pt x="4277" y="1621"/>
                </a:lnTo>
                <a:lnTo>
                  <a:pt x="4277" y="1621"/>
                </a:lnTo>
                <a:lnTo>
                  <a:pt x="4281" y="1617"/>
                </a:lnTo>
                <a:lnTo>
                  <a:pt x="4281" y="1620"/>
                </a:lnTo>
                <a:lnTo>
                  <a:pt x="4284" y="1617"/>
                </a:lnTo>
                <a:lnTo>
                  <a:pt x="4285" y="1620"/>
                </a:lnTo>
                <a:lnTo>
                  <a:pt x="4285" y="1620"/>
                </a:lnTo>
                <a:lnTo>
                  <a:pt x="4285" y="1622"/>
                </a:lnTo>
                <a:lnTo>
                  <a:pt x="4285" y="1624"/>
                </a:lnTo>
                <a:lnTo>
                  <a:pt x="4286" y="1628"/>
                </a:lnTo>
                <a:lnTo>
                  <a:pt x="4287" y="1628"/>
                </a:lnTo>
                <a:lnTo>
                  <a:pt x="4291" y="1628"/>
                </a:lnTo>
                <a:lnTo>
                  <a:pt x="4287" y="1624"/>
                </a:lnTo>
                <a:lnTo>
                  <a:pt x="4291" y="1624"/>
                </a:lnTo>
                <a:lnTo>
                  <a:pt x="4291" y="1621"/>
                </a:lnTo>
                <a:lnTo>
                  <a:pt x="4292" y="1618"/>
                </a:lnTo>
                <a:lnTo>
                  <a:pt x="4293" y="1615"/>
                </a:lnTo>
                <a:lnTo>
                  <a:pt x="4292" y="1614"/>
                </a:lnTo>
                <a:lnTo>
                  <a:pt x="4289" y="1612"/>
                </a:lnTo>
                <a:lnTo>
                  <a:pt x="4289" y="1611"/>
                </a:lnTo>
                <a:lnTo>
                  <a:pt x="4291" y="1612"/>
                </a:lnTo>
                <a:lnTo>
                  <a:pt x="4292" y="1612"/>
                </a:lnTo>
                <a:lnTo>
                  <a:pt x="4297" y="1612"/>
                </a:lnTo>
                <a:lnTo>
                  <a:pt x="4300" y="1605"/>
                </a:lnTo>
                <a:lnTo>
                  <a:pt x="4301" y="1602"/>
                </a:lnTo>
                <a:lnTo>
                  <a:pt x="4303" y="1601"/>
                </a:lnTo>
                <a:lnTo>
                  <a:pt x="4304" y="1599"/>
                </a:lnTo>
                <a:lnTo>
                  <a:pt x="4306" y="1596"/>
                </a:lnTo>
                <a:lnTo>
                  <a:pt x="4309" y="1591"/>
                </a:lnTo>
                <a:lnTo>
                  <a:pt x="4309" y="1594"/>
                </a:lnTo>
                <a:lnTo>
                  <a:pt x="4313" y="1591"/>
                </a:lnTo>
                <a:lnTo>
                  <a:pt x="4317" y="1588"/>
                </a:lnTo>
                <a:lnTo>
                  <a:pt x="4317" y="1588"/>
                </a:lnTo>
                <a:lnTo>
                  <a:pt x="4317" y="1592"/>
                </a:lnTo>
                <a:lnTo>
                  <a:pt x="4319" y="1593"/>
                </a:lnTo>
                <a:lnTo>
                  <a:pt x="4321" y="1594"/>
                </a:lnTo>
                <a:lnTo>
                  <a:pt x="4321" y="1596"/>
                </a:lnTo>
                <a:lnTo>
                  <a:pt x="4321" y="1604"/>
                </a:lnTo>
                <a:lnTo>
                  <a:pt x="4322" y="1604"/>
                </a:lnTo>
                <a:lnTo>
                  <a:pt x="4323" y="1604"/>
                </a:lnTo>
                <a:lnTo>
                  <a:pt x="4325" y="1604"/>
                </a:lnTo>
                <a:lnTo>
                  <a:pt x="4329" y="1601"/>
                </a:lnTo>
                <a:lnTo>
                  <a:pt x="4329" y="1603"/>
                </a:lnTo>
                <a:lnTo>
                  <a:pt x="4325" y="1607"/>
                </a:lnTo>
                <a:lnTo>
                  <a:pt x="4325" y="1608"/>
                </a:lnTo>
                <a:lnTo>
                  <a:pt x="4329" y="1607"/>
                </a:lnTo>
                <a:lnTo>
                  <a:pt x="4334" y="1607"/>
                </a:lnTo>
                <a:lnTo>
                  <a:pt x="4342" y="1612"/>
                </a:lnTo>
                <a:lnTo>
                  <a:pt x="4345" y="1612"/>
                </a:lnTo>
                <a:lnTo>
                  <a:pt x="4345" y="1612"/>
                </a:lnTo>
                <a:lnTo>
                  <a:pt x="4345" y="1620"/>
                </a:lnTo>
                <a:lnTo>
                  <a:pt x="4344" y="1620"/>
                </a:lnTo>
                <a:lnTo>
                  <a:pt x="4342" y="1620"/>
                </a:lnTo>
                <a:lnTo>
                  <a:pt x="4340" y="1620"/>
                </a:lnTo>
                <a:lnTo>
                  <a:pt x="4337" y="1619"/>
                </a:lnTo>
                <a:lnTo>
                  <a:pt x="4334" y="1618"/>
                </a:lnTo>
                <a:lnTo>
                  <a:pt x="4332" y="1619"/>
                </a:lnTo>
                <a:lnTo>
                  <a:pt x="4330" y="1620"/>
                </a:lnTo>
                <a:lnTo>
                  <a:pt x="4331" y="1621"/>
                </a:lnTo>
                <a:lnTo>
                  <a:pt x="4332" y="1623"/>
                </a:lnTo>
                <a:lnTo>
                  <a:pt x="4333" y="1624"/>
                </a:lnTo>
                <a:lnTo>
                  <a:pt x="4333" y="1625"/>
                </a:lnTo>
                <a:lnTo>
                  <a:pt x="4333" y="1628"/>
                </a:lnTo>
                <a:lnTo>
                  <a:pt x="4337" y="1628"/>
                </a:lnTo>
                <a:lnTo>
                  <a:pt x="4340" y="1628"/>
                </a:lnTo>
                <a:lnTo>
                  <a:pt x="4337" y="1628"/>
                </a:lnTo>
                <a:lnTo>
                  <a:pt x="4329" y="1631"/>
                </a:lnTo>
                <a:lnTo>
                  <a:pt x="4326" y="1629"/>
                </a:lnTo>
                <a:lnTo>
                  <a:pt x="4324" y="1628"/>
                </a:lnTo>
                <a:lnTo>
                  <a:pt x="4321" y="1631"/>
                </a:lnTo>
                <a:lnTo>
                  <a:pt x="4321" y="1631"/>
                </a:lnTo>
                <a:lnTo>
                  <a:pt x="4321" y="1631"/>
                </a:lnTo>
                <a:lnTo>
                  <a:pt x="4319" y="1630"/>
                </a:lnTo>
                <a:lnTo>
                  <a:pt x="4318" y="1628"/>
                </a:lnTo>
                <a:lnTo>
                  <a:pt x="4315" y="1628"/>
                </a:lnTo>
                <a:lnTo>
                  <a:pt x="4317" y="1630"/>
                </a:lnTo>
                <a:lnTo>
                  <a:pt x="4320" y="1632"/>
                </a:lnTo>
                <a:lnTo>
                  <a:pt x="4316" y="1632"/>
                </a:lnTo>
                <a:lnTo>
                  <a:pt x="4319" y="1635"/>
                </a:lnTo>
                <a:lnTo>
                  <a:pt x="4322" y="1639"/>
                </a:lnTo>
                <a:lnTo>
                  <a:pt x="4322" y="1639"/>
                </a:lnTo>
                <a:lnTo>
                  <a:pt x="4321" y="1640"/>
                </a:lnTo>
                <a:lnTo>
                  <a:pt x="4315" y="1640"/>
                </a:lnTo>
                <a:lnTo>
                  <a:pt x="4315" y="1640"/>
                </a:lnTo>
                <a:lnTo>
                  <a:pt x="4318" y="1641"/>
                </a:lnTo>
                <a:lnTo>
                  <a:pt x="4315" y="1645"/>
                </a:lnTo>
                <a:lnTo>
                  <a:pt x="4317" y="1646"/>
                </a:lnTo>
                <a:lnTo>
                  <a:pt x="4320" y="1648"/>
                </a:lnTo>
                <a:lnTo>
                  <a:pt x="4321" y="1652"/>
                </a:lnTo>
                <a:lnTo>
                  <a:pt x="4322" y="1652"/>
                </a:lnTo>
                <a:lnTo>
                  <a:pt x="4325" y="1655"/>
                </a:lnTo>
                <a:lnTo>
                  <a:pt x="4327" y="1658"/>
                </a:lnTo>
                <a:lnTo>
                  <a:pt x="4325" y="1662"/>
                </a:lnTo>
                <a:lnTo>
                  <a:pt x="4324" y="1662"/>
                </a:lnTo>
                <a:lnTo>
                  <a:pt x="4322" y="1661"/>
                </a:lnTo>
                <a:lnTo>
                  <a:pt x="4324" y="1664"/>
                </a:lnTo>
                <a:lnTo>
                  <a:pt x="4325" y="1666"/>
                </a:lnTo>
                <a:lnTo>
                  <a:pt x="4340" y="1681"/>
                </a:lnTo>
                <a:lnTo>
                  <a:pt x="4337" y="1684"/>
                </a:lnTo>
                <a:lnTo>
                  <a:pt x="4331" y="1684"/>
                </a:lnTo>
                <a:lnTo>
                  <a:pt x="4329" y="1682"/>
                </a:lnTo>
                <a:lnTo>
                  <a:pt x="4326" y="1679"/>
                </a:lnTo>
                <a:lnTo>
                  <a:pt x="4326" y="1678"/>
                </a:lnTo>
                <a:lnTo>
                  <a:pt x="4325" y="1676"/>
                </a:lnTo>
                <a:lnTo>
                  <a:pt x="4326" y="1680"/>
                </a:lnTo>
                <a:lnTo>
                  <a:pt x="4326" y="1684"/>
                </a:lnTo>
                <a:lnTo>
                  <a:pt x="4325" y="1684"/>
                </a:lnTo>
                <a:lnTo>
                  <a:pt x="4321" y="1684"/>
                </a:lnTo>
                <a:lnTo>
                  <a:pt x="4319" y="1687"/>
                </a:lnTo>
                <a:lnTo>
                  <a:pt x="4317" y="1692"/>
                </a:lnTo>
                <a:lnTo>
                  <a:pt x="4317" y="1693"/>
                </a:lnTo>
                <a:lnTo>
                  <a:pt x="4317" y="1696"/>
                </a:lnTo>
                <a:lnTo>
                  <a:pt x="4317" y="1699"/>
                </a:lnTo>
                <a:lnTo>
                  <a:pt x="4318" y="1700"/>
                </a:lnTo>
                <a:lnTo>
                  <a:pt x="4319" y="1700"/>
                </a:lnTo>
                <a:lnTo>
                  <a:pt x="4319" y="1700"/>
                </a:lnTo>
                <a:lnTo>
                  <a:pt x="4317" y="1700"/>
                </a:lnTo>
                <a:lnTo>
                  <a:pt x="4317" y="1708"/>
                </a:lnTo>
                <a:lnTo>
                  <a:pt x="4315" y="1708"/>
                </a:lnTo>
                <a:lnTo>
                  <a:pt x="4311" y="1712"/>
                </a:lnTo>
                <a:lnTo>
                  <a:pt x="4308" y="1712"/>
                </a:lnTo>
                <a:lnTo>
                  <a:pt x="4307" y="1710"/>
                </a:lnTo>
                <a:lnTo>
                  <a:pt x="4305" y="1708"/>
                </a:lnTo>
                <a:lnTo>
                  <a:pt x="4305" y="1713"/>
                </a:lnTo>
                <a:lnTo>
                  <a:pt x="4303" y="1714"/>
                </a:lnTo>
                <a:lnTo>
                  <a:pt x="4301" y="1714"/>
                </a:lnTo>
                <a:lnTo>
                  <a:pt x="4301" y="1716"/>
                </a:lnTo>
                <a:lnTo>
                  <a:pt x="4301" y="1720"/>
                </a:lnTo>
                <a:lnTo>
                  <a:pt x="4301" y="1720"/>
                </a:lnTo>
                <a:lnTo>
                  <a:pt x="4301" y="1722"/>
                </a:lnTo>
                <a:lnTo>
                  <a:pt x="4302" y="1724"/>
                </a:lnTo>
                <a:lnTo>
                  <a:pt x="4303" y="1725"/>
                </a:lnTo>
                <a:lnTo>
                  <a:pt x="4305" y="1726"/>
                </a:lnTo>
                <a:lnTo>
                  <a:pt x="4305" y="1729"/>
                </a:lnTo>
                <a:lnTo>
                  <a:pt x="4304" y="1732"/>
                </a:lnTo>
                <a:lnTo>
                  <a:pt x="4301" y="1732"/>
                </a:lnTo>
                <a:lnTo>
                  <a:pt x="4302" y="1733"/>
                </a:lnTo>
                <a:lnTo>
                  <a:pt x="4303" y="1733"/>
                </a:lnTo>
                <a:lnTo>
                  <a:pt x="4302" y="1735"/>
                </a:lnTo>
                <a:lnTo>
                  <a:pt x="4301" y="1737"/>
                </a:lnTo>
                <a:lnTo>
                  <a:pt x="4301" y="1737"/>
                </a:lnTo>
                <a:lnTo>
                  <a:pt x="4301" y="1737"/>
                </a:lnTo>
                <a:lnTo>
                  <a:pt x="4300" y="1735"/>
                </a:lnTo>
                <a:lnTo>
                  <a:pt x="4300" y="1733"/>
                </a:lnTo>
                <a:lnTo>
                  <a:pt x="4300" y="1736"/>
                </a:lnTo>
                <a:lnTo>
                  <a:pt x="4301" y="1739"/>
                </a:lnTo>
                <a:lnTo>
                  <a:pt x="4300" y="1740"/>
                </a:lnTo>
                <a:lnTo>
                  <a:pt x="4300" y="1740"/>
                </a:lnTo>
                <a:lnTo>
                  <a:pt x="4297" y="1740"/>
                </a:lnTo>
                <a:lnTo>
                  <a:pt x="4297" y="1744"/>
                </a:lnTo>
                <a:lnTo>
                  <a:pt x="4296" y="1745"/>
                </a:lnTo>
                <a:lnTo>
                  <a:pt x="4279" y="1756"/>
                </a:lnTo>
                <a:lnTo>
                  <a:pt x="4277" y="1752"/>
                </a:lnTo>
                <a:lnTo>
                  <a:pt x="4277" y="1747"/>
                </a:lnTo>
                <a:lnTo>
                  <a:pt x="4276" y="1745"/>
                </a:lnTo>
                <a:lnTo>
                  <a:pt x="4275" y="1744"/>
                </a:lnTo>
                <a:lnTo>
                  <a:pt x="4272" y="1742"/>
                </a:lnTo>
                <a:lnTo>
                  <a:pt x="4269" y="1741"/>
                </a:lnTo>
                <a:lnTo>
                  <a:pt x="4266" y="1742"/>
                </a:lnTo>
                <a:lnTo>
                  <a:pt x="4261" y="1744"/>
                </a:lnTo>
                <a:lnTo>
                  <a:pt x="4261" y="1739"/>
                </a:lnTo>
                <a:lnTo>
                  <a:pt x="4258" y="1740"/>
                </a:lnTo>
                <a:lnTo>
                  <a:pt x="4256" y="1739"/>
                </a:lnTo>
                <a:lnTo>
                  <a:pt x="4253" y="1737"/>
                </a:lnTo>
                <a:lnTo>
                  <a:pt x="4249" y="1739"/>
                </a:lnTo>
                <a:lnTo>
                  <a:pt x="4249" y="1740"/>
                </a:lnTo>
                <a:lnTo>
                  <a:pt x="4249" y="1744"/>
                </a:lnTo>
                <a:lnTo>
                  <a:pt x="4247" y="1744"/>
                </a:lnTo>
                <a:lnTo>
                  <a:pt x="4245" y="1743"/>
                </a:lnTo>
                <a:lnTo>
                  <a:pt x="4242" y="1742"/>
                </a:lnTo>
                <a:lnTo>
                  <a:pt x="4240" y="1745"/>
                </a:lnTo>
                <a:lnTo>
                  <a:pt x="4238" y="1748"/>
                </a:lnTo>
                <a:lnTo>
                  <a:pt x="4237" y="1748"/>
                </a:lnTo>
                <a:lnTo>
                  <a:pt x="4237" y="1743"/>
                </a:lnTo>
                <a:lnTo>
                  <a:pt x="4238" y="1737"/>
                </a:lnTo>
                <a:lnTo>
                  <a:pt x="4237" y="1735"/>
                </a:lnTo>
                <a:lnTo>
                  <a:pt x="4237" y="1733"/>
                </a:lnTo>
                <a:lnTo>
                  <a:pt x="4235" y="1735"/>
                </a:lnTo>
                <a:lnTo>
                  <a:pt x="4234" y="1736"/>
                </a:lnTo>
                <a:lnTo>
                  <a:pt x="4233" y="1737"/>
                </a:lnTo>
                <a:lnTo>
                  <a:pt x="4233" y="1737"/>
                </a:lnTo>
                <a:lnTo>
                  <a:pt x="4232" y="1737"/>
                </a:lnTo>
                <a:lnTo>
                  <a:pt x="4230" y="1736"/>
                </a:lnTo>
                <a:lnTo>
                  <a:pt x="4228" y="1738"/>
                </a:lnTo>
                <a:lnTo>
                  <a:pt x="4225" y="1739"/>
                </a:lnTo>
                <a:lnTo>
                  <a:pt x="4224" y="1738"/>
                </a:lnTo>
                <a:lnTo>
                  <a:pt x="4222" y="1737"/>
                </a:lnTo>
                <a:lnTo>
                  <a:pt x="4223" y="1737"/>
                </a:lnTo>
                <a:lnTo>
                  <a:pt x="4223" y="1736"/>
                </a:lnTo>
                <a:lnTo>
                  <a:pt x="4219" y="1739"/>
                </a:lnTo>
                <a:lnTo>
                  <a:pt x="4218" y="1738"/>
                </a:lnTo>
                <a:lnTo>
                  <a:pt x="4218" y="1736"/>
                </a:lnTo>
                <a:lnTo>
                  <a:pt x="4215" y="1737"/>
                </a:lnTo>
                <a:lnTo>
                  <a:pt x="4213" y="1737"/>
                </a:lnTo>
                <a:lnTo>
                  <a:pt x="4211" y="1722"/>
                </a:lnTo>
                <a:lnTo>
                  <a:pt x="4210" y="1721"/>
                </a:lnTo>
                <a:lnTo>
                  <a:pt x="4208" y="1719"/>
                </a:lnTo>
                <a:lnTo>
                  <a:pt x="4210" y="1717"/>
                </a:lnTo>
                <a:lnTo>
                  <a:pt x="4210" y="1715"/>
                </a:lnTo>
                <a:lnTo>
                  <a:pt x="4211" y="1713"/>
                </a:lnTo>
                <a:lnTo>
                  <a:pt x="4207" y="1706"/>
                </a:lnTo>
                <a:lnTo>
                  <a:pt x="4202" y="1705"/>
                </a:lnTo>
                <a:lnTo>
                  <a:pt x="4196" y="1705"/>
                </a:lnTo>
                <a:lnTo>
                  <a:pt x="4196" y="1704"/>
                </a:lnTo>
                <a:lnTo>
                  <a:pt x="4203" y="1704"/>
                </a:lnTo>
                <a:lnTo>
                  <a:pt x="4200" y="1702"/>
                </a:lnTo>
                <a:lnTo>
                  <a:pt x="4197" y="1699"/>
                </a:lnTo>
                <a:lnTo>
                  <a:pt x="4196" y="1698"/>
                </a:lnTo>
                <a:lnTo>
                  <a:pt x="4196" y="1696"/>
                </a:lnTo>
                <a:lnTo>
                  <a:pt x="4197" y="1696"/>
                </a:lnTo>
                <a:lnTo>
                  <a:pt x="4199" y="1695"/>
                </a:lnTo>
                <a:lnTo>
                  <a:pt x="4197" y="1692"/>
                </a:lnTo>
                <a:lnTo>
                  <a:pt x="4196" y="1690"/>
                </a:lnTo>
                <a:lnTo>
                  <a:pt x="4196" y="1688"/>
                </a:lnTo>
                <a:lnTo>
                  <a:pt x="4192" y="1688"/>
                </a:lnTo>
                <a:lnTo>
                  <a:pt x="4192" y="1684"/>
                </a:lnTo>
                <a:lnTo>
                  <a:pt x="4192" y="1680"/>
                </a:lnTo>
                <a:lnTo>
                  <a:pt x="4192" y="1679"/>
                </a:lnTo>
                <a:lnTo>
                  <a:pt x="4192" y="1675"/>
                </a:lnTo>
                <a:lnTo>
                  <a:pt x="4194" y="1673"/>
                </a:lnTo>
                <a:lnTo>
                  <a:pt x="4197" y="1670"/>
                </a:lnTo>
                <a:lnTo>
                  <a:pt x="4199" y="1668"/>
                </a:lnTo>
                <a:lnTo>
                  <a:pt x="4199" y="1666"/>
                </a:lnTo>
                <a:lnTo>
                  <a:pt x="4200" y="1664"/>
                </a:lnTo>
                <a:close/>
                <a:moveTo>
                  <a:pt x="4302" y="1629"/>
                </a:moveTo>
                <a:lnTo>
                  <a:pt x="4302" y="1629"/>
                </a:lnTo>
                <a:lnTo>
                  <a:pt x="4304" y="1630"/>
                </a:lnTo>
                <a:lnTo>
                  <a:pt x="4305" y="1630"/>
                </a:lnTo>
                <a:lnTo>
                  <a:pt x="4304" y="1629"/>
                </a:lnTo>
                <a:lnTo>
                  <a:pt x="4303" y="1628"/>
                </a:lnTo>
                <a:lnTo>
                  <a:pt x="4302" y="1629"/>
                </a:lnTo>
                <a:close/>
                <a:moveTo>
                  <a:pt x="4296" y="1629"/>
                </a:moveTo>
                <a:lnTo>
                  <a:pt x="4298" y="1630"/>
                </a:lnTo>
                <a:lnTo>
                  <a:pt x="4298" y="1629"/>
                </a:lnTo>
                <a:lnTo>
                  <a:pt x="4297" y="1628"/>
                </a:lnTo>
                <a:lnTo>
                  <a:pt x="4296" y="1629"/>
                </a:lnTo>
                <a:close/>
                <a:moveTo>
                  <a:pt x="4254" y="1670"/>
                </a:moveTo>
                <a:lnTo>
                  <a:pt x="4255" y="1673"/>
                </a:lnTo>
                <a:lnTo>
                  <a:pt x="4256" y="1673"/>
                </a:lnTo>
                <a:lnTo>
                  <a:pt x="4255" y="1670"/>
                </a:lnTo>
                <a:lnTo>
                  <a:pt x="4254" y="1670"/>
                </a:lnTo>
                <a:close/>
                <a:moveTo>
                  <a:pt x="4514" y="1802"/>
                </a:moveTo>
                <a:lnTo>
                  <a:pt x="4514" y="1804"/>
                </a:lnTo>
                <a:lnTo>
                  <a:pt x="4514" y="1804"/>
                </a:lnTo>
                <a:lnTo>
                  <a:pt x="4517" y="1802"/>
                </a:lnTo>
                <a:lnTo>
                  <a:pt x="4514" y="1802"/>
                </a:lnTo>
                <a:close/>
                <a:moveTo>
                  <a:pt x="4331" y="1322"/>
                </a:moveTo>
                <a:lnTo>
                  <a:pt x="4331" y="1322"/>
                </a:lnTo>
                <a:lnTo>
                  <a:pt x="4334" y="1322"/>
                </a:lnTo>
                <a:lnTo>
                  <a:pt x="4332" y="1321"/>
                </a:lnTo>
                <a:lnTo>
                  <a:pt x="4331" y="1322"/>
                </a:lnTo>
                <a:close/>
                <a:moveTo>
                  <a:pt x="4352" y="1307"/>
                </a:moveTo>
                <a:lnTo>
                  <a:pt x="4352" y="1303"/>
                </a:lnTo>
                <a:lnTo>
                  <a:pt x="4352" y="1302"/>
                </a:lnTo>
                <a:lnTo>
                  <a:pt x="4350" y="1303"/>
                </a:lnTo>
                <a:lnTo>
                  <a:pt x="4350" y="1306"/>
                </a:lnTo>
                <a:lnTo>
                  <a:pt x="4352" y="1307"/>
                </a:lnTo>
                <a:lnTo>
                  <a:pt x="4352" y="1307"/>
                </a:lnTo>
                <a:close/>
                <a:moveTo>
                  <a:pt x="4302" y="1748"/>
                </a:moveTo>
                <a:lnTo>
                  <a:pt x="4302" y="1748"/>
                </a:lnTo>
                <a:lnTo>
                  <a:pt x="4301" y="1747"/>
                </a:lnTo>
                <a:lnTo>
                  <a:pt x="4301" y="1748"/>
                </a:lnTo>
                <a:lnTo>
                  <a:pt x="4302" y="1748"/>
                </a:lnTo>
                <a:close/>
                <a:moveTo>
                  <a:pt x="4321" y="1634"/>
                </a:moveTo>
                <a:lnTo>
                  <a:pt x="4320" y="1632"/>
                </a:lnTo>
                <a:lnTo>
                  <a:pt x="4320" y="1632"/>
                </a:lnTo>
                <a:lnTo>
                  <a:pt x="4320" y="1632"/>
                </a:lnTo>
                <a:lnTo>
                  <a:pt x="4320" y="1634"/>
                </a:lnTo>
                <a:lnTo>
                  <a:pt x="4321" y="1634"/>
                </a:lnTo>
                <a:close/>
                <a:moveTo>
                  <a:pt x="4310" y="1588"/>
                </a:moveTo>
                <a:lnTo>
                  <a:pt x="4310" y="1588"/>
                </a:lnTo>
                <a:lnTo>
                  <a:pt x="4310" y="1588"/>
                </a:lnTo>
                <a:lnTo>
                  <a:pt x="4309" y="1589"/>
                </a:lnTo>
                <a:lnTo>
                  <a:pt x="4309" y="1591"/>
                </a:lnTo>
                <a:lnTo>
                  <a:pt x="4310" y="1588"/>
                </a:lnTo>
                <a:lnTo>
                  <a:pt x="4310" y="1588"/>
                </a:lnTo>
                <a:close/>
                <a:moveTo>
                  <a:pt x="4297" y="1744"/>
                </a:moveTo>
                <a:lnTo>
                  <a:pt x="4297" y="1745"/>
                </a:lnTo>
                <a:lnTo>
                  <a:pt x="4298" y="1745"/>
                </a:lnTo>
                <a:lnTo>
                  <a:pt x="4299" y="1741"/>
                </a:lnTo>
                <a:lnTo>
                  <a:pt x="4300" y="1741"/>
                </a:lnTo>
                <a:lnTo>
                  <a:pt x="4300" y="1740"/>
                </a:lnTo>
                <a:lnTo>
                  <a:pt x="4300" y="1740"/>
                </a:lnTo>
                <a:lnTo>
                  <a:pt x="4298" y="1742"/>
                </a:lnTo>
                <a:lnTo>
                  <a:pt x="4297" y="1744"/>
                </a:lnTo>
                <a:close/>
                <a:moveTo>
                  <a:pt x="4300" y="1746"/>
                </a:moveTo>
                <a:lnTo>
                  <a:pt x="4301" y="1747"/>
                </a:lnTo>
                <a:lnTo>
                  <a:pt x="4301" y="1745"/>
                </a:lnTo>
                <a:lnTo>
                  <a:pt x="4299" y="1744"/>
                </a:lnTo>
                <a:lnTo>
                  <a:pt x="4298" y="1745"/>
                </a:lnTo>
                <a:lnTo>
                  <a:pt x="4298" y="1745"/>
                </a:lnTo>
                <a:lnTo>
                  <a:pt x="4300" y="1746"/>
                </a:lnTo>
                <a:close/>
                <a:moveTo>
                  <a:pt x="4279" y="1756"/>
                </a:moveTo>
                <a:lnTo>
                  <a:pt x="4279" y="1756"/>
                </a:lnTo>
                <a:lnTo>
                  <a:pt x="4279" y="1756"/>
                </a:lnTo>
                <a:lnTo>
                  <a:pt x="4279" y="1756"/>
                </a:lnTo>
                <a:lnTo>
                  <a:pt x="4279" y="1756"/>
                </a:lnTo>
                <a:close/>
                <a:moveTo>
                  <a:pt x="4297" y="1747"/>
                </a:moveTo>
                <a:lnTo>
                  <a:pt x="4298" y="1745"/>
                </a:lnTo>
                <a:lnTo>
                  <a:pt x="4297" y="1745"/>
                </a:lnTo>
                <a:lnTo>
                  <a:pt x="4297" y="1747"/>
                </a:lnTo>
                <a:close/>
                <a:moveTo>
                  <a:pt x="4324" y="1555"/>
                </a:moveTo>
                <a:lnTo>
                  <a:pt x="4323" y="1555"/>
                </a:lnTo>
                <a:lnTo>
                  <a:pt x="4319" y="1556"/>
                </a:lnTo>
                <a:lnTo>
                  <a:pt x="4313" y="1562"/>
                </a:lnTo>
                <a:lnTo>
                  <a:pt x="4313" y="1565"/>
                </a:lnTo>
                <a:lnTo>
                  <a:pt x="4313" y="1567"/>
                </a:lnTo>
                <a:lnTo>
                  <a:pt x="4313" y="1567"/>
                </a:lnTo>
                <a:lnTo>
                  <a:pt x="4313" y="1567"/>
                </a:lnTo>
                <a:lnTo>
                  <a:pt x="4325" y="1559"/>
                </a:lnTo>
                <a:lnTo>
                  <a:pt x="4325" y="1557"/>
                </a:lnTo>
                <a:lnTo>
                  <a:pt x="4325" y="1555"/>
                </a:lnTo>
                <a:lnTo>
                  <a:pt x="4329" y="1555"/>
                </a:lnTo>
                <a:lnTo>
                  <a:pt x="4336" y="1548"/>
                </a:lnTo>
                <a:lnTo>
                  <a:pt x="4335" y="1547"/>
                </a:lnTo>
                <a:lnTo>
                  <a:pt x="4335" y="1546"/>
                </a:lnTo>
                <a:lnTo>
                  <a:pt x="4335" y="1544"/>
                </a:lnTo>
                <a:lnTo>
                  <a:pt x="4335" y="1543"/>
                </a:lnTo>
                <a:lnTo>
                  <a:pt x="4330" y="1549"/>
                </a:lnTo>
                <a:lnTo>
                  <a:pt x="4324" y="1555"/>
                </a:lnTo>
                <a:close/>
                <a:moveTo>
                  <a:pt x="4594" y="1928"/>
                </a:moveTo>
                <a:lnTo>
                  <a:pt x="4594" y="1927"/>
                </a:lnTo>
                <a:lnTo>
                  <a:pt x="4594" y="1926"/>
                </a:lnTo>
                <a:lnTo>
                  <a:pt x="4594" y="1926"/>
                </a:lnTo>
                <a:lnTo>
                  <a:pt x="4594" y="1928"/>
                </a:lnTo>
                <a:lnTo>
                  <a:pt x="4594" y="1928"/>
                </a:lnTo>
                <a:close/>
                <a:moveTo>
                  <a:pt x="4597" y="1930"/>
                </a:moveTo>
                <a:lnTo>
                  <a:pt x="4598" y="1929"/>
                </a:lnTo>
                <a:lnTo>
                  <a:pt x="4598" y="1928"/>
                </a:lnTo>
                <a:lnTo>
                  <a:pt x="4597" y="1928"/>
                </a:lnTo>
                <a:lnTo>
                  <a:pt x="4597" y="1930"/>
                </a:lnTo>
                <a:lnTo>
                  <a:pt x="4597" y="1930"/>
                </a:lnTo>
                <a:close/>
                <a:moveTo>
                  <a:pt x="4600" y="1905"/>
                </a:moveTo>
                <a:lnTo>
                  <a:pt x="4597" y="1905"/>
                </a:lnTo>
                <a:lnTo>
                  <a:pt x="4597" y="1903"/>
                </a:lnTo>
                <a:lnTo>
                  <a:pt x="4599" y="1902"/>
                </a:lnTo>
                <a:lnTo>
                  <a:pt x="4600" y="1901"/>
                </a:lnTo>
                <a:lnTo>
                  <a:pt x="4598" y="1899"/>
                </a:lnTo>
                <a:lnTo>
                  <a:pt x="4598" y="1899"/>
                </a:lnTo>
                <a:lnTo>
                  <a:pt x="4598" y="1901"/>
                </a:lnTo>
                <a:lnTo>
                  <a:pt x="4597" y="1901"/>
                </a:lnTo>
                <a:lnTo>
                  <a:pt x="4597" y="1899"/>
                </a:lnTo>
                <a:lnTo>
                  <a:pt x="4597" y="1899"/>
                </a:lnTo>
                <a:lnTo>
                  <a:pt x="4594" y="1901"/>
                </a:lnTo>
                <a:lnTo>
                  <a:pt x="4594" y="1901"/>
                </a:lnTo>
                <a:lnTo>
                  <a:pt x="4593" y="1904"/>
                </a:lnTo>
                <a:lnTo>
                  <a:pt x="4593" y="1906"/>
                </a:lnTo>
                <a:lnTo>
                  <a:pt x="4598" y="1906"/>
                </a:lnTo>
                <a:lnTo>
                  <a:pt x="4600" y="1905"/>
                </a:lnTo>
                <a:close/>
                <a:moveTo>
                  <a:pt x="4569" y="1790"/>
                </a:moveTo>
                <a:lnTo>
                  <a:pt x="4569" y="1786"/>
                </a:lnTo>
                <a:lnTo>
                  <a:pt x="4567" y="1787"/>
                </a:lnTo>
                <a:lnTo>
                  <a:pt x="4569" y="1790"/>
                </a:lnTo>
                <a:lnTo>
                  <a:pt x="4569" y="1790"/>
                </a:lnTo>
                <a:close/>
                <a:moveTo>
                  <a:pt x="4601" y="1932"/>
                </a:moveTo>
                <a:lnTo>
                  <a:pt x="4601" y="1926"/>
                </a:lnTo>
                <a:lnTo>
                  <a:pt x="4601" y="1926"/>
                </a:lnTo>
                <a:lnTo>
                  <a:pt x="4600" y="1928"/>
                </a:lnTo>
                <a:lnTo>
                  <a:pt x="4601" y="1932"/>
                </a:lnTo>
                <a:lnTo>
                  <a:pt x="4601" y="1932"/>
                </a:lnTo>
                <a:close/>
                <a:moveTo>
                  <a:pt x="4586" y="1869"/>
                </a:moveTo>
                <a:lnTo>
                  <a:pt x="4586" y="1868"/>
                </a:lnTo>
                <a:lnTo>
                  <a:pt x="4587" y="1867"/>
                </a:lnTo>
                <a:lnTo>
                  <a:pt x="4586" y="1867"/>
                </a:lnTo>
                <a:lnTo>
                  <a:pt x="4586" y="1869"/>
                </a:lnTo>
                <a:lnTo>
                  <a:pt x="4586" y="1869"/>
                </a:lnTo>
                <a:close/>
                <a:moveTo>
                  <a:pt x="4636" y="1950"/>
                </a:moveTo>
                <a:lnTo>
                  <a:pt x="4637" y="1951"/>
                </a:lnTo>
                <a:lnTo>
                  <a:pt x="4638" y="1951"/>
                </a:lnTo>
                <a:lnTo>
                  <a:pt x="4638" y="1949"/>
                </a:lnTo>
                <a:lnTo>
                  <a:pt x="4634" y="1949"/>
                </a:lnTo>
                <a:lnTo>
                  <a:pt x="4636" y="1950"/>
                </a:lnTo>
                <a:close/>
                <a:moveTo>
                  <a:pt x="4595" y="1863"/>
                </a:moveTo>
                <a:lnTo>
                  <a:pt x="4597" y="1861"/>
                </a:lnTo>
                <a:lnTo>
                  <a:pt x="4597" y="1858"/>
                </a:lnTo>
                <a:lnTo>
                  <a:pt x="4597" y="1858"/>
                </a:lnTo>
                <a:lnTo>
                  <a:pt x="4595" y="1861"/>
                </a:lnTo>
                <a:lnTo>
                  <a:pt x="4594" y="1865"/>
                </a:lnTo>
                <a:lnTo>
                  <a:pt x="4595" y="1863"/>
                </a:lnTo>
                <a:close/>
                <a:moveTo>
                  <a:pt x="4629" y="1806"/>
                </a:moveTo>
                <a:lnTo>
                  <a:pt x="4626" y="1804"/>
                </a:lnTo>
                <a:lnTo>
                  <a:pt x="4622" y="1804"/>
                </a:lnTo>
                <a:lnTo>
                  <a:pt x="4615" y="1806"/>
                </a:lnTo>
                <a:lnTo>
                  <a:pt x="4611" y="1813"/>
                </a:lnTo>
                <a:lnTo>
                  <a:pt x="4608" y="1820"/>
                </a:lnTo>
                <a:lnTo>
                  <a:pt x="4612" y="1820"/>
                </a:lnTo>
                <a:lnTo>
                  <a:pt x="4619" y="1820"/>
                </a:lnTo>
                <a:lnTo>
                  <a:pt x="4626" y="1815"/>
                </a:lnTo>
                <a:lnTo>
                  <a:pt x="4629" y="1806"/>
                </a:lnTo>
                <a:close/>
                <a:moveTo>
                  <a:pt x="4698" y="1816"/>
                </a:moveTo>
                <a:lnTo>
                  <a:pt x="4698" y="1816"/>
                </a:lnTo>
                <a:lnTo>
                  <a:pt x="4698" y="1816"/>
                </a:lnTo>
                <a:lnTo>
                  <a:pt x="4698" y="1816"/>
                </a:lnTo>
                <a:lnTo>
                  <a:pt x="4698" y="1816"/>
                </a:lnTo>
                <a:close/>
                <a:moveTo>
                  <a:pt x="4743" y="1983"/>
                </a:moveTo>
                <a:lnTo>
                  <a:pt x="4743" y="1982"/>
                </a:lnTo>
                <a:lnTo>
                  <a:pt x="4743" y="1982"/>
                </a:lnTo>
                <a:lnTo>
                  <a:pt x="4743" y="1982"/>
                </a:lnTo>
                <a:lnTo>
                  <a:pt x="4742" y="1983"/>
                </a:lnTo>
                <a:lnTo>
                  <a:pt x="4743" y="1983"/>
                </a:lnTo>
                <a:close/>
                <a:moveTo>
                  <a:pt x="4691" y="1817"/>
                </a:moveTo>
                <a:lnTo>
                  <a:pt x="4694" y="1820"/>
                </a:lnTo>
                <a:lnTo>
                  <a:pt x="4697" y="1822"/>
                </a:lnTo>
                <a:lnTo>
                  <a:pt x="4695" y="1819"/>
                </a:lnTo>
                <a:lnTo>
                  <a:pt x="4693" y="1818"/>
                </a:lnTo>
                <a:lnTo>
                  <a:pt x="4691" y="1817"/>
                </a:lnTo>
                <a:close/>
                <a:moveTo>
                  <a:pt x="4773" y="2001"/>
                </a:moveTo>
                <a:lnTo>
                  <a:pt x="4775" y="1999"/>
                </a:lnTo>
                <a:lnTo>
                  <a:pt x="4773" y="1998"/>
                </a:lnTo>
                <a:lnTo>
                  <a:pt x="4773" y="1995"/>
                </a:lnTo>
                <a:lnTo>
                  <a:pt x="4773" y="1995"/>
                </a:lnTo>
                <a:lnTo>
                  <a:pt x="4773" y="1996"/>
                </a:lnTo>
                <a:lnTo>
                  <a:pt x="4773" y="1998"/>
                </a:lnTo>
                <a:lnTo>
                  <a:pt x="4773" y="1998"/>
                </a:lnTo>
                <a:lnTo>
                  <a:pt x="4773" y="1999"/>
                </a:lnTo>
                <a:lnTo>
                  <a:pt x="4773" y="2001"/>
                </a:lnTo>
                <a:lnTo>
                  <a:pt x="4773" y="2001"/>
                </a:lnTo>
                <a:close/>
                <a:moveTo>
                  <a:pt x="4696" y="1819"/>
                </a:moveTo>
                <a:lnTo>
                  <a:pt x="4696" y="1817"/>
                </a:lnTo>
                <a:lnTo>
                  <a:pt x="4694" y="1817"/>
                </a:lnTo>
                <a:lnTo>
                  <a:pt x="4695" y="1818"/>
                </a:lnTo>
                <a:lnTo>
                  <a:pt x="4696" y="1819"/>
                </a:lnTo>
                <a:lnTo>
                  <a:pt x="4696" y="1819"/>
                </a:lnTo>
                <a:close/>
                <a:moveTo>
                  <a:pt x="4795" y="2032"/>
                </a:moveTo>
                <a:lnTo>
                  <a:pt x="4797" y="2032"/>
                </a:lnTo>
                <a:lnTo>
                  <a:pt x="4795" y="2030"/>
                </a:lnTo>
                <a:lnTo>
                  <a:pt x="4795" y="2030"/>
                </a:lnTo>
                <a:lnTo>
                  <a:pt x="4795" y="2032"/>
                </a:lnTo>
                <a:close/>
                <a:moveTo>
                  <a:pt x="4675" y="1855"/>
                </a:moveTo>
                <a:lnTo>
                  <a:pt x="4675" y="1853"/>
                </a:lnTo>
                <a:lnTo>
                  <a:pt x="4675" y="1852"/>
                </a:lnTo>
                <a:lnTo>
                  <a:pt x="4675" y="1852"/>
                </a:lnTo>
                <a:lnTo>
                  <a:pt x="4674" y="1853"/>
                </a:lnTo>
                <a:lnTo>
                  <a:pt x="4675" y="1855"/>
                </a:lnTo>
                <a:lnTo>
                  <a:pt x="4675" y="1855"/>
                </a:lnTo>
                <a:close/>
                <a:moveTo>
                  <a:pt x="4675" y="1845"/>
                </a:moveTo>
                <a:lnTo>
                  <a:pt x="4675" y="1846"/>
                </a:lnTo>
                <a:lnTo>
                  <a:pt x="4678" y="1846"/>
                </a:lnTo>
                <a:lnTo>
                  <a:pt x="4677" y="1846"/>
                </a:lnTo>
                <a:lnTo>
                  <a:pt x="4675" y="1845"/>
                </a:lnTo>
                <a:lnTo>
                  <a:pt x="4675" y="1845"/>
                </a:lnTo>
                <a:close/>
                <a:moveTo>
                  <a:pt x="4351" y="1522"/>
                </a:moveTo>
                <a:lnTo>
                  <a:pt x="4351" y="1521"/>
                </a:lnTo>
                <a:lnTo>
                  <a:pt x="4352" y="1520"/>
                </a:lnTo>
                <a:lnTo>
                  <a:pt x="4349" y="1520"/>
                </a:lnTo>
                <a:lnTo>
                  <a:pt x="4351" y="1522"/>
                </a:lnTo>
                <a:close/>
                <a:moveTo>
                  <a:pt x="4560" y="1796"/>
                </a:moveTo>
                <a:lnTo>
                  <a:pt x="4560" y="1796"/>
                </a:lnTo>
                <a:lnTo>
                  <a:pt x="4560" y="1796"/>
                </a:lnTo>
                <a:lnTo>
                  <a:pt x="4560" y="1796"/>
                </a:lnTo>
                <a:lnTo>
                  <a:pt x="4560" y="1796"/>
                </a:lnTo>
                <a:close/>
                <a:moveTo>
                  <a:pt x="4538" y="1781"/>
                </a:moveTo>
                <a:lnTo>
                  <a:pt x="4538" y="1781"/>
                </a:lnTo>
                <a:lnTo>
                  <a:pt x="4538" y="1779"/>
                </a:lnTo>
                <a:lnTo>
                  <a:pt x="4538" y="1775"/>
                </a:lnTo>
                <a:lnTo>
                  <a:pt x="4538" y="1775"/>
                </a:lnTo>
                <a:lnTo>
                  <a:pt x="4538" y="1778"/>
                </a:lnTo>
                <a:lnTo>
                  <a:pt x="4538" y="1781"/>
                </a:lnTo>
                <a:close/>
                <a:moveTo>
                  <a:pt x="4547" y="1752"/>
                </a:moveTo>
                <a:lnTo>
                  <a:pt x="4547" y="1755"/>
                </a:lnTo>
                <a:lnTo>
                  <a:pt x="4549" y="1756"/>
                </a:lnTo>
                <a:lnTo>
                  <a:pt x="4552" y="1756"/>
                </a:lnTo>
                <a:lnTo>
                  <a:pt x="4549" y="1754"/>
                </a:lnTo>
                <a:lnTo>
                  <a:pt x="4547" y="1752"/>
                </a:lnTo>
                <a:lnTo>
                  <a:pt x="4547" y="1752"/>
                </a:lnTo>
                <a:close/>
                <a:moveTo>
                  <a:pt x="4567" y="1792"/>
                </a:moveTo>
                <a:lnTo>
                  <a:pt x="4567" y="1789"/>
                </a:lnTo>
                <a:lnTo>
                  <a:pt x="4566" y="1787"/>
                </a:lnTo>
                <a:lnTo>
                  <a:pt x="4566" y="1787"/>
                </a:lnTo>
                <a:lnTo>
                  <a:pt x="4566" y="1787"/>
                </a:lnTo>
                <a:lnTo>
                  <a:pt x="4566" y="1787"/>
                </a:lnTo>
                <a:lnTo>
                  <a:pt x="4566" y="1792"/>
                </a:lnTo>
                <a:lnTo>
                  <a:pt x="4567" y="1792"/>
                </a:lnTo>
                <a:close/>
                <a:moveTo>
                  <a:pt x="4526" y="1797"/>
                </a:moveTo>
                <a:lnTo>
                  <a:pt x="4525" y="1797"/>
                </a:lnTo>
                <a:lnTo>
                  <a:pt x="4527" y="1801"/>
                </a:lnTo>
                <a:lnTo>
                  <a:pt x="4527" y="1799"/>
                </a:lnTo>
                <a:lnTo>
                  <a:pt x="4526" y="1797"/>
                </a:lnTo>
                <a:close/>
                <a:moveTo>
                  <a:pt x="4497" y="1171"/>
                </a:moveTo>
                <a:lnTo>
                  <a:pt x="4496" y="1169"/>
                </a:lnTo>
                <a:lnTo>
                  <a:pt x="4496" y="1169"/>
                </a:lnTo>
                <a:lnTo>
                  <a:pt x="4496" y="1172"/>
                </a:lnTo>
                <a:lnTo>
                  <a:pt x="4499" y="1172"/>
                </a:lnTo>
                <a:lnTo>
                  <a:pt x="4497" y="1171"/>
                </a:lnTo>
                <a:close/>
                <a:moveTo>
                  <a:pt x="4519" y="1869"/>
                </a:moveTo>
                <a:lnTo>
                  <a:pt x="4522" y="1865"/>
                </a:lnTo>
                <a:lnTo>
                  <a:pt x="4517" y="1861"/>
                </a:lnTo>
                <a:lnTo>
                  <a:pt x="4517" y="1861"/>
                </a:lnTo>
                <a:lnTo>
                  <a:pt x="4515" y="1861"/>
                </a:lnTo>
                <a:lnTo>
                  <a:pt x="4515" y="1861"/>
                </a:lnTo>
                <a:lnTo>
                  <a:pt x="4514" y="1861"/>
                </a:lnTo>
                <a:lnTo>
                  <a:pt x="4514" y="1861"/>
                </a:lnTo>
                <a:lnTo>
                  <a:pt x="4514" y="1861"/>
                </a:lnTo>
                <a:lnTo>
                  <a:pt x="4508" y="1865"/>
                </a:lnTo>
                <a:lnTo>
                  <a:pt x="4507" y="1863"/>
                </a:lnTo>
                <a:lnTo>
                  <a:pt x="4505" y="1861"/>
                </a:lnTo>
                <a:lnTo>
                  <a:pt x="4506" y="1868"/>
                </a:lnTo>
                <a:lnTo>
                  <a:pt x="4505" y="1865"/>
                </a:lnTo>
                <a:lnTo>
                  <a:pt x="4502" y="1865"/>
                </a:lnTo>
                <a:lnTo>
                  <a:pt x="4502" y="1869"/>
                </a:lnTo>
                <a:lnTo>
                  <a:pt x="4501" y="1869"/>
                </a:lnTo>
                <a:lnTo>
                  <a:pt x="4500" y="1870"/>
                </a:lnTo>
                <a:lnTo>
                  <a:pt x="4506" y="1872"/>
                </a:lnTo>
                <a:lnTo>
                  <a:pt x="4507" y="1870"/>
                </a:lnTo>
                <a:lnTo>
                  <a:pt x="4509" y="1869"/>
                </a:lnTo>
                <a:lnTo>
                  <a:pt x="4507" y="1868"/>
                </a:lnTo>
                <a:lnTo>
                  <a:pt x="4506" y="1867"/>
                </a:lnTo>
                <a:lnTo>
                  <a:pt x="4515" y="1872"/>
                </a:lnTo>
                <a:lnTo>
                  <a:pt x="4519" y="1869"/>
                </a:lnTo>
                <a:close/>
                <a:moveTo>
                  <a:pt x="4505" y="1861"/>
                </a:moveTo>
                <a:lnTo>
                  <a:pt x="4505" y="1861"/>
                </a:lnTo>
                <a:lnTo>
                  <a:pt x="4505" y="1861"/>
                </a:lnTo>
                <a:lnTo>
                  <a:pt x="4505" y="1861"/>
                </a:lnTo>
                <a:lnTo>
                  <a:pt x="4505" y="1861"/>
                </a:lnTo>
                <a:close/>
                <a:moveTo>
                  <a:pt x="4542" y="1781"/>
                </a:moveTo>
                <a:lnTo>
                  <a:pt x="4542" y="1781"/>
                </a:lnTo>
                <a:lnTo>
                  <a:pt x="4545" y="1775"/>
                </a:lnTo>
                <a:lnTo>
                  <a:pt x="4545" y="1774"/>
                </a:lnTo>
                <a:lnTo>
                  <a:pt x="4545" y="1772"/>
                </a:lnTo>
                <a:lnTo>
                  <a:pt x="4544" y="1772"/>
                </a:lnTo>
                <a:lnTo>
                  <a:pt x="4542" y="1780"/>
                </a:lnTo>
                <a:lnTo>
                  <a:pt x="4542" y="1781"/>
                </a:lnTo>
                <a:close/>
                <a:moveTo>
                  <a:pt x="4560" y="1787"/>
                </a:moveTo>
                <a:lnTo>
                  <a:pt x="4560" y="1787"/>
                </a:lnTo>
                <a:lnTo>
                  <a:pt x="4560" y="1787"/>
                </a:lnTo>
                <a:lnTo>
                  <a:pt x="4560" y="1787"/>
                </a:lnTo>
                <a:close/>
                <a:moveTo>
                  <a:pt x="4559" y="1785"/>
                </a:moveTo>
                <a:lnTo>
                  <a:pt x="4559" y="1784"/>
                </a:lnTo>
                <a:lnTo>
                  <a:pt x="4558" y="1785"/>
                </a:lnTo>
                <a:lnTo>
                  <a:pt x="4558" y="1792"/>
                </a:lnTo>
                <a:lnTo>
                  <a:pt x="4559" y="1794"/>
                </a:lnTo>
                <a:lnTo>
                  <a:pt x="4560" y="1796"/>
                </a:lnTo>
                <a:lnTo>
                  <a:pt x="4562" y="1793"/>
                </a:lnTo>
                <a:lnTo>
                  <a:pt x="4564" y="1790"/>
                </a:lnTo>
                <a:lnTo>
                  <a:pt x="4561" y="1788"/>
                </a:lnTo>
                <a:lnTo>
                  <a:pt x="4560" y="1787"/>
                </a:lnTo>
                <a:lnTo>
                  <a:pt x="4560" y="1787"/>
                </a:lnTo>
                <a:lnTo>
                  <a:pt x="4559" y="1785"/>
                </a:lnTo>
                <a:close/>
                <a:moveTo>
                  <a:pt x="4566" y="1787"/>
                </a:moveTo>
                <a:lnTo>
                  <a:pt x="4566" y="1787"/>
                </a:lnTo>
                <a:lnTo>
                  <a:pt x="4566" y="1787"/>
                </a:lnTo>
                <a:lnTo>
                  <a:pt x="4566" y="1787"/>
                </a:lnTo>
                <a:lnTo>
                  <a:pt x="4566" y="1787"/>
                </a:lnTo>
                <a:close/>
                <a:moveTo>
                  <a:pt x="4558" y="1784"/>
                </a:moveTo>
                <a:lnTo>
                  <a:pt x="4559" y="1784"/>
                </a:lnTo>
                <a:lnTo>
                  <a:pt x="4559" y="1784"/>
                </a:lnTo>
                <a:lnTo>
                  <a:pt x="4558" y="1784"/>
                </a:lnTo>
                <a:close/>
                <a:moveTo>
                  <a:pt x="4566" y="1786"/>
                </a:moveTo>
                <a:lnTo>
                  <a:pt x="4566" y="1786"/>
                </a:lnTo>
                <a:lnTo>
                  <a:pt x="4566" y="1784"/>
                </a:lnTo>
                <a:lnTo>
                  <a:pt x="4566" y="1784"/>
                </a:lnTo>
                <a:lnTo>
                  <a:pt x="4566" y="1783"/>
                </a:lnTo>
                <a:lnTo>
                  <a:pt x="4566" y="1782"/>
                </a:lnTo>
                <a:lnTo>
                  <a:pt x="4566" y="1779"/>
                </a:lnTo>
                <a:lnTo>
                  <a:pt x="4566" y="1778"/>
                </a:lnTo>
                <a:lnTo>
                  <a:pt x="4566" y="1776"/>
                </a:lnTo>
                <a:lnTo>
                  <a:pt x="4565" y="1776"/>
                </a:lnTo>
                <a:lnTo>
                  <a:pt x="4562" y="1781"/>
                </a:lnTo>
                <a:lnTo>
                  <a:pt x="4562" y="1781"/>
                </a:lnTo>
                <a:lnTo>
                  <a:pt x="4561" y="1783"/>
                </a:lnTo>
                <a:lnTo>
                  <a:pt x="4560" y="1783"/>
                </a:lnTo>
                <a:lnTo>
                  <a:pt x="4558" y="1782"/>
                </a:lnTo>
                <a:lnTo>
                  <a:pt x="4560" y="1784"/>
                </a:lnTo>
                <a:lnTo>
                  <a:pt x="4561" y="1784"/>
                </a:lnTo>
                <a:lnTo>
                  <a:pt x="4561" y="1784"/>
                </a:lnTo>
                <a:lnTo>
                  <a:pt x="4566" y="1787"/>
                </a:lnTo>
                <a:lnTo>
                  <a:pt x="4566" y="1787"/>
                </a:lnTo>
                <a:lnTo>
                  <a:pt x="4566" y="1786"/>
                </a:lnTo>
                <a:close/>
                <a:moveTo>
                  <a:pt x="4561" y="1786"/>
                </a:moveTo>
                <a:lnTo>
                  <a:pt x="4560" y="1787"/>
                </a:lnTo>
                <a:lnTo>
                  <a:pt x="4561" y="1787"/>
                </a:lnTo>
                <a:lnTo>
                  <a:pt x="4564" y="1789"/>
                </a:lnTo>
                <a:lnTo>
                  <a:pt x="4566" y="1787"/>
                </a:lnTo>
                <a:lnTo>
                  <a:pt x="4562" y="1786"/>
                </a:lnTo>
                <a:lnTo>
                  <a:pt x="4561" y="1786"/>
                </a:lnTo>
                <a:close/>
                <a:moveTo>
                  <a:pt x="4562" y="1780"/>
                </a:moveTo>
                <a:lnTo>
                  <a:pt x="4562" y="1781"/>
                </a:lnTo>
                <a:lnTo>
                  <a:pt x="4562" y="1780"/>
                </a:lnTo>
                <a:lnTo>
                  <a:pt x="4562" y="1780"/>
                </a:lnTo>
                <a:close/>
                <a:moveTo>
                  <a:pt x="4523" y="1797"/>
                </a:moveTo>
                <a:lnTo>
                  <a:pt x="4516" y="1804"/>
                </a:lnTo>
                <a:lnTo>
                  <a:pt x="4514" y="1809"/>
                </a:lnTo>
                <a:lnTo>
                  <a:pt x="4514" y="1812"/>
                </a:lnTo>
                <a:lnTo>
                  <a:pt x="4514" y="1812"/>
                </a:lnTo>
                <a:lnTo>
                  <a:pt x="4511" y="1816"/>
                </a:lnTo>
                <a:lnTo>
                  <a:pt x="4514" y="1815"/>
                </a:lnTo>
                <a:lnTo>
                  <a:pt x="4514" y="1816"/>
                </a:lnTo>
                <a:lnTo>
                  <a:pt x="4518" y="1816"/>
                </a:lnTo>
                <a:lnTo>
                  <a:pt x="4519" y="1812"/>
                </a:lnTo>
                <a:lnTo>
                  <a:pt x="4519" y="1809"/>
                </a:lnTo>
                <a:lnTo>
                  <a:pt x="4522" y="1805"/>
                </a:lnTo>
                <a:lnTo>
                  <a:pt x="4522" y="1801"/>
                </a:lnTo>
                <a:lnTo>
                  <a:pt x="4525" y="1798"/>
                </a:lnTo>
                <a:lnTo>
                  <a:pt x="4523" y="1797"/>
                </a:lnTo>
                <a:close/>
                <a:moveTo>
                  <a:pt x="4832" y="1764"/>
                </a:moveTo>
                <a:lnTo>
                  <a:pt x="4832" y="1764"/>
                </a:lnTo>
                <a:lnTo>
                  <a:pt x="4832" y="1764"/>
                </a:lnTo>
                <a:lnTo>
                  <a:pt x="4832" y="1764"/>
                </a:lnTo>
                <a:lnTo>
                  <a:pt x="4832" y="1764"/>
                </a:lnTo>
                <a:close/>
                <a:moveTo>
                  <a:pt x="4806" y="1740"/>
                </a:moveTo>
                <a:lnTo>
                  <a:pt x="4817" y="1748"/>
                </a:lnTo>
                <a:lnTo>
                  <a:pt x="4820" y="1748"/>
                </a:lnTo>
                <a:lnTo>
                  <a:pt x="4822" y="1749"/>
                </a:lnTo>
                <a:lnTo>
                  <a:pt x="4824" y="1750"/>
                </a:lnTo>
                <a:lnTo>
                  <a:pt x="4826" y="1754"/>
                </a:lnTo>
                <a:lnTo>
                  <a:pt x="4827" y="1757"/>
                </a:lnTo>
                <a:lnTo>
                  <a:pt x="4827" y="1760"/>
                </a:lnTo>
                <a:lnTo>
                  <a:pt x="4830" y="1764"/>
                </a:lnTo>
                <a:lnTo>
                  <a:pt x="4831" y="1764"/>
                </a:lnTo>
                <a:lnTo>
                  <a:pt x="4832" y="1764"/>
                </a:lnTo>
                <a:lnTo>
                  <a:pt x="4834" y="1761"/>
                </a:lnTo>
                <a:lnTo>
                  <a:pt x="4834" y="1760"/>
                </a:lnTo>
                <a:lnTo>
                  <a:pt x="4833" y="1760"/>
                </a:lnTo>
                <a:lnTo>
                  <a:pt x="4834" y="1759"/>
                </a:lnTo>
                <a:lnTo>
                  <a:pt x="4834" y="1757"/>
                </a:lnTo>
                <a:lnTo>
                  <a:pt x="4831" y="1755"/>
                </a:lnTo>
                <a:lnTo>
                  <a:pt x="4828" y="1753"/>
                </a:lnTo>
                <a:lnTo>
                  <a:pt x="4824" y="1748"/>
                </a:lnTo>
                <a:lnTo>
                  <a:pt x="4819" y="1744"/>
                </a:lnTo>
                <a:lnTo>
                  <a:pt x="4816" y="1744"/>
                </a:lnTo>
                <a:lnTo>
                  <a:pt x="4803" y="1732"/>
                </a:lnTo>
                <a:lnTo>
                  <a:pt x="4803" y="1732"/>
                </a:lnTo>
                <a:lnTo>
                  <a:pt x="4803" y="1732"/>
                </a:lnTo>
                <a:lnTo>
                  <a:pt x="4803" y="1736"/>
                </a:lnTo>
                <a:lnTo>
                  <a:pt x="4799" y="1740"/>
                </a:lnTo>
                <a:lnTo>
                  <a:pt x="4806" y="1740"/>
                </a:lnTo>
                <a:close/>
                <a:moveTo>
                  <a:pt x="4774" y="1776"/>
                </a:moveTo>
                <a:lnTo>
                  <a:pt x="4766" y="1776"/>
                </a:lnTo>
                <a:lnTo>
                  <a:pt x="4765" y="1777"/>
                </a:lnTo>
                <a:lnTo>
                  <a:pt x="4765" y="1777"/>
                </a:lnTo>
                <a:lnTo>
                  <a:pt x="4765" y="1778"/>
                </a:lnTo>
                <a:lnTo>
                  <a:pt x="4766" y="1779"/>
                </a:lnTo>
                <a:lnTo>
                  <a:pt x="4771" y="1780"/>
                </a:lnTo>
                <a:lnTo>
                  <a:pt x="4775" y="1784"/>
                </a:lnTo>
                <a:lnTo>
                  <a:pt x="4775" y="1786"/>
                </a:lnTo>
                <a:lnTo>
                  <a:pt x="4778" y="1785"/>
                </a:lnTo>
                <a:lnTo>
                  <a:pt x="4780" y="1784"/>
                </a:lnTo>
                <a:lnTo>
                  <a:pt x="4782" y="1786"/>
                </a:lnTo>
                <a:lnTo>
                  <a:pt x="4784" y="1788"/>
                </a:lnTo>
                <a:lnTo>
                  <a:pt x="4795" y="1788"/>
                </a:lnTo>
                <a:lnTo>
                  <a:pt x="4799" y="1785"/>
                </a:lnTo>
                <a:lnTo>
                  <a:pt x="4810" y="1779"/>
                </a:lnTo>
                <a:lnTo>
                  <a:pt x="4810" y="1778"/>
                </a:lnTo>
                <a:lnTo>
                  <a:pt x="4811" y="1776"/>
                </a:lnTo>
                <a:lnTo>
                  <a:pt x="4814" y="1777"/>
                </a:lnTo>
                <a:lnTo>
                  <a:pt x="4816" y="1777"/>
                </a:lnTo>
                <a:lnTo>
                  <a:pt x="4818" y="1776"/>
                </a:lnTo>
                <a:lnTo>
                  <a:pt x="4819" y="1775"/>
                </a:lnTo>
                <a:lnTo>
                  <a:pt x="4819" y="1772"/>
                </a:lnTo>
                <a:lnTo>
                  <a:pt x="4819" y="1772"/>
                </a:lnTo>
                <a:lnTo>
                  <a:pt x="4819" y="1772"/>
                </a:lnTo>
                <a:lnTo>
                  <a:pt x="4821" y="1772"/>
                </a:lnTo>
                <a:lnTo>
                  <a:pt x="4823" y="1768"/>
                </a:lnTo>
                <a:lnTo>
                  <a:pt x="4825" y="1765"/>
                </a:lnTo>
                <a:lnTo>
                  <a:pt x="4824" y="1762"/>
                </a:lnTo>
                <a:lnTo>
                  <a:pt x="4824" y="1760"/>
                </a:lnTo>
                <a:lnTo>
                  <a:pt x="4820" y="1760"/>
                </a:lnTo>
                <a:lnTo>
                  <a:pt x="4822" y="1759"/>
                </a:lnTo>
                <a:lnTo>
                  <a:pt x="4823" y="1757"/>
                </a:lnTo>
                <a:lnTo>
                  <a:pt x="4820" y="1760"/>
                </a:lnTo>
                <a:lnTo>
                  <a:pt x="4816" y="1760"/>
                </a:lnTo>
                <a:lnTo>
                  <a:pt x="4811" y="1760"/>
                </a:lnTo>
                <a:lnTo>
                  <a:pt x="4812" y="1763"/>
                </a:lnTo>
                <a:lnTo>
                  <a:pt x="4814" y="1767"/>
                </a:lnTo>
                <a:lnTo>
                  <a:pt x="4811" y="1768"/>
                </a:lnTo>
                <a:lnTo>
                  <a:pt x="4808" y="1769"/>
                </a:lnTo>
                <a:lnTo>
                  <a:pt x="4805" y="1774"/>
                </a:lnTo>
                <a:lnTo>
                  <a:pt x="4802" y="1780"/>
                </a:lnTo>
                <a:lnTo>
                  <a:pt x="4798" y="1780"/>
                </a:lnTo>
                <a:lnTo>
                  <a:pt x="4797" y="1778"/>
                </a:lnTo>
                <a:lnTo>
                  <a:pt x="4796" y="1778"/>
                </a:lnTo>
                <a:lnTo>
                  <a:pt x="4794" y="1780"/>
                </a:lnTo>
                <a:lnTo>
                  <a:pt x="4792" y="1780"/>
                </a:lnTo>
                <a:lnTo>
                  <a:pt x="4789" y="1776"/>
                </a:lnTo>
                <a:lnTo>
                  <a:pt x="4787" y="1772"/>
                </a:lnTo>
                <a:lnTo>
                  <a:pt x="4787" y="1775"/>
                </a:lnTo>
                <a:lnTo>
                  <a:pt x="4787" y="1776"/>
                </a:lnTo>
                <a:lnTo>
                  <a:pt x="4783" y="1777"/>
                </a:lnTo>
                <a:lnTo>
                  <a:pt x="4779" y="1778"/>
                </a:lnTo>
                <a:lnTo>
                  <a:pt x="4774" y="1776"/>
                </a:lnTo>
                <a:close/>
                <a:moveTo>
                  <a:pt x="4792" y="1770"/>
                </a:moveTo>
                <a:lnTo>
                  <a:pt x="4790" y="1769"/>
                </a:lnTo>
                <a:lnTo>
                  <a:pt x="4788" y="1772"/>
                </a:lnTo>
                <a:lnTo>
                  <a:pt x="4794" y="1772"/>
                </a:lnTo>
                <a:lnTo>
                  <a:pt x="4792" y="1770"/>
                </a:lnTo>
                <a:close/>
                <a:moveTo>
                  <a:pt x="4823" y="1757"/>
                </a:moveTo>
                <a:lnTo>
                  <a:pt x="4823" y="1757"/>
                </a:lnTo>
                <a:lnTo>
                  <a:pt x="4823" y="1757"/>
                </a:lnTo>
                <a:lnTo>
                  <a:pt x="4823" y="1757"/>
                </a:lnTo>
                <a:lnTo>
                  <a:pt x="4823" y="1757"/>
                </a:lnTo>
                <a:close/>
                <a:moveTo>
                  <a:pt x="4821" y="937"/>
                </a:moveTo>
                <a:lnTo>
                  <a:pt x="4822" y="934"/>
                </a:lnTo>
                <a:lnTo>
                  <a:pt x="4818" y="937"/>
                </a:lnTo>
                <a:lnTo>
                  <a:pt x="4814" y="941"/>
                </a:lnTo>
                <a:lnTo>
                  <a:pt x="4820" y="940"/>
                </a:lnTo>
                <a:lnTo>
                  <a:pt x="4821" y="937"/>
                </a:lnTo>
                <a:close/>
                <a:moveTo>
                  <a:pt x="4828" y="1743"/>
                </a:moveTo>
                <a:lnTo>
                  <a:pt x="4828" y="1739"/>
                </a:lnTo>
                <a:lnTo>
                  <a:pt x="4828" y="1739"/>
                </a:lnTo>
                <a:lnTo>
                  <a:pt x="4827" y="1740"/>
                </a:lnTo>
                <a:lnTo>
                  <a:pt x="4827" y="1741"/>
                </a:lnTo>
                <a:lnTo>
                  <a:pt x="4827" y="1742"/>
                </a:lnTo>
                <a:lnTo>
                  <a:pt x="4828" y="1743"/>
                </a:lnTo>
                <a:lnTo>
                  <a:pt x="4828" y="1743"/>
                </a:lnTo>
                <a:close/>
                <a:moveTo>
                  <a:pt x="4817" y="1734"/>
                </a:moveTo>
                <a:lnTo>
                  <a:pt x="4817" y="1736"/>
                </a:lnTo>
                <a:lnTo>
                  <a:pt x="4819" y="1736"/>
                </a:lnTo>
                <a:lnTo>
                  <a:pt x="4818" y="1735"/>
                </a:lnTo>
                <a:lnTo>
                  <a:pt x="4817" y="1734"/>
                </a:lnTo>
                <a:lnTo>
                  <a:pt x="4817" y="1734"/>
                </a:lnTo>
                <a:close/>
                <a:moveTo>
                  <a:pt x="4787" y="1772"/>
                </a:moveTo>
                <a:lnTo>
                  <a:pt x="4787" y="1772"/>
                </a:lnTo>
                <a:lnTo>
                  <a:pt x="4788" y="1772"/>
                </a:lnTo>
                <a:lnTo>
                  <a:pt x="4787" y="1772"/>
                </a:lnTo>
                <a:close/>
                <a:moveTo>
                  <a:pt x="4825" y="1829"/>
                </a:moveTo>
                <a:lnTo>
                  <a:pt x="4831" y="1831"/>
                </a:lnTo>
                <a:lnTo>
                  <a:pt x="4833" y="1830"/>
                </a:lnTo>
                <a:lnTo>
                  <a:pt x="4831" y="1826"/>
                </a:lnTo>
                <a:lnTo>
                  <a:pt x="4825" y="1829"/>
                </a:lnTo>
                <a:close/>
                <a:moveTo>
                  <a:pt x="4692" y="1029"/>
                </a:moveTo>
                <a:lnTo>
                  <a:pt x="4692" y="1029"/>
                </a:lnTo>
                <a:lnTo>
                  <a:pt x="4692" y="1029"/>
                </a:lnTo>
                <a:lnTo>
                  <a:pt x="4692" y="1029"/>
                </a:lnTo>
                <a:lnTo>
                  <a:pt x="4692" y="1029"/>
                </a:lnTo>
                <a:close/>
                <a:moveTo>
                  <a:pt x="4527" y="1009"/>
                </a:moveTo>
                <a:lnTo>
                  <a:pt x="4526" y="1011"/>
                </a:lnTo>
                <a:lnTo>
                  <a:pt x="4527" y="1011"/>
                </a:lnTo>
                <a:lnTo>
                  <a:pt x="4527" y="1009"/>
                </a:lnTo>
                <a:lnTo>
                  <a:pt x="4527" y="1009"/>
                </a:lnTo>
                <a:close/>
                <a:moveTo>
                  <a:pt x="4743" y="985"/>
                </a:moveTo>
                <a:lnTo>
                  <a:pt x="4744" y="985"/>
                </a:lnTo>
                <a:lnTo>
                  <a:pt x="4749" y="982"/>
                </a:lnTo>
                <a:lnTo>
                  <a:pt x="4755" y="980"/>
                </a:lnTo>
                <a:lnTo>
                  <a:pt x="4755" y="977"/>
                </a:lnTo>
                <a:lnTo>
                  <a:pt x="4757" y="977"/>
                </a:lnTo>
                <a:lnTo>
                  <a:pt x="4761" y="975"/>
                </a:lnTo>
                <a:lnTo>
                  <a:pt x="4765" y="973"/>
                </a:lnTo>
                <a:lnTo>
                  <a:pt x="4762" y="973"/>
                </a:lnTo>
                <a:lnTo>
                  <a:pt x="4762" y="970"/>
                </a:lnTo>
                <a:lnTo>
                  <a:pt x="4760" y="968"/>
                </a:lnTo>
                <a:lnTo>
                  <a:pt x="4755" y="968"/>
                </a:lnTo>
                <a:lnTo>
                  <a:pt x="4755" y="970"/>
                </a:lnTo>
                <a:lnTo>
                  <a:pt x="4751" y="974"/>
                </a:lnTo>
                <a:lnTo>
                  <a:pt x="4747" y="979"/>
                </a:lnTo>
                <a:lnTo>
                  <a:pt x="4749" y="980"/>
                </a:lnTo>
                <a:lnTo>
                  <a:pt x="4743" y="983"/>
                </a:lnTo>
                <a:lnTo>
                  <a:pt x="4743" y="985"/>
                </a:lnTo>
                <a:close/>
                <a:moveTo>
                  <a:pt x="4651" y="1011"/>
                </a:moveTo>
                <a:lnTo>
                  <a:pt x="4646" y="1013"/>
                </a:lnTo>
                <a:lnTo>
                  <a:pt x="4642" y="1014"/>
                </a:lnTo>
                <a:lnTo>
                  <a:pt x="4642" y="1022"/>
                </a:lnTo>
                <a:lnTo>
                  <a:pt x="4646" y="1025"/>
                </a:lnTo>
                <a:lnTo>
                  <a:pt x="4646" y="1033"/>
                </a:lnTo>
                <a:lnTo>
                  <a:pt x="4646" y="1037"/>
                </a:lnTo>
                <a:lnTo>
                  <a:pt x="4650" y="1037"/>
                </a:lnTo>
                <a:lnTo>
                  <a:pt x="4650" y="1036"/>
                </a:lnTo>
                <a:lnTo>
                  <a:pt x="4650" y="1034"/>
                </a:lnTo>
                <a:lnTo>
                  <a:pt x="4650" y="1032"/>
                </a:lnTo>
                <a:lnTo>
                  <a:pt x="4653" y="1031"/>
                </a:lnTo>
                <a:lnTo>
                  <a:pt x="4655" y="1029"/>
                </a:lnTo>
                <a:lnTo>
                  <a:pt x="4658" y="1031"/>
                </a:lnTo>
                <a:lnTo>
                  <a:pt x="4660" y="1032"/>
                </a:lnTo>
                <a:lnTo>
                  <a:pt x="4662" y="1031"/>
                </a:lnTo>
                <a:lnTo>
                  <a:pt x="4663" y="1030"/>
                </a:lnTo>
                <a:lnTo>
                  <a:pt x="4656" y="1025"/>
                </a:lnTo>
                <a:lnTo>
                  <a:pt x="4654" y="1025"/>
                </a:lnTo>
                <a:lnTo>
                  <a:pt x="4650" y="1022"/>
                </a:lnTo>
                <a:lnTo>
                  <a:pt x="4650" y="1020"/>
                </a:lnTo>
                <a:lnTo>
                  <a:pt x="4651" y="1018"/>
                </a:lnTo>
                <a:lnTo>
                  <a:pt x="4652" y="1017"/>
                </a:lnTo>
                <a:lnTo>
                  <a:pt x="4658" y="1017"/>
                </a:lnTo>
                <a:lnTo>
                  <a:pt x="4662" y="1021"/>
                </a:lnTo>
                <a:lnTo>
                  <a:pt x="4662" y="1021"/>
                </a:lnTo>
                <a:lnTo>
                  <a:pt x="4662" y="1021"/>
                </a:lnTo>
                <a:lnTo>
                  <a:pt x="4664" y="1019"/>
                </a:lnTo>
                <a:lnTo>
                  <a:pt x="4667" y="1017"/>
                </a:lnTo>
                <a:lnTo>
                  <a:pt x="4669" y="1015"/>
                </a:lnTo>
                <a:lnTo>
                  <a:pt x="4672" y="1014"/>
                </a:lnTo>
                <a:lnTo>
                  <a:pt x="4682" y="1022"/>
                </a:lnTo>
                <a:lnTo>
                  <a:pt x="4692" y="1029"/>
                </a:lnTo>
                <a:lnTo>
                  <a:pt x="4696" y="1018"/>
                </a:lnTo>
                <a:lnTo>
                  <a:pt x="4699" y="1014"/>
                </a:lnTo>
                <a:lnTo>
                  <a:pt x="4703" y="1009"/>
                </a:lnTo>
                <a:lnTo>
                  <a:pt x="4708" y="1007"/>
                </a:lnTo>
                <a:lnTo>
                  <a:pt x="4710" y="1008"/>
                </a:lnTo>
                <a:lnTo>
                  <a:pt x="4713" y="1009"/>
                </a:lnTo>
                <a:lnTo>
                  <a:pt x="4715" y="1006"/>
                </a:lnTo>
                <a:lnTo>
                  <a:pt x="4716" y="1007"/>
                </a:lnTo>
                <a:lnTo>
                  <a:pt x="4718" y="1007"/>
                </a:lnTo>
                <a:lnTo>
                  <a:pt x="4719" y="1008"/>
                </a:lnTo>
                <a:lnTo>
                  <a:pt x="4721" y="1009"/>
                </a:lnTo>
                <a:lnTo>
                  <a:pt x="4725" y="1009"/>
                </a:lnTo>
                <a:lnTo>
                  <a:pt x="4728" y="1003"/>
                </a:lnTo>
                <a:lnTo>
                  <a:pt x="4725" y="1003"/>
                </a:lnTo>
                <a:lnTo>
                  <a:pt x="4722" y="1002"/>
                </a:lnTo>
                <a:lnTo>
                  <a:pt x="4721" y="996"/>
                </a:lnTo>
                <a:lnTo>
                  <a:pt x="4719" y="993"/>
                </a:lnTo>
                <a:lnTo>
                  <a:pt x="4721" y="989"/>
                </a:lnTo>
                <a:lnTo>
                  <a:pt x="4724" y="985"/>
                </a:lnTo>
                <a:lnTo>
                  <a:pt x="4723" y="984"/>
                </a:lnTo>
                <a:lnTo>
                  <a:pt x="4722" y="983"/>
                </a:lnTo>
                <a:lnTo>
                  <a:pt x="4722" y="983"/>
                </a:lnTo>
                <a:lnTo>
                  <a:pt x="4722" y="983"/>
                </a:lnTo>
                <a:lnTo>
                  <a:pt x="4715" y="991"/>
                </a:lnTo>
                <a:lnTo>
                  <a:pt x="4711" y="991"/>
                </a:lnTo>
                <a:lnTo>
                  <a:pt x="4708" y="990"/>
                </a:lnTo>
                <a:lnTo>
                  <a:pt x="4707" y="990"/>
                </a:lnTo>
                <a:lnTo>
                  <a:pt x="4706" y="989"/>
                </a:lnTo>
                <a:lnTo>
                  <a:pt x="4699" y="989"/>
                </a:lnTo>
                <a:lnTo>
                  <a:pt x="4699" y="985"/>
                </a:lnTo>
                <a:lnTo>
                  <a:pt x="4695" y="983"/>
                </a:lnTo>
                <a:lnTo>
                  <a:pt x="4691" y="980"/>
                </a:lnTo>
                <a:lnTo>
                  <a:pt x="4674" y="961"/>
                </a:lnTo>
                <a:lnTo>
                  <a:pt x="4672" y="962"/>
                </a:lnTo>
                <a:lnTo>
                  <a:pt x="4670" y="964"/>
                </a:lnTo>
                <a:lnTo>
                  <a:pt x="4669" y="966"/>
                </a:lnTo>
                <a:lnTo>
                  <a:pt x="4670" y="972"/>
                </a:lnTo>
                <a:lnTo>
                  <a:pt x="4672" y="978"/>
                </a:lnTo>
                <a:lnTo>
                  <a:pt x="4669" y="981"/>
                </a:lnTo>
                <a:lnTo>
                  <a:pt x="4666" y="985"/>
                </a:lnTo>
                <a:lnTo>
                  <a:pt x="4666" y="990"/>
                </a:lnTo>
                <a:lnTo>
                  <a:pt x="4666" y="993"/>
                </a:lnTo>
                <a:lnTo>
                  <a:pt x="4664" y="995"/>
                </a:lnTo>
                <a:lnTo>
                  <a:pt x="4665" y="998"/>
                </a:lnTo>
                <a:lnTo>
                  <a:pt x="4666" y="1003"/>
                </a:lnTo>
                <a:lnTo>
                  <a:pt x="4662" y="1009"/>
                </a:lnTo>
                <a:lnTo>
                  <a:pt x="4658" y="1009"/>
                </a:lnTo>
                <a:lnTo>
                  <a:pt x="4652" y="1003"/>
                </a:lnTo>
                <a:lnTo>
                  <a:pt x="4651" y="1003"/>
                </a:lnTo>
                <a:lnTo>
                  <a:pt x="4652" y="1005"/>
                </a:lnTo>
                <a:lnTo>
                  <a:pt x="4654" y="1008"/>
                </a:lnTo>
                <a:lnTo>
                  <a:pt x="4652" y="1009"/>
                </a:lnTo>
                <a:lnTo>
                  <a:pt x="4651" y="1011"/>
                </a:lnTo>
                <a:close/>
                <a:moveTo>
                  <a:pt x="4785" y="1719"/>
                </a:moveTo>
                <a:lnTo>
                  <a:pt x="4787" y="1719"/>
                </a:lnTo>
                <a:lnTo>
                  <a:pt x="4786" y="1718"/>
                </a:lnTo>
                <a:lnTo>
                  <a:pt x="4785" y="1717"/>
                </a:lnTo>
                <a:lnTo>
                  <a:pt x="4785" y="1717"/>
                </a:lnTo>
                <a:lnTo>
                  <a:pt x="4784" y="1716"/>
                </a:lnTo>
                <a:lnTo>
                  <a:pt x="4784" y="1717"/>
                </a:lnTo>
                <a:lnTo>
                  <a:pt x="4783" y="1717"/>
                </a:lnTo>
                <a:lnTo>
                  <a:pt x="4785" y="1719"/>
                </a:lnTo>
                <a:close/>
                <a:moveTo>
                  <a:pt x="4792" y="954"/>
                </a:moveTo>
                <a:lnTo>
                  <a:pt x="4789" y="956"/>
                </a:lnTo>
                <a:lnTo>
                  <a:pt x="4787" y="958"/>
                </a:lnTo>
                <a:lnTo>
                  <a:pt x="4786" y="959"/>
                </a:lnTo>
                <a:lnTo>
                  <a:pt x="4783" y="964"/>
                </a:lnTo>
                <a:lnTo>
                  <a:pt x="4786" y="963"/>
                </a:lnTo>
                <a:lnTo>
                  <a:pt x="4789" y="960"/>
                </a:lnTo>
                <a:lnTo>
                  <a:pt x="4792" y="957"/>
                </a:lnTo>
                <a:lnTo>
                  <a:pt x="4794" y="955"/>
                </a:lnTo>
                <a:lnTo>
                  <a:pt x="4796" y="953"/>
                </a:lnTo>
                <a:lnTo>
                  <a:pt x="4795" y="953"/>
                </a:lnTo>
                <a:lnTo>
                  <a:pt x="4792" y="954"/>
                </a:lnTo>
                <a:close/>
                <a:moveTo>
                  <a:pt x="4791" y="1731"/>
                </a:moveTo>
                <a:lnTo>
                  <a:pt x="4788" y="1732"/>
                </a:lnTo>
                <a:lnTo>
                  <a:pt x="4790" y="1734"/>
                </a:lnTo>
                <a:lnTo>
                  <a:pt x="4792" y="1736"/>
                </a:lnTo>
                <a:lnTo>
                  <a:pt x="4795" y="1736"/>
                </a:lnTo>
                <a:lnTo>
                  <a:pt x="4796" y="1736"/>
                </a:lnTo>
                <a:lnTo>
                  <a:pt x="4795" y="1732"/>
                </a:lnTo>
                <a:lnTo>
                  <a:pt x="4794" y="1731"/>
                </a:lnTo>
                <a:lnTo>
                  <a:pt x="4791" y="1731"/>
                </a:lnTo>
                <a:close/>
                <a:moveTo>
                  <a:pt x="4747" y="1772"/>
                </a:moveTo>
                <a:lnTo>
                  <a:pt x="4746" y="1772"/>
                </a:lnTo>
                <a:lnTo>
                  <a:pt x="4748" y="1774"/>
                </a:lnTo>
                <a:lnTo>
                  <a:pt x="4750" y="1775"/>
                </a:lnTo>
                <a:lnTo>
                  <a:pt x="4750" y="1775"/>
                </a:lnTo>
                <a:lnTo>
                  <a:pt x="4750" y="1772"/>
                </a:lnTo>
                <a:lnTo>
                  <a:pt x="4748" y="1772"/>
                </a:lnTo>
                <a:lnTo>
                  <a:pt x="4747" y="1772"/>
                </a:lnTo>
                <a:close/>
                <a:moveTo>
                  <a:pt x="4656" y="1829"/>
                </a:moveTo>
                <a:lnTo>
                  <a:pt x="4657" y="1829"/>
                </a:lnTo>
                <a:lnTo>
                  <a:pt x="4654" y="1824"/>
                </a:lnTo>
                <a:lnTo>
                  <a:pt x="4654" y="1829"/>
                </a:lnTo>
                <a:lnTo>
                  <a:pt x="4656" y="1829"/>
                </a:lnTo>
                <a:close/>
                <a:moveTo>
                  <a:pt x="4757" y="1776"/>
                </a:moveTo>
                <a:lnTo>
                  <a:pt x="4757" y="1777"/>
                </a:lnTo>
                <a:lnTo>
                  <a:pt x="4760" y="1780"/>
                </a:lnTo>
                <a:lnTo>
                  <a:pt x="4761" y="1779"/>
                </a:lnTo>
                <a:lnTo>
                  <a:pt x="4761" y="1777"/>
                </a:lnTo>
                <a:lnTo>
                  <a:pt x="4759" y="1777"/>
                </a:lnTo>
                <a:lnTo>
                  <a:pt x="4757" y="1776"/>
                </a:lnTo>
                <a:close/>
                <a:moveTo>
                  <a:pt x="4741" y="998"/>
                </a:moveTo>
                <a:lnTo>
                  <a:pt x="4743" y="998"/>
                </a:lnTo>
                <a:lnTo>
                  <a:pt x="4744" y="995"/>
                </a:lnTo>
                <a:lnTo>
                  <a:pt x="4741" y="997"/>
                </a:lnTo>
                <a:lnTo>
                  <a:pt x="4741" y="998"/>
                </a:lnTo>
                <a:close/>
                <a:moveTo>
                  <a:pt x="4739" y="1778"/>
                </a:moveTo>
                <a:lnTo>
                  <a:pt x="4747" y="1784"/>
                </a:lnTo>
                <a:lnTo>
                  <a:pt x="4754" y="1784"/>
                </a:lnTo>
                <a:lnTo>
                  <a:pt x="4755" y="1787"/>
                </a:lnTo>
                <a:lnTo>
                  <a:pt x="4755" y="1792"/>
                </a:lnTo>
                <a:lnTo>
                  <a:pt x="4755" y="1794"/>
                </a:lnTo>
                <a:lnTo>
                  <a:pt x="4755" y="1796"/>
                </a:lnTo>
                <a:lnTo>
                  <a:pt x="4743" y="1796"/>
                </a:lnTo>
                <a:lnTo>
                  <a:pt x="4743" y="1797"/>
                </a:lnTo>
                <a:lnTo>
                  <a:pt x="4745" y="1798"/>
                </a:lnTo>
                <a:lnTo>
                  <a:pt x="4747" y="1799"/>
                </a:lnTo>
                <a:lnTo>
                  <a:pt x="4747" y="1805"/>
                </a:lnTo>
                <a:lnTo>
                  <a:pt x="4750" y="1805"/>
                </a:lnTo>
                <a:lnTo>
                  <a:pt x="4754" y="1806"/>
                </a:lnTo>
                <a:lnTo>
                  <a:pt x="4755" y="1808"/>
                </a:lnTo>
                <a:lnTo>
                  <a:pt x="4757" y="1811"/>
                </a:lnTo>
                <a:lnTo>
                  <a:pt x="4763" y="1812"/>
                </a:lnTo>
                <a:lnTo>
                  <a:pt x="4765" y="1820"/>
                </a:lnTo>
                <a:lnTo>
                  <a:pt x="4765" y="1821"/>
                </a:lnTo>
                <a:lnTo>
                  <a:pt x="4766" y="1822"/>
                </a:lnTo>
                <a:lnTo>
                  <a:pt x="4768" y="1826"/>
                </a:lnTo>
                <a:lnTo>
                  <a:pt x="4770" y="1829"/>
                </a:lnTo>
                <a:lnTo>
                  <a:pt x="4779" y="1829"/>
                </a:lnTo>
                <a:lnTo>
                  <a:pt x="4780" y="1829"/>
                </a:lnTo>
                <a:lnTo>
                  <a:pt x="4780" y="1830"/>
                </a:lnTo>
                <a:lnTo>
                  <a:pt x="4777" y="1832"/>
                </a:lnTo>
                <a:lnTo>
                  <a:pt x="4778" y="1833"/>
                </a:lnTo>
                <a:lnTo>
                  <a:pt x="4779" y="1834"/>
                </a:lnTo>
                <a:lnTo>
                  <a:pt x="4781" y="1835"/>
                </a:lnTo>
                <a:lnTo>
                  <a:pt x="4783" y="1837"/>
                </a:lnTo>
                <a:lnTo>
                  <a:pt x="4787" y="1837"/>
                </a:lnTo>
                <a:lnTo>
                  <a:pt x="4787" y="1837"/>
                </a:lnTo>
                <a:lnTo>
                  <a:pt x="4783" y="1839"/>
                </a:lnTo>
                <a:lnTo>
                  <a:pt x="4788" y="1843"/>
                </a:lnTo>
                <a:lnTo>
                  <a:pt x="4798" y="1845"/>
                </a:lnTo>
                <a:lnTo>
                  <a:pt x="4802" y="1845"/>
                </a:lnTo>
                <a:lnTo>
                  <a:pt x="4800" y="1847"/>
                </a:lnTo>
                <a:lnTo>
                  <a:pt x="4799" y="1849"/>
                </a:lnTo>
                <a:lnTo>
                  <a:pt x="4799" y="1849"/>
                </a:lnTo>
                <a:lnTo>
                  <a:pt x="4799" y="1851"/>
                </a:lnTo>
                <a:lnTo>
                  <a:pt x="4793" y="1851"/>
                </a:lnTo>
                <a:lnTo>
                  <a:pt x="4787" y="1851"/>
                </a:lnTo>
                <a:lnTo>
                  <a:pt x="4789" y="1850"/>
                </a:lnTo>
                <a:lnTo>
                  <a:pt x="4791" y="1849"/>
                </a:lnTo>
                <a:lnTo>
                  <a:pt x="4785" y="1847"/>
                </a:lnTo>
                <a:lnTo>
                  <a:pt x="4779" y="1846"/>
                </a:lnTo>
                <a:lnTo>
                  <a:pt x="4774" y="1845"/>
                </a:lnTo>
                <a:lnTo>
                  <a:pt x="4772" y="1844"/>
                </a:lnTo>
                <a:lnTo>
                  <a:pt x="4766" y="1845"/>
                </a:lnTo>
                <a:lnTo>
                  <a:pt x="4765" y="1845"/>
                </a:lnTo>
                <a:lnTo>
                  <a:pt x="4763" y="1845"/>
                </a:lnTo>
                <a:lnTo>
                  <a:pt x="4760" y="1845"/>
                </a:lnTo>
                <a:lnTo>
                  <a:pt x="4755" y="1843"/>
                </a:lnTo>
                <a:lnTo>
                  <a:pt x="4753" y="1840"/>
                </a:lnTo>
                <a:lnTo>
                  <a:pt x="4751" y="1836"/>
                </a:lnTo>
                <a:lnTo>
                  <a:pt x="4747" y="1833"/>
                </a:lnTo>
                <a:lnTo>
                  <a:pt x="4744" y="1831"/>
                </a:lnTo>
                <a:lnTo>
                  <a:pt x="4745" y="1829"/>
                </a:lnTo>
                <a:lnTo>
                  <a:pt x="4742" y="1829"/>
                </a:lnTo>
                <a:lnTo>
                  <a:pt x="4740" y="1829"/>
                </a:lnTo>
                <a:lnTo>
                  <a:pt x="4740" y="1827"/>
                </a:lnTo>
                <a:lnTo>
                  <a:pt x="4739" y="1824"/>
                </a:lnTo>
                <a:lnTo>
                  <a:pt x="4736" y="1818"/>
                </a:lnTo>
                <a:lnTo>
                  <a:pt x="4731" y="1812"/>
                </a:lnTo>
                <a:lnTo>
                  <a:pt x="4723" y="1811"/>
                </a:lnTo>
                <a:lnTo>
                  <a:pt x="4714" y="1810"/>
                </a:lnTo>
                <a:lnTo>
                  <a:pt x="4714" y="1809"/>
                </a:lnTo>
                <a:lnTo>
                  <a:pt x="4708" y="1806"/>
                </a:lnTo>
                <a:lnTo>
                  <a:pt x="4708" y="1805"/>
                </a:lnTo>
                <a:lnTo>
                  <a:pt x="4706" y="1805"/>
                </a:lnTo>
                <a:lnTo>
                  <a:pt x="4706" y="1806"/>
                </a:lnTo>
                <a:lnTo>
                  <a:pt x="4706" y="1808"/>
                </a:lnTo>
                <a:lnTo>
                  <a:pt x="4705" y="1810"/>
                </a:lnTo>
                <a:lnTo>
                  <a:pt x="4703" y="1809"/>
                </a:lnTo>
                <a:lnTo>
                  <a:pt x="4701" y="1809"/>
                </a:lnTo>
                <a:lnTo>
                  <a:pt x="4699" y="1807"/>
                </a:lnTo>
                <a:lnTo>
                  <a:pt x="4697" y="1805"/>
                </a:lnTo>
                <a:lnTo>
                  <a:pt x="4702" y="1811"/>
                </a:lnTo>
                <a:lnTo>
                  <a:pt x="4700" y="1811"/>
                </a:lnTo>
                <a:lnTo>
                  <a:pt x="4698" y="1812"/>
                </a:lnTo>
                <a:lnTo>
                  <a:pt x="4693" y="1811"/>
                </a:lnTo>
                <a:lnTo>
                  <a:pt x="4694" y="1811"/>
                </a:lnTo>
                <a:lnTo>
                  <a:pt x="4694" y="1812"/>
                </a:lnTo>
                <a:lnTo>
                  <a:pt x="4694" y="1816"/>
                </a:lnTo>
                <a:lnTo>
                  <a:pt x="4694" y="1816"/>
                </a:lnTo>
                <a:lnTo>
                  <a:pt x="4697" y="1816"/>
                </a:lnTo>
                <a:lnTo>
                  <a:pt x="4697" y="1816"/>
                </a:lnTo>
                <a:lnTo>
                  <a:pt x="4688" y="1817"/>
                </a:lnTo>
                <a:lnTo>
                  <a:pt x="4686" y="1817"/>
                </a:lnTo>
                <a:lnTo>
                  <a:pt x="4685" y="1817"/>
                </a:lnTo>
                <a:lnTo>
                  <a:pt x="4685" y="1817"/>
                </a:lnTo>
                <a:lnTo>
                  <a:pt x="4690" y="1819"/>
                </a:lnTo>
                <a:lnTo>
                  <a:pt x="4694" y="1824"/>
                </a:lnTo>
                <a:lnTo>
                  <a:pt x="4694" y="1826"/>
                </a:lnTo>
                <a:lnTo>
                  <a:pt x="4694" y="1827"/>
                </a:lnTo>
                <a:lnTo>
                  <a:pt x="4694" y="1829"/>
                </a:lnTo>
                <a:lnTo>
                  <a:pt x="4688" y="1829"/>
                </a:lnTo>
                <a:lnTo>
                  <a:pt x="4683" y="1833"/>
                </a:lnTo>
                <a:lnTo>
                  <a:pt x="4680" y="1831"/>
                </a:lnTo>
                <a:lnTo>
                  <a:pt x="4676" y="1830"/>
                </a:lnTo>
                <a:lnTo>
                  <a:pt x="4672" y="1831"/>
                </a:lnTo>
                <a:lnTo>
                  <a:pt x="4668" y="1831"/>
                </a:lnTo>
                <a:lnTo>
                  <a:pt x="4666" y="1831"/>
                </a:lnTo>
                <a:lnTo>
                  <a:pt x="4664" y="1830"/>
                </a:lnTo>
                <a:lnTo>
                  <a:pt x="4661" y="1831"/>
                </a:lnTo>
                <a:lnTo>
                  <a:pt x="4660" y="1831"/>
                </a:lnTo>
                <a:lnTo>
                  <a:pt x="4658" y="1830"/>
                </a:lnTo>
                <a:lnTo>
                  <a:pt x="4658" y="1796"/>
                </a:lnTo>
                <a:lnTo>
                  <a:pt x="4654" y="1796"/>
                </a:lnTo>
                <a:lnTo>
                  <a:pt x="4654" y="1824"/>
                </a:lnTo>
                <a:lnTo>
                  <a:pt x="4650" y="1820"/>
                </a:lnTo>
                <a:lnTo>
                  <a:pt x="4643" y="1813"/>
                </a:lnTo>
                <a:lnTo>
                  <a:pt x="4644" y="1811"/>
                </a:lnTo>
                <a:lnTo>
                  <a:pt x="4644" y="1809"/>
                </a:lnTo>
                <a:lnTo>
                  <a:pt x="4643" y="1812"/>
                </a:lnTo>
                <a:lnTo>
                  <a:pt x="4641" y="1816"/>
                </a:lnTo>
                <a:lnTo>
                  <a:pt x="4634" y="1816"/>
                </a:lnTo>
                <a:lnTo>
                  <a:pt x="4633" y="1814"/>
                </a:lnTo>
                <a:lnTo>
                  <a:pt x="4633" y="1813"/>
                </a:lnTo>
                <a:lnTo>
                  <a:pt x="4627" y="1816"/>
                </a:lnTo>
                <a:lnTo>
                  <a:pt x="4626" y="1815"/>
                </a:lnTo>
                <a:lnTo>
                  <a:pt x="4628" y="1810"/>
                </a:lnTo>
                <a:lnTo>
                  <a:pt x="4630" y="1805"/>
                </a:lnTo>
                <a:lnTo>
                  <a:pt x="4628" y="1802"/>
                </a:lnTo>
                <a:lnTo>
                  <a:pt x="4626" y="1800"/>
                </a:lnTo>
                <a:lnTo>
                  <a:pt x="4626" y="1800"/>
                </a:lnTo>
                <a:lnTo>
                  <a:pt x="4626" y="1800"/>
                </a:lnTo>
                <a:lnTo>
                  <a:pt x="4622" y="1797"/>
                </a:lnTo>
                <a:lnTo>
                  <a:pt x="4626" y="1793"/>
                </a:lnTo>
                <a:lnTo>
                  <a:pt x="4625" y="1792"/>
                </a:lnTo>
                <a:lnTo>
                  <a:pt x="4626" y="1792"/>
                </a:lnTo>
                <a:lnTo>
                  <a:pt x="4622" y="1792"/>
                </a:lnTo>
                <a:lnTo>
                  <a:pt x="4624" y="1793"/>
                </a:lnTo>
                <a:lnTo>
                  <a:pt x="4622" y="1792"/>
                </a:lnTo>
                <a:lnTo>
                  <a:pt x="4622" y="1790"/>
                </a:lnTo>
                <a:lnTo>
                  <a:pt x="4618" y="1786"/>
                </a:lnTo>
                <a:lnTo>
                  <a:pt x="4618" y="1779"/>
                </a:lnTo>
                <a:lnTo>
                  <a:pt x="4616" y="1779"/>
                </a:lnTo>
                <a:lnTo>
                  <a:pt x="4615" y="1780"/>
                </a:lnTo>
                <a:lnTo>
                  <a:pt x="4614" y="1780"/>
                </a:lnTo>
                <a:lnTo>
                  <a:pt x="4614" y="1776"/>
                </a:lnTo>
                <a:lnTo>
                  <a:pt x="4614" y="1776"/>
                </a:lnTo>
                <a:lnTo>
                  <a:pt x="4608" y="1771"/>
                </a:lnTo>
                <a:lnTo>
                  <a:pt x="4603" y="1767"/>
                </a:lnTo>
                <a:lnTo>
                  <a:pt x="4597" y="1764"/>
                </a:lnTo>
                <a:lnTo>
                  <a:pt x="4591" y="1762"/>
                </a:lnTo>
                <a:lnTo>
                  <a:pt x="4585" y="1760"/>
                </a:lnTo>
                <a:lnTo>
                  <a:pt x="4574" y="1758"/>
                </a:lnTo>
                <a:lnTo>
                  <a:pt x="4566" y="1753"/>
                </a:lnTo>
                <a:lnTo>
                  <a:pt x="4567" y="1752"/>
                </a:lnTo>
                <a:lnTo>
                  <a:pt x="4567" y="1752"/>
                </a:lnTo>
                <a:lnTo>
                  <a:pt x="4566" y="1752"/>
                </a:lnTo>
                <a:lnTo>
                  <a:pt x="4564" y="1752"/>
                </a:lnTo>
                <a:lnTo>
                  <a:pt x="4562" y="1751"/>
                </a:lnTo>
                <a:lnTo>
                  <a:pt x="4560" y="1752"/>
                </a:lnTo>
                <a:lnTo>
                  <a:pt x="4560" y="1752"/>
                </a:lnTo>
                <a:lnTo>
                  <a:pt x="4557" y="1752"/>
                </a:lnTo>
                <a:lnTo>
                  <a:pt x="4555" y="1746"/>
                </a:lnTo>
                <a:lnTo>
                  <a:pt x="4554" y="1747"/>
                </a:lnTo>
                <a:lnTo>
                  <a:pt x="4554" y="1746"/>
                </a:lnTo>
                <a:lnTo>
                  <a:pt x="4554" y="1746"/>
                </a:lnTo>
                <a:lnTo>
                  <a:pt x="4553" y="1745"/>
                </a:lnTo>
                <a:lnTo>
                  <a:pt x="4552" y="1744"/>
                </a:lnTo>
                <a:lnTo>
                  <a:pt x="4546" y="1744"/>
                </a:lnTo>
                <a:lnTo>
                  <a:pt x="4546" y="1745"/>
                </a:lnTo>
                <a:lnTo>
                  <a:pt x="4546" y="1747"/>
                </a:lnTo>
                <a:lnTo>
                  <a:pt x="4546" y="1749"/>
                </a:lnTo>
                <a:lnTo>
                  <a:pt x="4546" y="1751"/>
                </a:lnTo>
                <a:lnTo>
                  <a:pt x="4546" y="1753"/>
                </a:lnTo>
                <a:lnTo>
                  <a:pt x="4545" y="1756"/>
                </a:lnTo>
                <a:lnTo>
                  <a:pt x="4540" y="1756"/>
                </a:lnTo>
                <a:lnTo>
                  <a:pt x="4537" y="1749"/>
                </a:lnTo>
                <a:lnTo>
                  <a:pt x="4538" y="1745"/>
                </a:lnTo>
                <a:lnTo>
                  <a:pt x="4538" y="1744"/>
                </a:lnTo>
                <a:lnTo>
                  <a:pt x="4538" y="1744"/>
                </a:lnTo>
                <a:lnTo>
                  <a:pt x="4537" y="1742"/>
                </a:lnTo>
                <a:lnTo>
                  <a:pt x="4537" y="1739"/>
                </a:lnTo>
                <a:lnTo>
                  <a:pt x="4533" y="1736"/>
                </a:lnTo>
                <a:lnTo>
                  <a:pt x="4531" y="1737"/>
                </a:lnTo>
                <a:lnTo>
                  <a:pt x="4530" y="1737"/>
                </a:lnTo>
                <a:lnTo>
                  <a:pt x="4528" y="1735"/>
                </a:lnTo>
                <a:lnTo>
                  <a:pt x="4527" y="1734"/>
                </a:lnTo>
                <a:lnTo>
                  <a:pt x="4533" y="1733"/>
                </a:lnTo>
                <a:lnTo>
                  <a:pt x="4538" y="1734"/>
                </a:lnTo>
                <a:lnTo>
                  <a:pt x="4540" y="1733"/>
                </a:lnTo>
                <a:lnTo>
                  <a:pt x="4541" y="1732"/>
                </a:lnTo>
                <a:lnTo>
                  <a:pt x="4545" y="1732"/>
                </a:lnTo>
                <a:lnTo>
                  <a:pt x="4549" y="1732"/>
                </a:lnTo>
                <a:lnTo>
                  <a:pt x="4550" y="1732"/>
                </a:lnTo>
                <a:lnTo>
                  <a:pt x="4550" y="1732"/>
                </a:lnTo>
                <a:lnTo>
                  <a:pt x="4551" y="1731"/>
                </a:lnTo>
                <a:lnTo>
                  <a:pt x="4551" y="1729"/>
                </a:lnTo>
                <a:lnTo>
                  <a:pt x="4554" y="1728"/>
                </a:lnTo>
                <a:lnTo>
                  <a:pt x="4554" y="1727"/>
                </a:lnTo>
                <a:lnTo>
                  <a:pt x="4554" y="1727"/>
                </a:lnTo>
                <a:lnTo>
                  <a:pt x="4553" y="1728"/>
                </a:lnTo>
                <a:lnTo>
                  <a:pt x="4553" y="1727"/>
                </a:lnTo>
                <a:lnTo>
                  <a:pt x="4552" y="1728"/>
                </a:lnTo>
                <a:lnTo>
                  <a:pt x="4547" y="1728"/>
                </a:lnTo>
                <a:lnTo>
                  <a:pt x="4538" y="1729"/>
                </a:lnTo>
                <a:lnTo>
                  <a:pt x="4537" y="1728"/>
                </a:lnTo>
                <a:lnTo>
                  <a:pt x="4537" y="1728"/>
                </a:lnTo>
                <a:lnTo>
                  <a:pt x="4533" y="1728"/>
                </a:lnTo>
                <a:lnTo>
                  <a:pt x="4527" y="1726"/>
                </a:lnTo>
                <a:lnTo>
                  <a:pt x="4527" y="1721"/>
                </a:lnTo>
                <a:lnTo>
                  <a:pt x="4526" y="1717"/>
                </a:lnTo>
                <a:lnTo>
                  <a:pt x="4521" y="1716"/>
                </a:lnTo>
                <a:lnTo>
                  <a:pt x="4517" y="1714"/>
                </a:lnTo>
                <a:lnTo>
                  <a:pt x="4518" y="1715"/>
                </a:lnTo>
                <a:lnTo>
                  <a:pt x="4518" y="1716"/>
                </a:lnTo>
                <a:lnTo>
                  <a:pt x="4517" y="1716"/>
                </a:lnTo>
                <a:lnTo>
                  <a:pt x="4514" y="1713"/>
                </a:lnTo>
                <a:lnTo>
                  <a:pt x="4514" y="1713"/>
                </a:lnTo>
                <a:lnTo>
                  <a:pt x="4514" y="1713"/>
                </a:lnTo>
                <a:lnTo>
                  <a:pt x="4513" y="1713"/>
                </a:lnTo>
                <a:lnTo>
                  <a:pt x="4512" y="1715"/>
                </a:lnTo>
                <a:lnTo>
                  <a:pt x="4513" y="1713"/>
                </a:lnTo>
                <a:lnTo>
                  <a:pt x="4511" y="1711"/>
                </a:lnTo>
                <a:lnTo>
                  <a:pt x="4508" y="1709"/>
                </a:lnTo>
                <a:lnTo>
                  <a:pt x="4512" y="1708"/>
                </a:lnTo>
                <a:lnTo>
                  <a:pt x="4514" y="1708"/>
                </a:lnTo>
                <a:lnTo>
                  <a:pt x="4514" y="1705"/>
                </a:lnTo>
                <a:lnTo>
                  <a:pt x="4520" y="1704"/>
                </a:lnTo>
                <a:lnTo>
                  <a:pt x="4526" y="1703"/>
                </a:lnTo>
                <a:lnTo>
                  <a:pt x="4530" y="1699"/>
                </a:lnTo>
                <a:lnTo>
                  <a:pt x="4534" y="1698"/>
                </a:lnTo>
                <a:lnTo>
                  <a:pt x="4545" y="1702"/>
                </a:lnTo>
                <a:lnTo>
                  <a:pt x="4547" y="1703"/>
                </a:lnTo>
                <a:lnTo>
                  <a:pt x="4548" y="1704"/>
                </a:lnTo>
                <a:lnTo>
                  <a:pt x="4557" y="1704"/>
                </a:lnTo>
                <a:lnTo>
                  <a:pt x="4558" y="1705"/>
                </a:lnTo>
                <a:lnTo>
                  <a:pt x="4557" y="1706"/>
                </a:lnTo>
                <a:lnTo>
                  <a:pt x="4560" y="1713"/>
                </a:lnTo>
                <a:lnTo>
                  <a:pt x="4558" y="1717"/>
                </a:lnTo>
                <a:lnTo>
                  <a:pt x="4559" y="1722"/>
                </a:lnTo>
                <a:lnTo>
                  <a:pt x="4559" y="1728"/>
                </a:lnTo>
                <a:lnTo>
                  <a:pt x="4560" y="1732"/>
                </a:lnTo>
                <a:lnTo>
                  <a:pt x="4561" y="1736"/>
                </a:lnTo>
                <a:lnTo>
                  <a:pt x="4562" y="1733"/>
                </a:lnTo>
                <a:lnTo>
                  <a:pt x="4562" y="1732"/>
                </a:lnTo>
                <a:lnTo>
                  <a:pt x="4566" y="1732"/>
                </a:lnTo>
                <a:lnTo>
                  <a:pt x="4566" y="1735"/>
                </a:lnTo>
                <a:lnTo>
                  <a:pt x="4566" y="1737"/>
                </a:lnTo>
                <a:lnTo>
                  <a:pt x="4566" y="1736"/>
                </a:lnTo>
                <a:lnTo>
                  <a:pt x="4566" y="1739"/>
                </a:lnTo>
                <a:lnTo>
                  <a:pt x="4566" y="1740"/>
                </a:lnTo>
                <a:lnTo>
                  <a:pt x="4569" y="1742"/>
                </a:lnTo>
                <a:lnTo>
                  <a:pt x="4572" y="1744"/>
                </a:lnTo>
                <a:lnTo>
                  <a:pt x="4578" y="1744"/>
                </a:lnTo>
                <a:lnTo>
                  <a:pt x="4582" y="1741"/>
                </a:lnTo>
                <a:lnTo>
                  <a:pt x="4585" y="1737"/>
                </a:lnTo>
                <a:lnTo>
                  <a:pt x="4586" y="1735"/>
                </a:lnTo>
                <a:lnTo>
                  <a:pt x="4586" y="1733"/>
                </a:lnTo>
                <a:lnTo>
                  <a:pt x="4587" y="1732"/>
                </a:lnTo>
                <a:lnTo>
                  <a:pt x="4589" y="1731"/>
                </a:lnTo>
                <a:lnTo>
                  <a:pt x="4590" y="1729"/>
                </a:lnTo>
                <a:lnTo>
                  <a:pt x="4592" y="1728"/>
                </a:lnTo>
                <a:lnTo>
                  <a:pt x="4596" y="1728"/>
                </a:lnTo>
                <a:lnTo>
                  <a:pt x="4599" y="1726"/>
                </a:lnTo>
                <a:lnTo>
                  <a:pt x="4602" y="1725"/>
                </a:lnTo>
                <a:lnTo>
                  <a:pt x="4602" y="1719"/>
                </a:lnTo>
                <a:lnTo>
                  <a:pt x="4612" y="1714"/>
                </a:lnTo>
                <a:lnTo>
                  <a:pt x="4626" y="1721"/>
                </a:lnTo>
                <a:lnTo>
                  <a:pt x="4640" y="1728"/>
                </a:lnTo>
                <a:lnTo>
                  <a:pt x="4644" y="1728"/>
                </a:lnTo>
                <a:lnTo>
                  <a:pt x="4648" y="1732"/>
                </a:lnTo>
                <a:lnTo>
                  <a:pt x="4650" y="1732"/>
                </a:lnTo>
                <a:lnTo>
                  <a:pt x="4650" y="1732"/>
                </a:lnTo>
                <a:lnTo>
                  <a:pt x="4652" y="1732"/>
                </a:lnTo>
                <a:lnTo>
                  <a:pt x="4654" y="1731"/>
                </a:lnTo>
                <a:lnTo>
                  <a:pt x="4654" y="1786"/>
                </a:lnTo>
                <a:lnTo>
                  <a:pt x="4654" y="1790"/>
                </a:lnTo>
                <a:lnTo>
                  <a:pt x="4654" y="1792"/>
                </a:lnTo>
                <a:lnTo>
                  <a:pt x="4658" y="1787"/>
                </a:lnTo>
                <a:lnTo>
                  <a:pt x="4658" y="1736"/>
                </a:lnTo>
                <a:lnTo>
                  <a:pt x="4662" y="1736"/>
                </a:lnTo>
                <a:lnTo>
                  <a:pt x="4682" y="1745"/>
                </a:lnTo>
                <a:lnTo>
                  <a:pt x="4696" y="1746"/>
                </a:lnTo>
                <a:lnTo>
                  <a:pt x="4702" y="1751"/>
                </a:lnTo>
                <a:lnTo>
                  <a:pt x="4705" y="1753"/>
                </a:lnTo>
                <a:lnTo>
                  <a:pt x="4706" y="1752"/>
                </a:lnTo>
                <a:lnTo>
                  <a:pt x="4706" y="1752"/>
                </a:lnTo>
                <a:lnTo>
                  <a:pt x="4706" y="1753"/>
                </a:lnTo>
                <a:lnTo>
                  <a:pt x="4714" y="1755"/>
                </a:lnTo>
                <a:lnTo>
                  <a:pt x="4717" y="1758"/>
                </a:lnTo>
                <a:lnTo>
                  <a:pt x="4719" y="1759"/>
                </a:lnTo>
                <a:lnTo>
                  <a:pt x="4721" y="1760"/>
                </a:lnTo>
                <a:lnTo>
                  <a:pt x="4725" y="1763"/>
                </a:lnTo>
                <a:lnTo>
                  <a:pt x="4728" y="1765"/>
                </a:lnTo>
                <a:lnTo>
                  <a:pt x="4728" y="1767"/>
                </a:lnTo>
                <a:lnTo>
                  <a:pt x="4729" y="1770"/>
                </a:lnTo>
                <a:lnTo>
                  <a:pt x="4728" y="1773"/>
                </a:lnTo>
                <a:lnTo>
                  <a:pt x="4728" y="1777"/>
                </a:lnTo>
                <a:lnTo>
                  <a:pt x="4739" y="1778"/>
                </a:lnTo>
                <a:close/>
                <a:moveTo>
                  <a:pt x="4554" y="1726"/>
                </a:moveTo>
                <a:lnTo>
                  <a:pt x="4554" y="1726"/>
                </a:lnTo>
                <a:lnTo>
                  <a:pt x="4554" y="1726"/>
                </a:lnTo>
                <a:lnTo>
                  <a:pt x="4554" y="1726"/>
                </a:lnTo>
                <a:close/>
                <a:moveTo>
                  <a:pt x="4555" y="1737"/>
                </a:moveTo>
                <a:lnTo>
                  <a:pt x="4553" y="1738"/>
                </a:lnTo>
                <a:lnTo>
                  <a:pt x="4552" y="1739"/>
                </a:lnTo>
                <a:lnTo>
                  <a:pt x="4552" y="1744"/>
                </a:lnTo>
                <a:lnTo>
                  <a:pt x="4552" y="1742"/>
                </a:lnTo>
                <a:lnTo>
                  <a:pt x="4553" y="1740"/>
                </a:lnTo>
                <a:lnTo>
                  <a:pt x="4555" y="1739"/>
                </a:lnTo>
                <a:lnTo>
                  <a:pt x="4555" y="1737"/>
                </a:lnTo>
                <a:close/>
                <a:moveTo>
                  <a:pt x="4633" y="1800"/>
                </a:moveTo>
                <a:lnTo>
                  <a:pt x="4629" y="1800"/>
                </a:lnTo>
                <a:lnTo>
                  <a:pt x="4628" y="1800"/>
                </a:lnTo>
                <a:lnTo>
                  <a:pt x="4629" y="1802"/>
                </a:lnTo>
                <a:lnTo>
                  <a:pt x="4633" y="1800"/>
                </a:lnTo>
                <a:close/>
                <a:moveTo>
                  <a:pt x="4684" y="1816"/>
                </a:moveTo>
                <a:lnTo>
                  <a:pt x="4683" y="1816"/>
                </a:lnTo>
                <a:lnTo>
                  <a:pt x="4683" y="1816"/>
                </a:lnTo>
                <a:lnTo>
                  <a:pt x="4680" y="1817"/>
                </a:lnTo>
                <a:lnTo>
                  <a:pt x="4683" y="1817"/>
                </a:lnTo>
                <a:lnTo>
                  <a:pt x="4684" y="1816"/>
                </a:lnTo>
                <a:close/>
                <a:moveTo>
                  <a:pt x="4625" y="1816"/>
                </a:moveTo>
                <a:lnTo>
                  <a:pt x="4622" y="1820"/>
                </a:lnTo>
                <a:lnTo>
                  <a:pt x="4627" y="1820"/>
                </a:lnTo>
                <a:lnTo>
                  <a:pt x="4626" y="1816"/>
                </a:lnTo>
                <a:lnTo>
                  <a:pt x="4626" y="1816"/>
                </a:lnTo>
                <a:lnTo>
                  <a:pt x="4625" y="1816"/>
                </a:lnTo>
                <a:close/>
                <a:moveTo>
                  <a:pt x="4706" y="1752"/>
                </a:moveTo>
                <a:lnTo>
                  <a:pt x="4706" y="1752"/>
                </a:lnTo>
                <a:lnTo>
                  <a:pt x="4707" y="1752"/>
                </a:lnTo>
                <a:lnTo>
                  <a:pt x="4706" y="1752"/>
                </a:lnTo>
                <a:close/>
                <a:moveTo>
                  <a:pt x="4626" y="1816"/>
                </a:moveTo>
                <a:lnTo>
                  <a:pt x="4626" y="1815"/>
                </a:lnTo>
                <a:lnTo>
                  <a:pt x="4626" y="1815"/>
                </a:lnTo>
                <a:lnTo>
                  <a:pt x="4626" y="1816"/>
                </a:lnTo>
                <a:close/>
                <a:moveTo>
                  <a:pt x="4625" y="1793"/>
                </a:moveTo>
                <a:lnTo>
                  <a:pt x="4624" y="1793"/>
                </a:lnTo>
                <a:lnTo>
                  <a:pt x="4624" y="1793"/>
                </a:lnTo>
                <a:lnTo>
                  <a:pt x="4625" y="1793"/>
                </a:lnTo>
                <a:lnTo>
                  <a:pt x="4625" y="1793"/>
                </a:lnTo>
                <a:close/>
                <a:moveTo>
                  <a:pt x="4801" y="1833"/>
                </a:moveTo>
                <a:lnTo>
                  <a:pt x="4796" y="1832"/>
                </a:lnTo>
                <a:lnTo>
                  <a:pt x="4796" y="1836"/>
                </a:lnTo>
                <a:lnTo>
                  <a:pt x="4801" y="1837"/>
                </a:lnTo>
                <a:lnTo>
                  <a:pt x="4802" y="1837"/>
                </a:lnTo>
                <a:lnTo>
                  <a:pt x="4801" y="1833"/>
                </a:lnTo>
                <a:close/>
                <a:moveTo>
                  <a:pt x="4801" y="1851"/>
                </a:moveTo>
                <a:lnTo>
                  <a:pt x="4801" y="1851"/>
                </a:lnTo>
                <a:lnTo>
                  <a:pt x="4802" y="1851"/>
                </a:lnTo>
                <a:lnTo>
                  <a:pt x="4805" y="1851"/>
                </a:lnTo>
                <a:lnTo>
                  <a:pt x="4805" y="1851"/>
                </a:lnTo>
                <a:lnTo>
                  <a:pt x="4802" y="1851"/>
                </a:lnTo>
                <a:lnTo>
                  <a:pt x="4801" y="1851"/>
                </a:lnTo>
                <a:close/>
                <a:moveTo>
                  <a:pt x="4806" y="1824"/>
                </a:moveTo>
                <a:lnTo>
                  <a:pt x="4806" y="1817"/>
                </a:lnTo>
                <a:lnTo>
                  <a:pt x="4806" y="1817"/>
                </a:lnTo>
                <a:lnTo>
                  <a:pt x="4805" y="1819"/>
                </a:lnTo>
                <a:lnTo>
                  <a:pt x="4806" y="1824"/>
                </a:lnTo>
                <a:lnTo>
                  <a:pt x="4806" y="1824"/>
                </a:lnTo>
                <a:close/>
                <a:moveTo>
                  <a:pt x="4771" y="966"/>
                </a:moveTo>
                <a:lnTo>
                  <a:pt x="4773" y="965"/>
                </a:lnTo>
                <a:lnTo>
                  <a:pt x="4771" y="965"/>
                </a:lnTo>
                <a:lnTo>
                  <a:pt x="4771" y="966"/>
                </a:lnTo>
                <a:close/>
                <a:moveTo>
                  <a:pt x="4805" y="1844"/>
                </a:moveTo>
                <a:lnTo>
                  <a:pt x="4808" y="1845"/>
                </a:lnTo>
                <a:lnTo>
                  <a:pt x="4808" y="1840"/>
                </a:lnTo>
                <a:lnTo>
                  <a:pt x="4808" y="1840"/>
                </a:lnTo>
                <a:lnTo>
                  <a:pt x="4806" y="1843"/>
                </a:lnTo>
                <a:lnTo>
                  <a:pt x="4804" y="1840"/>
                </a:lnTo>
                <a:lnTo>
                  <a:pt x="4801" y="1837"/>
                </a:lnTo>
                <a:lnTo>
                  <a:pt x="4802" y="1844"/>
                </a:lnTo>
                <a:lnTo>
                  <a:pt x="4805" y="1844"/>
                </a:lnTo>
                <a:close/>
                <a:moveTo>
                  <a:pt x="4771" y="968"/>
                </a:moveTo>
                <a:lnTo>
                  <a:pt x="4771" y="966"/>
                </a:lnTo>
                <a:lnTo>
                  <a:pt x="4764" y="970"/>
                </a:lnTo>
                <a:lnTo>
                  <a:pt x="4771" y="968"/>
                </a:lnTo>
                <a:close/>
                <a:moveTo>
                  <a:pt x="4808" y="2055"/>
                </a:moveTo>
                <a:lnTo>
                  <a:pt x="4809" y="2055"/>
                </a:lnTo>
                <a:lnTo>
                  <a:pt x="4808" y="2051"/>
                </a:lnTo>
                <a:lnTo>
                  <a:pt x="4806" y="2051"/>
                </a:lnTo>
                <a:lnTo>
                  <a:pt x="4805" y="2050"/>
                </a:lnTo>
                <a:lnTo>
                  <a:pt x="4806" y="2053"/>
                </a:lnTo>
                <a:lnTo>
                  <a:pt x="4808" y="2055"/>
                </a:lnTo>
                <a:close/>
                <a:moveTo>
                  <a:pt x="4795" y="1833"/>
                </a:moveTo>
                <a:lnTo>
                  <a:pt x="4795" y="1831"/>
                </a:lnTo>
                <a:lnTo>
                  <a:pt x="4792" y="1831"/>
                </a:lnTo>
                <a:lnTo>
                  <a:pt x="4792" y="1832"/>
                </a:lnTo>
                <a:lnTo>
                  <a:pt x="4795" y="1833"/>
                </a:lnTo>
                <a:close/>
              </a:path>
            </a:pathLst>
          </a:custGeom>
          <a:solidFill>
            <a:schemeClr val="tx2">
              <a:lumMod val="40000"/>
              <a:lumOff val="60000"/>
            </a:schemeClr>
          </a:solidFill>
          <a:ln w="9525">
            <a:solidFill>
              <a:schemeClr val="bg1"/>
            </a:solidFill>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sp>
        <p:nvSpPr>
          <p:cNvPr id="132" name="Freeform 6"/>
          <p:cNvSpPr>
            <a:spLocks noChangeAspect="1" noEditPoints="1"/>
          </p:cNvSpPr>
          <p:nvPr>
            <p:custDataLst>
              <p:tags r:id="rId10"/>
            </p:custDataLst>
          </p:nvPr>
        </p:nvSpPr>
        <p:spPr bwMode="gray">
          <a:xfrm>
            <a:off x="3420112" y="2821842"/>
            <a:ext cx="2160000" cy="1082056"/>
          </a:xfrm>
          <a:custGeom>
            <a:avLst/>
            <a:gdLst>
              <a:gd name="T0" fmla="*/ 3434 w 5373"/>
              <a:gd name="T1" fmla="*/ 290 h 2681"/>
              <a:gd name="T2" fmla="*/ 2977 w 5373"/>
              <a:gd name="T3" fmla="*/ 117 h 2681"/>
              <a:gd name="T4" fmla="*/ 1813 w 5373"/>
              <a:gd name="T5" fmla="*/ 355 h 2681"/>
              <a:gd name="T6" fmla="*/ 810 w 5373"/>
              <a:gd name="T7" fmla="*/ 888 h 2681"/>
              <a:gd name="T8" fmla="*/ 319 w 5373"/>
              <a:gd name="T9" fmla="*/ 744 h 2681"/>
              <a:gd name="T10" fmla="*/ 1050 w 5373"/>
              <a:gd name="T11" fmla="*/ 493 h 2681"/>
              <a:gd name="T12" fmla="*/ 1556 w 5373"/>
              <a:gd name="T13" fmla="*/ 632 h 2681"/>
              <a:gd name="T14" fmla="*/ 1506 w 5373"/>
              <a:gd name="T15" fmla="*/ 1080 h 2681"/>
              <a:gd name="T16" fmla="*/ 1377 w 5373"/>
              <a:gd name="T17" fmla="*/ 510 h 2681"/>
              <a:gd name="T18" fmla="*/ 1582 w 5373"/>
              <a:gd name="T19" fmla="*/ 2590 h 2681"/>
              <a:gd name="T20" fmla="*/ 4958 w 5373"/>
              <a:gd name="T21" fmla="*/ 442 h 2681"/>
              <a:gd name="T22" fmla="*/ 3395 w 5373"/>
              <a:gd name="T23" fmla="*/ 104 h 2681"/>
              <a:gd name="T24" fmla="*/ 3480 w 5373"/>
              <a:gd name="T25" fmla="*/ 97 h 2681"/>
              <a:gd name="T26" fmla="*/ 1138 w 5373"/>
              <a:gd name="T27" fmla="*/ 453 h 2681"/>
              <a:gd name="T28" fmla="*/ 1222 w 5373"/>
              <a:gd name="T29" fmla="*/ 141 h 2681"/>
              <a:gd name="T30" fmla="*/ 1016 w 5373"/>
              <a:gd name="T31" fmla="*/ 208 h 2681"/>
              <a:gd name="T32" fmla="*/ 1659 w 5373"/>
              <a:gd name="T33" fmla="*/ 476 h 2681"/>
              <a:gd name="T34" fmla="*/ 1533 w 5373"/>
              <a:gd name="T35" fmla="*/ 466 h 2681"/>
              <a:gd name="T36" fmla="*/ 1441 w 5373"/>
              <a:gd name="T37" fmla="*/ 56 h 2681"/>
              <a:gd name="T38" fmla="*/ 2517 w 5373"/>
              <a:gd name="T39" fmla="*/ 630 h 2681"/>
              <a:gd name="T40" fmla="*/ 647 w 5373"/>
              <a:gd name="T41" fmla="*/ 728 h 2681"/>
              <a:gd name="T42" fmla="*/ 1614 w 5373"/>
              <a:gd name="T43" fmla="*/ 988 h 2681"/>
              <a:gd name="T44" fmla="*/ 2566 w 5373"/>
              <a:gd name="T45" fmla="*/ 697 h 2681"/>
              <a:gd name="T46" fmla="*/ 592 w 5373"/>
              <a:gd name="T47" fmla="*/ 1846 h 2681"/>
              <a:gd name="T48" fmla="*/ 5131 w 5373"/>
              <a:gd name="T49" fmla="*/ 2242 h 2681"/>
              <a:gd name="T50" fmla="*/ 4120 w 5373"/>
              <a:gd name="T51" fmla="*/ 1676 h 2681"/>
              <a:gd name="T52" fmla="*/ 4393 w 5373"/>
              <a:gd name="T53" fmla="*/ 1753 h 2681"/>
              <a:gd name="T54" fmla="*/ 5055 w 5373"/>
              <a:gd name="T55" fmla="*/ 1960 h 2681"/>
              <a:gd name="T56" fmla="*/ 4317 w 5373"/>
              <a:gd name="T57" fmla="*/ 2007 h 2681"/>
              <a:gd name="T58" fmla="*/ 4433 w 5373"/>
              <a:gd name="T59" fmla="*/ 1921 h 2681"/>
              <a:gd name="T60" fmla="*/ 4945 w 5373"/>
              <a:gd name="T61" fmla="*/ 789 h 2681"/>
              <a:gd name="T62" fmla="*/ 4441 w 5373"/>
              <a:gd name="T63" fmla="*/ 1102 h 2681"/>
              <a:gd name="T64" fmla="*/ 4167 w 5373"/>
              <a:gd name="T65" fmla="*/ 1537 h 2681"/>
              <a:gd name="T66" fmla="*/ 3670 w 5373"/>
              <a:gd name="T67" fmla="*/ 1402 h 2681"/>
              <a:gd name="T68" fmla="*/ 3209 w 5373"/>
              <a:gd name="T69" fmla="*/ 1704 h 2681"/>
              <a:gd name="T70" fmla="*/ 2421 w 5373"/>
              <a:gd name="T71" fmla="*/ 1274 h 2681"/>
              <a:gd name="T72" fmla="*/ 2919 w 5373"/>
              <a:gd name="T73" fmla="*/ 613 h 2681"/>
              <a:gd name="T74" fmla="*/ 2854 w 5373"/>
              <a:gd name="T75" fmla="*/ 455 h 2681"/>
              <a:gd name="T76" fmla="*/ 3668 w 5373"/>
              <a:gd name="T77" fmla="*/ 404 h 2681"/>
              <a:gd name="T78" fmla="*/ 4408 w 5373"/>
              <a:gd name="T79" fmla="*/ 354 h 2681"/>
              <a:gd name="T80" fmla="*/ 2691 w 5373"/>
              <a:gd name="T81" fmla="*/ 648 h 2681"/>
              <a:gd name="T82" fmla="*/ 2723 w 5373"/>
              <a:gd name="T83" fmla="*/ 997 h 2681"/>
              <a:gd name="T84" fmla="*/ 3370 w 5373"/>
              <a:gd name="T85" fmla="*/ 472 h 2681"/>
              <a:gd name="T86" fmla="*/ 2971 w 5373"/>
              <a:gd name="T87" fmla="*/ 1146 h 2681"/>
              <a:gd name="T88" fmla="*/ 2785 w 5373"/>
              <a:gd name="T89" fmla="*/ 761 h 2681"/>
              <a:gd name="T90" fmla="*/ 3858 w 5373"/>
              <a:gd name="T91" fmla="*/ 299 h 2681"/>
              <a:gd name="T92" fmla="*/ 2257 w 5373"/>
              <a:gd name="T93" fmla="*/ 535 h 2681"/>
              <a:gd name="T94" fmla="*/ 2012 w 5373"/>
              <a:gd name="T95" fmla="*/ 592 h 2681"/>
              <a:gd name="T96" fmla="*/ 1755 w 5373"/>
              <a:gd name="T97" fmla="*/ 262 h 2681"/>
              <a:gd name="T98" fmla="*/ 2322 w 5373"/>
              <a:gd name="T99" fmla="*/ 311 h 2681"/>
              <a:gd name="T100" fmla="*/ 2332 w 5373"/>
              <a:gd name="T101" fmla="*/ 185 h 2681"/>
              <a:gd name="T102" fmla="*/ 3277 w 5373"/>
              <a:gd name="T103" fmla="*/ 1935 h 2681"/>
              <a:gd name="T104" fmla="*/ 2048 w 5373"/>
              <a:gd name="T105" fmla="*/ 1886 h 2681"/>
              <a:gd name="T106" fmla="*/ 1526 w 5373"/>
              <a:gd name="T107" fmla="*/ 2433 h 2681"/>
              <a:gd name="T108" fmla="*/ 1824 w 5373"/>
              <a:gd name="T109" fmla="*/ 1612 h 2681"/>
              <a:gd name="T110" fmla="*/ 1808 w 5373"/>
              <a:gd name="T111" fmla="*/ 378 h 2681"/>
              <a:gd name="T112" fmla="*/ 4408 w 5373"/>
              <a:gd name="T113" fmla="*/ 1721 h 2681"/>
              <a:gd name="T114" fmla="*/ 4421 w 5373"/>
              <a:gd name="T115" fmla="*/ 1527 h 2681"/>
              <a:gd name="T116" fmla="*/ 4404 w 5373"/>
              <a:gd name="T117" fmla="*/ 1567 h 2681"/>
              <a:gd name="T118" fmla="*/ 4598 w 5373"/>
              <a:gd name="T119" fmla="*/ 1116 h 2681"/>
              <a:gd name="T120" fmla="*/ 4249 w 5373"/>
              <a:gd name="T121" fmla="*/ 1800 h 2681"/>
              <a:gd name="T122" fmla="*/ 4517 w 5373"/>
              <a:gd name="T123" fmla="*/ 1802 h 2681"/>
              <a:gd name="T124" fmla="*/ 4660 w 5373"/>
              <a:gd name="T125" fmla="*/ 1032 h 2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73" h="2681">
                <a:moveTo>
                  <a:pt x="1846" y="547"/>
                </a:moveTo>
                <a:lnTo>
                  <a:pt x="1843" y="545"/>
                </a:lnTo>
                <a:lnTo>
                  <a:pt x="1846" y="545"/>
                </a:lnTo>
                <a:lnTo>
                  <a:pt x="1846" y="547"/>
                </a:lnTo>
                <a:close/>
                <a:moveTo>
                  <a:pt x="1793" y="933"/>
                </a:moveTo>
                <a:lnTo>
                  <a:pt x="1795" y="939"/>
                </a:lnTo>
                <a:lnTo>
                  <a:pt x="1799" y="939"/>
                </a:lnTo>
                <a:lnTo>
                  <a:pt x="1795" y="935"/>
                </a:lnTo>
                <a:lnTo>
                  <a:pt x="1795" y="933"/>
                </a:lnTo>
                <a:lnTo>
                  <a:pt x="1793" y="933"/>
                </a:lnTo>
                <a:close/>
                <a:moveTo>
                  <a:pt x="980" y="1246"/>
                </a:moveTo>
                <a:lnTo>
                  <a:pt x="980" y="1246"/>
                </a:lnTo>
                <a:lnTo>
                  <a:pt x="979" y="1252"/>
                </a:lnTo>
                <a:lnTo>
                  <a:pt x="983" y="1253"/>
                </a:lnTo>
                <a:lnTo>
                  <a:pt x="983" y="1251"/>
                </a:lnTo>
                <a:lnTo>
                  <a:pt x="980" y="1250"/>
                </a:lnTo>
                <a:lnTo>
                  <a:pt x="980" y="1246"/>
                </a:lnTo>
                <a:close/>
                <a:moveTo>
                  <a:pt x="2732" y="599"/>
                </a:moveTo>
                <a:lnTo>
                  <a:pt x="2732" y="599"/>
                </a:lnTo>
                <a:lnTo>
                  <a:pt x="2735" y="599"/>
                </a:lnTo>
                <a:lnTo>
                  <a:pt x="2731" y="598"/>
                </a:lnTo>
                <a:lnTo>
                  <a:pt x="2732" y="599"/>
                </a:lnTo>
                <a:lnTo>
                  <a:pt x="2732" y="599"/>
                </a:lnTo>
                <a:close/>
                <a:moveTo>
                  <a:pt x="3343" y="449"/>
                </a:moveTo>
                <a:lnTo>
                  <a:pt x="3340" y="447"/>
                </a:lnTo>
                <a:lnTo>
                  <a:pt x="3325" y="441"/>
                </a:lnTo>
                <a:lnTo>
                  <a:pt x="3313" y="445"/>
                </a:lnTo>
                <a:lnTo>
                  <a:pt x="3309" y="452"/>
                </a:lnTo>
                <a:lnTo>
                  <a:pt x="3309" y="457"/>
                </a:lnTo>
                <a:lnTo>
                  <a:pt x="3315" y="459"/>
                </a:lnTo>
                <a:lnTo>
                  <a:pt x="3319" y="461"/>
                </a:lnTo>
                <a:lnTo>
                  <a:pt x="3325" y="460"/>
                </a:lnTo>
                <a:lnTo>
                  <a:pt x="3330" y="459"/>
                </a:lnTo>
                <a:lnTo>
                  <a:pt x="3340" y="451"/>
                </a:lnTo>
                <a:lnTo>
                  <a:pt x="3342" y="451"/>
                </a:lnTo>
                <a:lnTo>
                  <a:pt x="3340" y="454"/>
                </a:lnTo>
                <a:lnTo>
                  <a:pt x="3343" y="449"/>
                </a:lnTo>
                <a:close/>
                <a:moveTo>
                  <a:pt x="1507" y="1392"/>
                </a:moveTo>
                <a:lnTo>
                  <a:pt x="1484" y="1394"/>
                </a:lnTo>
                <a:lnTo>
                  <a:pt x="1488" y="1391"/>
                </a:lnTo>
                <a:lnTo>
                  <a:pt x="1494" y="1386"/>
                </a:lnTo>
                <a:lnTo>
                  <a:pt x="1494" y="1383"/>
                </a:lnTo>
                <a:lnTo>
                  <a:pt x="1494" y="1383"/>
                </a:lnTo>
                <a:lnTo>
                  <a:pt x="1481" y="1383"/>
                </a:lnTo>
                <a:lnTo>
                  <a:pt x="1474" y="1376"/>
                </a:lnTo>
                <a:lnTo>
                  <a:pt x="1472" y="1366"/>
                </a:lnTo>
                <a:lnTo>
                  <a:pt x="1471" y="1365"/>
                </a:lnTo>
                <a:lnTo>
                  <a:pt x="1464" y="1366"/>
                </a:lnTo>
                <a:lnTo>
                  <a:pt x="1454" y="1363"/>
                </a:lnTo>
                <a:lnTo>
                  <a:pt x="1447" y="1360"/>
                </a:lnTo>
                <a:lnTo>
                  <a:pt x="1446" y="1357"/>
                </a:lnTo>
                <a:lnTo>
                  <a:pt x="1443" y="1359"/>
                </a:lnTo>
                <a:lnTo>
                  <a:pt x="1441" y="1359"/>
                </a:lnTo>
                <a:lnTo>
                  <a:pt x="1434" y="1357"/>
                </a:lnTo>
                <a:lnTo>
                  <a:pt x="1430" y="1359"/>
                </a:lnTo>
                <a:lnTo>
                  <a:pt x="1430" y="1359"/>
                </a:lnTo>
                <a:lnTo>
                  <a:pt x="1427" y="1359"/>
                </a:lnTo>
                <a:lnTo>
                  <a:pt x="1420" y="1355"/>
                </a:lnTo>
                <a:lnTo>
                  <a:pt x="1426" y="1351"/>
                </a:lnTo>
                <a:lnTo>
                  <a:pt x="1414" y="1351"/>
                </a:lnTo>
                <a:lnTo>
                  <a:pt x="1404" y="1358"/>
                </a:lnTo>
                <a:lnTo>
                  <a:pt x="1395" y="1358"/>
                </a:lnTo>
                <a:lnTo>
                  <a:pt x="1394" y="1363"/>
                </a:lnTo>
                <a:lnTo>
                  <a:pt x="1391" y="1363"/>
                </a:lnTo>
                <a:lnTo>
                  <a:pt x="1385" y="1363"/>
                </a:lnTo>
                <a:lnTo>
                  <a:pt x="1385" y="1360"/>
                </a:lnTo>
                <a:lnTo>
                  <a:pt x="1387" y="1359"/>
                </a:lnTo>
                <a:lnTo>
                  <a:pt x="1390" y="1359"/>
                </a:lnTo>
                <a:lnTo>
                  <a:pt x="1387" y="1355"/>
                </a:lnTo>
                <a:lnTo>
                  <a:pt x="1393" y="1350"/>
                </a:lnTo>
                <a:lnTo>
                  <a:pt x="1405" y="1343"/>
                </a:lnTo>
                <a:lnTo>
                  <a:pt x="1410" y="1343"/>
                </a:lnTo>
                <a:lnTo>
                  <a:pt x="1422" y="1339"/>
                </a:lnTo>
                <a:lnTo>
                  <a:pt x="1429" y="1339"/>
                </a:lnTo>
                <a:lnTo>
                  <a:pt x="1431" y="1342"/>
                </a:lnTo>
                <a:lnTo>
                  <a:pt x="1436" y="1339"/>
                </a:lnTo>
                <a:lnTo>
                  <a:pt x="1435" y="1341"/>
                </a:lnTo>
                <a:lnTo>
                  <a:pt x="1436" y="1342"/>
                </a:lnTo>
                <a:lnTo>
                  <a:pt x="1443" y="1342"/>
                </a:lnTo>
                <a:lnTo>
                  <a:pt x="1449" y="1344"/>
                </a:lnTo>
                <a:lnTo>
                  <a:pt x="1451" y="1343"/>
                </a:lnTo>
                <a:lnTo>
                  <a:pt x="1458" y="1347"/>
                </a:lnTo>
                <a:lnTo>
                  <a:pt x="1463" y="1355"/>
                </a:lnTo>
                <a:lnTo>
                  <a:pt x="1469" y="1355"/>
                </a:lnTo>
                <a:lnTo>
                  <a:pt x="1474" y="1355"/>
                </a:lnTo>
                <a:lnTo>
                  <a:pt x="1481" y="1359"/>
                </a:lnTo>
                <a:lnTo>
                  <a:pt x="1484" y="1362"/>
                </a:lnTo>
                <a:lnTo>
                  <a:pt x="1489" y="1363"/>
                </a:lnTo>
                <a:lnTo>
                  <a:pt x="1487" y="1362"/>
                </a:lnTo>
                <a:lnTo>
                  <a:pt x="1488" y="1360"/>
                </a:lnTo>
                <a:lnTo>
                  <a:pt x="1495" y="1367"/>
                </a:lnTo>
                <a:lnTo>
                  <a:pt x="1493" y="1367"/>
                </a:lnTo>
                <a:lnTo>
                  <a:pt x="1494" y="1369"/>
                </a:lnTo>
                <a:lnTo>
                  <a:pt x="1494" y="1370"/>
                </a:lnTo>
                <a:lnTo>
                  <a:pt x="1497" y="1369"/>
                </a:lnTo>
                <a:lnTo>
                  <a:pt x="1502" y="1370"/>
                </a:lnTo>
                <a:lnTo>
                  <a:pt x="1503" y="1371"/>
                </a:lnTo>
                <a:lnTo>
                  <a:pt x="1504" y="1371"/>
                </a:lnTo>
                <a:lnTo>
                  <a:pt x="1505" y="1371"/>
                </a:lnTo>
                <a:lnTo>
                  <a:pt x="1510" y="1375"/>
                </a:lnTo>
                <a:lnTo>
                  <a:pt x="1516" y="1375"/>
                </a:lnTo>
                <a:lnTo>
                  <a:pt x="1516" y="1375"/>
                </a:lnTo>
                <a:lnTo>
                  <a:pt x="1514" y="1378"/>
                </a:lnTo>
                <a:lnTo>
                  <a:pt x="1510" y="1379"/>
                </a:lnTo>
                <a:lnTo>
                  <a:pt x="1510" y="1383"/>
                </a:lnTo>
                <a:lnTo>
                  <a:pt x="1526" y="1383"/>
                </a:lnTo>
                <a:lnTo>
                  <a:pt x="1532" y="1387"/>
                </a:lnTo>
                <a:lnTo>
                  <a:pt x="1538" y="1387"/>
                </a:lnTo>
                <a:lnTo>
                  <a:pt x="1536" y="1391"/>
                </a:lnTo>
                <a:lnTo>
                  <a:pt x="1528" y="1391"/>
                </a:lnTo>
                <a:lnTo>
                  <a:pt x="1524" y="1395"/>
                </a:lnTo>
                <a:lnTo>
                  <a:pt x="1522" y="1395"/>
                </a:lnTo>
                <a:lnTo>
                  <a:pt x="1507" y="1392"/>
                </a:lnTo>
                <a:close/>
                <a:moveTo>
                  <a:pt x="1493" y="1367"/>
                </a:moveTo>
                <a:lnTo>
                  <a:pt x="1493" y="1367"/>
                </a:lnTo>
                <a:lnTo>
                  <a:pt x="1491" y="1367"/>
                </a:lnTo>
                <a:lnTo>
                  <a:pt x="1490" y="1364"/>
                </a:lnTo>
                <a:lnTo>
                  <a:pt x="1490" y="1367"/>
                </a:lnTo>
                <a:lnTo>
                  <a:pt x="1491" y="1367"/>
                </a:lnTo>
                <a:lnTo>
                  <a:pt x="1493" y="1367"/>
                </a:lnTo>
                <a:close/>
                <a:moveTo>
                  <a:pt x="1823" y="928"/>
                </a:moveTo>
                <a:lnTo>
                  <a:pt x="1824" y="928"/>
                </a:lnTo>
                <a:lnTo>
                  <a:pt x="1826" y="924"/>
                </a:lnTo>
                <a:lnTo>
                  <a:pt x="1823" y="928"/>
                </a:lnTo>
                <a:close/>
                <a:moveTo>
                  <a:pt x="1816" y="886"/>
                </a:moveTo>
                <a:lnTo>
                  <a:pt x="1816" y="889"/>
                </a:lnTo>
                <a:lnTo>
                  <a:pt x="1819" y="885"/>
                </a:lnTo>
                <a:lnTo>
                  <a:pt x="1817" y="886"/>
                </a:lnTo>
                <a:lnTo>
                  <a:pt x="1816" y="886"/>
                </a:lnTo>
                <a:close/>
                <a:moveTo>
                  <a:pt x="1824" y="438"/>
                </a:moveTo>
                <a:lnTo>
                  <a:pt x="1817" y="435"/>
                </a:lnTo>
                <a:lnTo>
                  <a:pt x="1827" y="435"/>
                </a:lnTo>
                <a:lnTo>
                  <a:pt x="1819" y="429"/>
                </a:lnTo>
                <a:lnTo>
                  <a:pt x="1819" y="426"/>
                </a:lnTo>
                <a:lnTo>
                  <a:pt x="1826" y="422"/>
                </a:lnTo>
                <a:lnTo>
                  <a:pt x="1838" y="423"/>
                </a:lnTo>
                <a:lnTo>
                  <a:pt x="1848" y="432"/>
                </a:lnTo>
                <a:lnTo>
                  <a:pt x="1859" y="434"/>
                </a:lnTo>
                <a:lnTo>
                  <a:pt x="1859" y="437"/>
                </a:lnTo>
                <a:lnTo>
                  <a:pt x="1859" y="438"/>
                </a:lnTo>
                <a:lnTo>
                  <a:pt x="1862" y="440"/>
                </a:lnTo>
                <a:lnTo>
                  <a:pt x="1855" y="445"/>
                </a:lnTo>
                <a:lnTo>
                  <a:pt x="1837" y="450"/>
                </a:lnTo>
                <a:lnTo>
                  <a:pt x="1827" y="447"/>
                </a:lnTo>
                <a:lnTo>
                  <a:pt x="1830" y="447"/>
                </a:lnTo>
                <a:lnTo>
                  <a:pt x="1831" y="441"/>
                </a:lnTo>
                <a:lnTo>
                  <a:pt x="1831" y="440"/>
                </a:lnTo>
                <a:lnTo>
                  <a:pt x="1828" y="441"/>
                </a:lnTo>
                <a:lnTo>
                  <a:pt x="1819" y="440"/>
                </a:lnTo>
                <a:lnTo>
                  <a:pt x="1816" y="438"/>
                </a:lnTo>
                <a:lnTo>
                  <a:pt x="1820" y="437"/>
                </a:lnTo>
                <a:lnTo>
                  <a:pt x="1824" y="438"/>
                </a:lnTo>
                <a:close/>
                <a:moveTo>
                  <a:pt x="1834" y="447"/>
                </a:moveTo>
                <a:lnTo>
                  <a:pt x="1837" y="447"/>
                </a:lnTo>
                <a:lnTo>
                  <a:pt x="1840" y="443"/>
                </a:lnTo>
                <a:lnTo>
                  <a:pt x="1834" y="447"/>
                </a:lnTo>
                <a:close/>
                <a:moveTo>
                  <a:pt x="3466" y="445"/>
                </a:moveTo>
                <a:lnTo>
                  <a:pt x="3474" y="449"/>
                </a:lnTo>
                <a:lnTo>
                  <a:pt x="3472" y="447"/>
                </a:lnTo>
                <a:lnTo>
                  <a:pt x="3466" y="445"/>
                </a:lnTo>
                <a:close/>
                <a:moveTo>
                  <a:pt x="1815" y="435"/>
                </a:moveTo>
                <a:lnTo>
                  <a:pt x="1817" y="435"/>
                </a:lnTo>
                <a:lnTo>
                  <a:pt x="1815" y="434"/>
                </a:lnTo>
                <a:lnTo>
                  <a:pt x="1815" y="435"/>
                </a:lnTo>
                <a:close/>
                <a:moveTo>
                  <a:pt x="1821" y="421"/>
                </a:moveTo>
                <a:lnTo>
                  <a:pt x="1816" y="417"/>
                </a:lnTo>
                <a:lnTo>
                  <a:pt x="1816" y="418"/>
                </a:lnTo>
                <a:lnTo>
                  <a:pt x="1818" y="421"/>
                </a:lnTo>
                <a:lnTo>
                  <a:pt x="1821" y="421"/>
                </a:lnTo>
                <a:close/>
                <a:moveTo>
                  <a:pt x="1852" y="467"/>
                </a:moveTo>
                <a:lnTo>
                  <a:pt x="1845" y="470"/>
                </a:lnTo>
                <a:lnTo>
                  <a:pt x="1845" y="469"/>
                </a:lnTo>
                <a:lnTo>
                  <a:pt x="1841" y="472"/>
                </a:lnTo>
                <a:lnTo>
                  <a:pt x="1846" y="471"/>
                </a:lnTo>
                <a:lnTo>
                  <a:pt x="1846" y="470"/>
                </a:lnTo>
                <a:lnTo>
                  <a:pt x="1856" y="467"/>
                </a:lnTo>
                <a:lnTo>
                  <a:pt x="1852" y="467"/>
                </a:lnTo>
                <a:close/>
                <a:moveTo>
                  <a:pt x="3381" y="395"/>
                </a:moveTo>
                <a:lnTo>
                  <a:pt x="3379" y="395"/>
                </a:lnTo>
                <a:lnTo>
                  <a:pt x="3376" y="390"/>
                </a:lnTo>
                <a:lnTo>
                  <a:pt x="3370" y="392"/>
                </a:lnTo>
                <a:lnTo>
                  <a:pt x="3376" y="395"/>
                </a:lnTo>
                <a:lnTo>
                  <a:pt x="3379" y="399"/>
                </a:lnTo>
                <a:lnTo>
                  <a:pt x="3381" y="403"/>
                </a:lnTo>
                <a:lnTo>
                  <a:pt x="3383" y="403"/>
                </a:lnTo>
                <a:lnTo>
                  <a:pt x="3379" y="399"/>
                </a:lnTo>
                <a:lnTo>
                  <a:pt x="3381" y="396"/>
                </a:lnTo>
                <a:lnTo>
                  <a:pt x="3381" y="395"/>
                </a:lnTo>
                <a:close/>
                <a:moveTo>
                  <a:pt x="3407" y="409"/>
                </a:moveTo>
                <a:lnTo>
                  <a:pt x="3403" y="407"/>
                </a:lnTo>
                <a:lnTo>
                  <a:pt x="3402" y="408"/>
                </a:lnTo>
                <a:lnTo>
                  <a:pt x="3407" y="409"/>
                </a:lnTo>
                <a:close/>
                <a:moveTo>
                  <a:pt x="1812" y="889"/>
                </a:moveTo>
                <a:lnTo>
                  <a:pt x="1808" y="898"/>
                </a:lnTo>
                <a:lnTo>
                  <a:pt x="1812" y="890"/>
                </a:lnTo>
                <a:lnTo>
                  <a:pt x="1816" y="894"/>
                </a:lnTo>
                <a:lnTo>
                  <a:pt x="1819" y="886"/>
                </a:lnTo>
                <a:lnTo>
                  <a:pt x="1819" y="889"/>
                </a:lnTo>
                <a:lnTo>
                  <a:pt x="1819" y="894"/>
                </a:lnTo>
                <a:lnTo>
                  <a:pt x="1823" y="893"/>
                </a:lnTo>
                <a:lnTo>
                  <a:pt x="1824" y="893"/>
                </a:lnTo>
                <a:lnTo>
                  <a:pt x="1827" y="891"/>
                </a:lnTo>
                <a:lnTo>
                  <a:pt x="1831" y="890"/>
                </a:lnTo>
                <a:lnTo>
                  <a:pt x="1835" y="894"/>
                </a:lnTo>
                <a:lnTo>
                  <a:pt x="1834" y="897"/>
                </a:lnTo>
                <a:lnTo>
                  <a:pt x="1831" y="897"/>
                </a:lnTo>
                <a:lnTo>
                  <a:pt x="1832" y="900"/>
                </a:lnTo>
                <a:lnTo>
                  <a:pt x="1826" y="905"/>
                </a:lnTo>
                <a:lnTo>
                  <a:pt x="1830" y="905"/>
                </a:lnTo>
                <a:lnTo>
                  <a:pt x="1831" y="905"/>
                </a:lnTo>
                <a:lnTo>
                  <a:pt x="1832" y="905"/>
                </a:lnTo>
                <a:lnTo>
                  <a:pt x="1833" y="904"/>
                </a:lnTo>
                <a:lnTo>
                  <a:pt x="1837" y="906"/>
                </a:lnTo>
                <a:lnTo>
                  <a:pt x="1839" y="903"/>
                </a:lnTo>
                <a:lnTo>
                  <a:pt x="1839" y="904"/>
                </a:lnTo>
                <a:lnTo>
                  <a:pt x="1839" y="913"/>
                </a:lnTo>
                <a:lnTo>
                  <a:pt x="1838" y="913"/>
                </a:lnTo>
                <a:lnTo>
                  <a:pt x="1832" y="913"/>
                </a:lnTo>
                <a:lnTo>
                  <a:pt x="1831" y="913"/>
                </a:lnTo>
                <a:lnTo>
                  <a:pt x="1831" y="915"/>
                </a:lnTo>
                <a:lnTo>
                  <a:pt x="1830" y="916"/>
                </a:lnTo>
                <a:lnTo>
                  <a:pt x="1832" y="917"/>
                </a:lnTo>
                <a:lnTo>
                  <a:pt x="1834" y="917"/>
                </a:lnTo>
                <a:lnTo>
                  <a:pt x="1830" y="921"/>
                </a:lnTo>
                <a:lnTo>
                  <a:pt x="1831" y="924"/>
                </a:lnTo>
                <a:lnTo>
                  <a:pt x="1834" y="926"/>
                </a:lnTo>
                <a:lnTo>
                  <a:pt x="1835" y="921"/>
                </a:lnTo>
                <a:lnTo>
                  <a:pt x="1839" y="917"/>
                </a:lnTo>
                <a:lnTo>
                  <a:pt x="1842" y="917"/>
                </a:lnTo>
                <a:lnTo>
                  <a:pt x="1843" y="913"/>
                </a:lnTo>
                <a:lnTo>
                  <a:pt x="1845" y="915"/>
                </a:lnTo>
                <a:lnTo>
                  <a:pt x="1843" y="917"/>
                </a:lnTo>
                <a:lnTo>
                  <a:pt x="1839" y="924"/>
                </a:lnTo>
                <a:lnTo>
                  <a:pt x="1840" y="928"/>
                </a:lnTo>
                <a:lnTo>
                  <a:pt x="1843" y="924"/>
                </a:lnTo>
                <a:lnTo>
                  <a:pt x="1845" y="920"/>
                </a:lnTo>
                <a:lnTo>
                  <a:pt x="1849" y="926"/>
                </a:lnTo>
                <a:lnTo>
                  <a:pt x="1845" y="929"/>
                </a:lnTo>
                <a:lnTo>
                  <a:pt x="1843" y="940"/>
                </a:lnTo>
                <a:lnTo>
                  <a:pt x="1840" y="942"/>
                </a:lnTo>
                <a:lnTo>
                  <a:pt x="1836" y="940"/>
                </a:lnTo>
                <a:lnTo>
                  <a:pt x="1831" y="942"/>
                </a:lnTo>
                <a:lnTo>
                  <a:pt x="1831" y="932"/>
                </a:lnTo>
                <a:lnTo>
                  <a:pt x="1827" y="941"/>
                </a:lnTo>
                <a:lnTo>
                  <a:pt x="1824" y="941"/>
                </a:lnTo>
                <a:lnTo>
                  <a:pt x="1826" y="936"/>
                </a:lnTo>
                <a:lnTo>
                  <a:pt x="1830" y="928"/>
                </a:lnTo>
                <a:lnTo>
                  <a:pt x="1827" y="921"/>
                </a:lnTo>
                <a:lnTo>
                  <a:pt x="1824" y="920"/>
                </a:lnTo>
                <a:lnTo>
                  <a:pt x="1820" y="928"/>
                </a:lnTo>
                <a:lnTo>
                  <a:pt x="1819" y="929"/>
                </a:lnTo>
                <a:lnTo>
                  <a:pt x="1820" y="925"/>
                </a:lnTo>
                <a:lnTo>
                  <a:pt x="1819" y="929"/>
                </a:lnTo>
                <a:lnTo>
                  <a:pt x="1816" y="929"/>
                </a:lnTo>
                <a:lnTo>
                  <a:pt x="1810" y="938"/>
                </a:lnTo>
                <a:lnTo>
                  <a:pt x="1804" y="940"/>
                </a:lnTo>
                <a:lnTo>
                  <a:pt x="1799" y="936"/>
                </a:lnTo>
                <a:lnTo>
                  <a:pt x="1800" y="935"/>
                </a:lnTo>
                <a:lnTo>
                  <a:pt x="1807" y="932"/>
                </a:lnTo>
                <a:lnTo>
                  <a:pt x="1810" y="928"/>
                </a:lnTo>
                <a:lnTo>
                  <a:pt x="1816" y="925"/>
                </a:lnTo>
                <a:lnTo>
                  <a:pt x="1813" y="925"/>
                </a:lnTo>
                <a:lnTo>
                  <a:pt x="1816" y="921"/>
                </a:lnTo>
                <a:lnTo>
                  <a:pt x="1812" y="924"/>
                </a:lnTo>
                <a:lnTo>
                  <a:pt x="1807" y="923"/>
                </a:lnTo>
                <a:lnTo>
                  <a:pt x="1807" y="926"/>
                </a:lnTo>
                <a:lnTo>
                  <a:pt x="1805" y="928"/>
                </a:lnTo>
                <a:lnTo>
                  <a:pt x="1804" y="926"/>
                </a:lnTo>
                <a:lnTo>
                  <a:pt x="1800" y="928"/>
                </a:lnTo>
                <a:lnTo>
                  <a:pt x="1802" y="926"/>
                </a:lnTo>
                <a:lnTo>
                  <a:pt x="1804" y="925"/>
                </a:lnTo>
                <a:lnTo>
                  <a:pt x="1802" y="925"/>
                </a:lnTo>
                <a:lnTo>
                  <a:pt x="1802" y="925"/>
                </a:lnTo>
                <a:lnTo>
                  <a:pt x="1802" y="925"/>
                </a:lnTo>
                <a:lnTo>
                  <a:pt x="1800" y="925"/>
                </a:lnTo>
                <a:lnTo>
                  <a:pt x="1802" y="918"/>
                </a:lnTo>
                <a:lnTo>
                  <a:pt x="1799" y="920"/>
                </a:lnTo>
                <a:lnTo>
                  <a:pt x="1795" y="923"/>
                </a:lnTo>
                <a:lnTo>
                  <a:pt x="1795" y="924"/>
                </a:lnTo>
                <a:lnTo>
                  <a:pt x="1786" y="926"/>
                </a:lnTo>
                <a:lnTo>
                  <a:pt x="1768" y="924"/>
                </a:lnTo>
                <a:lnTo>
                  <a:pt x="1753" y="925"/>
                </a:lnTo>
                <a:lnTo>
                  <a:pt x="1752" y="925"/>
                </a:lnTo>
                <a:lnTo>
                  <a:pt x="1750" y="920"/>
                </a:lnTo>
                <a:lnTo>
                  <a:pt x="1764" y="908"/>
                </a:lnTo>
                <a:lnTo>
                  <a:pt x="1760" y="906"/>
                </a:lnTo>
                <a:lnTo>
                  <a:pt x="1752" y="908"/>
                </a:lnTo>
                <a:lnTo>
                  <a:pt x="1759" y="901"/>
                </a:lnTo>
                <a:lnTo>
                  <a:pt x="1756" y="904"/>
                </a:lnTo>
                <a:lnTo>
                  <a:pt x="1759" y="906"/>
                </a:lnTo>
                <a:lnTo>
                  <a:pt x="1763" y="895"/>
                </a:lnTo>
                <a:lnTo>
                  <a:pt x="1763" y="897"/>
                </a:lnTo>
                <a:lnTo>
                  <a:pt x="1767" y="898"/>
                </a:lnTo>
                <a:lnTo>
                  <a:pt x="1767" y="897"/>
                </a:lnTo>
                <a:lnTo>
                  <a:pt x="1767" y="897"/>
                </a:lnTo>
                <a:lnTo>
                  <a:pt x="1767" y="890"/>
                </a:lnTo>
                <a:lnTo>
                  <a:pt x="1771" y="886"/>
                </a:lnTo>
                <a:lnTo>
                  <a:pt x="1774" y="889"/>
                </a:lnTo>
                <a:lnTo>
                  <a:pt x="1772" y="887"/>
                </a:lnTo>
                <a:lnTo>
                  <a:pt x="1771" y="886"/>
                </a:lnTo>
                <a:lnTo>
                  <a:pt x="1779" y="869"/>
                </a:lnTo>
                <a:lnTo>
                  <a:pt x="1779" y="869"/>
                </a:lnTo>
                <a:lnTo>
                  <a:pt x="1785" y="862"/>
                </a:lnTo>
                <a:lnTo>
                  <a:pt x="1786" y="860"/>
                </a:lnTo>
                <a:lnTo>
                  <a:pt x="1785" y="858"/>
                </a:lnTo>
                <a:lnTo>
                  <a:pt x="1787" y="856"/>
                </a:lnTo>
                <a:lnTo>
                  <a:pt x="1787" y="855"/>
                </a:lnTo>
                <a:lnTo>
                  <a:pt x="1789" y="852"/>
                </a:lnTo>
                <a:lnTo>
                  <a:pt x="1799" y="846"/>
                </a:lnTo>
                <a:lnTo>
                  <a:pt x="1799" y="853"/>
                </a:lnTo>
                <a:lnTo>
                  <a:pt x="1798" y="853"/>
                </a:lnTo>
                <a:lnTo>
                  <a:pt x="1797" y="856"/>
                </a:lnTo>
                <a:lnTo>
                  <a:pt x="1799" y="855"/>
                </a:lnTo>
                <a:lnTo>
                  <a:pt x="1799" y="858"/>
                </a:lnTo>
                <a:lnTo>
                  <a:pt x="1795" y="863"/>
                </a:lnTo>
                <a:lnTo>
                  <a:pt x="1795" y="867"/>
                </a:lnTo>
                <a:lnTo>
                  <a:pt x="1787" y="879"/>
                </a:lnTo>
                <a:lnTo>
                  <a:pt x="1787" y="882"/>
                </a:lnTo>
                <a:lnTo>
                  <a:pt x="1786" y="885"/>
                </a:lnTo>
                <a:lnTo>
                  <a:pt x="1787" y="885"/>
                </a:lnTo>
                <a:lnTo>
                  <a:pt x="1786" y="887"/>
                </a:lnTo>
                <a:lnTo>
                  <a:pt x="1798" y="875"/>
                </a:lnTo>
                <a:lnTo>
                  <a:pt x="1802" y="881"/>
                </a:lnTo>
                <a:lnTo>
                  <a:pt x="1807" y="879"/>
                </a:lnTo>
                <a:lnTo>
                  <a:pt x="1807" y="881"/>
                </a:lnTo>
                <a:lnTo>
                  <a:pt x="1798" y="889"/>
                </a:lnTo>
                <a:lnTo>
                  <a:pt x="1800" y="889"/>
                </a:lnTo>
                <a:lnTo>
                  <a:pt x="1800" y="889"/>
                </a:lnTo>
                <a:lnTo>
                  <a:pt x="1803" y="890"/>
                </a:lnTo>
                <a:lnTo>
                  <a:pt x="1803" y="890"/>
                </a:lnTo>
                <a:lnTo>
                  <a:pt x="1803" y="890"/>
                </a:lnTo>
                <a:lnTo>
                  <a:pt x="1803" y="890"/>
                </a:lnTo>
                <a:lnTo>
                  <a:pt x="1803" y="890"/>
                </a:lnTo>
                <a:lnTo>
                  <a:pt x="1807" y="889"/>
                </a:lnTo>
                <a:lnTo>
                  <a:pt x="1807" y="889"/>
                </a:lnTo>
                <a:lnTo>
                  <a:pt x="1812" y="889"/>
                </a:lnTo>
                <a:close/>
                <a:moveTo>
                  <a:pt x="1831" y="908"/>
                </a:moveTo>
                <a:lnTo>
                  <a:pt x="1832" y="906"/>
                </a:lnTo>
                <a:lnTo>
                  <a:pt x="1831" y="907"/>
                </a:lnTo>
                <a:lnTo>
                  <a:pt x="1831" y="908"/>
                </a:lnTo>
                <a:close/>
                <a:moveTo>
                  <a:pt x="1827" y="909"/>
                </a:moveTo>
                <a:lnTo>
                  <a:pt x="1830" y="908"/>
                </a:lnTo>
                <a:lnTo>
                  <a:pt x="1830" y="907"/>
                </a:lnTo>
                <a:lnTo>
                  <a:pt x="1827" y="909"/>
                </a:lnTo>
                <a:close/>
                <a:moveTo>
                  <a:pt x="1827" y="915"/>
                </a:moveTo>
                <a:lnTo>
                  <a:pt x="1828" y="915"/>
                </a:lnTo>
                <a:lnTo>
                  <a:pt x="1827" y="913"/>
                </a:lnTo>
                <a:lnTo>
                  <a:pt x="1827" y="915"/>
                </a:lnTo>
                <a:close/>
                <a:moveTo>
                  <a:pt x="1846" y="468"/>
                </a:moveTo>
                <a:lnTo>
                  <a:pt x="1848" y="469"/>
                </a:lnTo>
                <a:lnTo>
                  <a:pt x="1848" y="468"/>
                </a:lnTo>
                <a:lnTo>
                  <a:pt x="1846" y="468"/>
                </a:lnTo>
                <a:close/>
                <a:moveTo>
                  <a:pt x="1823" y="883"/>
                </a:moveTo>
                <a:lnTo>
                  <a:pt x="1823" y="886"/>
                </a:lnTo>
                <a:lnTo>
                  <a:pt x="1827" y="885"/>
                </a:lnTo>
                <a:lnTo>
                  <a:pt x="1826" y="883"/>
                </a:lnTo>
                <a:lnTo>
                  <a:pt x="1823" y="883"/>
                </a:lnTo>
                <a:close/>
                <a:moveTo>
                  <a:pt x="3478" y="439"/>
                </a:moveTo>
                <a:lnTo>
                  <a:pt x="3482" y="439"/>
                </a:lnTo>
                <a:lnTo>
                  <a:pt x="3492" y="433"/>
                </a:lnTo>
                <a:lnTo>
                  <a:pt x="3489" y="430"/>
                </a:lnTo>
                <a:lnTo>
                  <a:pt x="3471" y="415"/>
                </a:lnTo>
                <a:lnTo>
                  <a:pt x="3464" y="419"/>
                </a:lnTo>
                <a:lnTo>
                  <a:pt x="3468" y="422"/>
                </a:lnTo>
                <a:lnTo>
                  <a:pt x="3462" y="420"/>
                </a:lnTo>
                <a:lnTo>
                  <a:pt x="3462" y="422"/>
                </a:lnTo>
                <a:lnTo>
                  <a:pt x="3462" y="426"/>
                </a:lnTo>
                <a:lnTo>
                  <a:pt x="3469" y="430"/>
                </a:lnTo>
                <a:lnTo>
                  <a:pt x="3470" y="430"/>
                </a:lnTo>
                <a:lnTo>
                  <a:pt x="3470" y="430"/>
                </a:lnTo>
                <a:lnTo>
                  <a:pt x="3470" y="430"/>
                </a:lnTo>
                <a:lnTo>
                  <a:pt x="3474" y="430"/>
                </a:lnTo>
                <a:lnTo>
                  <a:pt x="3478" y="431"/>
                </a:lnTo>
                <a:lnTo>
                  <a:pt x="3477" y="435"/>
                </a:lnTo>
                <a:lnTo>
                  <a:pt x="3478" y="439"/>
                </a:lnTo>
                <a:close/>
                <a:moveTo>
                  <a:pt x="1726" y="1454"/>
                </a:moveTo>
                <a:lnTo>
                  <a:pt x="1727" y="1454"/>
                </a:lnTo>
                <a:lnTo>
                  <a:pt x="1726" y="1452"/>
                </a:lnTo>
                <a:lnTo>
                  <a:pt x="1723" y="1454"/>
                </a:lnTo>
                <a:lnTo>
                  <a:pt x="1726" y="1454"/>
                </a:lnTo>
                <a:close/>
                <a:moveTo>
                  <a:pt x="1701" y="1422"/>
                </a:moveTo>
                <a:lnTo>
                  <a:pt x="1700" y="1423"/>
                </a:lnTo>
                <a:lnTo>
                  <a:pt x="1701" y="1423"/>
                </a:lnTo>
                <a:lnTo>
                  <a:pt x="1701" y="1422"/>
                </a:lnTo>
                <a:close/>
                <a:moveTo>
                  <a:pt x="1727" y="1496"/>
                </a:moveTo>
                <a:lnTo>
                  <a:pt x="1727" y="1494"/>
                </a:lnTo>
                <a:lnTo>
                  <a:pt x="1721" y="1497"/>
                </a:lnTo>
                <a:lnTo>
                  <a:pt x="1727" y="1499"/>
                </a:lnTo>
                <a:lnTo>
                  <a:pt x="1727" y="1496"/>
                </a:lnTo>
                <a:close/>
                <a:moveTo>
                  <a:pt x="1731" y="1474"/>
                </a:moveTo>
                <a:lnTo>
                  <a:pt x="1729" y="1473"/>
                </a:lnTo>
                <a:lnTo>
                  <a:pt x="1723" y="1472"/>
                </a:lnTo>
                <a:lnTo>
                  <a:pt x="1721" y="1473"/>
                </a:lnTo>
                <a:lnTo>
                  <a:pt x="1727" y="1475"/>
                </a:lnTo>
                <a:lnTo>
                  <a:pt x="1731" y="1477"/>
                </a:lnTo>
                <a:lnTo>
                  <a:pt x="1731" y="1474"/>
                </a:lnTo>
                <a:close/>
                <a:moveTo>
                  <a:pt x="1672" y="1427"/>
                </a:moveTo>
                <a:lnTo>
                  <a:pt x="1677" y="1427"/>
                </a:lnTo>
                <a:lnTo>
                  <a:pt x="1672" y="1425"/>
                </a:lnTo>
                <a:lnTo>
                  <a:pt x="1672" y="1427"/>
                </a:lnTo>
                <a:close/>
                <a:moveTo>
                  <a:pt x="1681" y="1527"/>
                </a:moveTo>
                <a:lnTo>
                  <a:pt x="1680" y="1528"/>
                </a:lnTo>
                <a:lnTo>
                  <a:pt x="1680" y="1530"/>
                </a:lnTo>
                <a:lnTo>
                  <a:pt x="1682" y="1530"/>
                </a:lnTo>
                <a:lnTo>
                  <a:pt x="1683" y="1531"/>
                </a:lnTo>
                <a:lnTo>
                  <a:pt x="1687" y="1528"/>
                </a:lnTo>
                <a:lnTo>
                  <a:pt x="1686" y="1527"/>
                </a:lnTo>
                <a:lnTo>
                  <a:pt x="1683" y="1528"/>
                </a:lnTo>
                <a:lnTo>
                  <a:pt x="1681" y="1527"/>
                </a:lnTo>
                <a:close/>
                <a:moveTo>
                  <a:pt x="1647" y="1419"/>
                </a:moveTo>
                <a:lnTo>
                  <a:pt x="1652" y="1422"/>
                </a:lnTo>
                <a:lnTo>
                  <a:pt x="1656" y="1419"/>
                </a:lnTo>
                <a:lnTo>
                  <a:pt x="1661" y="1415"/>
                </a:lnTo>
                <a:lnTo>
                  <a:pt x="1660" y="1414"/>
                </a:lnTo>
                <a:lnTo>
                  <a:pt x="1657" y="1413"/>
                </a:lnTo>
                <a:lnTo>
                  <a:pt x="1639" y="1411"/>
                </a:lnTo>
                <a:lnTo>
                  <a:pt x="1634" y="1414"/>
                </a:lnTo>
                <a:lnTo>
                  <a:pt x="1634" y="1415"/>
                </a:lnTo>
                <a:lnTo>
                  <a:pt x="1634" y="1422"/>
                </a:lnTo>
                <a:lnTo>
                  <a:pt x="1647" y="1419"/>
                </a:lnTo>
                <a:close/>
                <a:moveTo>
                  <a:pt x="1720" y="1455"/>
                </a:moveTo>
                <a:lnTo>
                  <a:pt x="1719" y="1454"/>
                </a:lnTo>
                <a:lnTo>
                  <a:pt x="1719" y="1455"/>
                </a:lnTo>
                <a:lnTo>
                  <a:pt x="1720" y="1455"/>
                </a:lnTo>
                <a:close/>
                <a:moveTo>
                  <a:pt x="1713" y="1543"/>
                </a:moveTo>
                <a:lnTo>
                  <a:pt x="1723" y="1542"/>
                </a:lnTo>
                <a:lnTo>
                  <a:pt x="1723" y="1532"/>
                </a:lnTo>
                <a:lnTo>
                  <a:pt x="1727" y="1531"/>
                </a:lnTo>
                <a:lnTo>
                  <a:pt x="1726" y="1531"/>
                </a:lnTo>
                <a:lnTo>
                  <a:pt x="1717" y="1532"/>
                </a:lnTo>
                <a:lnTo>
                  <a:pt x="1719" y="1534"/>
                </a:lnTo>
                <a:lnTo>
                  <a:pt x="1719" y="1539"/>
                </a:lnTo>
                <a:lnTo>
                  <a:pt x="1713" y="1543"/>
                </a:lnTo>
                <a:close/>
                <a:moveTo>
                  <a:pt x="1723" y="1451"/>
                </a:moveTo>
                <a:lnTo>
                  <a:pt x="1723" y="1451"/>
                </a:lnTo>
                <a:lnTo>
                  <a:pt x="1727" y="1451"/>
                </a:lnTo>
                <a:lnTo>
                  <a:pt x="1723" y="1451"/>
                </a:lnTo>
                <a:close/>
                <a:moveTo>
                  <a:pt x="1718" y="1451"/>
                </a:moveTo>
                <a:lnTo>
                  <a:pt x="1719" y="1454"/>
                </a:lnTo>
                <a:lnTo>
                  <a:pt x="1719" y="1451"/>
                </a:lnTo>
                <a:lnTo>
                  <a:pt x="1718" y="1451"/>
                </a:lnTo>
                <a:close/>
                <a:moveTo>
                  <a:pt x="1719" y="1450"/>
                </a:moveTo>
                <a:lnTo>
                  <a:pt x="1723" y="1451"/>
                </a:lnTo>
                <a:lnTo>
                  <a:pt x="1719" y="1445"/>
                </a:lnTo>
                <a:lnTo>
                  <a:pt x="1719" y="1450"/>
                </a:lnTo>
                <a:close/>
                <a:moveTo>
                  <a:pt x="3472" y="430"/>
                </a:moveTo>
                <a:lnTo>
                  <a:pt x="3470" y="430"/>
                </a:lnTo>
                <a:lnTo>
                  <a:pt x="3471" y="430"/>
                </a:lnTo>
                <a:lnTo>
                  <a:pt x="3472" y="430"/>
                </a:lnTo>
                <a:close/>
                <a:moveTo>
                  <a:pt x="1574" y="1505"/>
                </a:moveTo>
                <a:lnTo>
                  <a:pt x="1574" y="1505"/>
                </a:lnTo>
                <a:lnTo>
                  <a:pt x="1573" y="1505"/>
                </a:lnTo>
                <a:lnTo>
                  <a:pt x="1574" y="1505"/>
                </a:lnTo>
                <a:close/>
                <a:moveTo>
                  <a:pt x="1653" y="980"/>
                </a:moveTo>
                <a:lnTo>
                  <a:pt x="1651" y="983"/>
                </a:lnTo>
                <a:lnTo>
                  <a:pt x="1655" y="980"/>
                </a:lnTo>
                <a:lnTo>
                  <a:pt x="1653" y="980"/>
                </a:lnTo>
                <a:close/>
                <a:moveTo>
                  <a:pt x="1543" y="1419"/>
                </a:moveTo>
                <a:lnTo>
                  <a:pt x="1549" y="1419"/>
                </a:lnTo>
                <a:lnTo>
                  <a:pt x="1546" y="1418"/>
                </a:lnTo>
                <a:lnTo>
                  <a:pt x="1543" y="1419"/>
                </a:lnTo>
                <a:close/>
                <a:moveTo>
                  <a:pt x="1382" y="1363"/>
                </a:moveTo>
                <a:lnTo>
                  <a:pt x="1383" y="1362"/>
                </a:lnTo>
                <a:lnTo>
                  <a:pt x="1381" y="1363"/>
                </a:lnTo>
                <a:lnTo>
                  <a:pt x="1382" y="1363"/>
                </a:lnTo>
                <a:close/>
                <a:moveTo>
                  <a:pt x="1383" y="1362"/>
                </a:moveTo>
                <a:lnTo>
                  <a:pt x="1385" y="1360"/>
                </a:lnTo>
                <a:lnTo>
                  <a:pt x="1385" y="1360"/>
                </a:lnTo>
                <a:lnTo>
                  <a:pt x="1383" y="1362"/>
                </a:lnTo>
                <a:close/>
                <a:moveTo>
                  <a:pt x="3361" y="371"/>
                </a:moveTo>
                <a:lnTo>
                  <a:pt x="3363" y="369"/>
                </a:lnTo>
                <a:lnTo>
                  <a:pt x="3369" y="371"/>
                </a:lnTo>
                <a:lnTo>
                  <a:pt x="3369" y="366"/>
                </a:lnTo>
                <a:lnTo>
                  <a:pt x="3377" y="363"/>
                </a:lnTo>
                <a:lnTo>
                  <a:pt x="3376" y="360"/>
                </a:lnTo>
                <a:lnTo>
                  <a:pt x="3383" y="359"/>
                </a:lnTo>
                <a:lnTo>
                  <a:pt x="3376" y="359"/>
                </a:lnTo>
                <a:lnTo>
                  <a:pt x="3379" y="354"/>
                </a:lnTo>
                <a:lnTo>
                  <a:pt x="3385" y="354"/>
                </a:lnTo>
                <a:lnTo>
                  <a:pt x="3373" y="351"/>
                </a:lnTo>
                <a:lnTo>
                  <a:pt x="3381" y="346"/>
                </a:lnTo>
                <a:lnTo>
                  <a:pt x="3384" y="347"/>
                </a:lnTo>
                <a:lnTo>
                  <a:pt x="3387" y="348"/>
                </a:lnTo>
                <a:lnTo>
                  <a:pt x="3383" y="346"/>
                </a:lnTo>
                <a:lnTo>
                  <a:pt x="3387" y="346"/>
                </a:lnTo>
                <a:lnTo>
                  <a:pt x="3383" y="342"/>
                </a:lnTo>
                <a:lnTo>
                  <a:pt x="3387" y="337"/>
                </a:lnTo>
                <a:lnTo>
                  <a:pt x="3390" y="336"/>
                </a:lnTo>
                <a:lnTo>
                  <a:pt x="3392" y="334"/>
                </a:lnTo>
                <a:lnTo>
                  <a:pt x="3399" y="335"/>
                </a:lnTo>
                <a:lnTo>
                  <a:pt x="3405" y="332"/>
                </a:lnTo>
                <a:lnTo>
                  <a:pt x="3399" y="334"/>
                </a:lnTo>
                <a:lnTo>
                  <a:pt x="3394" y="333"/>
                </a:lnTo>
                <a:lnTo>
                  <a:pt x="3396" y="332"/>
                </a:lnTo>
                <a:lnTo>
                  <a:pt x="3397" y="330"/>
                </a:lnTo>
                <a:lnTo>
                  <a:pt x="3397" y="330"/>
                </a:lnTo>
                <a:lnTo>
                  <a:pt x="3399" y="330"/>
                </a:lnTo>
                <a:lnTo>
                  <a:pt x="3401" y="327"/>
                </a:lnTo>
                <a:lnTo>
                  <a:pt x="3413" y="323"/>
                </a:lnTo>
                <a:lnTo>
                  <a:pt x="3395" y="326"/>
                </a:lnTo>
                <a:lnTo>
                  <a:pt x="3391" y="321"/>
                </a:lnTo>
                <a:lnTo>
                  <a:pt x="3407" y="315"/>
                </a:lnTo>
                <a:lnTo>
                  <a:pt x="3403" y="314"/>
                </a:lnTo>
                <a:lnTo>
                  <a:pt x="3407" y="312"/>
                </a:lnTo>
                <a:lnTo>
                  <a:pt x="3411" y="310"/>
                </a:lnTo>
                <a:lnTo>
                  <a:pt x="3424" y="313"/>
                </a:lnTo>
                <a:lnTo>
                  <a:pt x="3412" y="310"/>
                </a:lnTo>
                <a:lnTo>
                  <a:pt x="3421" y="310"/>
                </a:lnTo>
                <a:lnTo>
                  <a:pt x="3413" y="305"/>
                </a:lnTo>
                <a:lnTo>
                  <a:pt x="3414" y="301"/>
                </a:lnTo>
                <a:lnTo>
                  <a:pt x="3428" y="300"/>
                </a:lnTo>
                <a:lnTo>
                  <a:pt x="3417" y="298"/>
                </a:lnTo>
                <a:lnTo>
                  <a:pt x="3417" y="298"/>
                </a:lnTo>
                <a:lnTo>
                  <a:pt x="3434" y="298"/>
                </a:lnTo>
                <a:lnTo>
                  <a:pt x="3431" y="294"/>
                </a:lnTo>
                <a:lnTo>
                  <a:pt x="3424" y="294"/>
                </a:lnTo>
                <a:lnTo>
                  <a:pt x="3434" y="290"/>
                </a:lnTo>
                <a:lnTo>
                  <a:pt x="3429" y="290"/>
                </a:lnTo>
                <a:lnTo>
                  <a:pt x="3431" y="286"/>
                </a:lnTo>
                <a:lnTo>
                  <a:pt x="3425" y="286"/>
                </a:lnTo>
                <a:lnTo>
                  <a:pt x="3424" y="286"/>
                </a:lnTo>
                <a:lnTo>
                  <a:pt x="3424" y="286"/>
                </a:lnTo>
                <a:lnTo>
                  <a:pt x="3417" y="286"/>
                </a:lnTo>
                <a:lnTo>
                  <a:pt x="3417" y="281"/>
                </a:lnTo>
                <a:lnTo>
                  <a:pt x="3427" y="280"/>
                </a:lnTo>
                <a:lnTo>
                  <a:pt x="3431" y="284"/>
                </a:lnTo>
                <a:lnTo>
                  <a:pt x="3434" y="281"/>
                </a:lnTo>
                <a:lnTo>
                  <a:pt x="3437" y="279"/>
                </a:lnTo>
                <a:lnTo>
                  <a:pt x="3436" y="278"/>
                </a:lnTo>
                <a:lnTo>
                  <a:pt x="3437" y="278"/>
                </a:lnTo>
                <a:lnTo>
                  <a:pt x="3450" y="278"/>
                </a:lnTo>
                <a:lnTo>
                  <a:pt x="3447" y="271"/>
                </a:lnTo>
                <a:lnTo>
                  <a:pt x="3458" y="269"/>
                </a:lnTo>
                <a:lnTo>
                  <a:pt x="3454" y="267"/>
                </a:lnTo>
                <a:lnTo>
                  <a:pt x="3466" y="260"/>
                </a:lnTo>
                <a:lnTo>
                  <a:pt x="3489" y="255"/>
                </a:lnTo>
                <a:lnTo>
                  <a:pt x="3485" y="254"/>
                </a:lnTo>
                <a:lnTo>
                  <a:pt x="3488" y="254"/>
                </a:lnTo>
                <a:lnTo>
                  <a:pt x="3495" y="254"/>
                </a:lnTo>
                <a:lnTo>
                  <a:pt x="3491" y="258"/>
                </a:lnTo>
                <a:lnTo>
                  <a:pt x="3493" y="258"/>
                </a:lnTo>
                <a:lnTo>
                  <a:pt x="3500" y="254"/>
                </a:lnTo>
                <a:lnTo>
                  <a:pt x="3497" y="254"/>
                </a:lnTo>
                <a:lnTo>
                  <a:pt x="3499" y="248"/>
                </a:lnTo>
                <a:lnTo>
                  <a:pt x="3508" y="246"/>
                </a:lnTo>
                <a:lnTo>
                  <a:pt x="3519" y="249"/>
                </a:lnTo>
                <a:lnTo>
                  <a:pt x="3537" y="243"/>
                </a:lnTo>
                <a:lnTo>
                  <a:pt x="3544" y="246"/>
                </a:lnTo>
                <a:lnTo>
                  <a:pt x="3564" y="237"/>
                </a:lnTo>
                <a:lnTo>
                  <a:pt x="3570" y="239"/>
                </a:lnTo>
                <a:lnTo>
                  <a:pt x="3567" y="234"/>
                </a:lnTo>
                <a:lnTo>
                  <a:pt x="3592" y="224"/>
                </a:lnTo>
                <a:lnTo>
                  <a:pt x="3599" y="225"/>
                </a:lnTo>
                <a:lnTo>
                  <a:pt x="3607" y="226"/>
                </a:lnTo>
                <a:lnTo>
                  <a:pt x="3613" y="231"/>
                </a:lnTo>
                <a:lnTo>
                  <a:pt x="3610" y="237"/>
                </a:lnTo>
                <a:lnTo>
                  <a:pt x="3611" y="239"/>
                </a:lnTo>
                <a:lnTo>
                  <a:pt x="3603" y="246"/>
                </a:lnTo>
                <a:lnTo>
                  <a:pt x="3604" y="246"/>
                </a:lnTo>
                <a:lnTo>
                  <a:pt x="3558" y="260"/>
                </a:lnTo>
                <a:lnTo>
                  <a:pt x="3539" y="265"/>
                </a:lnTo>
                <a:lnTo>
                  <a:pt x="3536" y="264"/>
                </a:lnTo>
                <a:lnTo>
                  <a:pt x="3533" y="267"/>
                </a:lnTo>
                <a:lnTo>
                  <a:pt x="3508" y="273"/>
                </a:lnTo>
                <a:lnTo>
                  <a:pt x="3506" y="278"/>
                </a:lnTo>
                <a:lnTo>
                  <a:pt x="3506" y="278"/>
                </a:lnTo>
                <a:lnTo>
                  <a:pt x="3505" y="278"/>
                </a:lnTo>
                <a:lnTo>
                  <a:pt x="3502" y="275"/>
                </a:lnTo>
                <a:lnTo>
                  <a:pt x="3500" y="278"/>
                </a:lnTo>
                <a:lnTo>
                  <a:pt x="3493" y="281"/>
                </a:lnTo>
                <a:lnTo>
                  <a:pt x="3495" y="284"/>
                </a:lnTo>
                <a:lnTo>
                  <a:pt x="3493" y="285"/>
                </a:lnTo>
                <a:lnTo>
                  <a:pt x="3490" y="281"/>
                </a:lnTo>
                <a:lnTo>
                  <a:pt x="3490" y="286"/>
                </a:lnTo>
                <a:lnTo>
                  <a:pt x="3482" y="286"/>
                </a:lnTo>
                <a:lnTo>
                  <a:pt x="3493" y="287"/>
                </a:lnTo>
                <a:lnTo>
                  <a:pt x="3486" y="290"/>
                </a:lnTo>
                <a:lnTo>
                  <a:pt x="3489" y="292"/>
                </a:lnTo>
                <a:lnTo>
                  <a:pt x="3488" y="294"/>
                </a:lnTo>
                <a:lnTo>
                  <a:pt x="3482" y="294"/>
                </a:lnTo>
                <a:lnTo>
                  <a:pt x="3477" y="292"/>
                </a:lnTo>
                <a:lnTo>
                  <a:pt x="3481" y="295"/>
                </a:lnTo>
                <a:lnTo>
                  <a:pt x="3480" y="298"/>
                </a:lnTo>
                <a:lnTo>
                  <a:pt x="3471" y="292"/>
                </a:lnTo>
                <a:lnTo>
                  <a:pt x="3473" y="296"/>
                </a:lnTo>
                <a:lnTo>
                  <a:pt x="3471" y="298"/>
                </a:lnTo>
                <a:lnTo>
                  <a:pt x="3471" y="301"/>
                </a:lnTo>
                <a:lnTo>
                  <a:pt x="3458" y="298"/>
                </a:lnTo>
                <a:lnTo>
                  <a:pt x="3464" y="301"/>
                </a:lnTo>
                <a:lnTo>
                  <a:pt x="3466" y="307"/>
                </a:lnTo>
                <a:lnTo>
                  <a:pt x="3462" y="310"/>
                </a:lnTo>
                <a:lnTo>
                  <a:pt x="3459" y="309"/>
                </a:lnTo>
                <a:lnTo>
                  <a:pt x="3460" y="314"/>
                </a:lnTo>
                <a:lnTo>
                  <a:pt x="3458" y="314"/>
                </a:lnTo>
                <a:lnTo>
                  <a:pt x="3458" y="314"/>
                </a:lnTo>
                <a:lnTo>
                  <a:pt x="3450" y="313"/>
                </a:lnTo>
                <a:lnTo>
                  <a:pt x="3447" y="310"/>
                </a:lnTo>
                <a:lnTo>
                  <a:pt x="3446" y="310"/>
                </a:lnTo>
                <a:lnTo>
                  <a:pt x="3446" y="312"/>
                </a:lnTo>
                <a:lnTo>
                  <a:pt x="3447" y="314"/>
                </a:lnTo>
                <a:lnTo>
                  <a:pt x="3444" y="314"/>
                </a:lnTo>
                <a:lnTo>
                  <a:pt x="3451" y="319"/>
                </a:lnTo>
                <a:lnTo>
                  <a:pt x="3454" y="321"/>
                </a:lnTo>
                <a:lnTo>
                  <a:pt x="3450" y="323"/>
                </a:lnTo>
                <a:lnTo>
                  <a:pt x="3446" y="319"/>
                </a:lnTo>
                <a:lnTo>
                  <a:pt x="3432" y="318"/>
                </a:lnTo>
                <a:lnTo>
                  <a:pt x="3443" y="319"/>
                </a:lnTo>
                <a:lnTo>
                  <a:pt x="3447" y="324"/>
                </a:lnTo>
                <a:lnTo>
                  <a:pt x="3442" y="327"/>
                </a:lnTo>
                <a:lnTo>
                  <a:pt x="3433" y="324"/>
                </a:lnTo>
                <a:lnTo>
                  <a:pt x="3433" y="326"/>
                </a:lnTo>
                <a:lnTo>
                  <a:pt x="3440" y="329"/>
                </a:lnTo>
                <a:lnTo>
                  <a:pt x="3436" y="334"/>
                </a:lnTo>
                <a:lnTo>
                  <a:pt x="3433" y="333"/>
                </a:lnTo>
                <a:lnTo>
                  <a:pt x="3433" y="338"/>
                </a:lnTo>
                <a:lnTo>
                  <a:pt x="3432" y="338"/>
                </a:lnTo>
                <a:lnTo>
                  <a:pt x="3432" y="339"/>
                </a:lnTo>
                <a:lnTo>
                  <a:pt x="3421" y="342"/>
                </a:lnTo>
                <a:lnTo>
                  <a:pt x="3431" y="342"/>
                </a:lnTo>
                <a:lnTo>
                  <a:pt x="3429" y="346"/>
                </a:lnTo>
                <a:lnTo>
                  <a:pt x="3428" y="346"/>
                </a:lnTo>
                <a:lnTo>
                  <a:pt x="3426" y="350"/>
                </a:lnTo>
                <a:lnTo>
                  <a:pt x="3417" y="350"/>
                </a:lnTo>
                <a:lnTo>
                  <a:pt x="3425" y="353"/>
                </a:lnTo>
                <a:lnTo>
                  <a:pt x="3421" y="354"/>
                </a:lnTo>
                <a:lnTo>
                  <a:pt x="3420" y="359"/>
                </a:lnTo>
                <a:lnTo>
                  <a:pt x="3413" y="358"/>
                </a:lnTo>
                <a:lnTo>
                  <a:pt x="3418" y="360"/>
                </a:lnTo>
                <a:lnTo>
                  <a:pt x="3412" y="363"/>
                </a:lnTo>
                <a:lnTo>
                  <a:pt x="3417" y="363"/>
                </a:lnTo>
                <a:lnTo>
                  <a:pt x="3417" y="365"/>
                </a:lnTo>
                <a:lnTo>
                  <a:pt x="3418" y="369"/>
                </a:lnTo>
                <a:lnTo>
                  <a:pt x="3413" y="374"/>
                </a:lnTo>
                <a:lnTo>
                  <a:pt x="3418" y="376"/>
                </a:lnTo>
                <a:lnTo>
                  <a:pt x="3420" y="383"/>
                </a:lnTo>
                <a:lnTo>
                  <a:pt x="3428" y="394"/>
                </a:lnTo>
                <a:lnTo>
                  <a:pt x="3434" y="399"/>
                </a:lnTo>
                <a:lnTo>
                  <a:pt x="3440" y="404"/>
                </a:lnTo>
                <a:lnTo>
                  <a:pt x="3448" y="408"/>
                </a:lnTo>
                <a:lnTo>
                  <a:pt x="3446" y="411"/>
                </a:lnTo>
                <a:lnTo>
                  <a:pt x="3436" y="409"/>
                </a:lnTo>
                <a:lnTo>
                  <a:pt x="3444" y="412"/>
                </a:lnTo>
                <a:lnTo>
                  <a:pt x="3440" y="411"/>
                </a:lnTo>
                <a:lnTo>
                  <a:pt x="3442" y="412"/>
                </a:lnTo>
                <a:lnTo>
                  <a:pt x="3440" y="414"/>
                </a:lnTo>
                <a:lnTo>
                  <a:pt x="3436" y="411"/>
                </a:lnTo>
                <a:lnTo>
                  <a:pt x="3433" y="411"/>
                </a:lnTo>
                <a:lnTo>
                  <a:pt x="3429" y="409"/>
                </a:lnTo>
                <a:lnTo>
                  <a:pt x="3429" y="408"/>
                </a:lnTo>
                <a:lnTo>
                  <a:pt x="3428" y="411"/>
                </a:lnTo>
                <a:lnTo>
                  <a:pt x="3431" y="411"/>
                </a:lnTo>
                <a:lnTo>
                  <a:pt x="3434" y="415"/>
                </a:lnTo>
                <a:lnTo>
                  <a:pt x="3432" y="415"/>
                </a:lnTo>
                <a:lnTo>
                  <a:pt x="3424" y="412"/>
                </a:lnTo>
                <a:lnTo>
                  <a:pt x="3426" y="415"/>
                </a:lnTo>
                <a:lnTo>
                  <a:pt x="3424" y="415"/>
                </a:lnTo>
                <a:lnTo>
                  <a:pt x="3420" y="412"/>
                </a:lnTo>
                <a:lnTo>
                  <a:pt x="3421" y="409"/>
                </a:lnTo>
                <a:lnTo>
                  <a:pt x="3419" y="408"/>
                </a:lnTo>
                <a:lnTo>
                  <a:pt x="3417" y="408"/>
                </a:lnTo>
                <a:lnTo>
                  <a:pt x="3412" y="412"/>
                </a:lnTo>
                <a:lnTo>
                  <a:pt x="3402" y="406"/>
                </a:lnTo>
                <a:lnTo>
                  <a:pt x="3401" y="406"/>
                </a:lnTo>
                <a:lnTo>
                  <a:pt x="3401" y="407"/>
                </a:lnTo>
                <a:lnTo>
                  <a:pt x="3392" y="407"/>
                </a:lnTo>
                <a:lnTo>
                  <a:pt x="3392" y="405"/>
                </a:lnTo>
                <a:lnTo>
                  <a:pt x="3392" y="403"/>
                </a:lnTo>
                <a:lnTo>
                  <a:pt x="3387" y="397"/>
                </a:lnTo>
                <a:lnTo>
                  <a:pt x="3398" y="396"/>
                </a:lnTo>
                <a:lnTo>
                  <a:pt x="3385" y="394"/>
                </a:lnTo>
                <a:lnTo>
                  <a:pt x="3385" y="392"/>
                </a:lnTo>
                <a:lnTo>
                  <a:pt x="3385" y="392"/>
                </a:lnTo>
                <a:lnTo>
                  <a:pt x="3383" y="391"/>
                </a:lnTo>
                <a:lnTo>
                  <a:pt x="3385" y="391"/>
                </a:lnTo>
                <a:lnTo>
                  <a:pt x="3383" y="388"/>
                </a:lnTo>
                <a:lnTo>
                  <a:pt x="3388" y="386"/>
                </a:lnTo>
                <a:lnTo>
                  <a:pt x="3387" y="385"/>
                </a:lnTo>
                <a:lnTo>
                  <a:pt x="3386" y="385"/>
                </a:lnTo>
                <a:lnTo>
                  <a:pt x="3379" y="389"/>
                </a:lnTo>
                <a:lnTo>
                  <a:pt x="3373" y="386"/>
                </a:lnTo>
                <a:lnTo>
                  <a:pt x="3373" y="385"/>
                </a:lnTo>
                <a:lnTo>
                  <a:pt x="3371" y="388"/>
                </a:lnTo>
                <a:lnTo>
                  <a:pt x="3370" y="385"/>
                </a:lnTo>
                <a:lnTo>
                  <a:pt x="3369" y="386"/>
                </a:lnTo>
                <a:lnTo>
                  <a:pt x="3369" y="387"/>
                </a:lnTo>
                <a:lnTo>
                  <a:pt x="3370" y="387"/>
                </a:lnTo>
                <a:lnTo>
                  <a:pt x="3365" y="388"/>
                </a:lnTo>
                <a:lnTo>
                  <a:pt x="3361" y="385"/>
                </a:lnTo>
                <a:lnTo>
                  <a:pt x="3358" y="376"/>
                </a:lnTo>
                <a:lnTo>
                  <a:pt x="3361" y="371"/>
                </a:lnTo>
                <a:close/>
                <a:moveTo>
                  <a:pt x="3410" y="331"/>
                </a:moveTo>
                <a:lnTo>
                  <a:pt x="3425" y="335"/>
                </a:lnTo>
                <a:lnTo>
                  <a:pt x="3425" y="334"/>
                </a:lnTo>
                <a:lnTo>
                  <a:pt x="3418" y="332"/>
                </a:lnTo>
                <a:lnTo>
                  <a:pt x="3411" y="330"/>
                </a:lnTo>
                <a:lnTo>
                  <a:pt x="3410" y="331"/>
                </a:lnTo>
                <a:close/>
                <a:moveTo>
                  <a:pt x="1578" y="1416"/>
                </a:moveTo>
                <a:lnTo>
                  <a:pt x="1580" y="1417"/>
                </a:lnTo>
                <a:lnTo>
                  <a:pt x="1585" y="1415"/>
                </a:lnTo>
                <a:lnTo>
                  <a:pt x="1586" y="1415"/>
                </a:lnTo>
                <a:lnTo>
                  <a:pt x="1588" y="1419"/>
                </a:lnTo>
                <a:lnTo>
                  <a:pt x="1593" y="1419"/>
                </a:lnTo>
                <a:lnTo>
                  <a:pt x="1598" y="1415"/>
                </a:lnTo>
                <a:lnTo>
                  <a:pt x="1613" y="1415"/>
                </a:lnTo>
                <a:lnTo>
                  <a:pt x="1615" y="1419"/>
                </a:lnTo>
                <a:lnTo>
                  <a:pt x="1616" y="1419"/>
                </a:lnTo>
                <a:lnTo>
                  <a:pt x="1620" y="1419"/>
                </a:lnTo>
                <a:lnTo>
                  <a:pt x="1620" y="1414"/>
                </a:lnTo>
                <a:lnTo>
                  <a:pt x="1610" y="1408"/>
                </a:lnTo>
                <a:lnTo>
                  <a:pt x="1604" y="1407"/>
                </a:lnTo>
                <a:lnTo>
                  <a:pt x="1606" y="1407"/>
                </a:lnTo>
                <a:lnTo>
                  <a:pt x="1606" y="1402"/>
                </a:lnTo>
                <a:lnTo>
                  <a:pt x="1606" y="1401"/>
                </a:lnTo>
                <a:lnTo>
                  <a:pt x="1598" y="1402"/>
                </a:lnTo>
                <a:lnTo>
                  <a:pt x="1596" y="1397"/>
                </a:lnTo>
                <a:lnTo>
                  <a:pt x="1592" y="1399"/>
                </a:lnTo>
                <a:lnTo>
                  <a:pt x="1588" y="1395"/>
                </a:lnTo>
                <a:lnTo>
                  <a:pt x="1586" y="1397"/>
                </a:lnTo>
                <a:lnTo>
                  <a:pt x="1581" y="1394"/>
                </a:lnTo>
                <a:lnTo>
                  <a:pt x="1577" y="1395"/>
                </a:lnTo>
                <a:lnTo>
                  <a:pt x="1570" y="1394"/>
                </a:lnTo>
                <a:lnTo>
                  <a:pt x="1570" y="1395"/>
                </a:lnTo>
                <a:lnTo>
                  <a:pt x="1563" y="1395"/>
                </a:lnTo>
                <a:lnTo>
                  <a:pt x="1554" y="1392"/>
                </a:lnTo>
                <a:lnTo>
                  <a:pt x="1546" y="1393"/>
                </a:lnTo>
                <a:lnTo>
                  <a:pt x="1546" y="1399"/>
                </a:lnTo>
                <a:lnTo>
                  <a:pt x="1550" y="1399"/>
                </a:lnTo>
                <a:lnTo>
                  <a:pt x="1557" y="1401"/>
                </a:lnTo>
                <a:lnTo>
                  <a:pt x="1554" y="1405"/>
                </a:lnTo>
                <a:lnTo>
                  <a:pt x="1558" y="1412"/>
                </a:lnTo>
                <a:lnTo>
                  <a:pt x="1558" y="1415"/>
                </a:lnTo>
                <a:lnTo>
                  <a:pt x="1559" y="1415"/>
                </a:lnTo>
                <a:lnTo>
                  <a:pt x="1557" y="1419"/>
                </a:lnTo>
                <a:lnTo>
                  <a:pt x="1549" y="1419"/>
                </a:lnTo>
                <a:lnTo>
                  <a:pt x="1554" y="1420"/>
                </a:lnTo>
                <a:lnTo>
                  <a:pt x="1565" y="1418"/>
                </a:lnTo>
                <a:lnTo>
                  <a:pt x="1570" y="1422"/>
                </a:lnTo>
                <a:lnTo>
                  <a:pt x="1570" y="1420"/>
                </a:lnTo>
                <a:lnTo>
                  <a:pt x="1573" y="1426"/>
                </a:lnTo>
                <a:lnTo>
                  <a:pt x="1578" y="1419"/>
                </a:lnTo>
                <a:lnTo>
                  <a:pt x="1578" y="1416"/>
                </a:lnTo>
                <a:close/>
                <a:moveTo>
                  <a:pt x="1627" y="1418"/>
                </a:moveTo>
                <a:lnTo>
                  <a:pt x="1626" y="1418"/>
                </a:lnTo>
                <a:lnTo>
                  <a:pt x="1627" y="1419"/>
                </a:lnTo>
                <a:lnTo>
                  <a:pt x="1627" y="1418"/>
                </a:lnTo>
                <a:close/>
                <a:moveTo>
                  <a:pt x="2586" y="663"/>
                </a:moveTo>
                <a:lnTo>
                  <a:pt x="2591" y="660"/>
                </a:lnTo>
                <a:lnTo>
                  <a:pt x="2594" y="660"/>
                </a:lnTo>
                <a:lnTo>
                  <a:pt x="2597" y="660"/>
                </a:lnTo>
                <a:lnTo>
                  <a:pt x="2593" y="664"/>
                </a:lnTo>
                <a:lnTo>
                  <a:pt x="2594" y="666"/>
                </a:lnTo>
                <a:lnTo>
                  <a:pt x="2593" y="667"/>
                </a:lnTo>
                <a:lnTo>
                  <a:pt x="2593" y="667"/>
                </a:lnTo>
                <a:lnTo>
                  <a:pt x="2592" y="672"/>
                </a:lnTo>
                <a:lnTo>
                  <a:pt x="2590" y="672"/>
                </a:lnTo>
                <a:lnTo>
                  <a:pt x="2592" y="668"/>
                </a:lnTo>
                <a:lnTo>
                  <a:pt x="2590" y="668"/>
                </a:lnTo>
                <a:lnTo>
                  <a:pt x="2586" y="663"/>
                </a:lnTo>
                <a:close/>
                <a:moveTo>
                  <a:pt x="2590" y="664"/>
                </a:moveTo>
                <a:lnTo>
                  <a:pt x="2592" y="668"/>
                </a:lnTo>
                <a:lnTo>
                  <a:pt x="2593" y="667"/>
                </a:lnTo>
                <a:lnTo>
                  <a:pt x="2592" y="664"/>
                </a:lnTo>
                <a:lnTo>
                  <a:pt x="2590" y="664"/>
                </a:lnTo>
                <a:close/>
                <a:moveTo>
                  <a:pt x="1729" y="1482"/>
                </a:moveTo>
                <a:lnTo>
                  <a:pt x="1727" y="1487"/>
                </a:lnTo>
                <a:lnTo>
                  <a:pt x="1729" y="1488"/>
                </a:lnTo>
                <a:lnTo>
                  <a:pt x="1732" y="1485"/>
                </a:lnTo>
                <a:lnTo>
                  <a:pt x="1729" y="1482"/>
                </a:lnTo>
                <a:close/>
                <a:moveTo>
                  <a:pt x="1540" y="1423"/>
                </a:moveTo>
                <a:lnTo>
                  <a:pt x="1538" y="1421"/>
                </a:lnTo>
                <a:lnTo>
                  <a:pt x="1538" y="1423"/>
                </a:lnTo>
                <a:lnTo>
                  <a:pt x="1540" y="1423"/>
                </a:lnTo>
                <a:close/>
                <a:moveTo>
                  <a:pt x="1542" y="1415"/>
                </a:moveTo>
                <a:lnTo>
                  <a:pt x="1542" y="1415"/>
                </a:lnTo>
                <a:lnTo>
                  <a:pt x="1536" y="1415"/>
                </a:lnTo>
                <a:lnTo>
                  <a:pt x="1530" y="1415"/>
                </a:lnTo>
                <a:lnTo>
                  <a:pt x="1530" y="1415"/>
                </a:lnTo>
                <a:lnTo>
                  <a:pt x="1530" y="1416"/>
                </a:lnTo>
                <a:lnTo>
                  <a:pt x="1537" y="1419"/>
                </a:lnTo>
                <a:lnTo>
                  <a:pt x="1538" y="1421"/>
                </a:lnTo>
                <a:lnTo>
                  <a:pt x="1538" y="1420"/>
                </a:lnTo>
                <a:lnTo>
                  <a:pt x="1543" y="1419"/>
                </a:lnTo>
                <a:lnTo>
                  <a:pt x="1542" y="1419"/>
                </a:lnTo>
                <a:lnTo>
                  <a:pt x="1542" y="1415"/>
                </a:lnTo>
                <a:close/>
                <a:moveTo>
                  <a:pt x="2726" y="599"/>
                </a:moveTo>
                <a:lnTo>
                  <a:pt x="2728" y="599"/>
                </a:lnTo>
                <a:lnTo>
                  <a:pt x="2729" y="599"/>
                </a:lnTo>
                <a:lnTo>
                  <a:pt x="2728" y="596"/>
                </a:lnTo>
                <a:lnTo>
                  <a:pt x="2726" y="599"/>
                </a:lnTo>
                <a:close/>
                <a:moveTo>
                  <a:pt x="2695" y="617"/>
                </a:moveTo>
                <a:lnTo>
                  <a:pt x="2695" y="621"/>
                </a:lnTo>
                <a:lnTo>
                  <a:pt x="2699" y="619"/>
                </a:lnTo>
                <a:lnTo>
                  <a:pt x="2695" y="617"/>
                </a:lnTo>
                <a:close/>
                <a:moveTo>
                  <a:pt x="2709" y="608"/>
                </a:moveTo>
                <a:lnTo>
                  <a:pt x="2709" y="611"/>
                </a:lnTo>
                <a:lnTo>
                  <a:pt x="2712" y="611"/>
                </a:lnTo>
                <a:lnTo>
                  <a:pt x="2709" y="608"/>
                </a:lnTo>
                <a:close/>
                <a:moveTo>
                  <a:pt x="1800" y="923"/>
                </a:moveTo>
                <a:lnTo>
                  <a:pt x="1798" y="923"/>
                </a:lnTo>
                <a:lnTo>
                  <a:pt x="1800" y="924"/>
                </a:lnTo>
                <a:lnTo>
                  <a:pt x="1800" y="923"/>
                </a:lnTo>
                <a:close/>
                <a:moveTo>
                  <a:pt x="2600" y="650"/>
                </a:moveTo>
                <a:lnTo>
                  <a:pt x="2598" y="650"/>
                </a:lnTo>
                <a:lnTo>
                  <a:pt x="2597" y="653"/>
                </a:lnTo>
                <a:lnTo>
                  <a:pt x="2598" y="653"/>
                </a:lnTo>
                <a:lnTo>
                  <a:pt x="2600" y="650"/>
                </a:lnTo>
                <a:close/>
                <a:moveTo>
                  <a:pt x="801" y="879"/>
                </a:moveTo>
                <a:lnTo>
                  <a:pt x="800" y="878"/>
                </a:lnTo>
                <a:lnTo>
                  <a:pt x="800" y="878"/>
                </a:lnTo>
                <a:lnTo>
                  <a:pt x="801" y="879"/>
                </a:lnTo>
                <a:lnTo>
                  <a:pt x="801" y="879"/>
                </a:lnTo>
                <a:lnTo>
                  <a:pt x="801" y="879"/>
                </a:lnTo>
                <a:lnTo>
                  <a:pt x="801" y="879"/>
                </a:lnTo>
                <a:close/>
                <a:moveTo>
                  <a:pt x="1804" y="861"/>
                </a:moveTo>
                <a:lnTo>
                  <a:pt x="1805" y="861"/>
                </a:lnTo>
                <a:lnTo>
                  <a:pt x="1805" y="860"/>
                </a:lnTo>
                <a:lnTo>
                  <a:pt x="1804" y="861"/>
                </a:lnTo>
                <a:close/>
                <a:moveTo>
                  <a:pt x="2597" y="657"/>
                </a:moveTo>
                <a:lnTo>
                  <a:pt x="2597" y="653"/>
                </a:lnTo>
                <a:lnTo>
                  <a:pt x="2597" y="651"/>
                </a:lnTo>
                <a:lnTo>
                  <a:pt x="2593" y="655"/>
                </a:lnTo>
                <a:lnTo>
                  <a:pt x="2594" y="658"/>
                </a:lnTo>
                <a:lnTo>
                  <a:pt x="2597" y="657"/>
                </a:lnTo>
                <a:close/>
                <a:moveTo>
                  <a:pt x="2731" y="599"/>
                </a:moveTo>
                <a:lnTo>
                  <a:pt x="2732" y="599"/>
                </a:lnTo>
                <a:lnTo>
                  <a:pt x="2731" y="598"/>
                </a:lnTo>
                <a:lnTo>
                  <a:pt x="2731" y="598"/>
                </a:lnTo>
                <a:lnTo>
                  <a:pt x="2729" y="596"/>
                </a:lnTo>
                <a:lnTo>
                  <a:pt x="2731" y="599"/>
                </a:lnTo>
                <a:close/>
                <a:moveTo>
                  <a:pt x="836" y="913"/>
                </a:moveTo>
                <a:lnTo>
                  <a:pt x="835" y="913"/>
                </a:lnTo>
                <a:lnTo>
                  <a:pt x="835" y="914"/>
                </a:lnTo>
                <a:lnTo>
                  <a:pt x="836" y="914"/>
                </a:lnTo>
                <a:lnTo>
                  <a:pt x="836" y="914"/>
                </a:lnTo>
                <a:lnTo>
                  <a:pt x="836" y="913"/>
                </a:lnTo>
                <a:lnTo>
                  <a:pt x="836" y="913"/>
                </a:lnTo>
                <a:close/>
                <a:moveTo>
                  <a:pt x="2726" y="600"/>
                </a:moveTo>
                <a:lnTo>
                  <a:pt x="2723" y="603"/>
                </a:lnTo>
                <a:lnTo>
                  <a:pt x="2724" y="603"/>
                </a:lnTo>
                <a:lnTo>
                  <a:pt x="2726" y="600"/>
                </a:lnTo>
                <a:close/>
                <a:moveTo>
                  <a:pt x="829" y="929"/>
                </a:moveTo>
                <a:lnTo>
                  <a:pt x="828" y="930"/>
                </a:lnTo>
                <a:lnTo>
                  <a:pt x="831" y="929"/>
                </a:lnTo>
                <a:lnTo>
                  <a:pt x="829" y="929"/>
                </a:lnTo>
                <a:close/>
                <a:moveTo>
                  <a:pt x="1730" y="1557"/>
                </a:moveTo>
                <a:lnTo>
                  <a:pt x="1730" y="1555"/>
                </a:lnTo>
                <a:lnTo>
                  <a:pt x="1728" y="1557"/>
                </a:lnTo>
                <a:lnTo>
                  <a:pt x="1730" y="1557"/>
                </a:lnTo>
                <a:close/>
                <a:moveTo>
                  <a:pt x="2729" y="593"/>
                </a:moveTo>
                <a:lnTo>
                  <a:pt x="2728" y="591"/>
                </a:lnTo>
                <a:lnTo>
                  <a:pt x="2724" y="593"/>
                </a:lnTo>
                <a:lnTo>
                  <a:pt x="2728" y="595"/>
                </a:lnTo>
                <a:lnTo>
                  <a:pt x="2729" y="593"/>
                </a:lnTo>
                <a:close/>
                <a:moveTo>
                  <a:pt x="1674" y="920"/>
                </a:moveTo>
                <a:lnTo>
                  <a:pt x="1675" y="920"/>
                </a:lnTo>
                <a:lnTo>
                  <a:pt x="1676" y="918"/>
                </a:lnTo>
                <a:lnTo>
                  <a:pt x="1674" y="920"/>
                </a:lnTo>
                <a:lnTo>
                  <a:pt x="1674" y="920"/>
                </a:lnTo>
                <a:close/>
                <a:moveTo>
                  <a:pt x="1696" y="894"/>
                </a:moveTo>
                <a:lnTo>
                  <a:pt x="1710" y="897"/>
                </a:lnTo>
                <a:lnTo>
                  <a:pt x="1716" y="895"/>
                </a:lnTo>
                <a:lnTo>
                  <a:pt x="1713" y="892"/>
                </a:lnTo>
                <a:lnTo>
                  <a:pt x="1708" y="890"/>
                </a:lnTo>
                <a:lnTo>
                  <a:pt x="1704" y="886"/>
                </a:lnTo>
                <a:lnTo>
                  <a:pt x="1691" y="882"/>
                </a:lnTo>
                <a:lnTo>
                  <a:pt x="1680" y="879"/>
                </a:lnTo>
                <a:lnTo>
                  <a:pt x="1676" y="882"/>
                </a:lnTo>
                <a:lnTo>
                  <a:pt x="1685" y="885"/>
                </a:lnTo>
                <a:lnTo>
                  <a:pt x="1689" y="890"/>
                </a:lnTo>
                <a:lnTo>
                  <a:pt x="1696" y="894"/>
                </a:lnTo>
                <a:close/>
                <a:moveTo>
                  <a:pt x="1805" y="886"/>
                </a:moveTo>
                <a:lnTo>
                  <a:pt x="1804" y="885"/>
                </a:lnTo>
                <a:lnTo>
                  <a:pt x="1802" y="886"/>
                </a:lnTo>
                <a:lnTo>
                  <a:pt x="1805" y="886"/>
                </a:lnTo>
                <a:close/>
                <a:moveTo>
                  <a:pt x="1675" y="918"/>
                </a:moveTo>
                <a:lnTo>
                  <a:pt x="1676" y="918"/>
                </a:lnTo>
                <a:lnTo>
                  <a:pt x="1676" y="917"/>
                </a:lnTo>
                <a:lnTo>
                  <a:pt x="1675" y="918"/>
                </a:lnTo>
                <a:close/>
                <a:moveTo>
                  <a:pt x="1719" y="927"/>
                </a:moveTo>
                <a:lnTo>
                  <a:pt x="1721" y="924"/>
                </a:lnTo>
                <a:lnTo>
                  <a:pt x="1713" y="929"/>
                </a:lnTo>
                <a:lnTo>
                  <a:pt x="1712" y="933"/>
                </a:lnTo>
                <a:lnTo>
                  <a:pt x="1713" y="933"/>
                </a:lnTo>
                <a:lnTo>
                  <a:pt x="1719" y="927"/>
                </a:lnTo>
                <a:close/>
                <a:moveTo>
                  <a:pt x="1732" y="1521"/>
                </a:moveTo>
                <a:lnTo>
                  <a:pt x="1729" y="1525"/>
                </a:lnTo>
                <a:lnTo>
                  <a:pt x="1732" y="1523"/>
                </a:lnTo>
                <a:lnTo>
                  <a:pt x="1732" y="1521"/>
                </a:lnTo>
                <a:close/>
                <a:moveTo>
                  <a:pt x="1804" y="853"/>
                </a:moveTo>
                <a:lnTo>
                  <a:pt x="1805" y="853"/>
                </a:lnTo>
                <a:lnTo>
                  <a:pt x="1807" y="849"/>
                </a:lnTo>
                <a:lnTo>
                  <a:pt x="1802" y="849"/>
                </a:lnTo>
                <a:lnTo>
                  <a:pt x="1804" y="853"/>
                </a:lnTo>
                <a:close/>
                <a:moveTo>
                  <a:pt x="2590" y="655"/>
                </a:moveTo>
                <a:lnTo>
                  <a:pt x="2585" y="658"/>
                </a:lnTo>
                <a:lnTo>
                  <a:pt x="2590" y="659"/>
                </a:lnTo>
                <a:lnTo>
                  <a:pt x="2590" y="655"/>
                </a:lnTo>
                <a:close/>
                <a:moveTo>
                  <a:pt x="1743" y="993"/>
                </a:moveTo>
                <a:lnTo>
                  <a:pt x="1745" y="992"/>
                </a:lnTo>
                <a:lnTo>
                  <a:pt x="1740" y="992"/>
                </a:lnTo>
                <a:lnTo>
                  <a:pt x="1743" y="993"/>
                </a:lnTo>
                <a:close/>
                <a:moveTo>
                  <a:pt x="1699" y="952"/>
                </a:moveTo>
                <a:lnTo>
                  <a:pt x="1699" y="955"/>
                </a:lnTo>
                <a:lnTo>
                  <a:pt x="1703" y="954"/>
                </a:lnTo>
                <a:lnTo>
                  <a:pt x="1703" y="952"/>
                </a:lnTo>
                <a:lnTo>
                  <a:pt x="1703" y="951"/>
                </a:lnTo>
                <a:lnTo>
                  <a:pt x="1708" y="947"/>
                </a:lnTo>
                <a:lnTo>
                  <a:pt x="1713" y="946"/>
                </a:lnTo>
                <a:lnTo>
                  <a:pt x="1694" y="947"/>
                </a:lnTo>
                <a:lnTo>
                  <a:pt x="1687" y="943"/>
                </a:lnTo>
                <a:lnTo>
                  <a:pt x="1687" y="949"/>
                </a:lnTo>
                <a:lnTo>
                  <a:pt x="1683" y="949"/>
                </a:lnTo>
                <a:lnTo>
                  <a:pt x="1683" y="949"/>
                </a:lnTo>
                <a:lnTo>
                  <a:pt x="1686" y="951"/>
                </a:lnTo>
                <a:lnTo>
                  <a:pt x="1693" y="952"/>
                </a:lnTo>
                <a:lnTo>
                  <a:pt x="1698" y="949"/>
                </a:lnTo>
                <a:lnTo>
                  <a:pt x="1696" y="951"/>
                </a:lnTo>
                <a:lnTo>
                  <a:pt x="1699" y="952"/>
                </a:lnTo>
                <a:close/>
                <a:moveTo>
                  <a:pt x="1678" y="940"/>
                </a:moveTo>
                <a:lnTo>
                  <a:pt x="1679" y="938"/>
                </a:lnTo>
                <a:lnTo>
                  <a:pt x="1679" y="935"/>
                </a:lnTo>
                <a:lnTo>
                  <a:pt x="1674" y="942"/>
                </a:lnTo>
                <a:lnTo>
                  <a:pt x="1679" y="945"/>
                </a:lnTo>
                <a:lnTo>
                  <a:pt x="1679" y="945"/>
                </a:lnTo>
                <a:lnTo>
                  <a:pt x="1679" y="949"/>
                </a:lnTo>
                <a:lnTo>
                  <a:pt x="1683" y="949"/>
                </a:lnTo>
                <a:lnTo>
                  <a:pt x="1683" y="942"/>
                </a:lnTo>
                <a:lnTo>
                  <a:pt x="1678" y="940"/>
                </a:lnTo>
                <a:close/>
                <a:moveTo>
                  <a:pt x="3352" y="88"/>
                </a:moveTo>
                <a:lnTo>
                  <a:pt x="3346" y="85"/>
                </a:lnTo>
                <a:lnTo>
                  <a:pt x="3343" y="88"/>
                </a:lnTo>
                <a:lnTo>
                  <a:pt x="3345" y="89"/>
                </a:lnTo>
                <a:lnTo>
                  <a:pt x="3348" y="88"/>
                </a:lnTo>
                <a:lnTo>
                  <a:pt x="3352" y="88"/>
                </a:lnTo>
                <a:close/>
                <a:moveTo>
                  <a:pt x="2964" y="400"/>
                </a:moveTo>
                <a:lnTo>
                  <a:pt x="2959" y="400"/>
                </a:lnTo>
                <a:lnTo>
                  <a:pt x="2961" y="401"/>
                </a:lnTo>
                <a:lnTo>
                  <a:pt x="2962" y="402"/>
                </a:lnTo>
                <a:lnTo>
                  <a:pt x="2964" y="400"/>
                </a:lnTo>
                <a:close/>
                <a:moveTo>
                  <a:pt x="222" y="650"/>
                </a:moveTo>
                <a:lnTo>
                  <a:pt x="223" y="650"/>
                </a:lnTo>
                <a:lnTo>
                  <a:pt x="221" y="650"/>
                </a:lnTo>
                <a:lnTo>
                  <a:pt x="221" y="651"/>
                </a:lnTo>
                <a:lnTo>
                  <a:pt x="221" y="651"/>
                </a:lnTo>
                <a:lnTo>
                  <a:pt x="222" y="650"/>
                </a:lnTo>
                <a:close/>
                <a:moveTo>
                  <a:pt x="2959" y="407"/>
                </a:moveTo>
                <a:lnTo>
                  <a:pt x="2956" y="408"/>
                </a:lnTo>
                <a:lnTo>
                  <a:pt x="2957" y="411"/>
                </a:lnTo>
                <a:lnTo>
                  <a:pt x="2959" y="413"/>
                </a:lnTo>
                <a:lnTo>
                  <a:pt x="2961" y="411"/>
                </a:lnTo>
                <a:lnTo>
                  <a:pt x="2962" y="410"/>
                </a:lnTo>
                <a:lnTo>
                  <a:pt x="2961" y="408"/>
                </a:lnTo>
                <a:lnTo>
                  <a:pt x="2959" y="407"/>
                </a:lnTo>
                <a:close/>
                <a:moveTo>
                  <a:pt x="2784" y="537"/>
                </a:moveTo>
                <a:lnTo>
                  <a:pt x="2782" y="538"/>
                </a:lnTo>
                <a:lnTo>
                  <a:pt x="2783" y="541"/>
                </a:lnTo>
                <a:lnTo>
                  <a:pt x="2784" y="537"/>
                </a:lnTo>
                <a:close/>
                <a:moveTo>
                  <a:pt x="3002" y="173"/>
                </a:moveTo>
                <a:lnTo>
                  <a:pt x="3006" y="171"/>
                </a:lnTo>
                <a:lnTo>
                  <a:pt x="3001" y="166"/>
                </a:lnTo>
                <a:lnTo>
                  <a:pt x="2998" y="168"/>
                </a:lnTo>
                <a:lnTo>
                  <a:pt x="3002" y="173"/>
                </a:lnTo>
                <a:close/>
                <a:moveTo>
                  <a:pt x="2975" y="202"/>
                </a:moveTo>
                <a:lnTo>
                  <a:pt x="2967" y="198"/>
                </a:lnTo>
                <a:lnTo>
                  <a:pt x="2958" y="198"/>
                </a:lnTo>
                <a:lnTo>
                  <a:pt x="2948" y="193"/>
                </a:lnTo>
                <a:lnTo>
                  <a:pt x="2948" y="191"/>
                </a:lnTo>
                <a:lnTo>
                  <a:pt x="2953" y="187"/>
                </a:lnTo>
                <a:lnTo>
                  <a:pt x="2947" y="186"/>
                </a:lnTo>
                <a:lnTo>
                  <a:pt x="2916" y="191"/>
                </a:lnTo>
                <a:lnTo>
                  <a:pt x="2926" y="196"/>
                </a:lnTo>
                <a:lnTo>
                  <a:pt x="2919" y="202"/>
                </a:lnTo>
                <a:lnTo>
                  <a:pt x="2919" y="206"/>
                </a:lnTo>
                <a:lnTo>
                  <a:pt x="2915" y="208"/>
                </a:lnTo>
                <a:lnTo>
                  <a:pt x="2915" y="210"/>
                </a:lnTo>
                <a:lnTo>
                  <a:pt x="2945" y="208"/>
                </a:lnTo>
                <a:lnTo>
                  <a:pt x="2938" y="212"/>
                </a:lnTo>
                <a:lnTo>
                  <a:pt x="2939" y="213"/>
                </a:lnTo>
                <a:lnTo>
                  <a:pt x="2935" y="215"/>
                </a:lnTo>
                <a:lnTo>
                  <a:pt x="2935" y="218"/>
                </a:lnTo>
                <a:lnTo>
                  <a:pt x="2943" y="218"/>
                </a:lnTo>
                <a:lnTo>
                  <a:pt x="2959" y="210"/>
                </a:lnTo>
                <a:lnTo>
                  <a:pt x="2965" y="204"/>
                </a:lnTo>
                <a:lnTo>
                  <a:pt x="2975" y="202"/>
                </a:lnTo>
                <a:close/>
                <a:moveTo>
                  <a:pt x="2773" y="558"/>
                </a:moveTo>
                <a:lnTo>
                  <a:pt x="2774" y="557"/>
                </a:lnTo>
                <a:lnTo>
                  <a:pt x="2773" y="556"/>
                </a:lnTo>
                <a:lnTo>
                  <a:pt x="2768" y="558"/>
                </a:lnTo>
                <a:lnTo>
                  <a:pt x="2773" y="558"/>
                </a:lnTo>
                <a:close/>
                <a:moveTo>
                  <a:pt x="2886" y="127"/>
                </a:moveTo>
                <a:lnTo>
                  <a:pt x="2872" y="124"/>
                </a:lnTo>
                <a:lnTo>
                  <a:pt x="2885" y="120"/>
                </a:lnTo>
                <a:lnTo>
                  <a:pt x="2894" y="124"/>
                </a:lnTo>
                <a:lnTo>
                  <a:pt x="2898" y="121"/>
                </a:lnTo>
                <a:lnTo>
                  <a:pt x="2893" y="120"/>
                </a:lnTo>
                <a:lnTo>
                  <a:pt x="2888" y="115"/>
                </a:lnTo>
                <a:lnTo>
                  <a:pt x="2899" y="120"/>
                </a:lnTo>
                <a:lnTo>
                  <a:pt x="2899" y="116"/>
                </a:lnTo>
                <a:lnTo>
                  <a:pt x="2901" y="113"/>
                </a:lnTo>
                <a:lnTo>
                  <a:pt x="2896" y="113"/>
                </a:lnTo>
                <a:lnTo>
                  <a:pt x="2900" y="109"/>
                </a:lnTo>
                <a:lnTo>
                  <a:pt x="2911" y="114"/>
                </a:lnTo>
                <a:lnTo>
                  <a:pt x="2912" y="118"/>
                </a:lnTo>
                <a:lnTo>
                  <a:pt x="2911" y="118"/>
                </a:lnTo>
                <a:lnTo>
                  <a:pt x="2911" y="118"/>
                </a:lnTo>
                <a:lnTo>
                  <a:pt x="2911" y="120"/>
                </a:lnTo>
                <a:lnTo>
                  <a:pt x="2931" y="118"/>
                </a:lnTo>
                <a:lnTo>
                  <a:pt x="2931" y="120"/>
                </a:lnTo>
                <a:lnTo>
                  <a:pt x="2926" y="124"/>
                </a:lnTo>
                <a:lnTo>
                  <a:pt x="2931" y="121"/>
                </a:lnTo>
                <a:lnTo>
                  <a:pt x="2935" y="129"/>
                </a:lnTo>
                <a:lnTo>
                  <a:pt x="2937" y="127"/>
                </a:lnTo>
                <a:lnTo>
                  <a:pt x="2938" y="118"/>
                </a:lnTo>
                <a:lnTo>
                  <a:pt x="2939" y="117"/>
                </a:lnTo>
                <a:lnTo>
                  <a:pt x="2939" y="118"/>
                </a:lnTo>
                <a:lnTo>
                  <a:pt x="2945" y="118"/>
                </a:lnTo>
                <a:lnTo>
                  <a:pt x="2946" y="110"/>
                </a:lnTo>
                <a:lnTo>
                  <a:pt x="2953" y="112"/>
                </a:lnTo>
                <a:lnTo>
                  <a:pt x="2949" y="113"/>
                </a:lnTo>
                <a:lnTo>
                  <a:pt x="2953" y="115"/>
                </a:lnTo>
                <a:lnTo>
                  <a:pt x="2949" y="118"/>
                </a:lnTo>
                <a:lnTo>
                  <a:pt x="2947" y="121"/>
                </a:lnTo>
                <a:lnTo>
                  <a:pt x="2949" y="124"/>
                </a:lnTo>
                <a:lnTo>
                  <a:pt x="2953" y="120"/>
                </a:lnTo>
                <a:lnTo>
                  <a:pt x="2956" y="121"/>
                </a:lnTo>
                <a:lnTo>
                  <a:pt x="2956" y="120"/>
                </a:lnTo>
                <a:lnTo>
                  <a:pt x="2956" y="118"/>
                </a:lnTo>
                <a:lnTo>
                  <a:pt x="2968" y="118"/>
                </a:lnTo>
                <a:lnTo>
                  <a:pt x="2965" y="116"/>
                </a:lnTo>
                <a:lnTo>
                  <a:pt x="2971" y="118"/>
                </a:lnTo>
                <a:lnTo>
                  <a:pt x="2972" y="115"/>
                </a:lnTo>
                <a:lnTo>
                  <a:pt x="2972" y="116"/>
                </a:lnTo>
                <a:lnTo>
                  <a:pt x="2972" y="118"/>
                </a:lnTo>
                <a:lnTo>
                  <a:pt x="2977" y="117"/>
                </a:lnTo>
                <a:lnTo>
                  <a:pt x="2981" y="116"/>
                </a:lnTo>
                <a:lnTo>
                  <a:pt x="2980" y="117"/>
                </a:lnTo>
                <a:lnTo>
                  <a:pt x="2980" y="118"/>
                </a:lnTo>
                <a:lnTo>
                  <a:pt x="3008" y="124"/>
                </a:lnTo>
                <a:lnTo>
                  <a:pt x="3006" y="129"/>
                </a:lnTo>
                <a:lnTo>
                  <a:pt x="3010" y="130"/>
                </a:lnTo>
                <a:lnTo>
                  <a:pt x="2989" y="140"/>
                </a:lnTo>
                <a:lnTo>
                  <a:pt x="2991" y="143"/>
                </a:lnTo>
                <a:lnTo>
                  <a:pt x="2987" y="147"/>
                </a:lnTo>
                <a:lnTo>
                  <a:pt x="2983" y="149"/>
                </a:lnTo>
                <a:lnTo>
                  <a:pt x="2980" y="151"/>
                </a:lnTo>
                <a:lnTo>
                  <a:pt x="2973" y="149"/>
                </a:lnTo>
                <a:lnTo>
                  <a:pt x="2967" y="152"/>
                </a:lnTo>
                <a:lnTo>
                  <a:pt x="2964" y="158"/>
                </a:lnTo>
                <a:lnTo>
                  <a:pt x="2956" y="158"/>
                </a:lnTo>
                <a:lnTo>
                  <a:pt x="2942" y="152"/>
                </a:lnTo>
                <a:lnTo>
                  <a:pt x="2944" y="147"/>
                </a:lnTo>
                <a:lnTo>
                  <a:pt x="2911" y="148"/>
                </a:lnTo>
                <a:lnTo>
                  <a:pt x="2911" y="146"/>
                </a:lnTo>
                <a:lnTo>
                  <a:pt x="2907" y="146"/>
                </a:lnTo>
                <a:lnTo>
                  <a:pt x="2898" y="142"/>
                </a:lnTo>
                <a:lnTo>
                  <a:pt x="2907" y="142"/>
                </a:lnTo>
                <a:lnTo>
                  <a:pt x="2920" y="142"/>
                </a:lnTo>
                <a:lnTo>
                  <a:pt x="2911" y="138"/>
                </a:lnTo>
                <a:lnTo>
                  <a:pt x="2931" y="136"/>
                </a:lnTo>
                <a:lnTo>
                  <a:pt x="2938" y="132"/>
                </a:lnTo>
                <a:lnTo>
                  <a:pt x="2886" y="136"/>
                </a:lnTo>
                <a:lnTo>
                  <a:pt x="2876" y="130"/>
                </a:lnTo>
                <a:lnTo>
                  <a:pt x="2886" y="127"/>
                </a:lnTo>
                <a:close/>
                <a:moveTo>
                  <a:pt x="2968" y="122"/>
                </a:moveTo>
                <a:lnTo>
                  <a:pt x="2969" y="122"/>
                </a:lnTo>
                <a:lnTo>
                  <a:pt x="2970" y="120"/>
                </a:lnTo>
                <a:lnTo>
                  <a:pt x="2968" y="122"/>
                </a:lnTo>
                <a:close/>
                <a:moveTo>
                  <a:pt x="2914" y="426"/>
                </a:moveTo>
                <a:lnTo>
                  <a:pt x="2915" y="429"/>
                </a:lnTo>
                <a:lnTo>
                  <a:pt x="2917" y="426"/>
                </a:lnTo>
                <a:lnTo>
                  <a:pt x="2914" y="426"/>
                </a:lnTo>
                <a:close/>
                <a:moveTo>
                  <a:pt x="2952" y="405"/>
                </a:moveTo>
                <a:lnTo>
                  <a:pt x="2952" y="403"/>
                </a:lnTo>
                <a:lnTo>
                  <a:pt x="2951" y="403"/>
                </a:lnTo>
                <a:lnTo>
                  <a:pt x="2948" y="403"/>
                </a:lnTo>
                <a:lnTo>
                  <a:pt x="2948" y="407"/>
                </a:lnTo>
                <a:lnTo>
                  <a:pt x="2949" y="407"/>
                </a:lnTo>
                <a:lnTo>
                  <a:pt x="2948" y="407"/>
                </a:lnTo>
                <a:lnTo>
                  <a:pt x="2944" y="408"/>
                </a:lnTo>
                <a:lnTo>
                  <a:pt x="2939" y="407"/>
                </a:lnTo>
                <a:lnTo>
                  <a:pt x="2939" y="408"/>
                </a:lnTo>
                <a:lnTo>
                  <a:pt x="2939" y="407"/>
                </a:lnTo>
                <a:lnTo>
                  <a:pt x="2930" y="408"/>
                </a:lnTo>
                <a:lnTo>
                  <a:pt x="2931" y="410"/>
                </a:lnTo>
                <a:lnTo>
                  <a:pt x="2931" y="413"/>
                </a:lnTo>
                <a:lnTo>
                  <a:pt x="2947" y="411"/>
                </a:lnTo>
                <a:lnTo>
                  <a:pt x="2952" y="405"/>
                </a:lnTo>
                <a:close/>
                <a:moveTo>
                  <a:pt x="2915" y="423"/>
                </a:moveTo>
                <a:lnTo>
                  <a:pt x="2914" y="423"/>
                </a:lnTo>
                <a:lnTo>
                  <a:pt x="2915" y="425"/>
                </a:lnTo>
                <a:lnTo>
                  <a:pt x="2915" y="423"/>
                </a:lnTo>
                <a:close/>
                <a:moveTo>
                  <a:pt x="2929" y="417"/>
                </a:moveTo>
                <a:lnTo>
                  <a:pt x="2926" y="417"/>
                </a:lnTo>
                <a:lnTo>
                  <a:pt x="2928" y="419"/>
                </a:lnTo>
                <a:lnTo>
                  <a:pt x="2929" y="417"/>
                </a:lnTo>
                <a:close/>
                <a:moveTo>
                  <a:pt x="2940" y="417"/>
                </a:moveTo>
                <a:lnTo>
                  <a:pt x="2936" y="418"/>
                </a:lnTo>
                <a:lnTo>
                  <a:pt x="2946" y="419"/>
                </a:lnTo>
                <a:lnTo>
                  <a:pt x="2940" y="417"/>
                </a:lnTo>
                <a:close/>
                <a:moveTo>
                  <a:pt x="3020" y="166"/>
                </a:moveTo>
                <a:lnTo>
                  <a:pt x="3031" y="163"/>
                </a:lnTo>
                <a:lnTo>
                  <a:pt x="3032" y="163"/>
                </a:lnTo>
                <a:lnTo>
                  <a:pt x="3033" y="163"/>
                </a:lnTo>
                <a:lnTo>
                  <a:pt x="3032" y="163"/>
                </a:lnTo>
                <a:lnTo>
                  <a:pt x="3032" y="163"/>
                </a:lnTo>
                <a:lnTo>
                  <a:pt x="3031" y="163"/>
                </a:lnTo>
                <a:lnTo>
                  <a:pt x="3025" y="163"/>
                </a:lnTo>
                <a:lnTo>
                  <a:pt x="3020" y="164"/>
                </a:lnTo>
                <a:lnTo>
                  <a:pt x="3020" y="166"/>
                </a:lnTo>
                <a:close/>
                <a:moveTo>
                  <a:pt x="2964" y="115"/>
                </a:moveTo>
                <a:lnTo>
                  <a:pt x="2964" y="116"/>
                </a:lnTo>
                <a:lnTo>
                  <a:pt x="2965" y="116"/>
                </a:lnTo>
                <a:lnTo>
                  <a:pt x="2964" y="115"/>
                </a:lnTo>
                <a:lnTo>
                  <a:pt x="2964" y="115"/>
                </a:lnTo>
                <a:close/>
                <a:moveTo>
                  <a:pt x="3018" y="121"/>
                </a:moveTo>
                <a:lnTo>
                  <a:pt x="3017" y="122"/>
                </a:lnTo>
                <a:lnTo>
                  <a:pt x="3017" y="124"/>
                </a:lnTo>
                <a:lnTo>
                  <a:pt x="3021" y="121"/>
                </a:lnTo>
                <a:lnTo>
                  <a:pt x="3018" y="121"/>
                </a:lnTo>
                <a:close/>
                <a:moveTo>
                  <a:pt x="2919" y="101"/>
                </a:moveTo>
                <a:lnTo>
                  <a:pt x="2912" y="100"/>
                </a:lnTo>
                <a:lnTo>
                  <a:pt x="2915" y="103"/>
                </a:lnTo>
                <a:lnTo>
                  <a:pt x="2919" y="101"/>
                </a:lnTo>
                <a:close/>
                <a:moveTo>
                  <a:pt x="2968" y="113"/>
                </a:moveTo>
                <a:lnTo>
                  <a:pt x="2965" y="112"/>
                </a:lnTo>
                <a:lnTo>
                  <a:pt x="2965" y="113"/>
                </a:lnTo>
                <a:lnTo>
                  <a:pt x="2964" y="113"/>
                </a:lnTo>
                <a:lnTo>
                  <a:pt x="2967" y="113"/>
                </a:lnTo>
                <a:lnTo>
                  <a:pt x="2968" y="113"/>
                </a:lnTo>
                <a:close/>
                <a:moveTo>
                  <a:pt x="2914" y="423"/>
                </a:moveTo>
                <a:lnTo>
                  <a:pt x="2914" y="421"/>
                </a:lnTo>
                <a:lnTo>
                  <a:pt x="2910" y="419"/>
                </a:lnTo>
                <a:lnTo>
                  <a:pt x="2909" y="421"/>
                </a:lnTo>
                <a:lnTo>
                  <a:pt x="2907" y="425"/>
                </a:lnTo>
                <a:lnTo>
                  <a:pt x="2910" y="425"/>
                </a:lnTo>
                <a:lnTo>
                  <a:pt x="2914" y="425"/>
                </a:lnTo>
                <a:lnTo>
                  <a:pt x="2914" y="423"/>
                </a:lnTo>
                <a:close/>
                <a:moveTo>
                  <a:pt x="3039" y="166"/>
                </a:moveTo>
                <a:lnTo>
                  <a:pt x="3045" y="164"/>
                </a:lnTo>
                <a:lnTo>
                  <a:pt x="3033" y="163"/>
                </a:lnTo>
                <a:lnTo>
                  <a:pt x="3036" y="165"/>
                </a:lnTo>
                <a:lnTo>
                  <a:pt x="3039" y="166"/>
                </a:lnTo>
                <a:close/>
                <a:moveTo>
                  <a:pt x="2920" y="104"/>
                </a:moveTo>
                <a:lnTo>
                  <a:pt x="2923" y="103"/>
                </a:lnTo>
                <a:lnTo>
                  <a:pt x="2919" y="103"/>
                </a:lnTo>
                <a:lnTo>
                  <a:pt x="2920" y="104"/>
                </a:lnTo>
                <a:close/>
                <a:moveTo>
                  <a:pt x="2935" y="113"/>
                </a:moveTo>
                <a:lnTo>
                  <a:pt x="2935" y="115"/>
                </a:lnTo>
                <a:lnTo>
                  <a:pt x="2939" y="116"/>
                </a:lnTo>
                <a:lnTo>
                  <a:pt x="2939" y="112"/>
                </a:lnTo>
                <a:lnTo>
                  <a:pt x="2935" y="113"/>
                </a:lnTo>
                <a:close/>
                <a:moveTo>
                  <a:pt x="2915" y="104"/>
                </a:moveTo>
                <a:lnTo>
                  <a:pt x="2911" y="103"/>
                </a:lnTo>
                <a:lnTo>
                  <a:pt x="2913" y="104"/>
                </a:lnTo>
                <a:lnTo>
                  <a:pt x="2915" y="104"/>
                </a:lnTo>
                <a:close/>
                <a:moveTo>
                  <a:pt x="2782" y="552"/>
                </a:moveTo>
                <a:lnTo>
                  <a:pt x="2779" y="552"/>
                </a:lnTo>
                <a:lnTo>
                  <a:pt x="2779" y="553"/>
                </a:lnTo>
                <a:lnTo>
                  <a:pt x="2782" y="552"/>
                </a:lnTo>
                <a:close/>
                <a:moveTo>
                  <a:pt x="2939" y="116"/>
                </a:moveTo>
                <a:lnTo>
                  <a:pt x="2939" y="117"/>
                </a:lnTo>
                <a:lnTo>
                  <a:pt x="2939" y="116"/>
                </a:lnTo>
                <a:lnTo>
                  <a:pt x="2939" y="116"/>
                </a:lnTo>
                <a:close/>
                <a:moveTo>
                  <a:pt x="2886" y="116"/>
                </a:moveTo>
                <a:lnTo>
                  <a:pt x="2880" y="115"/>
                </a:lnTo>
                <a:lnTo>
                  <a:pt x="2876" y="116"/>
                </a:lnTo>
                <a:lnTo>
                  <a:pt x="2882" y="118"/>
                </a:lnTo>
                <a:lnTo>
                  <a:pt x="2886" y="116"/>
                </a:lnTo>
                <a:close/>
                <a:moveTo>
                  <a:pt x="2905" y="108"/>
                </a:moveTo>
                <a:lnTo>
                  <a:pt x="2901" y="109"/>
                </a:lnTo>
                <a:lnTo>
                  <a:pt x="2904" y="109"/>
                </a:lnTo>
                <a:lnTo>
                  <a:pt x="2905" y="108"/>
                </a:lnTo>
                <a:close/>
                <a:moveTo>
                  <a:pt x="2915" y="430"/>
                </a:moveTo>
                <a:lnTo>
                  <a:pt x="2917" y="429"/>
                </a:lnTo>
                <a:lnTo>
                  <a:pt x="2915" y="429"/>
                </a:lnTo>
                <a:lnTo>
                  <a:pt x="2915" y="430"/>
                </a:lnTo>
                <a:close/>
                <a:moveTo>
                  <a:pt x="2903" y="423"/>
                </a:moveTo>
                <a:lnTo>
                  <a:pt x="2897" y="418"/>
                </a:lnTo>
                <a:lnTo>
                  <a:pt x="2896" y="419"/>
                </a:lnTo>
                <a:lnTo>
                  <a:pt x="2898" y="425"/>
                </a:lnTo>
                <a:lnTo>
                  <a:pt x="2900" y="425"/>
                </a:lnTo>
                <a:lnTo>
                  <a:pt x="2903" y="423"/>
                </a:lnTo>
                <a:close/>
                <a:moveTo>
                  <a:pt x="2910" y="430"/>
                </a:moveTo>
                <a:lnTo>
                  <a:pt x="2914" y="430"/>
                </a:lnTo>
                <a:lnTo>
                  <a:pt x="2914" y="429"/>
                </a:lnTo>
                <a:lnTo>
                  <a:pt x="2910" y="429"/>
                </a:lnTo>
                <a:lnTo>
                  <a:pt x="2910" y="430"/>
                </a:lnTo>
                <a:close/>
                <a:moveTo>
                  <a:pt x="2900" y="429"/>
                </a:moveTo>
                <a:lnTo>
                  <a:pt x="2898" y="426"/>
                </a:lnTo>
                <a:lnTo>
                  <a:pt x="2895" y="430"/>
                </a:lnTo>
                <a:lnTo>
                  <a:pt x="2898" y="429"/>
                </a:lnTo>
                <a:lnTo>
                  <a:pt x="2900" y="429"/>
                </a:lnTo>
                <a:close/>
                <a:moveTo>
                  <a:pt x="2796" y="484"/>
                </a:moveTo>
                <a:lnTo>
                  <a:pt x="2801" y="481"/>
                </a:lnTo>
                <a:lnTo>
                  <a:pt x="2802" y="477"/>
                </a:lnTo>
                <a:lnTo>
                  <a:pt x="2801" y="476"/>
                </a:lnTo>
                <a:lnTo>
                  <a:pt x="2796" y="484"/>
                </a:lnTo>
                <a:close/>
                <a:moveTo>
                  <a:pt x="2889" y="306"/>
                </a:moveTo>
                <a:lnTo>
                  <a:pt x="2893" y="302"/>
                </a:lnTo>
                <a:lnTo>
                  <a:pt x="2886" y="302"/>
                </a:lnTo>
                <a:lnTo>
                  <a:pt x="2889" y="306"/>
                </a:lnTo>
                <a:close/>
                <a:moveTo>
                  <a:pt x="2895" y="421"/>
                </a:moveTo>
                <a:lnTo>
                  <a:pt x="2892" y="423"/>
                </a:lnTo>
                <a:lnTo>
                  <a:pt x="2896" y="423"/>
                </a:lnTo>
                <a:lnTo>
                  <a:pt x="2895" y="421"/>
                </a:lnTo>
                <a:close/>
                <a:moveTo>
                  <a:pt x="2806" y="476"/>
                </a:moveTo>
                <a:lnTo>
                  <a:pt x="2805" y="476"/>
                </a:lnTo>
                <a:lnTo>
                  <a:pt x="2802" y="477"/>
                </a:lnTo>
                <a:lnTo>
                  <a:pt x="2802" y="479"/>
                </a:lnTo>
                <a:lnTo>
                  <a:pt x="2806" y="476"/>
                </a:lnTo>
                <a:close/>
                <a:moveTo>
                  <a:pt x="2852" y="454"/>
                </a:moveTo>
                <a:lnTo>
                  <a:pt x="2847" y="454"/>
                </a:lnTo>
                <a:lnTo>
                  <a:pt x="2851" y="456"/>
                </a:lnTo>
                <a:lnTo>
                  <a:pt x="2852" y="454"/>
                </a:lnTo>
                <a:close/>
                <a:moveTo>
                  <a:pt x="2818" y="471"/>
                </a:moveTo>
                <a:lnTo>
                  <a:pt x="2816" y="471"/>
                </a:lnTo>
                <a:lnTo>
                  <a:pt x="2818" y="472"/>
                </a:lnTo>
                <a:lnTo>
                  <a:pt x="2818" y="471"/>
                </a:lnTo>
                <a:close/>
                <a:moveTo>
                  <a:pt x="2832" y="460"/>
                </a:moveTo>
                <a:lnTo>
                  <a:pt x="2831" y="460"/>
                </a:lnTo>
                <a:lnTo>
                  <a:pt x="2831" y="460"/>
                </a:lnTo>
                <a:lnTo>
                  <a:pt x="2832" y="460"/>
                </a:lnTo>
                <a:close/>
                <a:moveTo>
                  <a:pt x="2831" y="457"/>
                </a:moveTo>
                <a:lnTo>
                  <a:pt x="2831" y="457"/>
                </a:lnTo>
                <a:lnTo>
                  <a:pt x="2828" y="456"/>
                </a:lnTo>
                <a:lnTo>
                  <a:pt x="2827" y="460"/>
                </a:lnTo>
                <a:lnTo>
                  <a:pt x="2821" y="457"/>
                </a:lnTo>
                <a:lnTo>
                  <a:pt x="2820" y="461"/>
                </a:lnTo>
                <a:lnTo>
                  <a:pt x="2821" y="463"/>
                </a:lnTo>
                <a:lnTo>
                  <a:pt x="2831" y="460"/>
                </a:lnTo>
                <a:lnTo>
                  <a:pt x="2831" y="460"/>
                </a:lnTo>
                <a:lnTo>
                  <a:pt x="2831" y="457"/>
                </a:lnTo>
                <a:close/>
                <a:moveTo>
                  <a:pt x="2827" y="454"/>
                </a:moveTo>
                <a:lnTo>
                  <a:pt x="2827" y="454"/>
                </a:lnTo>
                <a:lnTo>
                  <a:pt x="2828" y="456"/>
                </a:lnTo>
                <a:lnTo>
                  <a:pt x="2828" y="455"/>
                </a:lnTo>
                <a:lnTo>
                  <a:pt x="2831" y="457"/>
                </a:lnTo>
                <a:lnTo>
                  <a:pt x="2828" y="452"/>
                </a:lnTo>
                <a:lnTo>
                  <a:pt x="2827" y="454"/>
                </a:lnTo>
                <a:close/>
                <a:moveTo>
                  <a:pt x="2831" y="457"/>
                </a:moveTo>
                <a:lnTo>
                  <a:pt x="2831" y="457"/>
                </a:lnTo>
                <a:lnTo>
                  <a:pt x="2831" y="457"/>
                </a:lnTo>
                <a:lnTo>
                  <a:pt x="2831" y="457"/>
                </a:lnTo>
                <a:close/>
                <a:moveTo>
                  <a:pt x="2883" y="426"/>
                </a:moveTo>
                <a:lnTo>
                  <a:pt x="2888" y="425"/>
                </a:lnTo>
                <a:lnTo>
                  <a:pt x="2883" y="423"/>
                </a:lnTo>
                <a:lnTo>
                  <a:pt x="2883" y="426"/>
                </a:lnTo>
                <a:close/>
                <a:moveTo>
                  <a:pt x="2774" y="178"/>
                </a:moveTo>
                <a:lnTo>
                  <a:pt x="2787" y="187"/>
                </a:lnTo>
                <a:lnTo>
                  <a:pt x="2787" y="185"/>
                </a:lnTo>
                <a:lnTo>
                  <a:pt x="2783" y="179"/>
                </a:lnTo>
                <a:lnTo>
                  <a:pt x="2775" y="176"/>
                </a:lnTo>
                <a:lnTo>
                  <a:pt x="2775" y="170"/>
                </a:lnTo>
                <a:lnTo>
                  <a:pt x="2776" y="170"/>
                </a:lnTo>
                <a:lnTo>
                  <a:pt x="2774" y="166"/>
                </a:lnTo>
                <a:lnTo>
                  <a:pt x="2765" y="164"/>
                </a:lnTo>
                <a:lnTo>
                  <a:pt x="2767" y="168"/>
                </a:lnTo>
                <a:lnTo>
                  <a:pt x="2774" y="178"/>
                </a:lnTo>
                <a:close/>
                <a:moveTo>
                  <a:pt x="2905" y="151"/>
                </a:moveTo>
                <a:lnTo>
                  <a:pt x="2904" y="151"/>
                </a:lnTo>
                <a:lnTo>
                  <a:pt x="2902" y="152"/>
                </a:lnTo>
                <a:lnTo>
                  <a:pt x="2905" y="151"/>
                </a:lnTo>
                <a:close/>
                <a:moveTo>
                  <a:pt x="2884" y="434"/>
                </a:moveTo>
                <a:lnTo>
                  <a:pt x="2888" y="433"/>
                </a:lnTo>
                <a:lnTo>
                  <a:pt x="2883" y="429"/>
                </a:lnTo>
                <a:lnTo>
                  <a:pt x="2884" y="434"/>
                </a:lnTo>
                <a:close/>
                <a:moveTo>
                  <a:pt x="2775" y="138"/>
                </a:moveTo>
                <a:lnTo>
                  <a:pt x="2768" y="136"/>
                </a:lnTo>
                <a:lnTo>
                  <a:pt x="2770" y="138"/>
                </a:lnTo>
                <a:lnTo>
                  <a:pt x="2775" y="138"/>
                </a:lnTo>
                <a:close/>
                <a:moveTo>
                  <a:pt x="2971" y="397"/>
                </a:moveTo>
                <a:lnTo>
                  <a:pt x="2972" y="398"/>
                </a:lnTo>
                <a:lnTo>
                  <a:pt x="2974" y="396"/>
                </a:lnTo>
                <a:lnTo>
                  <a:pt x="2971" y="396"/>
                </a:lnTo>
                <a:lnTo>
                  <a:pt x="2971" y="397"/>
                </a:lnTo>
                <a:close/>
                <a:moveTo>
                  <a:pt x="2985" y="234"/>
                </a:moveTo>
                <a:lnTo>
                  <a:pt x="2972" y="242"/>
                </a:lnTo>
                <a:lnTo>
                  <a:pt x="2972" y="243"/>
                </a:lnTo>
                <a:lnTo>
                  <a:pt x="2985" y="234"/>
                </a:lnTo>
                <a:lnTo>
                  <a:pt x="2985" y="234"/>
                </a:lnTo>
                <a:close/>
                <a:moveTo>
                  <a:pt x="2788" y="541"/>
                </a:moveTo>
                <a:lnTo>
                  <a:pt x="2787" y="548"/>
                </a:lnTo>
                <a:lnTo>
                  <a:pt x="2794" y="546"/>
                </a:lnTo>
                <a:lnTo>
                  <a:pt x="2788" y="541"/>
                </a:lnTo>
                <a:close/>
                <a:moveTo>
                  <a:pt x="2771" y="148"/>
                </a:moveTo>
                <a:lnTo>
                  <a:pt x="2775" y="152"/>
                </a:lnTo>
                <a:lnTo>
                  <a:pt x="2776" y="158"/>
                </a:lnTo>
                <a:lnTo>
                  <a:pt x="2784" y="154"/>
                </a:lnTo>
                <a:lnTo>
                  <a:pt x="2782" y="151"/>
                </a:lnTo>
                <a:lnTo>
                  <a:pt x="2783" y="151"/>
                </a:lnTo>
                <a:lnTo>
                  <a:pt x="2786" y="152"/>
                </a:lnTo>
                <a:lnTo>
                  <a:pt x="2789" y="151"/>
                </a:lnTo>
                <a:lnTo>
                  <a:pt x="2785" y="158"/>
                </a:lnTo>
                <a:lnTo>
                  <a:pt x="2787" y="162"/>
                </a:lnTo>
                <a:lnTo>
                  <a:pt x="2794" y="162"/>
                </a:lnTo>
                <a:lnTo>
                  <a:pt x="2796" y="163"/>
                </a:lnTo>
                <a:lnTo>
                  <a:pt x="2779" y="162"/>
                </a:lnTo>
                <a:lnTo>
                  <a:pt x="2786" y="166"/>
                </a:lnTo>
                <a:lnTo>
                  <a:pt x="2783" y="170"/>
                </a:lnTo>
                <a:lnTo>
                  <a:pt x="2786" y="173"/>
                </a:lnTo>
                <a:lnTo>
                  <a:pt x="2805" y="175"/>
                </a:lnTo>
                <a:lnTo>
                  <a:pt x="2793" y="178"/>
                </a:lnTo>
                <a:lnTo>
                  <a:pt x="2801" y="182"/>
                </a:lnTo>
                <a:lnTo>
                  <a:pt x="2802" y="186"/>
                </a:lnTo>
                <a:lnTo>
                  <a:pt x="2812" y="187"/>
                </a:lnTo>
                <a:lnTo>
                  <a:pt x="2821" y="182"/>
                </a:lnTo>
                <a:lnTo>
                  <a:pt x="2823" y="182"/>
                </a:lnTo>
                <a:lnTo>
                  <a:pt x="2827" y="182"/>
                </a:lnTo>
                <a:lnTo>
                  <a:pt x="2822" y="179"/>
                </a:lnTo>
                <a:lnTo>
                  <a:pt x="2823" y="174"/>
                </a:lnTo>
                <a:lnTo>
                  <a:pt x="2823" y="171"/>
                </a:lnTo>
                <a:lnTo>
                  <a:pt x="2827" y="170"/>
                </a:lnTo>
                <a:lnTo>
                  <a:pt x="2827" y="173"/>
                </a:lnTo>
                <a:lnTo>
                  <a:pt x="2831" y="174"/>
                </a:lnTo>
                <a:lnTo>
                  <a:pt x="2836" y="166"/>
                </a:lnTo>
                <a:lnTo>
                  <a:pt x="2838" y="168"/>
                </a:lnTo>
                <a:lnTo>
                  <a:pt x="2837" y="173"/>
                </a:lnTo>
                <a:lnTo>
                  <a:pt x="2834" y="174"/>
                </a:lnTo>
                <a:lnTo>
                  <a:pt x="2839" y="179"/>
                </a:lnTo>
                <a:lnTo>
                  <a:pt x="2846" y="178"/>
                </a:lnTo>
                <a:lnTo>
                  <a:pt x="2853" y="170"/>
                </a:lnTo>
                <a:lnTo>
                  <a:pt x="2858" y="172"/>
                </a:lnTo>
                <a:lnTo>
                  <a:pt x="2849" y="182"/>
                </a:lnTo>
                <a:lnTo>
                  <a:pt x="2842" y="182"/>
                </a:lnTo>
                <a:lnTo>
                  <a:pt x="2841" y="185"/>
                </a:lnTo>
                <a:lnTo>
                  <a:pt x="2842" y="186"/>
                </a:lnTo>
                <a:lnTo>
                  <a:pt x="2835" y="186"/>
                </a:lnTo>
                <a:lnTo>
                  <a:pt x="2831" y="190"/>
                </a:lnTo>
                <a:lnTo>
                  <a:pt x="2820" y="191"/>
                </a:lnTo>
                <a:lnTo>
                  <a:pt x="2821" y="193"/>
                </a:lnTo>
                <a:lnTo>
                  <a:pt x="2815" y="191"/>
                </a:lnTo>
                <a:lnTo>
                  <a:pt x="2811" y="192"/>
                </a:lnTo>
                <a:lnTo>
                  <a:pt x="2811" y="197"/>
                </a:lnTo>
                <a:lnTo>
                  <a:pt x="2814" y="198"/>
                </a:lnTo>
                <a:lnTo>
                  <a:pt x="2813" y="201"/>
                </a:lnTo>
                <a:lnTo>
                  <a:pt x="2816" y="202"/>
                </a:lnTo>
                <a:lnTo>
                  <a:pt x="2861" y="196"/>
                </a:lnTo>
                <a:lnTo>
                  <a:pt x="2858" y="198"/>
                </a:lnTo>
                <a:lnTo>
                  <a:pt x="2827" y="204"/>
                </a:lnTo>
                <a:lnTo>
                  <a:pt x="2849" y="210"/>
                </a:lnTo>
                <a:lnTo>
                  <a:pt x="2848" y="213"/>
                </a:lnTo>
                <a:lnTo>
                  <a:pt x="2842" y="210"/>
                </a:lnTo>
                <a:lnTo>
                  <a:pt x="2825" y="210"/>
                </a:lnTo>
                <a:lnTo>
                  <a:pt x="2821" y="210"/>
                </a:lnTo>
                <a:lnTo>
                  <a:pt x="2815" y="210"/>
                </a:lnTo>
                <a:lnTo>
                  <a:pt x="2820" y="217"/>
                </a:lnTo>
                <a:lnTo>
                  <a:pt x="2824" y="222"/>
                </a:lnTo>
                <a:lnTo>
                  <a:pt x="2832" y="222"/>
                </a:lnTo>
                <a:lnTo>
                  <a:pt x="2837" y="226"/>
                </a:lnTo>
                <a:lnTo>
                  <a:pt x="2846" y="222"/>
                </a:lnTo>
                <a:lnTo>
                  <a:pt x="2853" y="225"/>
                </a:lnTo>
                <a:lnTo>
                  <a:pt x="2839" y="229"/>
                </a:lnTo>
                <a:lnTo>
                  <a:pt x="2858" y="239"/>
                </a:lnTo>
                <a:lnTo>
                  <a:pt x="2863" y="235"/>
                </a:lnTo>
                <a:lnTo>
                  <a:pt x="2860" y="232"/>
                </a:lnTo>
                <a:lnTo>
                  <a:pt x="2863" y="226"/>
                </a:lnTo>
                <a:lnTo>
                  <a:pt x="2865" y="226"/>
                </a:lnTo>
                <a:lnTo>
                  <a:pt x="2871" y="214"/>
                </a:lnTo>
                <a:lnTo>
                  <a:pt x="2879" y="209"/>
                </a:lnTo>
                <a:lnTo>
                  <a:pt x="2881" y="201"/>
                </a:lnTo>
                <a:lnTo>
                  <a:pt x="2879" y="197"/>
                </a:lnTo>
                <a:lnTo>
                  <a:pt x="2879" y="192"/>
                </a:lnTo>
                <a:lnTo>
                  <a:pt x="2890" y="191"/>
                </a:lnTo>
                <a:lnTo>
                  <a:pt x="2887" y="185"/>
                </a:lnTo>
                <a:lnTo>
                  <a:pt x="2887" y="181"/>
                </a:lnTo>
                <a:lnTo>
                  <a:pt x="2887" y="182"/>
                </a:lnTo>
                <a:lnTo>
                  <a:pt x="2900" y="182"/>
                </a:lnTo>
                <a:lnTo>
                  <a:pt x="2898" y="177"/>
                </a:lnTo>
                <a:lnTo>
                  <a:pt x="2900" y="174"/>
                </a:lnTo>
                <a:lnTo>
                  <a:pt x="2919" y="174"/>
                </a:lnTo>
                <a:lnTo>
                  <a:pt x="2905" y="178"/>
                </a:lnTo>
                <a:lnTo>
                  <a:pt x="2913" y="181"/>
                </a:lnTo>
                <a:lnTo>
                  <a:pt x="2911" y="182"/>
                </a:lnTo>
                <a:lnTo>
                  <a:pt x="2915" y="185"/>
                </a:lnTo>
                <a:lnTo>
                  <a:pt x="2911" y="187"/>
                </a:lnTo>
                <a:lnTo>
                  <a:pt x="2931" y="185"/>
                </a:lnTo>
                <a:lnTo>
                  <a:pt x="2931" y="178"/>
                </a:lnTo>
                <a:lnTo>
                  <a:pt x="2931" y="174"/>
                </a:lnTo>
                <a:lnTo>
                  <a:pt x="2924" y="174"/>
                </a:lnTo>
                <a:lnTo>
                  <a:pt x="2926" y="166"/>
                </a:lnTo>
                <a:lnTo>
                  <a:pt x="2909" y="161"/>
                </a:lnTo>
                <a:lnTo>
                  <a:pt x="2915" y="158"/>
                </a:lnTo>
                <a:lnTo>
                  <a:pt x="2907" y="156"/>
                </a:lnTo>
                <a:lnTo>
                  <a:pt x="2904" y="159"/>
                </a:lnTo>
                <a:lnTo>
                  <a:pt x="2906" y="160"/>
                </a:lnTo>
                <a:lnTo>
                  <a:pt x="2902" y="159"/>
                </a:lnTo>
                <a:lnTo>
                  <a:pt x="2900" y="156"/>
                </a:lnTo>
                <a:lnTo>
                  <a:pt x="2887" y="154"/>
                </a:lnTo>
                <a:lnTo>
                  <a:pt x="2886" y="145"/>
                </a:lnTo>
                <a:lnTo>
                  <a:pt x="2880" y="140"/>
                </a:lnTo>
                <a:lnTo>
                  <a:pt x="2872" y="145"/>
                </a:lnTo>
                <a:lnTo>
                  <a:pt x="2871" y="143"/>
                </a:lnTo>
                <a:lnTo>
                  <a:pt x="2872" y="140"/>
                </a:lnTo>
                <a:lnTo>
                  <a:pt x="2876" y="136"/>
                </a:lnTo>
                <a:lnTo>
                  <a:pt x="2863" y="130"/>
                </a:lnTo>
                <a:lnTo>
                  <a:pt x="2860" y="129"/>
                </a:lnTo>
                <a:lnTo>
                  <a:pt x="2858" y="132"/>
                </a:lnTo>
                <a:lnTo>
                  <a:pt x="2854" y="126"/>
                </a:lnTo>
                <a:lnTo>
                  <a:pt x="2849" y="126"/>
                </a:lnTo>
                <a:lnTo>
                  <a:pt x="2845" y="129"/>
                </a:lnTo>
                <a:lnTo>
                  <a:pt x="2848" y="132"/>
                </a:lnTo>
                <a:lnTo>
                  <a:pt x="2841" y="133"/>
                </a:lnTo>
                <a:lnTo>
                  <a:pt x="2845" y="151"/>
                </a:lnTo>
                <a:lnTo>
                  <a:pt x="2853" y="164"/>
                </a:lnTo>
                <a:lnTo>
                  <a:pt x="2843" y="154"/>
                </a:lnTo>
                <a:lnTo>
                  <a:pt x="2842" y="156"/>
                </a:lnTo>
                <a:lnTo>
                  <a:pt x="2843" y="152"/>
                </a:lnTo>
                <a:lnTo>
                  <a:pt x="2839" y="151"/>
                </a:lnTo>
                <a:lnTo>
                  <a:pt x="2835" y="140"/>
                </a:lnTo>
                <a:lnTo>
                  <a:pt x="2826" y="132"/>
                </a:lnTo>
                <a:lnTo>
                  <a:pt x="2815" y="143"/>
                </a:lnTo>
                <a:lnTo>
                  <a:pt x="2820" y="151"/>
                </a:lnTo>
                <a:lnTo>
                  <a:pt x="2819" y="152"/>
                </a:lnTo>
                <a:lnTo>
                  <a:pt x="2812" y="146"/>
                </a:lnTo>
                <a:lnTo>
                  <a:pt x="2807" y="146"/>
                </a:lnTo>
                <a:lnTo>
                  <a:pt x="2809" y="142"/>
                </a:lnTo>
                <a:lnTo>
                  <a:pt x="2794" y="142"/>
                </a:lnTo>
                <a:lnTo>
                  <a:pt x="2816" y="136"/>
                </a:lnTo>
                <a:lnTo>
                  <a:pt x="2815" y="132"/>
                </a:lnTo>
                <a:lnTo>
                  <a:pt x="2797" y="135"/>
                </a:lnTo>
                <a:lnTo>
                  <a:pt x="2789" y="132"/>
                </a:lnTo>
                <a:lnTo>
                  <a:pt x="2791" y="136"/>
                </a:lnTo>
                <a:lnTo>
                  <a:pt x="2791" y="138"/>
                </a:lnTo>
                <a:lnTo>
                  <a:pt x="2782" y="132"/>
                </a:lnTo>
                <a:lnTo>
                  <a:pt x="2775" y="135"/>
                </a:lnTo>
                <a:lnTo>
                  <a:pt x="2779" y="141"/>
                </a:lnTo>
                <a:lnTo>
                  <a:pt x="2771" y="142"/>
                </a:lnTo>
                <a:lnTo>
                  <a:pt x="2768" y="142"/>
                </a:lnTo>
                <a:lnTo>
                  <a:pt x="2771" y="145"/>
                </a:lnTo>
                <a:lnTo>
                  <a:pt x="2771" y="148"/>
                </a:lnTo>
                <a:close/>
                <a:moveTo>
                  <a:pt x="2816" y="475"/>
                </a:moveTo>
                <a:lnTo>
                  <a:pt x="2814" y="475"/>
                </a:lnTo>
                <a:lnTo>
                  <a:pt x="2807" y="475"/>
                </a:lnTo>
                <a:lnTo>
                  <a:pt x="2806" y="479"/>
                </a:lnTo>
                <a:lnTo>
                  <a:pt x="2807" y="479"/>
                </a:lnTo>
                <a:lnTo>
                  <a:pt x="2816" y="475"/>
                </a:lnTo>
                <a:close/>
                <a:moveTo>
                  <a:pt x="2897" y="426"/>
                </a:moveTo>
                <a:lnTo>
                  <a:pt x="2896" y="425"/>
                </a:lnTo>
                <a:lnTo>
                  <a:pt x="2892" y="426"/>
                </a:lnTo>
                <a:lnTo>
                  <a:pt x="2891" y="423"/>
                </a:lnTo>
                <a:lnTo>
                  <a:pt x="2883" y="429"/>
                </a:lnTo>
                <a:lnTo>
                  <a:pt x="2889" y="430"/>
                </a:lnTo>
                <a:lnTo>
                  <a:pt x="2897" y="426"/>
                </a:lnTo>
                <a:close/>
                <a:moveTo>
                  <a:pt x="2888" y="421"/>
                </a:moveTo>
                <a:lnTo>
                  <a:pt x="2889" y="423"/>
                </a:lnTo>
                <a:lnTo>
                  <a:pt x="2891" y="423"/>
                </a:lnTo>
                <a:lnTo>
                  <a:pt x="2891" y="419"/>
                </a:lnTo>
                <a:lnTo>
                  <a:pt x="2888" y="421"/>
                </a:lnTo>
                <a:close/>
                <a:moveTo>
                  <a:pt x="2795" y="527"/>
                </a:moveTo>
                <a:lnTo>
                  <a:pt x="2794" y="524"/>
                </a:lnTo>
                <a:lnTo>
                  <a:pt x="2790" y="529"/>
                </a:lnTo>
                <a:lnTo>
                  <a:pt x="2795" y="527"/>
                </a:lnTo>
                <a:close/>
                <a:moveTo>
                  <a:pt x="2814" y="471"/>
                </a:moveTo>
                <a:lnTo>
                  <a:pt x="2813" y="471"/>
                </a:lnTo>
                <a:lnTo>
                  <a:pt x="2814" y="472"/>
                </a:lnTo>
                <a:lnTo>
                  <a:pt x="2814" y="471"/>
                </a:lnTo>
                <a:close/>
                <a:moveTo>
                  <a:pt x="1045" y="488"/>
                </a:moveTo>
                <a:lnTo>
                  <a:pt x="1043" y="488"/>
                </a:lnTo>
                <a:lnTo>
                  <a:pt x="1043" y="493"/>
                </a:lnTo>
                <a:lnTo>
                  <a:pt x="1046" y="492"/>
                </a:lnTo>
                <a:lnTo>
                  <a:pt x="1045" y="488"/>
                </a:lnTo>
                <a:close/>
                <a:moveTo>
                  <a:pt x="1807" y="335"/>
                </a:moveTo>
                <a:lnTo>
                  <a:pt x="1802" y="334"/>
                </a:lnTo>
                <a:lnTo>
                  <a:pt x="1806" y="335"/>
                </a:lnTo>
                <a:lnTo>
                  <a:pt x="1807" y="335"/>
                </a:lnTo>
                <a:close/>
                <a:moveTo>
                  <a:pt x="1807" y="354"/>
                </a:moveTo>
                <a:lnTo>
                  <a:pt x="1803" y="359"/>
                </a:lnTo>
                <a:lnTo>
                  <a:pt x="1810" y="359"/>
                </a:lnTo>
                <a:lnTo>
                  <a:pt x="1816" y="353"/>
                </a:lnTo>
                <a:lnTo>
                  <a:pt x="1813" y="350"/>
                </a:lnTo>
                <a:lnTo>
                  <a:pt x="1807" y="354"/>
                </a:lnTo>
                <a:close/>
                <a:moveTo>
                  <a:pt x="1804" y="336"/>
                </a:moveTo>
                <a:lnTo>
                  <a:pt x="1803" y="337"/>
                </a:lnTo>
                <a:lnTo>
                  <a:pt x="1807" y="337"/>
                </a:lnTo>
                <a:lnTo>
                  <a:pt x="1806" y="337"/>
                </a:lnTo>
                <a:lnTo>
                  <a:pt x="1810" y="336"/>
                </a:lnTo>
                <a:lnTo>
                  <a:pt x="1806" y="335"/>
                </a:lnTo>
                <a:lnTo>
                  <a:pt x="1805" y="336"/>
                </a:lnTo>
                <a:lnTo>
                  <a:pt x="1804" y="336"/>
                </a:lnTo>
                <a:close/>
                <a:moveTo>
                  <a:pt x="1802" y="334"/>
                </a:moveTo>
                <a:lnTo>
                  <a:pt x="1802" y="334"/>
                </a:lnTo>
                <a:lnTo>
                  <a:pt x="1802" y="334"/>
                </a:lnTo>
                <a:lnTo>
                  <a:pt x="1804" y="334"/>
                </a:lnTo>
                <a:lnTo>
                  <a:pt x="1801" y="333"/>
                </a:lnTo>
                <a:lnTo>
                  <a:pt x="1801" y="334"/>
                </a:lnTo>
                <a:lnTo>
                  <a:pt x="1800" y="334"/>
                </a:lnTo>
                <a:lnTo>
                  <a:pt x="1801" y="334"/>
                </a:lnTo>
                <a:lnTo>
                  <a:pt x="1800" y="334"/>
                </a:lnTo>
                <a:lnTo>
                  <a:pt x="1802" y="334"/>
                </a:lnTo>
                <a:close/>
                <a:moveTo>
                  <a:pt x="1810" y="359"/>
                </a:moveTo>
                <a:lnTo>
                  <a:pt x="1810" y="359"/>
                </a:lnTo>
                <a:lnTo>
                  <a:pt x="1808" y="360"/>
                </a:lnTo>
                <a:lnTo>
                  <a:pt x="1810" y="359"/>
                </a:lnTo>
                <a:close/>
                <a:moveTo>
                  <a:pt x="1780" y="788"/>
                </a:moveTo>
                <a:lnTo>
                  <a:pt x="1781" y="788"/>
                </a:lnTo>
                <a:lnTo>
                  <a:pt x="1780" y="786"/>
                </a:lnTo>
                <a:lnTo>
                  <a:pt x="1780" y="788"/>
                </a:lnTo>
                <a:close/>
                <a:moveTo>
                  <a:pt x="1801" y="323"/>
                </a:moveTo>
                <a:lnTo>
                  <a:pt x="1790" y="321"/>
                </a:lnTo>
                <a:lnTo>
                  <a:pt x="1796" y="325"/>
                </a:lnTo>
                <a:lnTo>
                  <a:pt x="1801" y="323"/>
                </a:lnTo>
                <a:close/>
                <a:moveTo>
                  <a:pt x="1222" y="348"/>
                </a:moveTo>
                <a:lnTo>
                  <a:pt x="1224" y="348"/>
                </a:lnTo>
                <a:lnTo>
                  <a:pt x="1222" y="347"/>
                </a:lnTo>
                <a:lnTo>
                  <a:pt x="1222" y="348"/>
                </a:lnTo>
                <a:close/>
                <a:moveTo>
                  <a:pt x="1095" y="479"/>
                </a:moveTo>
                <a:lnTo>
                  <a:pt x="1097" y="476"/>
                </a:lnTo>
                <a:lnTo>
                  <a:pt x="1094" y="477"/>
                </a:lnTo>
                <a:lnTo>
                  <a:pt x="1095" y="479"/>
                </a:lnTo>
                <a:close/>
                <a:moveTo>
                  <a:pt x="1046" y="499"/>
                </a:moveTo>
                <a:lnTo>
                  <a:pt x="1046" y="493"/>
                </a:lnTo>
                <a:lnTo>
                  <a:pt x="1043" y="496"/>
                </a:lnTo>
                <a:lnTo>
                  <a:pt x="1046" y="499"/>
                </a:lnTo>
                <a:close/>
                <a:moveTo>
                  <a:pt x="1719" y="729"/>
                </a:moveTo>
                <a:lnTo>
                  <a:pt x="1716" y="728"/>
                </a:lnTo>
                <a:lnTo>
                  <a:pt x="1715" y="729"/>
                </a:lnTo>
                <a:lnTo>
                  <a:pt x="1719" y="729"/>
                </a:lnTo>
                <a:close/>
                <a:moveTo>
                  <a:pt x="1456" y="839"/>
                </a:moveTo>
                <a:lnTo>
                  <a:pt x="1456" y="840"/>
                </a:lnTo>
                <a:lnTo>
                  <a:pt x="1460" y="840"/>
                </a:lnTo>
                <a:lnTo>
                  <a:pt x="1461" y="837"/>
                </a:lnTo>
                <a:lnTo>
                  <a:pt x="1456" y="839"/>
                </a:lnTo>
                <a:close/>
                <a:moveTo>
                  <a:pt x="1284" y="435"/>
                </a:moveTo>
                <a:lnTo>
                  <a:pt x="1284" y="431"/>
                </a:lnTo>
                <a:lnTo>
                  <a:pt x="1281" y="433"/>
                </a:lnTo>
                <a:lnTo>
                  <a:pt x="1284" y="435"/>
                </a:lnTo>
                <a:close/>
                <a:moveTo>
                  <a:pt x="1802" y="925"/>
                </a:moveTo>
                <a:lnTo>
                  <a:pt x="1797" y="927"/>
                </a:lnTo>
                <a:lnTo>
                  <a:pt x="1802" y="926"/>
                </a:lnTo>
                <a:lnTo>
                  <a:pt x="1802" y="925"/>
                </a:lnTo>
                <a:lnTo>
                  <a:pt x="1802" y="925"/>
                </a:lnTo>
                <a:close/>
                <a:moveTo>
                  <a:pt x="1799" y="342"/>
                </a:moveTo>
                <a:lnTo>
                  <a:pt x="1799" y="341"/>
                </a:lnTo>
                <a:lnTo>
                  <a:pt x="1796" y="342"/>
                </a:lnTo>
                <a:lnTo>
                  <a:pt x="1799" y="342"/>
                </a:lnTo>
                <a:close/>
                <a:moveTo>
                  <a:pt x="3354" y="124"/>
                </a:moveTo>
                <a:lnTo>
                  <a:pt x="3346" y="130"/>
                </a:lnTo>
                <a:lnTo>
                  <a:pt x="3339" y="130"/>
                </a:lnTo>
                <a:lnTo>
                  <a:pt x="3359" y="130"/>
                </a:lnTo>
                <a:lnTo>
                  <a:pt x="3354" y="124"/>
                </a:lnTo>
                <a:close/>
                <a:moveTo>
                  <a:pt x="1799" y="809"/>
                </a:moveTo>
                <a:lnTo>
                  <a:pt x="1802" y="811"/>
                </a:lnTo>
                <a:lnTo>
                  <a:pt x="1802" y="809"/>
                </a:lnTo>
                <a:lnTo>
                  <a:pt x="1800" y="809"/>
                </a:lnTo>
                <a:lnTo>
                  <a:pt x="1799" y="809"/>
                </a:lnTo>
                <a:close/>
                <a:moveTo>
                  <a:pt x="2743" y="590"/>
                </a:moveTo>
                <a:lnTo>
                  <a:pt x="2740" y="590"/>
                </a:lnTo>
                <a:lnTo>
                  <a:pt x="2731" y="595"/>
                </a:lnTo>
                <a:lnTo>
                  <a:pt x="2735" y="595"/>
                </a:lnTo>
                <a:lnTo>
                  <a:pt x="2743" y="590"/>
                </a:lnTo>
                <a:close/>
                <a:moveTo>
                  <a:pt x="1813" y="355"/>
                </a:moveTo>
                <a:lnTo>
                  <a:pt x="1813" y="360"/>
                </a:lnTo>
                <a:lnTo>
                  <a:pt x="1816" y="358"/>
                </a:lnTo>
                <a:lnTo>
                  <a:pt x="1816" y="355"/>
                </a:lnTo>
                <a:lnTo>
                  <a:pt x="1819" y="355"/>
                </a:lnTo>
                <a:lnTo>
                  <a:pt x="1816" y="353"/>
                </a:lnTo>
                <a:lnTo>
                  <a:pt x="1815" y="355"/>
                </a:lnTo>
                <a:lnTo>
                  <a:pt x="1813" y="355"/>
                </a:lnTo>
                <a:close/>
                <a:moveTo>
                  <a:pt x="1803" y="890"/>
                </a:moveTo>
                <a:lnTo>
                  <a:pt x="1803" y="889"/>
                </a:lnTo>
                <a:lnTo>
                  <a:pt x="1803" y="890"/>
                </a:lnTo>
                <a:lnTo>
                  <a:pt x="1803" y="890"/>
                </a:lnTo>
                <a:lnTo>
                  <a:pt x="1803" y="890"/>
                </a:lnTo>
                <a:close/>
                <a:moveTo>
                  <a:pt x="3102" y="120"/>
                </a:moveTo>
                <a:lnTo>
                  <a:pt x="3070" y="124"/>
                </a:lnTo>
                <a:lnTo>
                  <a:pt x="3072" y="125"/>
                </a:lnTo>
                <a:lnTo>
                  <a:pt x="3102" y="120"/>
                </a:lnTo>
                <a:close/>
                <a:moveTo>
                  <a:pt x="1807" y="348"/>
                </a:moveTo>
                <a:lnTo>
                  <a:pt x="1812" y="349"/>
                </a:lnTo>
                <a:lnTo>
                  <a:pt x="1815" y="348"/>
                </a:lnTo>
                <a:lnTo>
                  <a:pt x="1808" y="346"/>
                </a:lnTo>
                <a:lnTo>
                  <a:pt x="1807" y="348"/>
                </a:lnTo>
                <a:close/>
                <a:moveTo>
                  <a:pt x="1803" y="336"/>
                </a:moveTo>
                <a:lnTo>
                  <a:pt x="1801" y="336"/>
                </a:lnTo>
                <a:lnTo>
                  <a:pt x="1800" y="337"/>
                </a:lnTo>
                <a:lnTo>
                  <a:pt x="1803" y="336"/>
                </a:lnTo>
                <a:close/>
                <a:moveTo>
                  <a:pt x="1808" y="352"/>
                </a:moveTo>
                <a:lnTo>
                  <a:pt x="1812" y="350"/>
                </a:lnTo>
                <a:lnTo>
                  <a:pt x="1808" y="350"/>
                </a:lnTo>
                <a:lnTo>
                  <a:pt x="1808" y="352"/>
                </a:lnTo>
                <a:close/>
                <a:moveTo>
                  <a:pt x="1801" y="358"/>
                </a:moveTo>
                <a:lnTo>
                  <a:pt x="1807" y="353"/>
                </a:lnTo>
                <a:lnTo>
                  <a:pt x="1799" y="355"/>
                </a:lnTo>
                <a:lnTo>
                  <a:pt x="1801" y="358"/>
                </a:lnTo>
                <a:close/>
                <a:moveTo>
                  <a:pt x="2828" y="465"/>
                </a:moveTo>
                <a:lnTo>
                  <a:pt x="2831" y="461"/>
                </a:lnTo>
                <a:lnTo>
                  <a:pt x="2831" y="460"/>
                </a:lnTo>
                <a:lnTo>
                  <a:pt x="2827" y="463"/>
                </a:lnTo>
                <a:lnTo>
                  <a:pt x="2828" y="465"/>
                </a:lnTo>
                <a:close/>
                <a:moveTo>
                  <a:pt x="1803" y="339"/>
                </a:moveTo>
                <a:lnTo>
                  <a:pt x="1801" y="341"/>
                </a:lnTo>
                <a:lnTo>
                  <a:pt x="1800" y="344"/>
                </a:lnTo>
                <a:lnTo>
                  <a:pt x="1803" y="339"/>
                </a:lnTo>
                <a:close/>
                <a:moveTo>
                  <a:pt x="3336" y="117"/>
                </a:moveTo>
                <a:lnTo>
                  <a:pt x="3331" y="120"/>
                </a:lnTo>
                <a:lnTo>
                  <a:pt x="3335" y="124"/>
                </a:lnTo>
                <a:lnTo>
                  <a:pt x="3343" y="120"/>
                </a:lnTo>
                <a:lnTo>
                  <a:pt x="3336" y="117"/>
                </a:lnTo>
                <a:close/>
                <a:moveTo>
                  <a:pt x="3280" y="105"/>
                </a:moveTo>
                <a:lnTo>
                  <a:pt x="3281" y="112"/>
                </a:lnTo>
                <a:lnTo>
                  <a:pt x="3298" y="104"/>
                </a:lnTo>
                <a:lnTo>
                  <a:pt x="3301" y="105"/>
                </a:lnTo>
                <a:lnTo>
                  <a:pt x="3299" y="102"/>
                </a:lnTo>
                <a:lnTo>
                  <a:pt x="3306" y="99"/>
                </a:lnTo>
                <a:lnTo>
                  <a:pt x="3310" y="102"/>
                </a:lnTo>
                <a:lnTo>
                  <a:pt x="3320" y="104"/>
                </a:lnTo>
                <a:lnTo>
                  <a:pt x="3315" y="101"/>
                </a:lnTo>
                <a:lnTo>
                  <a:pt x="3318" y="101"/>
                </a:lnTo>
                <a:lnTo>
                  <a:pt x="3317" y="101"/>
                </a:lnTo>
                <a:lnTo>
                  <a:pt x="3302" y="96"/>
                </a:lnTo>
                <a:lnTo>
                  <a:pt x="3295" y="100"/>
                </a:lnTo>
                <a:lnTo>
                  <a:pt x="3264" y="104"/>
                </a:lnTo>
                <a:lnTo>
                  <a:pt x="3274" y="107"/>
                </a:lnTo>
                <a:lnTo>
                  <a:pt x="3280" y="105"/>
                </a:lnTo>
                <a:close/>
                <a:moveTo>
                  <a:pt x="819" y="898"/>
                </a:moveTo>
                <a:lnTo>
                  <a:pt x="823" y="901"/>
                </a:lnTo>
                <a:lnTo>
                  <a:pt x="818" y="897"/>
                </a:lnTo>
                <a:lnTo>
                  <a:pt x="819" y="898"/>
                </a:lnTo>
                <a:close/>
                <a:moveTo>
                  <a:pt x="820" y="889"/>
                </a:moveTo>
                <a:lnTo>
                  <a:pt x="820" y="890"/>
                </a:lnTo>
                <a:lnTo>
                  <a:pt x="822" y="889"/>
                </a:lnTo>
                <a:lnTo>
                  <a:pt x="822" y="889"/>
                </a:lnTo>
                <a:lnTo>
                  <a:pt x="820" y="889"/>
                </a:lnTo>
                <a:close/>
                <a:moveTo>
                  <a:pt x="2739" y="584"/>
                </a:moveTo>
                <a:lnTo>
                  <a:pt x="2732" y="587"/>
                </a:lnTo>
                <a:lnTo>
                  <a:pt x="2739" y="585"/>
                </a:lnTo>
                <a:lnTo>
                  <a:pt x="2739" y="584"/>
                </a:lnTo>
                <a:close/>
                <a:moveTo>
                  <a:pt x="3346" y="89"/>
                </a:moveTo>
                <a:lnTo>
                  <a:pt x="3345" y="89"/>
                </a:lnTo>
                <a:lnTo>
                  <a:pt x="3343" y="89"/>
                </a:lnTo>
                <a:lnTo>
                  <a:pt x="3346" y="89"/>
                </a:lnTo>
                <a:close/>
                <a:moveTo>
                  <a:pt x="831" y="908"/>
                </a:moveTo>
                <a:lnTo>
                  <a:pt x="831" y="905"/>
                </a:lnTo>
                <a:lnTo>
                  <a:pt x="829" y="908"/>
                </a:lnTo>
                <a:lnTo>
                  <a:pt x="831" y="908"/>
                </a:lnTo>
                <a:close/>
                <a:moveTo>
                  <a:pt x="3333" y="105"/>
                </a:moveTo>
                <a:lnTo>
                  <a:pt x="3328" y="105"/>
                </a:lnTo>
                <a:lnTo>
                  <a:pt x="3328" y="105"/>
                </a:lnTo>
                <a:lnTo>
                  <a:pt x="3329" y="105"/>
                </a:lnTo>
                <a:lnTo>
                  <a:pt x="3326" y="107"/>
                </a:lnTo>
                <a:lnTo>
                  <a:pt x="3315" y="105"/>
                </a:lnTo>
                <a:lnTo>
                  <a:pt x="3301" y="112"/>
                </a:lnTo>
                <a:lnTo>
                  <a:pt x="3310" y="108"/>
                </a:lnTo>
                <a:lnTo>
                  <a:pt x="3314" y="112"/>
                </a:lnTo>
                <a:lnTo>
                  <a:pt x="3303" y="113"/>
                </a:lnTo>
                <a:lnTo>
                  <a:pt x="3313" y="115"/>
                </a:lnTo>
                <a:lnTo>
                  <a:pt x="3295" y="113"/>
                </a:lnTo>
                <a:lnTo>
                  <a:pt x="3293" y="115"/>
                </a:lnTo>
                <a:lnTo>
                  <a:pt x="3290" y="116"/>
                </a:lnTo>
                <a:lnTo>
                  <a:pt x="3293" y="118"/>
                </a:lnTo>
                <a:lnTo>
                  <a:pt x="3295" y="120"/>
                </a:lnTo>
                <a:lnTo>
                  <a:pt x="3302" y="117"/>
                </a:lnTo>
                <a:lnTo>
                  <a:pt x="3306" y="118"/>
                </a:lnTo>
                <a:lnTo>
                  <a:pt x="3310" y="119"/>
                </a:lnTo>
                <a:lnTo>
                  <a:pt x="3305" y="120"/>
                </a:lnTo>
                <a:lnTo>
                  <a:pt x="3301" y="123"/>
                </a:lnTo>
                <a:lnTo>
                  <a:pt x="3301" y="124"/>
                </a:lnTo>
                <a:lnTo>
                  <a:pt x="3312" y="123"/>
                </a:lnTo>
                <a:lnTo>
                  <a:pt x="3313" y="120"/>
                </a:lnTo>
                <a:lnTo>
                  <a:pt x="3313" y="122"/>
                </a:lnTo>
                <a:lnTo>
                  <a:pt x="3325" y="122"/>
                </a:lnTo>
                <a:lnTo>
                  <a:pt x="3320" y="118"/>
                </a:lnTo>
                <a:lnTo>
                  <a:pt x="3317" y="118"/>
                </a:lnTo>
                <a:lnTo>
                  <a:pt x="3319" y="116"/>
                </a:lnTo>
                <a:lnTo>
                  <a:pt x="3321" y="114"/>
                </a:lnTo>
                <a:lnTo>
                  <a:pt x="3335" y="114"/>
                </a:lnTo>
                <a:lnTo>
                  <a:pt x="3335" y="110"/>
                </a:lnTo>
                <a:lnTo>
                  <a:pt x="3335" y="108"/>
                </a:lnTo>
                <a:lnTo>
                  <a:pt x="3352" y="107"/>
                </a:lnTo>
                <a:lnTo>
                  <a:pt x="3362" y="100"/>
                </a:lnTo>
                <a:lnTo>
                  <a:pt x="3359" y="100"/>
                </a:lnTo>
                <a:lnTo>
                  <a:pt x="3356" y="99"/>
                </a:lnTo>
                <a:lnTo>
                  <a:pt x="3349" y="100"/>
                </a:lnTo>
                <a:lnTo>
                  <a:pt x="3342" y="100"/>
                </a:lnTo>
                <a:lnTo>
                  <a:pt x="3354" y="96"/>
                </a:lnTo>
                <a:lnTo>
                  <a:pt x="3350" y="94"/>
                </a:lnTo>
                <a:lnTo>
                  <a:pt x="3340" y="97"/>
                </a:lnTo>
                <a:lnTo>
                  <a:pt x="3323" y="101"/>
                </a:lnTo>
                <a:lnTo>
                  <a:pt x="3335" y="101"/>
                </a:lnTo>
                <a:lnTo>
                  <a:pt x="3333" y="105"/>
                </a:lnTo>
                <a:close/>
                <a:moveTo>
                  <a:pt x="3231" y="510"/>
                </a:moveTo>
                <a:lnTo>
                  <a:pt x="3229" y="510"/>
                </a:lnTo>
                <a:lnTo>
                  <a:pt x="3232" y="511"/>
                </a:lnTo>
                <a:lnTo>
                  <a:pt x="3231" y="510"/>
                </a:lnTo>
                <a:close/>
                <a:moveTo>
                  <a:pt x="3109" y="443"/>
                </a:moveTo>
                <a:lnTo>
                  <a:pt x="3105" y="443"/>
                </a:lnTo>
                <a:lnTo>
                  <a:pt x="3112" y="445"/>
                </a:lnTo>
                <a:lnTo>
                  <a:pt x="3109" y="443"/>
                </a:lnTo>
                <a:close/>
                <a:moveTo>
                  <a:pt x="1367" y="1528"/>
                </a:moveTo>
                <a:lnTo>
                  <a:pt x="1356" y="1516"/>
                </a:lnTo>
                <a:lnTo>
                  <a:pt x="1350" y="1509"/>
                </a:lnTo>
                <a:lnTo>
                  <a:pt x="1337" y="1499"/>
                </a:lnTo>
                <a:lnTo>
                  <a:pt x="1338" y="1496"/>
                </a:lnTo>
                <a:lnTo>
                  <a:pt x="1341" y="1499"/>
                </a:lnTo>
                <a:lnTo>
                  <a:pt x="1341" y="1499"/>
                </a:lnTo>
                <a:lnTo>
                  <a:pt x="1343" y="1499"/>
                </a:lnTo>
                <a:lnTo>
                  <a:pt x="1341" y="1497"/>
                </a:lnTo>
                <a:lnTo>
                  <a:pt x="1340" y="1495"/>
                </a:lnTo>
                <a:lnTo>
                  <a:pt x="1338" y="1495"/>
                </a:lnTo>
                <a:lnTo>
                  <a:pt x="1340" y="1491"/>
                </a:lnTo>
                <a:lnTo>
                  <a:pt x="1338" y="1491"/>
                </a:lnTo>
                <a:lnTo>
                  <a:pt x="1340" y="1486"/>
                </a:lnTo>
                <a:lnTo>
                  <a:pt x="1338" y="1485"/>
                </a:lnTo>
                <a:lnTo>
                  <a:pt x="1337" y="1486"/>
                </a:lnTo>
                <a:lnTo>
                  <a:pt x="1336" y="1491"/>
                </a:lnTo>
                <a:lnTo>
                  <a:pt x="1335" y="1491"/>
                </a:lnTo>
                <a:lnTo>
                  <a:pt x="1336" y="1492"/>
                </a:lnTo>
                <a:lnTo>
                  <a:pt x="1335" y="1494"/>
                </a:lnTo>
                <a:lnTo>
                  <a:pt x="1324" y="1492"/>
                </a:lnTo>
                <a:lnTo>
                  <a:pt x="1325" y="1495"/>
                </a:lnTo>
                <a:lnTo>
                  <a:pt x="1315" y="1491"/>
                </a:lnTo>
                <a:lnTo>
                  <a:pt x="1309" y="1491"/>
                </a:lnTo>
                <a:lnTo>
                  <a:pt x="1306" y="1487"/>
                </a:lnTo>
                <a:lnTo>
                  <a:pt x="1305" y="1487"/>
                </a:lnTo>
                <a:lnTo>
                  <a:pt x="1303" y="1489"/>
                </a:lnTo>
                <a:lnTo>
                  <a:pt x="1295" y="1487"/>
                </a:lnTo>
                <a:lnTo>
                  <a:pt x="1283" y="1487"/>
                </a:lnTo>
                <a:lnTo>
                  <a:pt x="1270" y="1476"/>
                </a:lnTo>
                <a:lnTo>
                  <a:pt x="1272" y="1470"/>
                </a:lnTo>
                <a:lnTo>
                  <a:pt x="1265" y="1465"/>
                </a:lnTo>
                <a:lnTo>
                  <a:pt x="1265" y="1463"/>
                </a:lnTo>
                <a:lnTo>
                  <a:pt x="1262" y="1461"/>
                </a:lnTo>
                <a:lnTo>
                  <a:pt x="1248" y="1449"/>
                </a:lnTo>
                <a:lnTo>
                  <a:pt x="1241" y="1446"/>
                </a:lnTo>
                <a:lnTo>
                  <a:pt x="1241" y="1448"/>
                </a:lnTo>
                <a:lnTo>
                  <a:pt x="1248" y="1450"/>
                </a:lnTo>
                <a:lnTo>
                  <a:pt x="1239" y="1448"/>
                </a:lnTo>
                <a:lnTo>
                  <a:pt x="1241" y="1447"/>
                </a:lnTo>
                <a:lnTo>
                  <a:pt x="1239" y="1447"/>
                </a:lnTo>
                <a:lnTo>
                  <a:pt x="1237" y="1448"/>
                </a:lnTo>
                <a:lnTo>
                  <a:pt x="1237" y="1444"/>
                </a:lnTo>
                <a:lnTo>
                  <a:pt x="1234" y="1447"/>
                </a:lnTo>
                <a:lnTo>
                  <a:pt x="1238" y="1451"/>
                </a:lnTo>
                <a:lnTo>
                  <a:pt x="1231" y="1451"/>
                </a:lnTo>
                <a:lnTo>
                  <a:pt x="1230" y="1451"/>
                </a:lnTo>
                <a:lnTo>
                  <a:pt x="1214" y="1455"/>
                </a:lnTo>
                <a:lnTo>
                  <a:pt x="1203" y="1453"/>
                </a:lnTo>
                <a:lnTo>
                  <a:pt x="1194" y="1450"/>
                </a:lnTo>
                <a:lnTo>
                  <a:pt x="1189" y="1448"/>
                </a:lnTo>
                <a:lnTo>
                  <a:pt x="1183" y="1446"/>
                </a:lnTo>
                <a:lnTo>
                  <a:pt x="1181" y="1442"/>
                </a:lnTo>
                <a:lnTo>
                  <a:pt x="1167" y="1438"/>
                </a:lnTo>
                <a:lnTo>
                  <a:pt x="1164" y="1437"/>
                </a:lnTo>
                <a:lnTo>
                  <a:pt x="1147" y="1431"/>
                </a:lnTo>
                <a:lnTo>
                  <a:pt x="1137" y="1425"/>
                </a:lnTo>
                <a:lnTo>
                  <a:pt x="1133" y="1419"/>
                </a:lnTo>
                <a:lnTo>
                  <a:pt x="1129" y="1422"/>
                </a:lnTo>
                <a:lnTo>
                  <a:pt x="1112" y="1415"/>
                </a:lnTo>
                <a:lnTo>
                  <a:pt x="1104" y="1407"/>
                </a:lnTo>
                <a:lnTo>
                  <a:pt x="1090" y="1400"/>
                </a:lnTo>
                <a:lnTo>
                  <a:pt x="1081" y="1392"/>
                </a:lnTo>
                <a:lnTo>
                  <a:pt x="1079" y="1384"/>
                </a:lnTo>
                <a:lnTo>
                  <a:pt x="1085" y="1382"/>
                </a:lnTo>
                <a:lnTo>
                  <a:pt x="1084" y="1379"/>
                </a:lnTo>
                <a:lnTo>
                  <a:pt x="1080" y="1379"/>
                </a:lnTo>
                <a:lnTo>
                  <a:pt x="1084" y="1374"/>
                </a:lnTo>
                <a:lnTo>
                  <a:pt x="1086" y="1369"/>
                </a:lnTo>
                <a:lnTo>
                  <a:pt x="1079" y="1365"/>
                </a:lnTo>
                <a:lnTo>
                  <a:pt x="1076" y="1359"/>
                </a:lnTo>
                <a:lnTo>
                  <a:pt x="1076" y="1354"/>
                </a:lnTo>
                <a:lnTo>
                  <a:pt x="1075" y="1349"/>
                </a:lnTo>
                <a:lnTo>
                  <a:pt x="1068" y="1341"/>
                </a:lnTo>
                <a:lnTo>
                  <a:pt x="1059" y="1330"/>
                </a:lnTo>
                <a:lnTo>
                  <a:pt x="1049" y="1322"/>
                </a:lnTo>
                <a:lnTo>
                  <a:pt x="1048" y="1322"/>
                </a:lnTo>
                <a:lnTo>
                  <a:pt x="1048" y="1319"/>
                </a:lnTo>
                <a:lnTo>
                  <a:pt x="1048" y="1320"/>
                </a:lnTo>
                <a:lnTo>
                  <a:pt x="1046" y="1317"/>
                </a:lnTo>
                <a:lnTo>
                  <a:pt x="1047" y="1319"/>
                </a:lnTo>
                <a:lnTo>
                  <a:pt x="1044" y="1317"/>
                </a:lnTo>
                <a:lnTo>
                  <a:pt x="1044" y="1314"/>
                </a:lnTo>
                <a:lnTo>
                  <a:pt x="1043" y="1314"/>
                </a:lnTo>
                <a:lnTo>
                  <a:pt x="1041" y="1310"/>
                </a:lnTo>
                <a:lnTo>
                  <a:pt x="1044" y="1313"/>
                </a:lnTo>
                <a:lnTo>
                  <a:pt x="1044" y="1310"/>
                </a:lnTo>
                <a:lnTo>
                  <a:pt x="1039" y="1309"/>
                </a:lnTo>
                <a:lnTo>
                  <a:pt x="1039" y="1309"/>
                </a:lnTo>
                <a:lnTo>
                  <a:pt x="1035" y="1308"/>
                </a:lnTo>
                <a:lnTo>
                  <a:pt x="1034" y="1306"/>
                </a:lnTo>
                <a:lnTo>
                  <a:pt x="1032" y="1306"/>
                </a:lnTo>
                <a:lnTo>
                  <a:pt x="1032" y="1305"/>
                </a:lnTo>
                <a:lnTo>
                  <a:pt x="1031" y="1305"/>
                </a:lnTo>
                <a:lnTo>
                  <a:pt x="1034" y="1301"/>
                </a:lnTo>
                <a:lnTo>
                  <a:pt x="1028" y="1302"/>
                </a:lnTo>
                <a:lnTo>
                  <a:pt x="1025" y="1299"/>
                </a:lnTo>
                <a:lnTo>
                  <a:pt x="1024" y="1296"/>
                </a:lnTo>
                <a:lnTo>
                  <a:pt x="1027" y="1291"/>
                </a:lnTo>
                <a:lnTo>
                  <a:pt x="1028" y="1294"/>
                </a:lnTo>
                <a:lnTo>
                  <a:pt x="1028" y="1291"/>
                </a:lnTo>
                <a:lnTo>
                  <a:pt x="1023" y="1285"/>
                </a:lnTo>
                <a:lnTo>
                  <a:pt x="1023" y="1284"/>
                </a:lnTo>
                <a:lnTo>
                  <a:pt x="1020" y="1287"/>
                </a:lnTo>
                <a:lnTo>
                  <a:pt x="1016" y="1282"/>
                </a:lnTo>
                <a:lnTo>
                  <a:pt x="1011" y="1282"/>
                </a:lnTo>
                <a:lnTo>
                  <a:pt x="1008" y="1277"/>
                </a:lnTo>
                <a:lnTo>
                  <a:pt x="1006" y="1271"/>
                </a:lnTo>
                <a:lnTo>
                  <a:pt x="1008" y="1267"/>
                </a:lnTo>
                <a:lnTo>
                  <a:pt x="1005" y="1265"/>
                </a:lnTo>
                <a:lnTo>
                  <a:pt x="1003" y="1267"/>
                </a:lnTo>
                <a:lnTo>
                  <a:pt x="1001" y="1265"/>
                </a:lnTo>
                <a:lnTo>
                  <a:pt x="995" y="1259"/>
                </a:lnTo>
                <a:lnTo>
                  <a:pt x="990" y="1257"/>
                </a:lnTo>
                <a:lnTo>
                  <a:pt x="988" y="1252"/>
                </a:lnTo>
                <a:lnTo>
                  <a:pt x="983" y="1251"/>
                </a:lnTo>
                <a:lnTo>
                  <a:pt x="984" y="1250"/>
                </a:lnTo>
                <a:lnTo>
                  <a:pt x="983" y="1245"/>
                </a:lnTo>
                <a:lnTo>
                  <a:pt x="980" y="1246"/>
                </a:lnTo>
                <a:lnTo>
                  <a:pt x="980" y="1242"/>
                </a:lnTo>
                <a:lnTo>
                  <a:pt x="978" y="1241"/>
                </a:lnTo>
                <a:lnTo>
                  <a:pt x="976" y="1234"/>
                </a:lnTo>
                <a:lnTo>
                  <a:pt x="976" y="1229"/>
                </a:lnTo>
                <a:lnTo>
                  <a:pt x="968" y="1222"/>
                </a:lnTo>
                <a:lnTo>
                  <a:pt x="968" y="1212"/>
                </a:lnTo>
                <a:lnTo>
                  <a:pt x="960" y="1211"/>
                </a:lnTo>
                <a:lnTo>
                  <a:pt x="960" y="1208"/>
                </a:lnTo>
                <a:lnTo>
                  <a:pt x="956" y="1206"/>
                </a:lnTo>
                <a:lnTo>
                  <a:pt x="957" y="1209"/>
                </a:lnTo>
                <a:lnTo>
                  <a:pt x="954" y="1208"/>
                </a:lnTo>
                <a:lnTo>
                  <a:pt x="942" y="1201"/>
                </a:lnTo>
                <a:lnTo>
                  <a:pt x="947" y="1206"/>
                </a:lnTo>
                <a:lnTo>
                  <a:pt x="946" y="1215"/>
                </a:lnTo>
                <a:lnTo>
                  <a:pt x="947" y="1217"/>
                </a:lnTo>
                <a:lnTo>
                  <a:pt x="948" y="1230"/>
                </a:lnTo>
                <a:lnTo>
                  <a:pt x="950" y="1234"/>
                </a:lnTo>
                <a:lnTo>
                  <a:pt x="964" y="1245"/>
                </a:lnTo>
                <a:lnTo>
                  <a:pt x="965" y="1252"/>
                </a:lnTo>
                <a:lnTo>
                  <a:pt x="966" y="1251"/>
                </a:lnTo>
                <a:lnTo>
                  <a:pt x="967" y="1254"/>
                </a:lnTo>
                <a:lnTo>
                  <a:pt x="969" y="1254"/>
                </a:lnTo>
                <a:lnTo>
                  <a:pt x="971" y="1258"/>
                </a:lnTo>
                <a:lnTo>
                  <a:pt x="972" y="1258"/>
                </a:lnTo>
                <a:lnTo>
                  <a:pt x="972" y="1260"/>
                </a:lnTo>
                <a:lnTo>
                  <a:pt x="976" y="1264"/>
                </a:lnTo>
                <a:lnTo>
                  <a:pt x="976" y="1267"/>
                </a:lnTo>
                <a:lnTo>
                  <a:pt x="979" y="1271"/>
                </a:lnTo>
                <a:lnTo>
                  <a:pt x="983" y="1272"/>
                </a:lnTo>
                <a:lnTo>
                  <a:pt x="988" y="1283"/>
                </a:lnTo>
                <a:lnTo>
                  <a:pt x="988" y="1282"/>
                </a:lnTo>
                <a:lnTo>
                  <a:pt x="992" y="1285"/>
                </a:lnTo>
                <a:lnTo>
                  <a:pt x="992" y="1287"/>
                </a:lnTo>
                <a:lnTo>
                  <a:pt x="994" y="1291"/>
                </a:lnTo>
                <a:lnTo>
                  <a:pt x="997" y="1299"/>
                </a:lnTo>
                <a:lnTo>
                  <a:pt x="998" y="1302"/>
                </a:lnTo>
                <a:lnTo>
                  <a:pt x="1002" y="1305"/>
                </a:lnTo>
                <a:lnTo>
                  <a:pt x="1003" y="1309"/>
                </a:lnTo>
                <a:lnTo>
                  <a:pt x="1006" y="1314"/>
                </a:lnTo>
                <a:lnTo>
                  <a:pt x="1005" y="1320"/>
                </a:lnTo>
                <a:lnTo>
                  <a:pt x="1006" y="1322"/>
                </a:lnTo>
                <a:lnTo>
                  <a:pt x="1011" y="1326"/>
                </a:lnTo>
                <a:lnTo>
                  <a:pt x="1009" y="1326"/>
                </a:lnTo>
                <a:lnTo>
                  <a:pt x="1011" y="1326"/>
                </a:lnTo>
                <a:lnTo>
                  <a:pt x="1013" y="1324"/>
                </a:lnTo>
                <a:lnTo>
                  <a:pt x="1011" y="1322"/>
                </a:lnTo>
                <a:lnTo>
                  <a:pt x="1013" y="1322"/>
                </a:lnTo>
                <a:lnTo>
                  <a:pt x="1020" y="1327"/>
                </a:lnTo>
                <a:lnTo>
                  <a:pt x="1021" y="1332"/>
                </a:lnTo>
                <a:lnTo>
                  <a:pt x="1024" y="1337"/>
                </a:lnTo>
                <a:lnTo>
                  <a:pt x="1023" y="1344"/>
                </a:lnTo>
                <a:lnTo>
                  <a:pt x="1017" y="1347"/>
                </a:lnTo>
                <a:lnTo>
                  <a:pt x="1016" y="1347"/>
                </a:lnTo>
                <a:lnTo>
                  <a:pt x="1011" y="1334"/>
                </a:lnTo>
                <a:lnTo>
                  <a:pt x="995" y="1323"/>
                </a:lnTo>
                <a:lnTo>
                  <a:pt x="991" y="1322"/>
                </a:lnTo>
                <a:lnTo>
                  <a:pt x="990" y="1322"/>
                </a:lnTo>
                <a:lnTo>
                  <a:pt x="989" y="1320"/>
                </a:lnTo>
                <a:lnTo>
                  <a:pt x="990" y="1321"/>
                </a:lnTo>
                <a:lnTo>
                  <a:pt x="989" y="1318"/>
                </a:lnTo>
                <a:lnTo>
                  <a:pt x="988" y="1318"/>
                </a:lnTo>
                <a:lnTo>
                  <a:pt x="987" y="1318"/>
                </a:lnTo>
                <a:lnTo>
                  <a:pt x="984" y="1318"/>
                </a:lnTo>
                <a:lnTo>
                  <a:pt x="984" y="1310"/>
                </a:lnTo>
                <a:lnTo>
                  <a:pt x="982" y="1313"/>
                </a:lnTo>
                <a:lnTo>
                  <a:pt x="984" y="1302"/>
                </a:lnTo>
                <a:lnTo>
                  <a:pt x="984" y="1299"/>
                </a:lnTo>
                <a:lnTo>
                  <a:pt x="980" y="1294"/>
                </a:lnTo>
                <a:lnTo>
                  <a:pt x="977" y="1294"/>
                </a:lnTo>
                <a:lnTo>
                  <a:pt x="969" y="1287"/>
                </a:lnTo>
                <a:lnTo>
                  <a:pt x="971" y="1284"/>
                </a:lnTo>
                <a:lnTo>
                  <a:pt x="967" y="1286"/>
                </a:lnTo>
                <a:lnTo>
                  <a:pt x="966" y="1286"/>
                </a:lnTo>
                <a:lnTo>
                  <a:pt x="964" y="1288"/>
                </a:lnTo>
                <a:lnTo>
                  <a:pt x="960" y="1282"/>
                </a:lnTo>
                <a:lnTo>
                  <a:pt x="958" y="1282"/>
                </a:lnTo>
                <a:lnTo>
                  <a:pt x="953" y="1280"/>
                </a:lnTo>
                <a:lnTo>
                  <a:pt x="948" y="1276"/>
                </a:lnTo>
                <a:lnTo>
                  <a:pt x="948" y="1274"/>
                </a:lnTo>
                <a:lnTo>
                  <a:pt x="942" y="1269"/>
                </a:lnTo>
                <a:lnTo>
                  <a:pt x="942" y="1267"/>
                </a:lnTo>
                <a:lnTo>
                  <a:pt x="954" y="1268"/>
                </a:lnTo>
                <a:lnTo>
                  <a:pt x="953" y="1267"/>
                </a:lnTo>
                <a:lnTo>
                  <a:pt x="954" y="1264"/>
                </a:lnTo>
                <a:lnTo>
                  <a:pt x="957" y="1256"/>
                </a:lnTo>
                <a:lnTo>
                  <a:pt x="944" y="1242"/>
                </a:lnTo>
                <a:lnTo>
                  <a:pt x="941" y="1241"/>
                </a:lnTo>
                <a:lnTo>
                  <a:pt x="932" y="1236"/>
                </a:lnTo>
                <a:lnTo>
                  <a:pt x="931" y="1227"/>
                </a:lnTo>
                <a:lnTo>
                  <a:pt x="928" y="1226"/>
                </a:lnTo>
                <a:lnTo>
                  <a:pt x="928" y="1227"/>
                </a:lnTo>
                <a:lnTo>
                  <a:pt x="924" y="1226"/>
                </a:lnTo>
                <a:lnTo>
                  <a:pt x="924" y="1220"/>
                </a:lnTo>
                <a:lnTo>
                  <a:pt x="923" y="1217"/>
                </a:lnTo>
                <a:lnTo>
                  <a:pt x="923" y="1212"/>
                </a:lnTo>
                <a:lnTo>
                  <a:pt x="919" y="1208"/>
                </a:lnTo>
                <a:lnTo>
                  <a:pt x="920" y="1203"/>
                </a:lnTo>
                <a:lnTo>
                  <a:pt x="916" y="1201"/>
                </a:lnTo>
                <a:lnTo>
                  <a:pt x="912" y="1192"/>
                </a:lnTo>
                <a:lnTo>
                  <a:pt x="914" y="1192"/>
                </a:lnTo>
                <a:lnTo>
                  <a:pt x="913" y="1190"/>
                </a:lnTo>
                <a:lnTo>
                  <a:pt x="912" y="1190"/>
                </a:lnTo>
                <a:lnTo>
                  <a:pt x="912" y="1188"/>
                </a:lnTo>
                <a:lnTo>
                  <a:pt x="912" y="1184"/>
                </a:lnTo>
                <a:lnTo>
                  <a:pt x="909" y="1179"/>
                </a:lnTo>
                <a:lnTo>
                  <a:pt x="900" y="1174"/>
                </a:lnTo>
                <a:lnTo>
                  <a:pt x="896" y="1174"/>
                </a:lnTo>
                <a:lnTo>
                  <a:pt x="893" y="1168"/>
                </a:lnTo>
                <a:lnTo>
                  <a:pt x="885" y="1166"/>
                </a:lnTo>
                <a:lnTo>
                  <a:pt x="877" y="1162"/>
                </a:lnTo>
                <a:lnTo>
                  <a:pt x="866" y="1162"/>
                </a:lnTo>
                <a:lnTo>
                  <a:pt x="862" y="1157"/>
                </a:lnTo>
                <a:lnTo>
                  <a:pt x="864" y="1149"/>
                </a:lnTo>
                <a:lnTo>
                  <a:pt x="859" y="1147"/>
                </a:lnTo>
                <a:lnTo>
                  <a:pt x="859" y="1142"/>
                </a:lnTo>
                <a:lnTo>
                  <a:pt x="844" y="1129"/>
                </a:lnTo>
                <a:lnTo>
                  <a:pt x="843" y="1126"/>
                </a:lnTo>
                <a:lnTo>
                  <a:pt x="843" y="1126"/>
                </a:lnTo>
                <a:lnTo>
                  <a:pt x="843" y="1118"/>
                </a:lnTo>
                <a:lnTo>
                  <a:pt x="840" y="1118"/>
                </a:lnTo>
                <a:lnTo>
                  <a:pt x="835" y="1112"/>
                </a:lnTo>
                <a:lnTo>
                  <a:pt x="835" y="1109"/>
                </a:lnTo>
                <a:lnTo>
                  <a:pt x="835" y="1108"/>
                </a:lnTo>
                <a:lnTo>
                  <a:pt x="835" y="1106"/>
                </a:lnTo>
                <a:lnTo>
                  <a:pt x="836" y="1106"/>
                </a:lnTo>
                <a:lnTo>
                  <a:pt x="839" y="1107"/>
                </a:lnTo>
                <a:lnTo>
                  <a:pt x="843" y="1108"/>
                </a:lnTo>
                <a:lnTo>
                  <a:pt x="836" y="1099"/>
                </a:lnTo>
                <a:lnTo>
                  <a:pt x="835" y="1098"/>
                </a:lnTo>
                <a:lnTo>
                  <a:pt x="835" y="1099"/>
                </a:lnTo>
                <a:lnTo>
                  <a:pt x="835" y="1100"/>
                </a:lnTo>
                <a:lnTo>
                  <a:pt x="834" y="1103"/>
                </a:lnTo>
                <a:lnTo>
                  <a:pt x="830" y="1098"/>
                </a:lnTo>
                <a:lnTo>
                  <a:pt x="827" y="1099"/>
                </a:lnTo>
                <a:lnTo>
                  <a:pt x="827" y="1094"/>
                </a:lnTo>
                <a:lnTo>
                  <a:pt x="831" y="1098"/>
                </a:lnTo>
                <a:lnTo>
                  <a:pt x="827" y="1092"/>
                </a:lnTo>
                <a:lnTo>
                  <a:pt x="815" y="1081"/>
                </a:lnTo>
                <a:lnTo>
                  <a:pt x="815" y="1068"/>
                </a:lnTo>
                <a:lnTo>
                  <a:pt x="812" y="1060"/>
                </a:lnTo>
                <a:lnTo>
                  <a:pt x="810" y="1058"/>
                </a:lnTo>
                <a:lnTo>
                  <a:pt x="808" y="1057"/>
                </a:lnTo>
                <a:lnTo>
                  <a:pt x="810" y="1049"/>
                </a:lnTo>
                <a:lnTo>
                  <a:pt x="812" y="1038"/>
                </a:lnTo>
                <a:lnTo>
                  <a:pt x="807" y="1031"/>
                </a:lnTo>
                <a:lnTo>
                  <a:pt x="807" y="1027"/>
                </a:lnTo>
                <a:lnTo>
                  <a:pt x="807" y="1022"/>
                </a:lnTo>
                <a:lnTo>
                  <a:pt x="807" y="1016"/>
                </a:lnTo>
                <a:lnTo>
                  <a:pt x="806" y="1012"/>
                </a:lnTo>
                <a:lnTo>
                  <a:pt x="809" y="1005"/>
                </a:lnTo>
                <a:lnTo>
                  <a:pt x="809" y="1005"/>
                </a:lnTo>
                <a:lnTo>
                  <a:pt x="810" y="1005"/>
                </a:lnTo>
                <a:lnTo>
                  <a:pt x="811" y="997"/>
                </a:lnTo>
                <a:lnTo>
                  <a:pt x="811" y="975"/>
                </a:lnTo>
                <a:lnTo>
                  <a:pt x="811" y="970"/>
                </a:lnTo>
                <a:lnTo>
                  <a:pt x="811" y="965"/>
                </a:lnTo>
                <a:lnTo>
                  <a:pt x="816" y="965"/>
                </a:lnTo>
                <a:lnTo>
                  <a:pt x="815" y="952"/>
                </a:lnTo>
                <a:lnTo>
                  <a:pt x="819" y="950"/>
                </a:lnTo>
                <a:lnTo>
                  <a:pt x="815" y="949"/>
                </a:lnTo>
                <a:lnTo>
                  <a:pt x="814" y="942"/>
                </a:lnTo>
                <a:lnTo>
                  <a:pt x="815" y="947"/>
                </a:lnTo>
                <a:lnTo>
                  <a:pt x="816" y="943"/>
                </a:lnTo>
                <a:lnTo>
                  <a:pt x="815" y="943"/>
                </a:lnTo>
                <a:lnTo>
                  <a:pt x="817" y="941"/>
                </a:lnTo>
                <a:lnTo>
                  <a:pt x="811" y="941"/>
                </a:lnTo>
                <a:lnTo>
                  <a:pt x="811" y="939"/>
                </a:lnTo>
                <a:lnTo>
                  <a:pt x="816" y="936"/>
                </a:lnTo>
                <a:lnTo>
                  <a:pt x="814" y="935"/>
                </a:lnTo>
                <a:lnTo>
                  <a:pt x="811" y="938"/>
                </a:lnTo>
                <a:lnTo>
                  <a:pt x="809" y="923"/>
                </a:lnTo>
                <a:lnTo>
                  <a:pt x="805" y="916"/>
                </a:lnTo>
                <a:lnTo>
                  <a:pt x="803" y="909"/>
                </a:lnTo>
                <a:lnTo>
                  <a:pt x="814" y="913"/>
                </a:lnTo>
                <a:lnTo>
                  <a:pt x="824" y="915"/>
                </a:lnTo>
                <a:lnTo>
                  <a:pt x="827" y="913"/>
                </a:lnTo>
                <a:lnTo>
                  <a:pt x="830" y="915"/>
                </a:lnTo>
                <a:lnTo>
                  <a:pt x="831" y="913"/>
                </a:lnTo>
                <a:lnTo>
                  <a:pt x="831" y="915"/>
                </a:lnTo>
                <a:lnTo>
                  <a:pt x="833" y="917"/>
                </a:lnTo>
                <a:lnTo>
                  <a:pt x="833" y="921"/>
                </a:lnTo>
                <a:lnTo>
                  <a:pt x="831" y="920"/>
                </a:lnTo>
                <a:lnTo>
                  <a:pt x="826" y="930"/>
                </a:lnTo>
                <a:lnTo>
                  <a:pt x="828" y="930"/>
                </a:lnTo>
                <a:lnTo>
                  <a:pt x="825" y="932"/>
                </a:lnTo>
                <a:lnTo>
                  <a:pt x="827" y="935"/>
                </a:lnTo>
                <a:lnTo>
                  <a:pt x="827" y="932"/>
                </a:lnTo>
                <a:lnTo>
                  <a:pt x="831" y="935"/>
                </a:lnTo>
                <a:lnTo>
                  <a:pt x="835" y="931"/>
                </a:lnTo>
                <a:lnTo>
                  <a:pt x="831" y="929"/>
                </a:lnTo>
                <a:lnTo>
                  <a:pt x="831" y="927"/>
                </a:lnTo>
                <a:lnTo>
                  <a:pt x="829" y="929"/>
                </a:lnTo>
                <a:lnTo>
                  <a:pt x="828" y="929"/>
                </a:lnTo>
                <a:lnTo>
                  <a:pt x="831" y="924"/>
                </a:lnTo>
                <a:lnTo>
                  <a:pt x="831" y="924"/>
                </a:lnTo>
                <a:lnTo>
                  <a:pt x="831" y="926"/>
                </a:lnTo>
                <a:lnTo>
                  <a:pt x="835" y="924"/>
                </a:lnTo>
                <a:lnTo>
                  <a:pt x="835" y="929"/>
                </a:lnTo>
                <a:lnTo>
                  <a:pt x="835" y="931"/>
                </a:lnTo>
                <a:lnTo>
                  <a:pt x="839" y="927"/>
                </a:lnTo>
                <a:lnTo>
                  <a:pt x="836" y="923"/>
                </a:lnTo>
                <a:lnTo>
                  <a:pt x="839" y="917"/>
                </a:lnTo>
                <a:lnTo>
                  <a:pt x="839" y="916"/>
                </a:lnTo>
                <a:lnTo>
                  <a:pt x="836" y="914"/>
                </a:lnTo>
                <a:lnTo>
                  <a:pt x="836" y="913"/>
                </a:lnTo>
                <a:lnTo>
                  <a:pt x="836" y="913"/>
                </a:lnTo>
                <a:lnTo>
                  <a:pt x="835" y="913"/>
                </a:lnTo>
                <a:lnTo>
                  <a:pt x="836" y="911"/>
                </a:lnTo>
                <a:lnTo>
                  <a:pt x="835" y="910"/>
                </a:lnTo>
                <a:lnTo>
                  <a:pt x="835" y="911"/>
                </a:lnTo>
                <a:lnTo>
                  <a:pt x="833" y="913"/>
                </a:lnTo>
                <a:lnTo>
                  <a:pt x="835" y="914"/>
                </a:lnTo>
                <a:lnTo>
                  <a:pt x="835" y="914"/>
                </a:lnTo>
                <a:lnTo>
                  <a:pt x="839" y="916"/>
                </a:lnTo>
                <a:lnTo>
                  <a:pt x="836" y="917"/>
                </a:lnTo>
                <a:lnTo>
                  <a:pt x="833" y="913"/>
                </a:lnTo>
                <a:lnTo>
                  <a:pt x="835" y="910"/>
                </a:lnTo>
                <a:lnTo>
                  <a:pt x="833" y="909"/>
                </a:lnTo>
                <a:lnTo>
                  <a:pt x="836" y="909"/>
                </a:lnTo>
                <a:lnTo>
                  <a:pt x="836" y="905"/>
                </a:lnTo>
                <a:lnTo>
                  <a:pt x="835" y="903"/>
                </a:lnTo>
                <a:lnTo>
                  <a:pt x="833" y="901"/>
                </a:lnTo>
                <a:lnTo>
                  <a:pt x="831" y="900"/>
                </a:lnTo>
                <a:lnTo>
                  <a:pt x="831" y="901"/>
                </a:lnTo>
                <a:lnTo>
                  <a:pt x="830" y="901"/>
                </a:lnTo>
                <a:lnTo>
                  <a:pt x="829" y="898"/>
                </a:lnTo>
                <a:lnTo>
                  <a:pt x="825" y="898"/>
                </a:lnTo>
                <a:lnTo>
                  <a:pt x="823" y="892"/>
                </a:lnTo>
                <a:lnTo>
                  <a:pt x="822" y="889"/>
                </a:lnTo>
                <a:lnTo>
                  <a:pt x="823" y="889"/>
                </a:lnTo>
                <a:lnTo>
                  <a:pt x="822" y="889"/>
                </a:lnTo>
                <a:lnTo>
                  <a:pt x="822" y="883"/>
                </a:lnTo>
                <a:lnTo>
                  <a:pt x="817" y="888"/>
                </a:lnTo>
                <a:lnTo>
                  <a:pt x="819" y="889"/>
                </a:lnTo>
                <a:lnTo>
                  <a:pt x="816" y="889"/>
                </a:lnTo>
                <a:lnTo>
                  <a:pt x="816" y="889"/>
                </a:lnTo>
                <a:lnTo>
                  <a:pt x="815" y="889"/>
                </a:lnTo>
                <a:lnTo>
                  <a:pt x="815" y="888"/>
                </a:lnTo>
                <a:lnTo>
                  <a:pt x="812" y="885"/>
                </a:lnTo>
                <a:lnTo>
                  <a:pt x="814" y="881"/>
                </a:lnTo>
                <a:lnTo>
                  <a:pt x="812" y="879"/>
                </a:lnTo>
                <a:lnTo>
                  <a:pt x="816" y="878"/>
                </a:lnTo>
                <a:lnTo>
                  <a:pt x="814" y="875"/>
                </a:lnTo>
                <a:lnTo>
                  <a:pt x="812" y="874"/>
                </a:lnTo>
                <a:lnTo>
                  <a:pt x="814" y="878"/>
                </a:lnTo>
                <a:lnTo>
                  <a:pt x="811" y="879"/>
                </a:lnTo>
                <a:lnTo>
                  <a:pt x="811" y="881"/>
                </a:lnTo>
                <a:lnTo>
                  <a:pt x="811" y="882"/>
                </a:lnTo>
                <a:lnTo>
                  <a:pt x="807" y="883"/>
                </a:lnTo>
                <a:lnTo>
                  <a:pt x="809" y="883"/>
                </a:lnTo>
                <a:lnTo>
                  <a:pt x="810" y="887"/>
                </a:lnTo>
                <a:lnTo>
                  <a:pt x="812" y="885"/>
                </a:lnTo>
                <a:lnTo>
                  <a:pt x="815" y="889"/>
                </a:lnTo>
                <a:lnTo>
                  <a:pt x="815" y="890"/>
                </a:lnTo>
                <a:lnTo>
                  <a:pt x="812" y="891"/>
                </a:lnTo>
                <a:lnTo>
                  <a:pt x="811" y="889"/>
                </a:lnTo>
                <a:lnTo>
                  <a:pt x="811" y="889"/>
                </a:lnTo>
                <a:lnTo>
                  <a:pt x="811" y="889"/>
                </a:lnTo>
                <a:lnTo>
                  <a:pt x="811" y="889"/>
                </a:lnTo>
                <a:lnTo>
                  <a:pt x="809" y="889"/>
                </a:lnTo>
                <a:lnTo>
                  <a:pt x="810" y="888"/>
                </a:lnTo>
                <a:lnTo>
                  <a:pt x="804" y="882"/>
                </a:lnTo>
                <a:lnTo>
                  <a:pt x="806" y="883"/>
                </a:lnTo>
                <a:lnTo>
                  <a:pt x="804" y="881"/>
                </a:lnTo>
                <a:lnTo>
                  <a:pt x="801" y="879"/>
                </a:lnTo>
                <a:lnTo>
                  <a:pt x="804" y="875"/>
                </a:lnTo>
                <a:lnTo>
                  <a:pt x="801" y="876"/>
                </a:lnTo>
                <a:lnTo>
                  <a:pt x="800" y="878"/>
                </a:lnTo>
                <a:lnTo>
                  <a:pt x="800" y="878"/>
                </a:lnTo>
                <a:lnTo>
                  <a:pt x="800" y="878"/>
                </a:lnTo>
                <a:lnTo>
                  <a:pt x="800" y="881"/>
                </a:lnTo>
                <a:lnTo>
                  <a:pt x="798" y="881"/>
                </a:lnTo>
                <a:lnTo>
                  <a:pt x="797" y="881"/>
                </a:lnTo>
                <a:lnTo>
                  <a:pt x="798" y="876"/>
                </a:lnTo>
                <a:lnTo>
                  <a:pt x="799" y="873"/>
                </a:lnTo>
                <a:lnTo>
                  <a:pt x="795" y="873"/>
                </a:lnTo>
                <a:lnTo>
                  <a:pt x="795" y="871"/>
                </a:lnTo>
                <a:lnTo>
                  <a:pt x="791" y="870"/>
                </a:lnTo>
                <a:lnTo>
                  <a:pt x="791" y="870"/>
                </a:lnTo>
                <a:lnTo>
                  <a:pt x="790" y="869"/>
                </a:lnTo>
                <a:lnTo>
                  <a:pt x="792" y="864"/>
                </a:lnTo>
                <a:lnTo>
                  <a:pt x="787" y="872"/>
                </a:lnTo>
                <a:lnTo>
                  <a:pt x="790" y="873"/>
                </a:lnTo>
                <a:lnTo>
                  <a:pt x="791" y="872"/>
                </a:lnTo>
                <a:lnTo>
                  <a:pt x="791" y="873"/>
                </a:lnTo>
                <a:lnTo>
                  <a:pt x="791" y="873"/>
                </a:lnTo>
                <a:lnTo>
                  <a:pt x="792" y="874"/>
                </a:lnTo>
                <a:lnTo>
                  <a:pt x="793" y="877"/>
                </a:lnTo>
                <a:lnTo>
                  <a:pt x="794" y="877"/>
                </a:lnTo>
                <a:lnTo>
                  <a:pt x="794" y="876"/>
                </a:lnTo>
                <a:lnTo>
                  <a:pt x="794" y="877"/>
                </a:lnTo>
                <a:lnTo>
                  <a:pt x="795" y="877"/>
                </a:lnTo>
                <a:lnTo>
                  <a:pt x="795" y="879"/>
                </a:lnTo>
                <a:lnTo>
                  <a:pt x="796" y="881"/>
                </a:lnTo>
                <a:lnTo>
                  <a:pt x="800" y="883"/>
                </a:lnTo>
                <a:lnTo>
                  <a:pt x="798" y="885"/>
                </a:lnTo>
                <a:lnTo>
                  <a:pt x="801" y="889"/>
                </a:lnTo>
                <a:lnTo>
                  <a:pt x="812" y="894"/>
                </a:lnTo>
                <a:lnTo>
                  <a:pt x="818" y="901"/>
                </a:lnTo>
                <a:lnTo>
                  <a:pt x="819" y="904"/>
                </a:lnTo>
                <a:lnTo>
                  <a:pt x="820" y="903"/>
                </a:lnTo>
                <a:lnTo>
                  <a:pt x="823" y="909"/>
                </a:lnTo>
                <a:lnTo>
                  <a:pt x="820" y="908"/>
                </a:lnTo>
                <a:lnTo>
                  <a:pt x="818" y="912"/>
                </a:lnTo>
                <a:lnTo>
                  <a:pt x="797" y="903"/>
                </a:lnTo>
                <a:lnTo>
                  <a:pt x="796" y="901"/>
                </a:lnTo>
                <a:lnTo>
                  <a:pt x="799" y="897"/>
                </a:lnTo>
                <a:lnTo>
                  <a:pt x="799" y="894"/>
                </a:lnTo>
                <a:lnTo>
                  <a:pt x="798" y="898"/>
                </a:lnTo>
                <a:lnTo>
                  <a:pt x="790" y="901"/>
                </a:lnTo>
                <a:lnTo>
                  <a:pt x="787" y="897"/>
                </a:lnTo>
                <a:lnTo>
                  <a:pt x="789" y="894"/>
                </a:lnTo>
                <a:lnTo>
                  <a:pt x="787" y="895"/>
                </a:lnTo>
                <a:lnTo>
                  <a:pt x="786" y="892"/>
                </a:lnTo>
                <a:lnTo>
                  <a:pt x="783" y="894"/>
                </a:lnTo>
                <a:lnTo>
                  <a:pt x="784" y="892"/>
                </a:lnTo>
                <a:lnTo>
                  <a:pt x="781" y="890"/>
                </a:lnTo>
                <a:lnTo>
                  <a:pt x="783" y="894"/>
                </a:lnTo>
                <a:lnTo>
                  <a:pt x="779" y="892"/>
                </a:lnTo>
                <a:lnTo>
                  <a:pt x="779" y="893"/>
                </a:lnTo>
                <a:lnTo>
                  <a:pt x="776" y="893"/>
                </a:lnTo>
                <a:lnTo>
                  <a:pt x="773" y="888"/>
                </a:lnTo>
                <a:lnTo>
                  <a:pt x="781" y="885"/>
                </a:lnTo>
                <a:lnTo>
                  <a:pt x="771" y="883"/>
                </a:lnTo>
                <a:lnTo>
                  <a:pt x="771" y="886"/>
                </a:lnTo>
                <a:lnTo>
                  <a:pt x="767" y="883"/>
                </a:lnTo>
                <a:lnTo>
                  <a:pt x="767" y="883"/>
                </a:lnTo>
                <a:lnTo>
                  <a:pt x="767" y="883"/>
                </a:lnTo>
                <a:lnTo>
                  <a:pt x="765" y="879"/>
                </a:lnTo>
                <a:lnTo>
                  <a:pt x="767" y="878"/>
                </a:lnTo>
                <a:lnTo>
                  <a:pt x="764" y="879"/>
                </a:lnTo>
                <a:lnTo>
                  <a:pt x="759" y="875"/>
                </a:lnTo>
                <a:lnTo>
                  <a:pt x="755" y="878"/>
                </a:lnTo>
                <a:lnTo>
                  <a:pt x="755" y="874"/>
                </a:lnTo>
                <a:lnTo>
                  <a:pt x="755" y="871"/>
                </a:lnTo>
                <a:lnTo>
                  <a:pt x="755" y="869"/>
                </a:lnTo>
                <a:lnTo>
                  <a:pt x="751" y="871"/>
                </a:lnTo>
                <a:lnTo>
                  <a:pt x="747" y="867"/>
                </a:lnTo>
                <a:lnTo>
                  <a:pt x="747" y="863"/>
                </a:lnTo>
                <a:lnTo>
                  <a:pt x="755" y="863"/>
                </a:lnTo>
                <a:lnTo>
                  <a:pt x="765" y="867"/>
                </a:lnTo>
                <a:lnTo>
                  <a:pt x="780" y="871"/>
                </a:lnTo>
                <a:lnTo>
                  <a:pt x="781" y="869"/>
                </a:lnTo>
                <a:lnTo>
                  <a:pt x="779" y="867"/>
                </a:lnTo>
                <a:lnTo>
                  <a:pt x="781" y="866"/>
                </a:lnTo>
                <a:lnTo>
                  <a:pt x="783" y="865"/>
                </a:lnTo>
                <a:lnTo>
                  <a:pt x="781" y="865"/>
                </a:lnTo>
                <a:lnTo>
                  <a:pt x="780" y="865"/>
                </a:lnTo>
                <a:lnTo>
                  <a:pt x="781" y="863"/>
                </a:lnTo>
                <a:lnTo>
                  <a:pt x="780" y="863"/>
                </a:lnTo>
                <a:lnTo>
                  <a:pt x="781" y="862"/>
                </a:lnTo>
                <a:lnTo>
                  <a:pt x="773" y="863"/>
                </a:lnTo>
                <a:lnTo>
                  <a:pt x="773" y="862"/>
                </a:lnTo>
                <a:lnTo>
                  <a:pt x="774" y="861"/>
                </a:lnTo>
                <a:lnTo>
                  <a:pt x="773" y="861"/>
                </a:lnTo>
                <a:lnTo>
                  <a:pt x="771" y="861"/>
                </a:lnTo>
                <a:lnTo>
                  <a:pt x="773" y="857"/>
                </a:lnTo>
                <a:lnTo>
                  <a:pt x="766" y="858"/>
                </a:lnTo>
                <a:lnTo>
                  <a:pt x="755" y="856"/>
                </a:lnTo>
                <a:lnTo>
                  <a:pt x="755" y="855"/>
                </a:lnTo>
                <a:lnTo>
                  <a:pt x="760" y="853"/>
                </a:lnTo>
                <a:lnTo>
                  <a:pt x="757" y="853"/>
                </a:lnTo>
                <a:lnTo>
                  <a:pt x="760" y="850"/>
                </a:lnTo>
                <a:lnTo>
                  <a:pt x="763" y="846"/>
                </a:lnTo>
                <a:lnTo>
                  <a:pt x="763" y="842"/>
                </a:lnTo>
                <a:lnTo>
                  <a:pt x="759" y="843"/>
                </a:lnTo>
                <a:lnTo>
                  <a:pt x="759" y="848"/>
                </a:lnTo>
                <a:lnTo>
                  <a:pt x="759" y="849"/>
                </a:lnTo>
                <a:lnTo>
                  <a:pt x="756" y="847"/>
                </a:lnTo>
                <a:lnTo>
                  <a:pt x="757" y="840"/>
                </a:lnTo>
                <a:lnTo>
                  <a:pt x="759" y="840"/>
                </a:lnTo>
                <a:lnTo>
                  <a:pt x="756" y="840"/>
                </a:lnTo>
                <a:lnTo>
                  <a:pt x="756" y="835"/>
                </a:lnTo>
                <a:lnTo>
                  <a:pt x="763" y="831"/>
                </a:lnTo>
                <a:lnTo>
                  <a:pt x="763" y="832"/>
                </a:lnTo>
                <a:lnTo>
                  <a:pt x="759" y="836"/>
                </a:lnTo>
                <a:lnTo>
                  <a:pt x="761" y="836"/>
                </a:lnTo>
                <a:lnTo>
                  <a:pt x="767" y="832"/>
                </a:lnTo>
                <a:lnTo>
                  <a:pt x="765" y="829"/>
                </a:lnTo>
                <a:lnTo>
                  <a:pt x="770" y="824"/>
                </a:lnTo>
                <a:lnTo>
                  <a:pt x="767" y="822"/>
                </a:lnTo>
                <a:lnTo>
                  <a:pt x="767" y="825"/>
                </a:lnTo>
                <a:lnTo>
                  <a:pt x="759" y="832"/>
                </a:lnTo>
                <a:lnTo>
                  <a:pt x="755" y="834"/>
                </a:lnTo>
                <a:lnTo>
                  <a:pt x="755" y="832"/>
                </a:lnTo>
                <a:lnTo>
                  <a:pt x="755" y="832"/>
                </a:lnTo>
                <a:lnTo>
                  <a:pt x="755" y="833"/>
                </a:lnTo>
                <a:lnTo>
                  <a:pt x="755" y="832"/>
                </a:lnTo>
                <a:lnTo>
                  <a:pt x="755" y="832"/>
                </a:lnTo>
                <a:lnTo>
                  <a:pt x="755" y="832"/>
                </a:lnTo>
                <a:lnTo>
                  <a:pt x="755" y="828"/>
                </a:lnTo>
                <a:lnTo>
                  <a:pt x="752" y="831"/>
                </a:lnTo>
                <a:lnTo>
                  <a:pt x="752" y="832"/>
                </a:lnTo>
                <a:lnTo>
                  <a:pt x="752" y="831"/>
                </a:lnTo>
                <a:lnTo>
                  <a:pt x="753" y="832"/>
                </a:lnTo>
                <a:lnTo>
                  <a:pt x="752" y="832"/>
                </a:lnTo>
                <a:lnTo>
                  <a:pt x="751" y="832"/>
                </a:lnTo>
                <a:lnTo>
                  <a:pt x="751" y="832"/>
                </a:lnTo>
                <a:lnTo>
                  <a:pt x="751" y="832"/>
                </a:lnTo>
                <a:lnTo>
                  <a:pt x="751" y="832"/>
                </a:lnTo>
                <a:lnTo>
                  <a:pt x="750" y="831"/>
                </a:lnTo>
                <a:lnTo>
                  <a:pt x="751" y="829"/>
                </a:lnTo>
                <a:lnTo>
                  <a:pt x="751" y="828"/>
                </a:lnTo>
                <a:lnTo>
                  <a:pt x="751" y="828"/>
                </a:lnTo>
                <a:lnTo>
                  <a:pt x="751" y="828"/>
                </a:lnTo>
                <a:lnTo>
                  <a:pt x="751" y="828"/>
                </a:lnTo>
                <a:lnTo>
                  <a:pt x="752" y="826"/>
                </a:lnTo>
                <a:lnTo>
                  <a:pt x="751" y="828"/>
                </a:lnTo>
                <a:lnTo>
                  <a:pt x="750" y="825"/>
                </a:lnTo>
                <a:lnTo>
                  <a:pt x="750" y="824"/>
                </a:lnTo>
                <a:lnTo>
                  <a:pt x="752" y="824"/>
                </a:lnTo>
                <a:lnTo>
                  <a:pt x="752" y="822"/>
                </a:lnTo>
                <a:lnTo>
                  <a:pt x="749" y="823"/>
                </a:lnTo>
                <a:lnTo>
                  <a:pt x="749" y="822"/>
                </a:lnTo>
                <a:lnTo>
                  <a:pt x="749" y="823"/>
                </a:lnTo>
                <a:lnTo>
                  <a:pt x="748" y="823"/>
                </a:lnTo>
                <a:lnTo>
                  <a:pt x="746" y="817"/>
                </a:lnTo>
                <a:lnTo>
                  <a:pt x="743" y="815"/>
                </a:lnTo>
                <a:lnTo>
                  <a:pt x="741" y="812"/>
                </a:lnTo>
                <a:lnTo>
                  <a:pt x="743" y="812"/>
                </a:lnTo>
                <a:lnTo>
                  <a:pt x="748" y="814"/>
                </a:lnTo>
                <a:lnTo>
                  <a:pt x="752" y="812"/>
                </a:lnTo>
                <a:lnTo>
                  <a:pt x="746" y="812"/>
                </a:lnTo>
                <a:lnTo>
                  <a:pt x="741" y="807"/>
                </a:lnTo>
                <a:lnTo>
                  <a:pt x="741" y="805"/>
                </a:lnTo>
                <a:lnTo>
                  <a:pt x="739" y="805"/>
                </a:lnTo>
                <a:lnTo>
                  <a:pt x="739" y="804"/>
                </a:lnTo>
                <a:lnTo>
                  <a:pt x="739" y="802"/>
                </a:lnTo>
                <a:lnTo>
                  <a:pt x="745" y="802"/>
                </a:lnTo>
                <a:lnTo>
                  <a:pt x="744" y="801"/>
                </a:lnTo>
                <a:lnTo>
                  <a:pt x="745" y="798"/>
                </a:lnTo>
                <a:lnTo>
                  <a:pt x="735" y="805"/>
                </a:lnTo>
                <a:lnTo>
                  <a:pt x="739" y="805"/>
                </a:lnTo>
                <a:lnTo>
                  <a:pt x="739" y="805"/>
                </a:lnTo>
                <a:lnTo>
                  <a:pt x="741" y="807"/>
                </a:lnTo>
                <a:lnTo>
                  <a:pt x="740" y="810"/>
                </a:lnTo>
                <a:lnTo>
                  <a:pt x="741" y="814"/>
                </a:lnTo>
                <a:lnTo>
                  <a:pt x="743" y="816"/>
                </a:lnTo>
                <a:lnTo>
                  <a:pt x="743" y="817"/>
                </a:lnTo>
                <a:lnTo>
                  <a:pt x="743" y="820"/>
                </a:lnTo>
                <a:lnTo>
                  <a:pt x="742" y="825"/>
                </a:lnTo>
                <a:lnTo>
                  <a:pt x="740" y="824"/>
                </a:lnTo>
                <a:lnTo>
                  <a:pt x="738" y="822"/>
                </a:lnTo>
                <a:lnTo>
                  <a:pt x="743" y="817"/>
                </a:lnTo>
                <a:lnTo>
                  <a:pt x="737" y="821"/>
                </a:lnTo>
                <a:lnTo>
                  <a:pt x="738" y="816"/>
                </a:lnTo>
                <a:lnTo>
                  <a:pt x="738" y="816"/>
                </a:lnTo>
                <a:lnTo>
                  <a:pt x="738" y="810"/>
                </a:lnTo>
                <a:lnTo>
                  <a:pt x="735" y="811"/>
                </a:lnTo>
                <a:lnTo>
                  <a:pt x="725" y="803"/>
                </a:lnTo>
                <a:lnTo>
                  <a:pt x="725" y="802"/>
                </a:lnTo>
                <a:lnTo>
                  <a:pt x="724" y="802"/>
                </a:lnTo>
                <a:lnTo>
                  <a:pt x="723" y="802"/>
                </a:lnTo>
                <a:lnTo>
                  <a:pt x="723" y="796"/>
                </a:lnTo>
                <a:lnTo>
                  <a:pt x="723" y="796"/>
                </a:lnTo>
                <a:lnTo>
                  <a:pt x="723" y="795"/>
                </a:lnTo>
                <a:lnTo>
                  <a:pt x="722" y="792"/>
                </a:lnTo>
                <a:lnTo>
                  <a:pt x="719" y="792"/>
                </a:lnTo>
                <a:lnTo>
                  <a:pt x="719" y="785"/>
                </a:lnTo>
                <a:lnTo>
                  <a:pt x="727" y="791"/>
                </a:lnTo>
                <a:lnTo>
                  <a:pt x="720" y="785"/>
                </a:lnTo>
                <a:lnTo>
                  <a:pt x="723" y="783"/>
                </a:lnTo>
                <a:lnTo>
                  <a:pt x="722" y="783"/>
                </a:lnTo>
                <a:lnTo>
                  <a:pt x="724" y="782"/>
                </a:lnTo>
                <a:lnTo>
                  <a:pt x="726" y="780"/>
                </a:lnTo>
                <a:lnTo>
                  <a:pt x="731" y="780"/>
                </a:lnTo>
                <a:lnTo>
                  <a:pt x="726" y="777"/>
                </a:lnTo>
                <a:lnTo>
                  <a:pt x="727" y="774"/>
                </a:lnTo>
                <a:lnTo>
                  <a:pt x="723" y="779"/>
                </a:lnTo>
                <a:lnTo>
                  <a:pt x="722" y="782"/>
                </a:lnTo>
                <a:lnTo>
                  <a:pt x="720" y="782"/>
                </a:lnTo>
                <a:lnTo>
                  <a:pt x="719" y="782"/>
                </a:lnTo>
                <a:lnTo>
                  <a:pt x="719" y="782"/>
                </a:lnTo>
                <a:lnTo>
                  <a:pt x="719" y="782"/>
                </a:lnTo>
                <a:lnTo>
                  <a:pt x="719" y="782"/>
                </a:lnTo>
                <a:lnTo>
                  <a:pt x="719" y="782"/>
                </a:lnTo>
                <a:lnTo>
                  <a:pt x="719" y="782"/>
                </a:lnTo>
                <a:lnTo>
                  <a:pt x="721" y="779"/>
                </a:lnTo>
                <a:lnTo>
                  <a:pt x="717" y="782"/>
                </a:lnTo>
                <a:lnTo>
                  <a:pt x="715" y="777"/>
                </a:lnTo>
                <a:lnTo>
                  <a:pt x="718" y="776"/>
                </a:lnTo>
                <a:lnTo>
                  <a:pt x="713" y="776"/>
                </a:lnTo>
                <a:lnTo>
                  <a:pt x="712" y="773"/>
                </a:lnTo>
                <a:lnTo>
                  <a:pt x="711" y="776"/>
                </a:lnTo>
                <a:lnTo>
                  <a:pt x="708" y="776"/>
                </a:lnTo>
                <a:lnTo>
                  <a:pt x="707" y="776"/>
                </a:lnTo>
                <a:lnTo>
                  <a:pt x="707" y="776"/>
                </a:lnTo>
                <a:lnTo>
                  <a:pt x="708" y="776"/>
                </a:lnTo>
                <a:lnTo>
                  <a:pt x="707" y="777"/>
                </a:lnTo>
                <a:lnTo>
                  <a:pt x="707" y="770"/>
                </a:lnTo>
                <a:lnTo>
                  <a:pt x="706" y="772"/>
                </a:lnTo>
                <a:lnTo>
                  <a:pt x="707" y="772"/>
                </a:lnTo>
                <a:lnTo>
                  <a:pt x="707" y="772"/>
                </a:lnTo>
                <a:lnTo>
                  <a:pt x="706" y="772"/>
                </a:lnTo>
                <a:lnTo>
                  <a:pt x="707" y="771"/>
                </a:lnTo>
                <a:lnTo>
                  <a:pt x="707" y="769"/>
                </a:lnTo>
                <a:lnTo>
                  <a:pt x="708" y="770"/>
                </a:lnTo>
                <a:lnTo>
                  <a:pt x="709" y="768"/>
                </a:lnTo>
                <a:lnTo>
                  <a:pt x="707" y="764"/>
                </a:lnTo>
                <a:lnTo>
                  <a:pt x="707" y="767"/>
                </a:lnTo>
                <a:lnTo>
                  <a:pt x="703" y="770"/>
                </a:lnTo>
                <a:lnTo>
                  <a:pt x="704" y="770"/>
                </a:lnTo>
                <a:lnTo>
                  <a:pt x="703" y="770"/>
                </a:lnTo>
                <a:lnTo>
                  <a:pt x="703" y="770"/>
                </a:lnTo>
                <a:lnTo>
                  <a:pt x="703" y="769"/>
                </a:lnTo>
                <a:lnTo>
                  <a:pt x="703" y="769"/>
                </a:lnTo>
                <a:lnTo>
                  <a:pt x="703" y="768"/>
                </a:lnTo>
                <a:lnTo>
                  <a:pt x="703" y="768"/>
                </a:lnTo>
                <a:lnTo>
                  <a:pt x="703" y="767"/>
                </a:lnTo>
                <a:lnTo>
                  <a:pt x="703" y="765"/>
                </a:lnTo>
                <a:lnTo>
                  <a:pt x="703" y="762"/>
                </a:lnTo>
                <a:lnTo>
                  <a:pt x="703" y="759"/>
                </a:lnTo>
                <a:lnTo>
                  <a:pt x="710" y="756"/>
                </a:lnTo>
                <a:lnTo>
                  <a:pt x="711" y="758"/>
                </a:lnTo>
                <a:lnTo>
                  <a:pt x="713" y="755"/>
                </a:lnTo>
                <a:lnTo>
                  <a:pt x="699" y="760"/>
                </a:lnTo>
                <a:lnTo>
                  <a:pt x="702" y="760"/>
                </a:lnTo>
                <a:lnTo>
                  <a:pt x="698" y="766"/>
                </a:lnTo>
                <a:lnTo>
                  <a:pt x="698" y="765"/>
                </a:lnTo>
                <a:lnTo>
                  <a:pt x="696" y="763"/>
                </a:lnTo>
                <a:lnTo>
                  <a:pt x="698" y="760"/>
                </a:lnTo>
                <a:lnTo>
                  <a:pt x="695" y="760"/>
                </a:lnTo>
                <a:lnTo>
                  <a:pt x="692" y="756"/>
                </a:lnTo>
                <a:lnTo>
                  <a:pt x="687" y="756"/>
                </a:lnTo>
                <a:lnTo>
                  <a:pt x="687" y="751"/>
                </a:lnTo>
                <a:lnTo>
                  <a:pt x="691" y="747"/>
                </a:lnTo>
                <a:lnTo>
                  <a:pt x="691" y="751"/>
                </a:lnTo>
                <a:lnTo>
                  <a:pt x="695" y="754"/>
                </a:lnTo>
                <a:lnTo>
                  <a:pt x="695" y="753"/>
                </a:lnTo>
                <a:lnTo>
                  <a:pt x="697" y="752"/>
                </a:lnTo>
                <a:lnTo>
                  <a:pt x="698" y="754"/>
                </a:lnTo>
                <a:lnTo>
                  <a:pt x="699" y="751"/>
                </a:lnTo>
                <a:lnTo>
                  <a:pt x="699" y="751"/>
                </a:lnTo>
                <a:lnTo>
                  <a:pt x="699" y="751"/>
                </a:lnTo>
                <a:lnTo>
                  <a:pt x="699" y="749"/>
                </a:lnTo>
                <a:lnTo>
                  <a:pt x="695" y="746"/>
                </a:lnTo>
                <a:lnTo>
                  <a:pt x="695" y="747"/>
                </a:lnTo>
                <a:lnTo>
                  <a:pt x="691" y="744"/>
                </a:lnTo>
                <a:lnTo>
                  <a:pt x="695" y="739"/>
                </a:lnTo>
                <a:lnTo>
                  <a:pt x="691" y="740"/>
                </a:lnTo>
                <a:lnTo>
                  <a:pt x="687" y="738"/>
                </a:lnTo>
                <a:lnTo>
                  <a:pt x="686" y="736"/>
                </a:lnTo>
                <a:lnTo>
                  <a:pt x="687" y="735"/>
                </a:lnTo>
                <a:lnTo>
                  <a:pt x="687" y="732"/>
                </a:lnTo>
                <a:lnTo>
                  <a:pt x="686" y="735"/>
                </a:lnTo>
                <a:lnTo>
                  <a:pt x="683" y="732"/>
                </a:lnTo>
                <a:lnTo>
                  <a:pt x="680" y="731"/>
                </a:lnTo>
                <a:lnTo>
                  <a:pt x="679" y="732"/>
                </a:lnTo>
                <a:lnTo>
                  <a:pt x="677" y="731"/>
                </a:lnTo>
                <a:lnTo>
                  <a:pt x="678" y="728"/>
                </a:lnTo>
                <a:lnTo>
                  <a:pt x="677" y="724"/>
                </a:lnTo>
                <a:lnTo>
                  <a:pt x="679" y="721"/>
                </a:lnTo>
                <a:lnTo>
                  <a:pt x="683" y="723"/>
                </a:lnTo>
                <a:lnTo>
                  <a:pt x="679" y="721"/>
                </a:lnTo>
                <a:lnTo>
                  <a:pt x="679" y="721"/>
                </a:lnTo>
                <a:lnTo>
                  <a:pt x="679" y="721"/>
                </a:lnTo>
                <a:lnTo>
                  <a:pt x="675" y="719"/>
                </a:lnTo>
                <a:lnTo>
                  <a:pt x="675" y="715"/>
                </a:lnTo>
                <a:lnTo>
                  <a:pt x="675" y="719"/>
                </a:lnTo>
                <a:lnTo>
                  <a:pt x="673" y="713"/>
                </a:lnTo>
                <a:lnTo>
                  <a:pt x="676" y="709"/>
                </a:lnTo>
                <a:lnTo>
                  <a:pt x="672" y="713"/>
                </a:lnTo>
                <a:lnTo>
                  <a:pt x="669" y="713"/>
                </a:lnTo>
                <a:lnTo>
                  <a:pt x="670" y="706"/>
                </a:lnTo>
                <a:lnTo>
                  <a:pt x="673" y="704"/>
                </a:lnTo>
                <a:lnTo>
                  <a:pt x="670" y="704"/>
                </a:lnTo>
                <a:lnTo>
                  <a:pt x="666" y="709"/>
                </a:lnTo>
                <a:lnTo>
                  <a:pt x="665" y="708"/>
                </a:lnTo>
                <a:lnTo>
                  <a:pt x="665" y="708"/>
                </a:lnTo>
                <a:lnTo>
                  <a:pt x="660" y="707"/>
                </a:lnTo>
                <a:lnTo>
                  <a:pt x="661" y="706"/>
                </a:lnTo>
                <a:lnTo>
                  <a:pt x="658" y="704"/>
                </a:lnTo>
                <a:lnTo>
                  <a:pt x="655" y="698"/>
                </a:lnTo>
                <a:lnTo>
                  <a:pt x="655" y="696"/>
                </a:lnTo>
                <a:lnTo>
                  <a:pt x="653" y="697"/>
                </a:lnTo>
                <a:lnTo>
                  <a:pt x="653" y="696"/>
                </a:lnTo>
                <a:lnTo>
                  <a:pt x="650" y="685"/>
                </a:lnTo>
                <a:lnTo>
                  <a:pt x="651" y="690"/>
                </a:lnTo>
                <a:lnTo>
                  <a:pt x="646" y="686"/>
                </a:lnTo>
                <a:lnTo>
                  <a:pt x="651" y="698"/>
                </a:lnTo>
                <a:lnTo>
                  <a:pt x="651" y="704"/>
                </a:lnTo>
                <a:lnTo>
                  <a:pt x="651" y="711"/>
                </a:lnTo>
                <a:lnTo>
                  <a:pt x="650" y="711"/>
                </a:lnTo>
                <a:lnTo>
                  <a:pt x="647" y="706"/>
                </a:lnTo>
                <a:lnTo>
                  <a:pt x="641" y="705"/>
                </a:lnTo>
                <a:lnTo>
                  <a:pt x="643" y="702"/>
                </a:lnTo>
                <a:lnTo>
                  <a:pt x="639" y="697"/>
                </a:lnTo>
                <a:lnTo>
                  <a:pt x="644" y="696"/>
                </a:lnTo>
                <a:lnTo>
                  <a:pt x="639" y="696"/>
                </a:lnTo>
                <a:lnTo>
                  <a:pt x="639" y="696"/>
                </a:lnTo>
                <a:lnTo>
                  <a:pt x="636" y="697"/>
                </a:lnTo>
                <a:lnTo>
                  <a:pt x="631" y="692"/>
                </a:lnTo>
                <a:lnTo>
                  <a:pt x="630" y="693"/>
                </a:lnTo>
                <a:lnTo>
                  <a:pt x="624" y="690"/>
                </a:lnTo>
                <a:lnTo>
                  <a:pt x="626" y="693"/>
                </a:lnTo>
                <a:lnTo>
                  <a:pt x="631" y="696"/>
                </a:lnTo>
                <a:lnTo>
                  <a:pt x="635" y="698"/>
                </a:lnTo>
                <a:lnTo>
                  <a:pt x="639" y="704"/>
                </a:lnTo>
                <a:lnTo>
                  <a:pt x="635" y="707"/>
                </a:lnTo>
                <a:lnTo>
                  <a:pt x="630" y="704"/>
                </a:lnTo>
                <a:lnTo>
                  <a:pt x="630" y="704"/>
                </a:lnTo>
                <a:lnTo>
                  <a:pt x="631" y="705"/>
                </a:lnTo>
                <a:lnTo>
                  <a:pt x="632" y="707"/>
                </a:lnTo>
                <a:lnTo>
                  <a:pt x="631" y="709"/>
                </a:lnTo>
                <a:lnTo>
                  <a:pt x="627" y="705"/>
                </a:lnTo>
                <a:lnTo>
                  <a:pt x="617" y="702"/>
                </a:lnTo>
                <a:lnTo>
                  <a:pt x="619" y="700"/>
                </a:lnTo>
                <a:lnTo>
                  <a:pt x="616" y="700"/>
                </a:lnTo>
                <a:lnTo>
                  <a:pt x="609" y="691"/>
                </a:lnTo>
                <a:lnTo>
                  <a:pt x="602" y="688"/>
                </a:lnTo>
                <a:lnTo>
                  <a:pt x="586" y="681"/>
                </a:lnTo>
                <a:lnTo>
                  <a:pt x="590" y="677"/>
                </a:lnTo>
                <a:lnTo>
                  <a:pt x="590" y="679"/>
                </a:lnTo>
                <a:lnTo>
                  <a:pt x="590" y="677"/>
                </a:lnTo>
                <a:lnTo>
                  <a:pt x="590" y="676"/>
                </a:lnTo>
                <a:lnTo>
                  <a:pt x="598" y="676"/>
                </a:lnTo>
                <a:lnTo>
                  <a:pt x="589" y="670"/>
                </a:lnTo>
                <a:lnTo>
                  <a:pt x="590" y="671"/>
                </a:lnTo>
                <a:lnTo>
                  <a:pt x="590" y="677"/>
                </a:lnTo>
                <a:lnTo>
                  <a:pt x="587" y="671"/>
                </a:lnTo>
                <a:lnTo>
                  <a:pt x="583" y="674"/>
                </a:lnTo>
                <a:lnTo>
                  <a:pt x="577" y="675"/>
                </a:lnTo>
                <a:lnTo>
                  <a:pt x="563" y="671"/>
                </a:lnTo>
                <a:lnTo>
                  <a:pt x="564" y="669"/>
                </a:lnTo>
                <a:lnTo>
                  <a:pt x="563" y="665"/>
                </a:lnTo>
                <a:lnTo>
                  <a:pt x="560" y="667"/>
                </a:lnTo>
                <a:lnTo>
                  <a:pt x="563" y="669"/>
                </a:lnTo>
                <a:lnTo>
                  <a:pt x="558" y="671"/>
                </a:lnTo>
                <a:lnTo>
                  <a:pt x="543" y="668"/>
                </a:lnTo>
                <a:lnTo>
                  <a:pt x="526" y="671"/>
                </a:lnTo>
                <a:lnTo>
                  <a:pt x="520" y="668"/>
                </a:lnTo>
                <a:lnTo>
                  <a:pt x="516" y="668"/>
                </a:lnTo>
                <a:lnTo>
                  <a:pt x="510" y="664"/>
                </a:lnTo>
                <a:lnTo>
                  <a:pt x="513" y="656"/>
                </a:lnTo>
                <a:lnTo>
                  <a:pt x="515" y="652"/>
                </a:lnTo>
                <a:lnTo>
                  <a:pt x="505" y="660"/>
                </a:lnTo>
                <a:lnTo>
                  <a:pt x="498" y="659"/>
                </a:lnTo>
                <a:lnTo>
                  <a:pt x="501" y="656"/>
                </a:lnTo>
                <a:lnTo>
                  <a:pt x="491" y="656"/>
                </a:lnTo>
                <a:lnTo>
                  <a:pt x="496" y="653"/>
                </a:lnTo>
                <a:lnTo>
                  <a:pt x="494" y="652"/>
                </a:lnTo>
                <a:lnTo>
                  <a:pt x="494" y="652"/>
                </a:lnTo>
                <a:lnTo>
                  <a:pt x="494" y="652"/>
                </a:lnTo>
                <a:lnTo>
                  <a:pt x="494" y="651"/>
                </a:lnTo>
                <a:lnTo>
                  <a:pt x="494" y="651"/>
                </a:lnTo>
                <a:lnTo>
                  <a:pt x="494" y="651"/>
                </a:lnTo>
                <a:lnTo>
                  <a:pt x="494" y="651"/>
                </a:lnTo>
                <a:lnTo>
                  <a:pt x="493" y="649"/>
                </a:lnTo>
                <a:lnTo>
                  <a:pt x="487" y="651"/>
                </a:lnTo>
                <a:lnTo>
                  <a:pt x="485" y="648"/>
                </a:lnTo>
                <a:lnTo>
                  <a:pt x="486" y="644"/>
                </a:lnTo>
                <a:lnTo>
                  <a:pt x="481" y="648"/>
                </a:lnTo>
                <a:lnTo>
                  <a:pt x="480" y="648"/>
                </a:lnTo>
                <a:lnTo>
                  <a:pt x="475" y="652"/>
                </a:lnTo>
                <a:lnTo>
                  <a:pt x="470" y="652"/>
                </a:lnTo>
                <a:lnTo>
                  <a:pt x="470" y="648"/>
                </a:lnTo>
                <a:lnTo>
                  <a:pt x="468" y="651"/>
                </a:lnTo>
                <a:lnTo>
                  <a:pt x="465" y="647"/>
                </a:lnTo>
                <a:lnTo>
                  <a:pt x="471" y="641"/>
                </a:lnTo>
                <a:lnTo>
                  <a:pt x="465" y="646"/>
                </a:lnTo>
                <a:lnTo>
                  <a:pt x="463" y="644"/>
                </a:lnTo>
                <a:lnTo>
                  <a:pt x="461" y="647"/>
                </a:lnTo>
                <a:lnTo>
                  <a:pt x="460" y="648"/>
                </a:lnTo>
                <a:lnTo>
                  <a:pt x="463" y="647"/>
                </a:lnTo>
                <a:lnTo>
                  <a:pt x="461" y="652"/>
                </a:lnTo>
                <a:lnTo>
                  <a:pt x="460" y="652"/>
                </a:lnTo>
                <a:lnTo>
                  <a:pt x="456" y="654"/>
                </a:lnTo>
                <a:lnTo>
                  <a:pt x="462" y="652"/>
                </a:lnTo>
                <a:lnTo>
                  <a:pt x="463" y="656"/>
                </a:lnTo>
                <a:lnTo>
                  <a:pt x="456" y="659"/>
                </a:lnTo>
                <a:lnTo>
                  <a:pt x="460" y="658"/>
                </a:lnTo>
                <a:lnTo>
                  <a:pt x="462" y="659"/>
                </a:lnTo>
                <a:lnTo>
                  <a:pt x="465" y="656"/>
                </a:lnTo>
                <a:lnTo>
                  <a:pt x="467" y="659"/>
                </a:lnTo>
                <a:lnTo>
                  <a:pt x="463" y="663"/>
                </a:lnTo>
                <a:lnTo>
                  <a:pt x="467" y="660"/>
                </a:lnTo>
                <a:lnTo>
                  <a:pt x="465" y="664"/>
                </a:lnTo>
                <a:lnTo>
                  <a:pt x="465" y="664"/>
                </a:lnTo>
                <a:lnTo>
                  <a:pt x="462" y="667"/>
                </a:lnTo>
                <a:lnTo>
                  <a:pt x="462" y="665"/>
                </a:lnTo>
                <a:lnTo>
                  <a:pt x="461" y="672"/>
                </a:lnTo>
                <a:lnTo>
                  <a:pt x="450" y="672"/>
                </a:lnTo>
                <a:lnTo>
                  <a:pt x="450" y="667"/>
                </a:lnTo>
                <a:lnTo>
                  <a:pt x="446" y="671"/>
                </a:lnTo>
                <a:lnTo>
                  <a:pt x="446" y="669"/>
                </a:lnTo>
                <a:lnTo>
                  <a:pt x="444" y="667"/>
                </a:lnTo>
                <a:lnTo>
                  <a:pt x="442" y="672"/>
                </a:lnTo>
                <a:lnTo>
                  <a:pt x="438" y="670"/>
                </a:lnTo>
                <a:lnTo>
                  <a:pt x="438" y="677"/>
                </a:lnTo>
                <a:lnTo>
                  <a:pt x="437" y="675"/>
                </a:lnTo>
                <a:lnTo>
                  <a:pt x="437" y="677"/>
                </a:lnTo>
                <a:lnTo>
                  <a:pt x="432" y="681"/>
                </a:lnTo>
                <a:lnTo>
                  <a:pt x="433" y="675"/>
                </a:lnTo>
                <a:lnTo>
                  <a:pt x="429" y="681"/>
                </a:lnTo>
                <a:lnTo>
                  <a:pt x="426" y="679"/>
                </a:lnTo>
                <a:lnTo>
                  <a:pt x="426" y="681"/>
                </a:lnTo>
                <a:lnTo>
                  <a:pt x="426" y="682"/>
                </a:lnTo>
                <a:lnTo>
                  <a:pt x="423" y="688"/>
                </a:lnTo>
                <a:lnTo>
                  <a:pt x="418" y="688"/>
                </a:lnTo>
                <a:lnTo>
                  <a:pt x="418" y="686"/>
                </a:lnTo>
                <a:lnTo>
                  <a:pt x="415" y="685"/>
                </a:lnTo>
                <a:lnTo>
                  <a:pt x="413" y="688"/>
                </a:lnTo>
                <a:lnTo>
                  <a:pt x="408" y="685"/>
                </a:lnTo>
                <a:lnTo>
                  <a:pt x="409" y="682"/>
                </a:lnTo>
                <a:lnTo>
                  <a:pt x="416" y="681"/>
                </a:lnTo>
                <a:lnTo>
                  <a:pt x="422" y="674"/>
                </a:lnTo>
                <a:lnTo>
                  <a:pt x="416" y="677"/>
                </a:lnTo>
                <a:lnTo>
                  <a:pt x="409" y="675"/>
                </a:lnTo>
                <a:lnTo>
                  <a:pt x="413" y="669"/>
                </a:lnTo>
                <a:lnTo>
                  <a:pt x="419" y="660"/>
                </a:lnTo>
                <a:lnTo>
                  <a:pt x="420" y="658"/>
                </a:lnTo>
                <a:lnTo>
                  <a:pt x="419" y="652"/>
                </a:lnTo>
                <a:lnTo>
                  <a:pt x="432" y="647"/>
                </a:lnTo>
                <a:lnTo>
                  <a:pt x="434" y="648"/>
                </a:lnTo>
                <a:lnTo>
                  <a:pt x="441" y="648"/>
                </a:lnTo>
                <a:lnTo>
                  <a:pt x="452" y="652"/>
                </a:lnTo>
                <a:lnTo>
                  <a:pt x="449" y="648"/>
                </a:lnTo>
                <a:lnTo>
                  <a:pt x="442" y="648"/>
                </a:lnTo>
                <a:lnTo>
                  <a:pt x="437" y="643"/>
                </a:lnTo>
                <a:lnTo>
                  <a:pt x="437" y="644"/>
                </a:lnTo>
                <a:lnTo>
                  <a:pt x="429" y="644"/>
                </a:lnTo>
                <a:lnTo>
                  <a:pt x="422" y="645"/>
                </a:lnTo>
                <a:lnTo>
                  <a:pt x="421" y="647"/>
                </a:lnTo>
                <a:lnTo>
                  <a:pt x="415" y="648"/>
                </a:lnTo>
                <a:lnTo>
                  <a:pt x="412" y="653"/>
                </a:lnTo>
                <a:lnTo>
                  <a:pt x="413" y="656"/>
                </a:lnTo>
                <a:lnTo>
                  <a:pt x="409" y="656"/>
                </a:lnTo>
                <a:lnTo>
                  <a:pt x="404" y="660"/>
                </a:lnTo>
                <a:lnTo>
                  <a:pt x="402" y="663"/>
                </a:lnTo>
                <a:lnTo>
                  <a:pt x="399" y="664"/>
                </a:lnTo>
                <a:lnTo>
                  <a:pt x="396" y="663"/>
                </a:lnTo>
                <a:lnTo>
                  <a:pt x="401" y="668"/>
                </a:lnTo>
                <a:lnTo>
                  <a:pt x="399" y="671"/>
                </a:lnTo>
                <a:lnTo>
                  <a:pt x="390" y="676"/>
                </a:lnTo>
                <a:lnTo>
                  <a:pt x="390" y="676"/>
                </a:lnTo>
                <a:lnTo>
                  <a:pt x="390" y="675"/>
                </a:lnTo>
                <a:lnTo>
                  <a:pt x="389" y="680"/>
                </a:lnTo>
                <a:lnTo>
                  <a:pt x="387" y="680"/>
                </a:lnTo>
                <a:lnTo>
                  <a:pt x="389" y="677"/>
                </a:lnTo>
                <a:lnTo>
                  <a:pt x="387" y="674"/>
                </a:lnTo>
                <a:lnTo>
                  <a:pt x="386" y="679"/>
                </a:lnTo>
                <a:lnTo>
                  <a:pt x="381" y="681"/>
                </a:lnTo>
                <a:lnTo>
                  <a:pt x="381" y="682"/>
                </a:lnTo>
                <a:lnTo>
                  <a:pt x="377" y="684"/>
                </a:lnTo>
                <a:lnTo>
                  <a:pt x="379" y="684"/>
                </a:lnTo>
                <a:lnTo>
                  <a:pt x="373" y="688"/>
                </a:lnTo>
                <a:lnTo>
                  <a:pt x="373" y="692"/>
                </a:lnTo>
                <a:lnTo>
                  <a:pt x="385" y="692"/>
                </a:lnTo>
                <a:lnTo>
                  <a:pt x="390" y="697"/>
                </a:lnTo>
                <a:lnTo>
                  <a:pt x="386" y="701"/>
                </a:lnTo>
                <a:lnTo>
                  <a:pt x="377" y="704"/>
                </a:lnTo>
                <a:lnTo>
                  <a:pt x="379" y="705"/>
                </a:lnTo>
                <a:lnTo>
                  <a:pt x="374" y="708"/>
                </a:lnTo>
                <a:lnTo>
                  <a:pt x="377" y="708"/>
                </a:lnTo>
                <a:lnTo>
                  <a:pt x="375" y="712"/>
                </a:lnTo>
                <a:lnTo>
                  <a:pt x="373" y="712"/>
                </a:lnTo>
                <a:lnTo>
                  <a:pt x="370" y="716"/>
                </a:lnTo>
                <a:lnTo>
                  <a:pt x="363" y="716"/>
                </a:lnTo>
                <a:lnTo>
                  <a:pt x="362" y="717"/>
                </a:lnTo>
                <a:lnTo>
                  <a:pt x="360" y="720"/>
                </a:lnTo>
                <a:lnTo>
                  <a:pt x="355" y="720"/>
                </a:lnTo>
                <a:lnTo>
                  <a:pt x="353" y="724"/>
                </a:lnTo>
                <a:lnTo>
                  <a:pt x="345" y="724"/>
                </a:lnTo>
                <a:lnTo>
                  <a:pt x="345" y="728"/>
                </a:lnTo>
                <a:lnTo>
                  <a:pt x="347" y="728"/>
                </a:lnTo>
                <a:lnTo>
                  <a:pt x="342" y="732"/>
                </a:lnTo>
                <a:lnTo>
                  <a:pt x="344" y="732"/>
                </a:lnTo>
                <a:lnTo>
                  <a:pt x="342" y="736"/>
                </a:lnTo>
                <a:lnTo>
                  <a:pt x="336" y="736"/>
                </a:lnTo>
                <a:lnTo>
                  <a:pt x="333" y="740"/>
                </a:lnTo>
                <a:lnTo>
                  <a:pt x="329" y="738"/>
                </a:lnTo>
                <a:lnTo>
                  <a:pt x="326" y="742"/>
                </a:lnTo>
                <a:lnTo>
                  <a:pt x="327" y="743"/>
                </a:lnTo>
                <a:lnTo>
                  <a:pt x="324" y="742"/>
                </a:lnTo>
                <a:lnTo>
                  <a:pt x="320" y="744"/>
                </a:lnTo>
                <a:lnTo>
                  <a:pt x="319" y="744"/>
                </a:lnTo>
                <a:lnTo>
                  <a:pt x="318" y="744"/>
                </a:lnTo>
                <a:lnTo>
                  <a:pt x="319" y="744"/>
                </a:lnTo>
                <a:lnTo>
                  <a:pt x="319" y="744"/>
                </a:lnTo>
                <a:lnTo>
                  <a:pt x="318" y="744"/>
                </a:lnTo>
                <a:lnTo>
                  <a:pt x="318" y="744"/>
                </a:lnTo>
                <a:lnTo>
                  <a:pt x="318" y="744"/>
                </a:lnTo>
                <a:lnTo>
                  <a:pt x="315" y="747"/>
                </a:lnTo>
                <a:lnTo>
                  <a:pt x="311" y="752"/>
                </a:lnTo>
                <a:lnTo>
                  <a:pt x="314" y="752"/>
                </a:lnTo>
                <a:lnTo>
                  <a:pt x="315" y="752"/>
                </a:lnTo>
                <a:lnTo>
                  <a:pt x="318" y="752"/>
                </a:lnTo>
                <a:lnTo>
                  <a:pt x="318" y="752"/>
                </a:lnTo>
                <a:lnTo>
                  <a:pt x="316" y="753"/>
                </a:lnTo>
                <a:lnTo>
                  <a:pt x="316" y="753"/>
                </a:lnTo>
                <a:lnTo>
                  <a:pt x="315" y="753"/>
                </a:lnTo>
                <a:lnTo>
                  <a:pt x="314" y="757"/>
                </a:lnTo>
                <a:lnTo>
                  <a:pt x="312" y="756"/>
                </a:lnTo>
                <a:lnTo>
                  <a:pt x="309" y="756"/>
                </a:lnTo>
                <a:lnTo>
                  <a:pt x="309" y="758"/>
                </a:lnTo>
                <a:lnTo>
                  <a:pt x="307" y="756"/>
                </a:lnTo>
                <a:lnTo>
                  <a:pt x="307" y="758"/>
                </a:lnTo>
                <a:lnTo>
                  <a:pt x="301" y="759"/>
                </a:lnTo>
                <a:lnTo>
                  <a:pt x="296" y="765"/>
                </a:lnTo>
                <a:lnTo>
                  <a:pt x="297" y="760"/>
                </a:lnTo>
                <a:lnTo>
                  <a:pt x="294" y="760"/>
                </a:lnTo>
                <a:lnTo>
                  <a:pt x="289" y="763"/>
                </a:lnTo>
                <a:lnTo>
                  <a:pt x="286" y="765"/>
                </a:lnTo>
                <a:lnTo>
                  <a:pt x="284" y="769"/>
                </a:lnTo>
                <a:lnTo>
                  <a:pt x="283" y="768"/>
                </a:lnTo>
                <a:lnTo>
                  <a:pt x="281" y="768"/>
                </a:lnTo>
                <a:lnTo>
                  <a:pt x="281" y="767"/>
                </a:lnTo>
                <a:lnTo>
                  <a:pt x="277" y="767"/>
                </a:lnTo>
                <a:lnTo>
                  <a:pt x="274" y="772"/>
                </a:lnTo>
                <a:lnTo>
                  <a:pt x="269" y="772"/>
                </a:lnTo>
                <a:lnTo>
                  <a:pt x="269" y="767"/>
                </a:lnTo>
                <a:lnTo>
                  <a:pt x="270" y="765"/>
                </a:lnTo>
                <a:lnTo>
                  <a:pt x="269" y="764"/>
                </a:lnTo>
                <a:lnTo>
                  <a:pt x="265" y="770"/>
                </a:lnTo>
                <a:lnTo>
                  <a:pt x="262" y="773"/>
                </a:lnTo>
                <a:lnTo>
                  <a:pt x="262" y="774"/>
                </a:lnTo>
                <a:lnTo>
                  <a:pt x="257" y="776"/>
                </a:lnTo>
                <a:lnTo>
                  <a:pt x="257" y="776"/>
                </a:lnTo>
                <a:lnTo>
                  <a:pt x="256" y="776"/>
                </a:lnTo>
                <a:lnTo>
                  <a:pt x="255" y="772"/>
                </a:lnTo>
                <a:lnTo>
                  <a:pt x="255" y="772"/>
                </a:lnTo>
                <a:lnTo>
                  <a:pt x="256" y="772"/>
                </a:lnTo>
                <a:lnTo>
                  <a:pt x="255" y="769"/>
                </a:lnTo>
                <a:lnTo>
                  <a:pt x="259" y="764"/>
                </a:lnTo>
                <a:lnTo>
                  <a:pt x="265" y="760"/>
                </a:lnTo>
                <a:lnTo>
                  <a:pt x="277" y="760"/>
                </a:lnTo>
                <a:lnTo>
                  <a:pt x="281" y="764"/>
                </a:lnTo>
                <a:lnTo>
                  <a:pt x="279" y="759"/>
                </a:lnTo>
                <a:lnTo>
                  <a:pt x="285" y="762"/>
                </a:lnTo>
                <a:lnTo>
                  <a:pt x="285" y="759"/>
                </a:lnTo>
                <a:lnTo>
                  <a:pt x="281" y="756"/>
                </a:lnTo>
                <a:lnTo>
                  <a:pt x="286" y="749"/>
                </a:lnTo>
                <a:lnTo>
                  <a:pt x="304" y="740"/>
                </a:lnTo>
                <a:lnTo>
                  <a:pt x="309" y="740"/>
                </a:lnTo>
                <a:lnTo>
                  <a:pt x="309" y="732"/>
                </a:lnTo>
                <a:lnTo>
                  <a:pt x="321" y="725"/>
                </a:lnTo>
                <a:lnTo>
                  <a:pt x="324" y="725"/>
                </a:lnTo>
                <a:lnTo>
                  <a:pt x="326" y="728"/>
                </a:lnTo>
                <a:lnTo>
                  <a:pt x="327" y="728"/>
                </a:lnTo>
                <a:lnTo>
                  <a:pt x="329" y="728"/>
                </a:lnTo>
                <a:lnTo>
                  <a:pt x="329" y="723"/>
                </a:lnTo>
                <a:lnTo>
                  <a:pt x="327" y="724"/>
                </a:lnTo>
                <a:lnTo>
                  <a:pt x="324" y="721"/>
                </a:lnTo>
                <a:lnTo>
                  <a:pt x="326" y="712"/>
                </a:lnTo>
                <a:lnTo>
                  <a:pt x="328" y="709"/>
                </a:lnTo>
                <a:lnTo>
                  <a:pt x="325" y="708"/>
                </a:lnTo>
                <a:lnTo>
                  <a:pt x="325" y="704"/>
                </a:lnTo>
                <a:lnTo>
                  <a:pt x="333" y="697"/>
                </a:lnTo>
                <a:lnTo>
                  <a:pt x="338" y="689"/>
                </a:lnTo>
                <a:lnTo>
                  <a:pt x="334" y="694"/>
                </a:lnTo>
                <a:lnTo>
                  <a:pt x="318" y="702"/>
                </a:lnTo>
                <a:lnTo>
                  <a:pt x="311" y="698"/>
                </a:lnTo>
                <a:lnTo>
                  <a:pt x="314" y="696"/>
                </a:lnTo>
                <a:lnTo>
                  <a:pt x="318" y="696"/>
                </a:lnTo>
                <a:lnTo>
                  <a:pt x="322" y="696"/>
                </a:lnTo>
                <a:lnTo>
                  <a:pt x="313" y="686"/>
                </a:lnTo>
                <a:lnTo>
                  <a:pt x="313" y="690"/>
                </a:lnTo>
                <a:lnTo>
                  <a:pt x="311" y="696"/>
                </a:lnTo>
                <a:lnTo>
                  <a:pt x="311" y="696"/>
                </a:lnTo>
                <a:lnTo>
                  <a:pt x="308" y="696"/>
                </a:lnTo>
                <a:lnTo>
                  <a:pt x="310" y="700"/>
                </a:lnTo>
                <a:lnTo>
                  <a:pt x="309" y="700"/>
                </a:lnTo>
                <a:lnTo>
                  <a:pt x="310" y="702"/>
                </a:lnTo>
                <a:lnTo>
                  <a:pt x="307" y="704"/>
                </a:lnTo>
                <a:lnTo>
                  <a:pt x="304" y="704"/>
                </a:lnTo>
                <a:lnTo>
                  <a:pt x="297" y="692"/>
                </a:lnTo>
                <a:lnTo>
                  <a:pt x="292" y="697"/>
                </a:lnTo>
                <a:lnTo>
                  <a:pt x="288" y="692"/>
                </a:lnTo>
                <a:lnTo>
                  <a:pt x="286" y="691"/>
                </a:lnTo>
                <a:lnTo>
                  <a:pt x="276" y="698"/>
                </a:lnTo>
                <a:lnTo>
                  <a:pt x="275" y="698"/>
                </a:lnTo>
                <a:lnTo>
                  <a:pt x="275" y="698"/>
                </a:lnTo>
                <a:lnTo>
                  <a:pt x="269" y="702"/>
                </a:lnTo>
                <a:lnTo>
                  <a:pt x="261" y="700"/>
                </a:lnTo>
                <a:lnTo>
                  <a:pt x="264" y="700"/>
                </a:lnTo>
                <a:lnTo>
                  <a:pt x="267" y="698"/>
                </a:lnTo>
                <a:lnTo>
                  <a:pt x="265" y="693"/>
                </a:lnTo>
                <a:lnTo>
                  <a:pt x="265" y="690"/>
                </a:lnTo>
                <a:lnTo>
                  <a:pt x="269" y="688"/>
                </a:lnTo>
                <a:lnTo>
                  <a:pt x="264" y="690"/>
                </a:lnTo>
                <a:lnTo>
                  <a:pt x="263" y="688"/>
                </a:lnTo>
                <a:lnTo>
                  <a:pt x="263" y="684"/>
                </a:lnTo>
                <a:lnTo>
                  <a:pt x="267" y="681"/>
                </a:lnTo>
                <a:lnTo>
                  <a:pt x="259" y="667"/>
                </a:lnTo>
                <a:lnTo>
                  <a:pt x="260" y="664"/>
                </a:lnTo>
                <a:lnTo>
                  <a:pt x="257" y="665"/>
                </a:lnTo>
                <a:lnTo>
                  <a:pt x="257" y="663"/>
                </a:lnTo>
                <a:lnTo>
                  <a:pt x="258" y="656"/>
                </a:lnTo>
                <a:lnTo>
                  <a:pt x="254" y="663"/>
                </a:lnTo>
                <a:lnTo>
                  <a:pt x="253" y="665"/>
                </a:lnTo>
                <a:lnTo>
                  <a:pt x="253" y="669"/>
                </a:lnTo>
                <a:lnTo>
                  <a:pt x="244" y="676"/>
                </a:lnTo>
                <a:lnTo>
                  <a:pt x="232" y="676"/>
                </a:lnTo>
                <a:lnTo>
                  <a:pt x="230" y="671"/>
                </a:lnTo>
                <a:lnTo>
                  <a:pt x="232" y="669"/>
                </a:lnTo>
                <a:lnTo>
                  <a:pt x="226" y="668"/>
                </a:lnTo>
                <a:lnTo>
                  <a:pt x="225" y="663"/>
                </a:lnTo>
                <a:lnTo>
                  <a:pt x="218" y="660"/>
                </a:lnTo>
                <a:lnTo>
                  <a:pt x="213" y="660"/>
                </a:lnTo>
                <a:lnTo>
                  <a:pt x="221" y="652"/>
                </a:lnTo>
                <a:lnTo>
                  <a:pt x="217" y="652"/>
                </a:lnTo>
                <a:lnTo>
                  <a:pt x="217" y="648"/>
                </a:lnTo>
                <a:lnTo>
                  <a:pt x="217" y="648"/>
                </a:lnTo>
                <a:lnTo>
                  <a:pt x="216" y="648"/>
                </a:lnTo>
                <a:lnTo>
                  <a:pt x="223" y="644"/>
                </a:lnTo>
                <a:lnTo>
                  <a:pt x="217" y="644"/>
                </a:lnTo>
                <a:lnTo>
                  <a:pt x="217" y="641"/>
                </a:lnTo>
                <a:lnTo>
                  <a:pt x="216" y="644"/>
                </a:lnTo>
                <a:lnTo>
                  <a:pt x="215" y="644"/>
                </a:lnTo>
                <a:lnTo>
                  <a:pt x="217" y="639"/>
                </a:lnTo>
                <a:lnTo>
                  <a:pt x="215" y="640"/>
                </a:lnTo>
                <a:lnTo>
                  <a:pt x="213" y="644"/>
                </a:lnTo>
                <a:lnTo>
                  <a:pt x="215" y="644"/>
                </a:lnTo>
                <a:lnTo>
                  <a:pt x="212" y="647"/>
                </a:lnTo>
                <a:lnTo>
                  <a:pt x="209" y="644"/>
                </a:lnTo>
                <a:lnTo>
                  <a:pt x="209" y="641"/>
                </a:lnTo>
                <a:lnTo>
                  <a:pt x="205" y="640"/>
                </a:lnTo>
                <a:lnTo>
                  <a:pt x="205" y="637"/>
                </a:lnTo>
                <a:lnTo>
                  <a:pt x="205" y="636"/>
                </a:lnTo>
                <a:lnTo>
                  <a:pt x="205" y="635"/>
                </a:lnTo>
                <a:lnTo>
                  <a:pt x="201" y="636"/>
                </a:lnTo>
                <a:lnTo>
                  <a:pt x="201" y="632"/>
                </a:lnTo>
                <a:lnTo>
                  <a:pt x="201" y="631"/>
                </a:lnTo>
                <a:lnTo>
                  <a:pt x="203" y="633"/>
                </a:lnTo>
                <a:lnTo>
                  <a:pt x="208" y="633"/>
                </a:lnTo>
                <a:lnTo>
                  <a:pt x="204" y="632"/>
                </a:lnTo>
                <a:lnTo>
                  <a:pt x="210" y="632"/>
                </a:lnTo>
                <a:lnTo>
                  <a:pt x="208" y="626"/>
                </a:lnTo>
                <a:lnTo>
                  <a:pt x="210" y="621"/>
                </a:lnTo>
                <a:lnTo>
                  <a:pt x="216" y="613"/>
                </a:lnTo>
                <a:lnTo>
                  <a:pt x="219" y="612"/>
                </a:lnTo>
                <a:lnTo>
                  <a:pt x="225" y="614"/>
                </a:lnTo>
                <a:lnTo>
                  <a:pt x="222" y="612"/>
                </a:lnTo>
                <a:lnTo>
                  <a:pt x="226" y="607"/>
                </a:lnTo>
                <a:lnTo>
                  <a:pt x="223" y="609"/>
                </a:lnTo>
                <a:lnTo>
                  <a:pt x="222" y="606"/>
                </a:lnTo>
                <a:lnTo>
                  <a:pt x="225" y="604"/>
                </a:lnTo>
                <a:lnTo>
                  <a:pt x="229" y="604"/>
                </a:lnTo>
                <a:lnTo>
                  <a:pt x="225" y="599"/>
                </a:lnTo>
                <a:lnTo>
                  <a:pt x="226" y="595"/>
                </a:lnTo>
                <a:lnTo>
                  <a:pt x="234" y="595"/>
                </a:lnTo>
                <a:lnTo>
                  <a:pt x="244" y="604"/>
                </a:lnTo>
                <a:lnTo>
                  <a:pt x="247" y="604"/>
                </a:lnTo>
                <a:lnTo>
                  <a:pt x="255" y="597"/>
                </a:lnTo>
                <a:lnTo>
                  <a:pt x="258" y="591"/>
                </a:lnTo>
                <a:lnTo>
                  <a:pt x="263" y="591"/>
                </a:lnTo>
                <a:lnTo>
                  <a:pt x="260" y="591"/>
                </a:lnTo>
                <a:lnTo>
                  <a:pt x="273" y="588"/>
                </a:lnTo>
                <a:lnTo>
                  <a:pt x="277" y="582"/>
                </a:lnTo>
                <a:lnTo>
                  <a:pt x="277" y="579"/>
                </a:lnTo>
                <a:lnTo>
                  <a:pt x="276" y="571"/>
                </a:lnTo>
                <a:lnTo>
                  <a:pt x="275" y="567"/>
                </a:lnTo>
                <a:lnTo>
                  <a:pt x="270" y="567"/>
                </a:lnTo>
                <a:lnTo>
                  <a:pt x="270" y="563"/>
                </a:lnTo>
                <a:lnTo>
                  <a:pt x="275" y="565"/>
                </a:lnTo>
                <a:lnTo>
                  <a:pt x="277" y="562"/>
                </a:lnTo>
                <a:lnTo>
                  <a:pt x="277" y="559"/>
                </a:lnTo>
                <a:lnTo>
                  <a:pt x="274" y="556"/>
                </a:lnTo>
                <a:lnTo>
                  <a:pt x="270" y="559"/>
                </a:lnTo>
                <a:lnTo>
                  <a:pt x="260" y="559"/>
                </a:lnTo>
                <a:lnTo>
                  <a:pt x="253" y="565"/>
                </a:lnTo>
                <a:lnTo>
                  <a:pt x="253" y="566"/>
                </a:lnTo>
                <a:lnTo>
                  <a:pt x="250" y="567"/>
                </a:lnTo>
                <a:lnTo>
                  <a:pt x="249" y="565"/>
                </a:lnTo>
                <a:lnTo>
                  <a:pt x="247" y="559"/>
                </a:lnTo>
                <a:lnTo>
                  <a:pt x="244" y="563"/>
                </a:lnTo>
                <a:lnTo>
                  <a:pt x="248" y="565"/>
                </a:lnTo>
                <a:lnTo>
                  <a:pt x="247" y="566"/>
                </a:lnTo>
                <a:lnTo>
                  <a:pt x="241" y="563"/>
                </a:lnTo>
                <a:lnTo>
                  <a:pt x="237" y="562"/>
                </a:lnTo>
                <a:lnTo>
                  <a:pt x="221" y="563"/>
                </a:lnTo>
                <a:lnTo>
                  <a:pt x="221" y="567"/>
                </a:lnTo>
                <a:lnTo>
                  <a:pt x="223" y="567"/>
                </a:lnTo>
                <a:lnTo>
                  <a:pt x="219" y="568"/>
                </a:lnTo>
                <a:lnTo>
                  <a:pt x="204" y="563"/>
                </a:lnTo>
                <a:lnTo>
                  <a:pt x="199" y="559"/>
                </a:lnTo>
                <a:lnTo>
                  <a:pt x="197" y="558"/>
                </a:lnTo>
                <a:lnTo>
                  <a:pt x="199" y="554"/>
                </a:lnTo>
                <a:lnTo>
                  <a:pt x="191" y="547"/>
                </a:lnTo>
                <a:lnTo>
                  <a:pt x="196" y="550"/>
                </a:lnTo>
                <a:lnTo>
                  <a:pt x="198" y="545"/>
                </a:lnTo>
                <a:lnTo>
                  <a:pt x="184" y="542"/>
                </a:lnTo>
                <a:lnTo>
                  <a:pt x="173" y="536"/>
                </a:lnTo>
                <a:lnTo>
                  <a:pt x="177" y="533"/>
                </a:lnTo>
                <a:lnTo>
                  <a:pt x="174" y="536"/>
                </a:lnTo>
                <a:lnTo>
                  <a:pt x="181" y="535"/>
                </a:lnTo>
                <a:lnTo>
                  <a:pt x="181" y="533"/>
                </a:lnTo>
                <a:lnTo>
                  <a:pt x="181" y="531"/>
                </a:lnTo>
                <a:lnTo>
                  <a:pt x="189" y="531"/>
                </a:lnTo>
                <a:lnTo>
                  <a:pt x="192" y="531"/>
                </a:lnTo>
                <a:lnTo>
                  <a:pt x="191" y="529"/>
                </a:lnTo>
                <a:lnTo>
                  <a:pt x="200" y="524"/>
                </a:lnTo>
                <a:lnTo>
                  <a:pt x="208" y="525"/>
                </a:lnTo>
                <a:lnTo>
                  <a:pt x="211" y="524"/>
                </a:lnTo>
                <a:lnTo>
                  <a:pt x="206" y="522"/>
                </a:lnTo>
                <a:lnTo>
                  <a:pt x="210" y="520"/>
                </a:lnTo>
                <a:lnTo>
                  <a:pt x="229" y="515"/>
                </a:lnTo>
                <a:lnTo>
                  <a:pt x="236" y="515"/>
                </a:lnTo>
                <a:lnTo>
                  <a:pt x="235" y="517"/>
                </a:lnTo>
                <a:lnTo>
                  <a:pt x="233" y="519"/>
                </a:lnTo>
                <a:lnTo>
                  <a:pt x="233" y="520"/>
                </a:lnTo>
                <a:lnTo>
                  <a:pt x="229" y="525"/>
                </a:lnTo>
                <a:lnTo>
                  <a:pt x="238" y="531"/>
                </a:lnTo>
                <a:lnTo>
                  <a:pt x="263" y="531"/>
                </a:lnTo>
                <a:lnTo>
                  <a:pt x="265" y="531"/>
                </a:lnTo>
                <a:lnTo>
                  <a:pt x="270" y="523"/>
                </a:lnTo>
                <a:lnTo>
                  <a:pt x="277" y="523"/>
                </a:lnTo>
                <a:lnTo>
                  <a:pt x="274" y="520"/>
                </a:lnTo>
                <a:lnTo>
                  <a:pt x="269" y="517"/>
                </a:lnTo>
                <a:lnTo>
                  <a:pt x="261" y="519"/>
                </a:lnTo>
                <a:lnTo>
                  <a:pt x="261" y="513"/>
                </a:lnTo>
                <a:lnTo>
                  <a:pt x="258" y="509"/>
                </a:lnTo>
                <a:lnTo>
                  <a:pt x="256" y="508"/>
                </a:lnTo>
                <a:lnTo>
                  <a:pt x="252" y="506"/>
                </a:lnTo>
                <a:lnTo>
                  <a:pt x="258" y="504"/>
                </a:lnTo>
                <a:lnTo>
                  <a:pt x="261" y="507"/>
                </a:lnTo>
                <a:lnTo>
                  <a:pt x="263" y="512"/>
                </a:lnTo>
                <a:lnTo>
                  <a:pt x="269" y="517"/>
                </a:lnTo>
                <a:lnTo>
                  <a:pt x="272" y="515"/>
                </a:lnTo>
                <a:lnTo>
                  <a:pt x="270" y="515"/>
                </a:lnTo>
                <a:lnTo>
                  <a:pt x="264" y="512"/>
                </a:lnTo>
                <a:lnTo>
                  <a:pt x="267" y="507"/>
                </a:lnTo>
                <a:lnTo>
                  <a:pt x="270" y="507"/>
                </a:lnTo>
                <a:lnTo>
                  <a:pt x="264" y="503"/>
                </a:lnTo>
                <a:lnTo>
                  <a:pt x="256" y="503"/>
                </a:lnTo>
                <a:lnTo>
                  <a:pt x="257" y="499"/>
                </a:lnTo>
                <a:lnTo>
                  <a:pt x="253" y="502"/>
                </a:lnTo>
                <a:lnTo>
                  <a:pt x="233" y="501"/>
                </a:lnTo>
                <a:lnTo>
                  <a:pt x="233" y="494"/>
                </a:lnTo>
                <a:lnTo>
                  <a:pt x="230" y="487"/>
                </a:lnTo>
                <a:lnTo>
                  <a:pt x="213" y="475"/>
                </a:lnTo>
                <a:lnTo>
                  <a:pt x="192" y="468"/>
                </a:lnTo>
                <a:lnTo>
                  <a:pt x="199" y="467"/>
                </a:lnTo>
                <a:lnTo>
                  <a:pt x="201" y="463"/>
                </a:lnTo>
                <a:lnTo>
                  <a:pt x="201" y="455"/>
                </a:lnTo>
                <a:lnTo>
                  <a:pt x="228" y="452"/>
                </a:lnTo>
                <a:lnTo>
                  <a:pt x="236" y="448"/>
                </a:lnTo>
                <a:lnTo>
                  <a:pt x="241" y="440"/>
                </a:lnTo>
                <a:lnTo>
                  <a:pt x="241" y="443"/>
                </a:lnTo>
                <a:lnTo>
                  <a:pt x="246" y="441"/>
                </a:lnTo>
                <a:lnTo>
                  <a:pt x="249" y="433"/>
                </a:lnTo>
                <a:lnTo>
                  <a:pt x="248" y="431"/>
                </a:lnTo>
                <a:lnTo>
                  <a:pt x="263" y="417"/>
                </a:lnTo>
                <a:lnTo>
                  <a:pt x="265" y="418"/>
                </a:lnTo>
                <a:lnTo>
                  <a:pt x="260" y="421"/>
                </a:lnTo>
                <a:lnTo>
                  <a:pt x="273" y="418"/>
                </a:lnTo>
                <a:lnTo>
                  <a:pt x="289" y="409"/>
                </a:lnTo>
                <a:lnTo>
                  <a:pt x="289" y="415"/>
                </a:lnTo>
                <a:lnTo>
                  <a:pt x="291" y="415"/>
                </a:lnTo>
                <a:lnTo>
                  <a:pt x="293" y="417"/>
                </a:lnTo>
                <a:lnTo>
                  <a:pt x="294" y="413"/>
                </a:lnTo>
                <a:lnTo>
                  <a:pt x="296" y="413"/>
                </a:lnTo>
                <a:lnTo>
                  <a:pt x="292" y="411"/>
                </a:lnTo>
                <a:lnTo>
                  <a:pt x="289" y="411"/>
                </a:lnTo>
                <a:lnTo>
                  <a:pt x="301" y="405"/>
                </a:lnTo>
                <a:lnTo>
                  <a:pt x="303" y="406"/>
                </a:lnTo>
                <a:lnTo>
                  <a:pt x="307" y="404"/>
                </a:lnTo>
                <a:lnTo>
                  <a:pt x="323" y="402"/>
                </a:lnTo>
                <a:lnTo>
                  <a:pt x="341" y="390"/>
                </a:lnTo>
                <a:lnTo>
                  <a:pt x="343" y="391"/>
                </a:lnTo>
                <a:lnTo>
                  <a:pt x="355" y="395"/>
                </a:lnTo>
                <a:lnTo>
                  <a:pt x="356" y="396"/>
                </a:lnTo>
                <a:lnTo>
                  <a:pt x="353" y="399"/>
                </a:lnTo>
                <a:lnTo>
                  <a:pt x="347" y="403"/>
                </a:lnTo>
                <a:lnTo>
                  <a:pt x="349" y="403"/>
                </a:lnTo>
                <a:lnTo>
                  <a:pt x="349" y="406"/>
                </a:lnTo>
                <a:lnTo>
                  <a:pt x="355" y="402"/>
                </a:lnTo>
                <a:lnTo>
                  <a:pt x="359" y="399"/>
                </a:lnTo>
                <a:lnTo>
                  <a:pt x="362" y="399"/>
                </a:lnTo>
                <a:lnTo>
                  <a:pt x="359" y="396"/>
                </a:lnTo>
                <a:lnTo>
                  <a:pt x="361" y="394"/>
                </a:lnTo>
                <a:lnTo>
                  <a:pt x="361" y="397"/>
                </a:lnTo>
                <a:lnTo>
                  <a:pt x="363" y="399"/>
                </a:lnTo>
                <a:lnTo>
                  <a:pt x="367" y="399"/>
                </a:lnTo>
                <a:lnTo>
                  <a:pt x="370" y="400"/>
                </a:lnTo>
                <a:lnTo>
                  <a:pt x="369" y="401"/>
                </a:lnTo>
                <a:lnTo>
                  <a:pt x="369" y="402"/>
                </a:lnTo>
                <a:lnTo>
                  <a:pt x="375" y="405"/>
                </a:lnTo>
                <a:lnTo>
                  <a:pt x="381" y="403"/>
                </a:lnTo>
                <a:lnTo>
                  <a:pt x="390" y="403"/>
                </a:lnTo>
                <a:lnTo>
                  <a:pt x="404" y="403"/>
                </a:lnTo>
                <a:lnTo>
                  <a:pt x="402" y="407"/>
                </a:lnTo>
                <a:lnTo>
                  <a:pt x="407" y="411"/>
                </a:lnTo>
                <a:lnTo>
                  <a:pt x="413" y="411"/>
                </a:lnTo>
                <a:lnTo>
                  <a:pt x="408" y="414"/>
                </a:lnTo>
                <a:lnTo>
                  <a:pt x="420" y="417"/>
                </a:lnTo>
                <a:lnTo>
                  <a:pt x="421" y="415"/>
                </a:lnTo>
                <a:lnTo>
                  <a:pt x="426" y="415"/>
                </a:lnTo>
                <a:lnTo>
                  <a:pt x="430" y="415"/>
                </a:lnTo>
                <a:lnTo>
                  <a:pt x="430" y="413"/>
                </a:lnTo>
                <a:lnTo>
                  <a:pt x="439" y="415"/>
                </a:lnTo>
                <a:lnTo>
                  <a:pt x="449" y="415"/>
                </a:lnTo>
                <a:lnTo>
                  <a:pt x="460" y="418"/>
                </a:lnTo>
                <a:lnTo>
                  <a:pt x="463" y="416"/>
                </a:lnTo>
                <a:lnTo>
                  <a:pt x="471" y="420"/>
                </a:lnTo>
                <a:lnTo>
                  <a:pt x="498" y="421"/>
                </a:lnTo>
                <a:lnTo>
                  <a:pt x="510" y="428"/>
                </a:lnTo>
                <a:lnTo>
                  <a:pt x="534" y="422"/>
                </a:lnTo>
                <a:lnTo>
                  <a:pt x="543" y="427"/>
                </a:lnTo>
                <a:lnTo>
                  <a:pt x="563" y="439"/>
                </a:lnTo>
                <a:lnTo>
                  <a:pt x="566" y="439"/>
                </a:lnTo>
                <a:lnTo>
                  <a:pt x="566" y="439"/>
                </a:lnTo>
                <a:lnTo>
                  <a:pt x="592" y="442"/>
                </a:lnTo>
                <a:lnTo>
                  <a:pt x="600" y="448"/>
                </a:lnTo>
                <a:lnTo>
                  <a:pt x="619" y="456"/>
                </a:lnTo>
                <a:lnTo>
                  <a:pt x="637" y="458"/>
                </a:lnTo>
                <a:lnTo>
                  <a:pt x="648" y="463"/>
                </a:lnTo>
                <a:lnTo>
                  <a:pt x="651" y="463"/>
                </a:lnTo>
                <a:lnTo>
                  <a:pt x="646" y="459"/>
                </a:lnTo>
                <a:lnTo>
                  <a:pt x="649" y="459"/>
                </a:lnTo>
                <a:lnTo>
                  <a:pt x="645" y="458"/>
                </a:lnTo>
                <a:lnTo>
                  <a:pt x="648" y="457"/>
                </a:lnTo>
                <a:lnTo>
                  <a:pt x="639" y="456"/>
                </a:lnTo>
                <a:lnTo>
                  <a:pt x="639" y="453"/>
                </a:lnTo>
                <a:lnTo>
                  <a:pt x="645" y="455"/>
                </a:lnTo>
                <a:lnTo>
                  <a:pt x="646" y="455"/>
                </a:lnTo>
                <a:lnTo>
                  <a:pt x="639" y="453"/>
                </a:lnTo>
                <a:lnTo>
                  <a:pt x="639" y="448"/>
                </a:lnTo>
                <a:lnTo>
                  <a:pt x="645" y="451"/>
                </a:lnTo>
                <a:lnTo>
                  <a:pt x="641" y="448"/>
                </a:lnTo>
                <a:lnTo>
                  <a:pt x="646" y="447"/>
                </a:lnTo>
                <a:lnTo>
                  <a:pt x="651" y="448"/>
                </a:lnTo>
                <a:lnTo>
                  <a:pt x="649" y="443"/>
                </a:lnTo>
                <a:lnTo>
                  <a:pt x="651" y="443"/>
                </a:lnTo>
                <a:lnTo>
                  <a:pt x="659" y="443"/>
                </a:lnTo>
                <a:lnTo>
                  <a:pt x="659" y="439"/>
                </a:lnTo>
                <a:lnTo>
                  <a:pt x="660" y="439"/>
                </a:lnTo>
                <a:lnTo>
                  <a:pt x="663" y="439"/>
                </a:lnTo>
                <a:lnTo>
                  <a:pt x="663" y="443"/>
                </a:lnTo>
                <a:lnTo>
                  <a:pt x="671" y="443"/>
                </a:lnTo>
                <a:lnTo>
                  <a:pt x="664" y="451"/>
                </a:lnTo>
                <a:lnTo>
                  <a:pt x="673" y="445"/>
                </a:lnTo>
                <a:lnTo>
                  <a:pt x="681" y="443"/>
                </a:lnTo>
                <a:lnTo>
                  <a:pt x="685" y="439"/>
                </a:lnTo>
                <a:lnTo>
                  <a:pt x="690" y="439"/>
                </a:lnTo>
                <a:lnTo>
                  <a:pt x="690" y="437"/>
                </a:lnTo>
                <a:lnTo>
                  <a:pt x="695" y="436"/>
                </a:lnTo>
                <a:lnTo>
                  <a:pt x="705" y="431"/>
                </a:lnTo>
                <a:lnTo>
                  <a:pt x="707" y="431"/>
                </a:lnTo>
                <a:lnTo>
                  <a:pt x="707" y="433"/>
                </a:lnTo>
                <a:lnTo>
                  <a:pt x="712" y="429"/>
                </a:lnTo>
                <a:lnTo>
                  <a:pt x="718" y="427"/>
                </a:lnTo>
                <a:lnTo>
                  <a:pt x="719" y="427"/>
                </a:lnTo>
                <a:lnTo>
                  <a:pt x="719" y="425"/>
                </a:lnTo>
                <a:lnTo>
                  <a:pt x="726" y="428"/>
                </a:lnTo>
                <a:lnTo>
                  <a:pt x="730" y="422"/>
                </a:lnTo>
                <a:lnTo>
                  <a:pt x="734" y="425"/>
                </a:lnTo>
                <a:lnTo>
                  <a:pt x="733" y="429"/>
                </a:lnTo>
                <a:lnTo>
                  <a:pt x="719" y="435"/>
                </a:lnTo>
                <a:lnTo>
                  <a:pt x="712" y="440"/>
                </a:lnTo>
                <a:lnTo>
                  <a:pt x="711" y="439"/>
                </a:lnTo>
                <a:lnTo>
                  <a:pt x="709" y="439"/>
                </a:lnTo>
                <a:lnTo>
                  <a:pt x="711" y="443"/>
                </a:lnTo>
                <a:lnTo>
                  <a:pt x="708" y="440"/>
                </a:lnTo>
                <a:lnTo>
                  <a:pt x="708" y="440"/>
                </a:lnTo>
                <a:lnTo>
                  <a:pt x="708" y="440"/>
                </a:lnTo>
                <a:lnTo>
                  <a:pt x="708" y="440"/>
                </a:lnTo>
                <a:lnTo>
                  <a:pt x="708" y="440"/>
                </a:lnTo>
                <a:lnTo>
                  <a:pt x="697" y="442"/>
                </a:lnTo>
                <a:lnTo>
                  <a:pt x="695" y="443"/>
                </a:lnTo>
                <a:lnTo>
                  <a:pt x="695" y="445"/>
                </a:lnTo>
                <a:lnTo>
                  <a:pt x="686" y="448"/>
                </a:lnTo>
                <a:lnTo>
                  <a:pt x="685" y="453"/>
                </a:lnTo>
                <a:lnTo>
                  <a:pt x="679" y="454"/>
                </a:lnTo>
                <a:lnTo>
                  <a:pt x="679" y="456"/>
                </a:lnTo>
                <a:lnTo>
                  <a:pt x="674" y="459"/>
                </a:lnTo>
                <a:lnTo>
                  <a:pt x="685" y="463"/>
                </a:lnTo>
                <a:lnTo>
                  <a:pt x="678" y="459"/>
                </a:lnTo>
                <a:lnTo>
                  <a:pt x="686" y="459"/>
                </a:lnTo>
                <a:lnTo>
                  <a:pt x="685" y="454"/>
                </a:lnTo>
                <a:lnTo>
                  <a:pt x="690" y="452"/>
                </a:lnTo>
                <a:lnTo>
                  <a:pt x="692" y="448"/>
                </a:lnTo>
                <a:lnTo>
                  <a:pt x="693" y="453"/>
                </a:lnTo>
                <a:lnTo>
                  <a:pt x="701" y="447"/>
                </a:lnTo>
                <a:lnTo>
                  <a:pt x="697" y="447"/>
                </a:lnTo>
                <a:lnTo>
                  <a:pt x="701" y="443"/>
                </a:lnTo>
                <a:lnTo>
                  <a:pt x="705" y="443"/>
                </a:lnTo>
                <a:lnTo>
                  <a:pt x="704" y="447"/>
                </a:lnTo>
                <a:lnTo>
                  <a:pt x="707" y="442"/>
                </a:lnTo>
                <a:lnTo>
                  <a:pt x="707" y="445"/>
                </a:lnTo>
                <a:lnTo>
                  <a:pt x="705" y="447"/>
                </a:lnTo>
                <a:lnTo>
                  <a:pt x="707" y="447"/>
                </a:lnTo>
                <a:lnTo>
                  <a:pt x="709" y="445"/>
                </a:lnTo>
                <a:lnTo>
                  <a:pt x="711" y="443"/>
                </a:lnTo>
                <a:lnTo>
                  <a:pt x="709" y="447"/>
                </a:lnTo>
                <a:lnTo>
                  <a:pt x="712" y="442"/>
                </a:lnTo>
                <a:lnTo>
                  <a:pt x="711" y="447"/>
                </a:lnTo>
                <a:lnTo>
                  <a:pt x="712" y="445"/>
                </a:lnTo>
                <a:lnTo>
                  <a:pt x="712" y="447"/>
                </a:lnTo>
                <a:lnTo>
                  <a:pt x="719" y="436"/>
                </a:lnTo>
                <a:lnTo>
                  <a:pt x="737" y="431"/>
                </a:lnTo>
                <a:lnTo>
                  <a:pt x="739" y="430"/>
                </a:lnTo>
                <a:lnTo>
                  <a:pt x="739" y="435"/>
                </a:lnTo>
                <a:lnTo>
                  <a:pt x="735" y="435"/>
                </a:lnTo>
                <a:lnTo>
                  <a:pt x="735" y="439"/>
                </a:lnTo>
                <a:lnTo>
                  <a:pt x="741" y="439"/>
                </a:lnTo>
                <a:lnTo>
                  <a:pt x="747" y="430"/>
                </a:lnTo>
                <a:lnTo>
                  <a:pt x="747" y="425"/>
                </a:lnTo>
                <a:lnTo>
                  <a:pt x="762" y="422"/>
                </a:lnTo>
                <a:lnTo>
                  <a:pt x="753" y="420"/>
                </a:lnTo>
                <a:lnTo>
                  <a:pt x="756" y="419"/>
                </a:lnTo>
                <a:lnTo>
                  <a:pt x="752" y="419"/>
                </a:lnTo>
                <a:lnTo>
                  <a:pt x="753" y="412"/>
                </a:lnTo>
                <a:lnTo>
                  <a:pt x="766" y="422"/>
                </a:lnTo>
                <a:lnTo>
                  <a:pt x="773" y="435"/>
                </a:lnTo>
                <a:lnTo>
                  <a:pt x="778" y="442"/>
                </a:lnTo>
                <a:lnTo>
                  <a:pt x="791" y="447"/>
                </a:lnTo>
                <a:lnTo>
                  <a:pt x="791" y="445"/>
                </a:lnTo>
                <a:lnTo>
                  <a:pt x="797" y="443"/>
                </a:lnTo>
                <a:lnTo>
                  <a:pt x="791" y="439"/>
                </a:lnTo>
                <a:lnTo>
                  <a:pt x="791" y="436"/>
                </a:lnTo>
                <a:lnTo>
                  <a:pt x="795" y="436"/>
                </a:lnTo>
                <a:lnTo>
                  <a:pt x="793" y="435"/>
                </a:lnTo>
                <a:lnTo>
                  <a:pt x="797" y="435"/>
                </a:lnTo>
                <a:lnTo>
                  <a:pt x="799" y="429"/>
                </a:lnTo>
                <a:lnTo>
                  <a:pt x="795" y="430"/>
                </a:lnTo>
                <a:lnTo>
                  <a:pt x="795" y="429"/>
                </a:lnTo>
                <a:lnTo>
                  <a:pt x="797" y="428"/>
                </a:lnTo>
                <a:lnTo>
                  <a:pt x="797" y="429"/>
                </a:lnTo>
                <a:lnTo>
                  <a:pt x="804" y="428"/>
                </a:lnTo>
                <a:lnTo>
                  <a:pt x="805" y="429"/>
                </a:lnTo>
                <a:lnTo>
                  <a:pt x="807" y="428"/>
                </a:lnTo>
                <a:lnTo>
                  <a:pt x="805" y="436"/>
                </a:lnTo>
                <a:lnTo>
                  <a:pt x="811" y="437"/>
                </a:lnTo>
                <a:lnTo>
                  <a:pt x="805" y="447"/>
                </a:lnTo>
                <a:lnTo>
                  <a:pt x="807" y="447"/>
                </a:lnTo>
                <a:lnTo>
                  <a:pt x="819" y="447"/>
                </a:lnTo>
                <a:lnTo>
                  <a:pt x="819" y="443"/>
                </a:lnTo>
                <a:lnTo>
                  <a:pt x="824" y="443"/>
                </a:lnTo>
                <a:lnTo>
                  <a:pt x="826" y="437"/>
                </a:lnTo>
                <a:lnTo>
                  <a:pt x="827" y="435"/>
                </a:lnTo>
                <a:lnTo>
                  <a:pt x="846" y="435"/>
                </a:lnTo>
                <a:lnTo>
                  <a:pt x="859" y="440"/>
                </a:lnTo>
                <a:lnTo>
                  <a:pt x="867" y="445"/>
                </a:lnTo>
                <a:lnTo>
                  <a:pt x="887" y="448"/>
                </a:lnTo>
                <a:lnTo>
                  <a:pt x="899" y="455"/>
                </a:lnTo>
                <a:lnTo>
                  <a:pt x="912" y="459"/>
                </a:lnTo>
                <a:lnTo>
                  <a:pt x="930" y="460"/>
                </a:lnTo>
                <a:lnTo>
                  <a:pt x="924" y="459"/>
                </a:lnTo>
                <a:lnTo>
                  <a:pt x="935" y="459"/>
                </a:lnTo>
                <a:lnTo>
                  <a:pt x="952" y="464"/>
                </a:lnTo>
                <a:lnTo>
                  <a:pt x="956" y="468"/>
                </a:lnTo>
                <a:lnTo>
                  <a:pt x="956" y="474"/>
                </a:lnTo>
                <a:lnTo>
                  <a:pt x="936" y="476"/>
                </a:lnTo>
                <a:lnTo>
                  <a:pt x="936" y="479"/>
                </a:lnTo>
                <a:lnTo>
                  <a:pt x="941" y="481"/>
                </a:lnTo>
                <a:lnTo>
                  <a:pt x="936" y="482"/>
                </a:lnTo>
                <a:lnTo>
                  <a:pt x="943" y="486"/>
                </a:lnTo>
                <a:lnTo>
                  <a:pt x="980" y="488"/>
                </a:lnTo>
                <a:lnTo>
                  <a:pt x="998" y="485"/>
                </a:lnTo>
                <a:lnTo>
                  <a:pt x="1002" y="487"/>
                </a:lnTo>
                <a:lnTo>
                  <a:pt x="1014" y="481"/>
                </a:lnTo>
                <a:lnTo>
                  <a:pt x="1016" y="482"/>
                </a:lnTo>
                <a:lnTo>
                  <a:pt x="1016" y="485"/>
                </a:lnTo>
                <a:lnTo>
                  <a:pt x="1016" y="491"/>
                </a:lnTo>
                <a:lnTo>
                  <a:pt x="1028" y="491"/>
                </a:lnTo>
                <a:lnTo>
                  <a:pt x="1031" y="494"/>
                </a:lnTo>
                <a:lnTo>
                  <a:pt x="1029" y="493"/>
                </a:lnTo>
                <a:lnTo>
                  <a:pt x="1032" y="497"/>
                </a:lnTo>
                <a:lnTo>
                  <a:pt x="1032" y="491"/>
                </a:lnTo>
                <a:lnTo>
                  <a:pt x="1035" y="491"/>
                </a:lnTo>
                <a:lnTo>
                  <a:pt x="1038" y="498"/>
                </a:lnTo>
                <a:lnTo>
                  <a:pt x="1039" y="497"/>
                </a:lnTo>
                <a:lnTo>
                  <a:pt x="1045" y="500"/>
                </a:lnTo>
                <a:lnTo>
                  <a:pt x="1046" y="507"/>
                </a:lnTo>
                <a:lnTo>
                  <a:pt x="1045" y="507"/>
                </a:lnTo>
                <a:lnTo>
                  <a:pt x="1043" y="505"/>
                </a:lnTo>
                <a:lnTo>
                  <a:pt x="1044" y="507"/>
                </a:lnTo>
                <a:lnTo>
                  <a:pt x="1043" y="507"/>
                </a:lnTo>
                <a:lnTo>
                  <a:pt x="1042" y="507"/>
                </a:lnTo>
                <a:lnTo>
                  <a:pt x="1035" y="503"/>
                </a:lnTo>
                <a:lnTo>
                  <a:pt x="1036" y="505"/>
                </a:lnTo>
                <a:lnTo>
                  <a:pt x="1042" y="507"/>
                </a:lnTo>
                <a:lnTo>
                  <a:pt x="1044" y="515"/>
                </a:lnTo>
                <a:lnTo>
                  <a:pt x="1044" y="511"/>
                </a:lnTo>
                <a:lnTo>
                  <a:pt x="1055" y="522"/>
                </a:lnTo>
                <a:lnTo>
                  <a:pt x="1050" y="516"/>
                </a:lnTo>
                <a:lnTo>
                  <a:pt x="1047" y="509"/>
                </a:lnTo>
                <a:lnTo>
                  <a:pt x="1049" y="505"/>
                </a:lnTo>
                <a:lnTo>
                  <a:pt x="1052" y="511"/>
                </a:lnTo>
                <a:lnTo>
                  <a:pt x="1054" y="511"/>
                </a:lnTo>
                <a:lnTo>
                  <a:pt x="1052" y="508"/>
                </a:lnTo>
                <a:lnTo>
                  <a:pt x="1057" y="510"/>
                </a:lnTo>
                <a:lnTo>
                  <a:pt x="1052" y="505"/>
                </a:lnTo>
                <a:lnTo>
                  <a:pt x="1052" y="503"/>
                </a:lnTo>
                <a:lnTo>
                  <a:pt x="1052" y="503"/>
                </a:lnTo>
                <a:lnTo>
                  <a:pt x="1052" y="500"/>
                </a:lnTo>
                <a:lnTo>
                  <a:pt x="1053" y="501"/>
                </a:lnTo>
                <a:lnTo>
                  <a:pt x="1052" y="502"/>
                </a:lnTo>
                <a:lnTo>
                  <a:pt x="1052" y="503"/>
                </a:lnTo>
                <a:lnTo>
                  <a:pt x="1054" y="503"/>
                </a:lnTo>
                <a:lnTo>
                  <a:pt x="1052" y="501"/>
                </a:lnTo>
                <a:lnTo>
                  <a:pt x="1051" y="500"/>
                </a:lnTo>
                <a:lnTo>
                  <a:pt x="1049" y="497"/>
                </a:lnTo>
                <a:lnTo>
                  <a:pt x="1050" y="493"/>
                </a:lnTo>
                <a:lnTo>
                  <a:pt x="1044" y="487"/>
                </a:lnTo>
                <a:lnTo>
                  <a:pt x="1045" y="485"/>
                </a:lnTo>
                <a:lnTo>
                  <a:pt x="1049" y="482"/>
                </a:lnTo>
                <a:lnTo>
                  <a:pt x="1044" y="481"/>
                </a:lnTo>
                <a:lnTo>
                  <a:pt x="1052" y="479"/>
                </a:lnTo>
                <a:lnTo>
                  <a:pt x="1060" y="477"/>
                </a:lnTo>
                <a:lnTo>
                  <a:pt x="1060" y="476"/>
                </a:lnTo>
                <a:lnTo>
                  <a:pt x="1063" y="474"/>
                </a:lnTo>
                <a:lnTo>
                  <a:pt x="1067" y="477"/>
                </a:lnTo>
                <a:lnTo>
                  <a:pt x="1067" y="476"/>
                </a:lnTo>
                <a:lnTo>
                  <a:pt x="1064" y="474"/>
                </a:lnTo>
                <a:lnTo>
                  <a:pt x="1064" y="473"/>
                </a:lnTo>
                <a:lnTo>
                  <a:pt x="1064" y="473"/>
                </a:lnTo>
                <a:lnTo>
                  <a:pt x="1062" y="469"/>
                </a:lnTo>
                <a:lnTo>
                  <a:pt x="1056" y="474"/>
                </a:lnTo>
                <a:lnTo>
                  <a:pt x="1050" y="470"/>
                </a:lnTo>
                <a:lnTo>
                  <a:pt x="1047" y="473"/>
                </a:lnTo>
                <a:lnTo>
                  <a:pt x="1046" y="475"/>
                </a:lnTo>
                <a:lnTo>
                  <a:pt x="1050" y="477"/>
                </a:lnTo>
                <a:lnTo>
                  <a:pt x="1039" y="478"/>
                </a:lnTo>
                <a:lnTo>
                  <a:pt x="1038" y="479"/>
                </a:lnTo>
                <a:lnTo>
                  <a:pt x="1036" y="479"/>
                </a:lnTo>
                <a:lnTo>
                  <a:pt x="1036" y="473"/>
                </a:lnTo>
                <a:lnTo>
                  <a:pt x="1033" y="474"/>
                </a:lnTo>
                <a:lnTo>
                  <a:pt x="1039" y="465"/>
                </a:lnTo>
                <a:lnTo>
                  <a:pt x="1056" y="463"/>
                </a:lnTo>
                <a:lnTo>
                  <a:pt x="1069" y="456"/>
                </a:lnTo>
                <a:lnTo>
                  <a:pt x="1076" y="458"/>
                </a:lnTo>
                <a:lnTo>
                  <a:pt x="1080" y="462"/>
                </a:lnTo>
                <a:lnTo>
                  <a:pt x="1080" y="465"/>
                </a:lnTo>
                <a:lnTo>
                  <a:pt x="1082" y="468"/>
                </a:lnTo>
                <a:lnTo>
                  <a:pt x="1079" y="470"/>
                </a:lnTo>
                <a:lnTo>
                  <a:pt x="1087" y="474"/>
                </a:lnTo>
                <a:lnTo>
                  <a:pt x="1090" y="474"/>
                </a:lnTo>
                <a:lnTo>
                  <a:pt x="1089" y="475"/>
                </a:lnTo>
                <a:lnTo>
                  <a:pt x="1094" y="475"/>
                </a:lnTo>
                <a:lnTo>
                  <a:pt x="1091" y="477"/>
                </a:lnTo>
                <a:lnTo>
                  <a:pt x="1095" y="479"/>
                </a:lnTo>
                <a:lnTo>
                  <a:pt x="1106" y="479"/>
                </a:lnTo>
                <a:lnTo>
                  <a:pt x="1111" y="477"/>
                </a:lnTo>
                <a:lnTo>
                  <a:pt x="1112" y="478"/>
                </a:lnTo>
                <a:lnTo>
                  <a:pt x="1111" y="483"/>
                </a:lnTo>
                <a:lnTo>
                  <a:pt x="1127" y="491"/>
                </a:lnTo>
                <a:lnTo>
                  <a:pt x="1131" y="491"/>
                </a:lnTo>
                <a:lnTo>
                  <a:pt x="1138" y="490"/>
                </a:lnTo>
                <a:lnTo>
                  <a:pt x="1155" y="485"/>
                </a:lnTo>
                <a:lnTo>
                  <a:pt x="1168" y="486"/>
                </a:lnTo>
                <a:lnTo>
                  <a:pt x="1172" y="487"/>
                </a:lnTo>
                <a:lnTo>
                  <a:pt x="1184" y="486"/>
                </a:lnTo>
                <a:lnTo>
                  <a:pt x="1177" y="482"/>
                </a:lnTo>
                <a:lnTo>
                  <a:pt x="1177" y="479"/>
                </a:lnTo>
                <a:lnTo>
                  <a:pt x="1181" y="479"/>
                </a:lnTo>
                <a:lnTo>
                  <a:pt x="1188" y="488"/>
                </a:lnTo>
                <a:lnTo>
                  <a:pt x="1197" y="490"/>
                </a:lnTo>
                <a:lnTo>
                  <a:pt x="1201" y="488"/>
                </a:lnTo>
                <a:lnTo>
                  <a:pt x="1201" y="486"/>
                </a:lnTo>
                <a:lnTo>
                  <a:pt x="1201" y="482"/>
                </a:lnTo>
                <a:lnTo>
                  <a:pt x="1200" y="485"/>
                </a:lnTo>
                <a:lnTo>
                  <a:pt x="1195" y="481"/>
                </a:lnTo>
                <a:lnTo>
                  <a:pt x="1190" y="482"/>
                </a:lnTo>
                <a:lnTo>
                  <a:pt x="1188" y="485"/>
                </a:lnTo>
                <a:lnTo>
                  <a:pt x="1181" y="478"/>
                </a:lnTo>
                <a:lnTo>
                  <a:pt x="1181" y="479"/>
                </a:lnTo>
                <a:lnTo>
                  <a:pt x="1181" y="477"/>
                </a:lnTo>
                <a:lnTo>
                  <a:pt x="1181" y="477"/>
                </a:lnTo>
                <a:lnTo>
                  <a:pt x="1181" y="477"/>
                </a:lnTo>
                <a:lnTo>
                  <a:pt x="1181" y="476"/>
                </a:lnTo>
                <a:lnTo>
                  <a:pt x="1180" y="472"/>
                </a:lnTo>
                <a:lnTo>
                  <a:pt x="1181" y="472"/>
                </a:lnTo>
                <a:lnTo>
                  <a:pt x="1182" y="473"/>
                </a:lnTo>
                <a:lnTo>
                  <a:pt x="1182" y="472"/>
                </a:lnTo>
                <a:lnTo>
                  <a:pt x="1181" y="471"/>
                </a:lnTo>
                <a:lnTo>
                  <a:pt x="1184" y="469"/>
                </a:lnTo>
                <a:lnTo>
                  <a:pt x="1187" y="473"/>
                </a:lnTo>
                <a:lnTo>
                  <a:pt x="1192" y="471"/>
                </a:lnTo>
                <a:lnTo>
                  <a:pt x="1190" y="468"/>
                </a:lnTo>
                <a:lnTo>
                  <a:pt x="1191" y="466"/>
                </a:lnTo>
                <a:lnTo>
                  <a:pt x="1196" y="471"/>
                </a:lnTo>
                <a:lnTo>
                  <a:pt x="1202" y="471"/>
                </a:lnTo>
                <a:lnTo>
                  <a:pt x="1204" y="471"/>
                </a:lnTo>
                <a:lnTo>
                  <a:pt x="1203" y="474"/>
                </a:lnTo>
                <a:lnTo>
                  <a:pt x="1214" y="473"/>
                </a:lnTo>
                <a:lnTo>
                  <a:pt x="1207" y="479"/>
                </a:lnTo>
                <a:lnTo>
                  <a:pt x="1209" y="481"/>
                </a:lnTo>
                <a:lnTo>
                  <a:pt x="1218" y="474"/>
                </a:lnTo>
                <a:lnTo>
                  <a:pt x="1215" y="486"/>
                </a:lnTo>
                <a:lnTo>
                  <a:pt x="1217" y="489"/>
                </a:lnTo>
                <a:lnTo>
                  <a:pt x="1213" y="495"/>
                </a:lnTo>
                <a:lnTo>
                  <a:pt x="1217" y="495"/>
                </a:lnTo>
                <a:lnTo>
                  <a:pt x="1215" y="503"/>
                </a:lnTo>
                <a:lnTo>
                  <a:pt x="1217" y="503"/>
                </a:lnTo>
                <a:lnTo>
                  <a:pt x="1221" y="497"/>
                </a:lnTo>
                <a:lnTo>
                  <a:pt x="1221" y="499"/>
                </a:lnTo>
                <a:lnTo>
                  <a:pt x="1220" y="503"/>
                </a:lnTo>
                <a:lnTo>
                  <a:pt x="1226" y="502"/>
                </a:lnTo>
                <a:lnTo>
                  <a:pt x="1228" y="511"/>
                </a:lnTo>
                <a:lnTo>
                  <a:pt x="1229" y="511"/>
                </a:lnTo>
                <a:lnTo>
                  <a:pt x="1229" y="507"/>
                </a:lnTo>
                <a:lnTo>
                  <a:pt x="1227" y="502"/>
                </a:lnTo>
                <a:lnTo>
                  <a:pt x="1230" y="499"/>
                </a:lnTo>
                <a:lnTo>
                  <a:pt x="1225" y="497"/>
                </a:lnTo>
                <a:lnTo>
                  <a:pt x="1225" y="492"/>
                </a:lnTo>
                <a:lnTo>
                  <a:pt x="1222" y="488"/>
                </a:lnTo>
                <a:lnTo>
                  <a:pt x="1225" y="486"/>
                </a:lnTo>
                <a:lnTo>
                  <a:pt x="1228" y="479"/>
                </a:lnTo>
                <a:lnTo>
                  <a:pt x="1237" y="479"/>
                </a:lnTo>
                <a:lnTo>
                  <a:pt x="1245" y="474"/>
                </a:lnTo>
                <a:lnTo>
                  <a:pt x="1245" y="469"/>
                </a:lnTo>
                <a:lnTo>
                  <a:pt x="1251" y="466"/>
                </a:lnTo>
                <a:lnTo>
                  <a:pt x="1253" y="459"/>
                </a:lnTo>
                <a:lnTo>
                  <a:pt x="1250" y="459"/>
                </a:lnTo>
                <a:lnTo>
                  <a:pt x="1247" y="463"/>
                </a:lnTo>
                <a:lnTo>
                  <a:pt x="1241" y="463"/>
                </a:lnTo>
                <a:lnTo>
                  <a:pt x="1237" y="463"/>
                </a:lnTo>
                <a:lnTo>
                  <a:pt x="1237" y="458"/>
                </a:lnTo>
                <a:lnTo>
                  <a:pt x="1237" y="456"/>
                </a:lnTo>
                <a:lnTo>
                  <a:pt x="1247" y="455"/>
                </a:lnTo>
                <a:lnTo>
                  <a:pt x="1241" y="455"/>
                </a:lnTo>
                <a:lnTo>
                  <a:pt x="1241" y="447"/>
                </a:lnTo>
                <a:lnTo>
                  <a:pt x="1253" y="443"/>
                </a:lnTo>
                <a:lnTo>
                  <a:pt x="1249" y="448"/>
                </a:lnTo>
                <a:lnTo>
                  <a:pt x="1249" y="451"/>
                </a:lnTo>
                <a:lnTo>
                  <a:pt x="1257" y="447"/>
                </a:lnTo>
                <a:lnTo>
                  <a:pt x="1254" y="447"/>
                </a:lnTo>
                <a:lnTo>
                  <a:pt x="1257" y="444"/>
                </a:lnTo>
                <a:lnTo>
                  <a:pt x="1255" y="442"/>
                </a:lnTo>
                <a:lnTo>
                  <a:pt x="1244" y="443"/>
                </a:lnTo>
                <a:lnTo>
                  <a:pt x="1240" y="437"/>
                </a:lnTo>
                <a:lnTo>
                  <a:pt x="1236" y="442"/>
                </a:lnTo>
                <a:lnTo>
                  <a:pt x="1224" y="439"/>
                </a:lnTo>
                <a:lnTo>
                  <a:pt x="1221" y="439"/>
                </a:lnTo>
                <a:lnTo>
                  <a:pt x="1216" y="432"/>
                </a:lnTo>
                <a:lnTo>
                  <a:pt x="1209" y="425"/>
                </a:lnTo>
                <a:lnTo>
                  <a:pt x="1209" y="420"/>
                </a:lnTo>
                <a:lnTo>
                  <a:pt x="1215" y="415"/>
                </a:lnTo>
                <a:lnTo>
                  <a:pt x="1222" y="415"/>
                </a:lnTo>
                <a:lnTo>
                  <a:pt x="1218" y="413"/>
                </a:lnTo>
                <a:lnTo>
                  <a:pt x="1222" y="409"/>
                </a:lnTo>
                <a:lnTo>
                  <a:pt x="1217" y="412"/>
                </a:lnTo>
                <a:lnTo>
                  <a:pt x="1210" y="408"/>
                </a:lnTo>
                <a:lnTo>
                  <a:pt x="1213" y="401"/>
                </a:lnTo>
                <a:lnTo>
                  <a:pt x="1214" y="400"/>
                </a:lnTo>
                <a:lnTo>
                  <a:pt x="1210" y="399"/>
                </a:lnTo>
                <a:lnTo>
                  <a:pt x="1213" y="399"/>
                </a:lnTo>
                <a:lnTo>
                  <a:pt x="1213" y="395"/>
                </a:lnTo>
                <a:lnTo>
                  <a:pt x="1209" y="395"/>
                </a:lnTo>
                <a:lnTo>
                  <a:pt x="1209" y="394"/>
                </a:lnTo>
                <a:lnTo>
                  <a:pt x="1213" y="396"/>
                </a:lnTo>
                <a:lnTo>
                  <a:pt x="1213" y="395"/>
                </a:lnTo>
                <a:lnTo>
                  <a:pt x="1213" y="394"/>
                </a:lnTo>
                <a:lnTo>
                  <a:pt x="1218" y="390"/>
                </a:lnTo>
                <a:lnTo>
                  <a:pt x="1225" y="394"/>
                </a:lnTo>
                <a:lnTo>
                  <a:pt x="1226" y="390"/>
                </a:lnTo>
                <a:lnTo>
                  <a:pt x="1224" y="389"/>
                </a:lnTo>
                <a:lnTo>
                  <a:pt x="1221" y="386"/>
                </a:lnTo>
                <a:lnTo>
                  <a:pt x="1229" y="383"/>
                </a:lnTo>
                <a:lnTo>
                  <a:pt x="1226" y="383"/>
                </a:lnTo>
                <a:lnTo>
                  <a:pt x="1228" y="379"/>
                </a:lnTo>
                <a:lnTo>
                  <a:pt x="1229" y="379"/>
                </a:lnTo>
                <a:lnTo>
                  <a:pt x="1237" y="379"/>
                </a:lnTo>
                <a:lnTo>
                  <a:pt x="1237" y="382"/>
                </a:lnTo>
                <a:lnTo>
                  <a:pt x="1241" y="383"/>
                </a:lnTo>
                <a:lnTo>
                  <a:pt x="1241" y="383"/>
                </a:lnTo>
                <a:lnTo>
                  <a:pt x="1241" y="385"/>
                </a:lnTo>
                <a:lnTo>
                  <a:pt x="1245" y="379"/>
                </a:lnTo>
                <a:lnTo>
                  <a:pt x="1251" y="382"/>
                </a:lnTo>
                <a:lnTo>
                  <a:pt x="1250" y="385"/>
                </a:lnTo>
                <a:lnTo>
                  <a:pt x="1263" y="393"/>
                </a:lnTo>
                <a:lnTo>
                  <a:pt x="1264" y="397"/>
                </a:lnTo>
                <a:lnTo>
                  <a:pt x="1262" y="405"/>
                </a:lnTo>
                <a:lnTo>
                  <a:pt x="1261" y="406"/>
                </a:lnTo>
                <a:lnTo>
                  <a:pt x="1273" y="412"/>
                </a:lnTo>
                <a:lnTo>
                  <a:pt x="1271" y="416"/>
                </a:lnTo>
                <a:lnTo>
                  <a:pt x="1273" y="419"/>
                </a:lnTo>
                <a:lnTo>
                  <a:pt x="1273" y="422"/>
                </a:lnTo>
                <a:lnTo>
                  <a:pt x="1280" y="419"/>
                </a:lnTo>
                <a:lnTo>
                  <a:pt x="1281" y="419"/>
                </a:lnTo>
                <a:lnTo>
                  <a:pt x="1284" y="424"/>
                </a:lnTo>
                <a:lnTo>
                  <a:pt x="1277" y="425"/>
                </a:lnTo>
                <a:lnTo>
                  <a:pt x="1273" y="424"/>
                </a:lnTo>
                <a:lnTo>
                  <a:pt x="1270" y="428"/>
                </a:lnTo>
                <a:lnTo>
                  <a:pt x="1277" y="430"/>
                </a:lnTo>
                <a:lnTo>
                  <a:pt x="1266" y="439"/>
                </a:lnTo>
                <a:lnTo>
                  <a:pt x="1269" y="439"/>
                </a:lnTo>
                <a:lnTo>
                  <a:pt x="1273" y="439"/>
                </a:lnTo>
                <a:lnTo>
                  <a:pt x="1276" y="440"/>
                </a:lnTo>
                <a:lnTo>
                  <a:pt x="1280" y="442"/>
                </a:lnTo>
                <a:lnTo>
                  <a:pt x="1284" y="439"/>
                </a:lnTo>
                <a:lnTo>
                  <a:pt x="1288" y="439"/>
                </a:lnTo>
                <a:lnTo>
                  <a:pt x="1290" y="439"/>
                </a:lnTo>
                <a:lnTo>
                  <a:pt x="1288" y="440"/>
                </a:lnTo>
                <a:lnTo>
                  <a:pt x="1293" y="442"/>
                </a:lnTo>
                <a:lnTo>
                  <a:pt x="1293" y="440"/>
                </a:lnTo>
                <a:lnTo>
                  <a:pt x="1302" y="443"/>
                </a:lnTo>
                <a:lnTo>
                  <a:pt x="1298" y="443"/>
                </a:lnTo>
                <a:lnTo>
                  <a:pt x="1295" y="445"/>
                </a:lnTo>
                <a:lnTo>
                  <a:pt x="1292" y="448"/>
                </a:lnTo>
                <a:lnTo>
                  <a:pt x="1283" y="445"/>
                </a:lnTo>
                <a:lnTo>
                  <a:pt x="1293" y="453"/>
                </a:lnTo>
                <a:lnTo>
                  <a:pt x="1293" y="456"/>
                </a:lnTo>
                <a:lnTo>
                  <a:pt x="1298" y="458"/>
                </a:lnTo>
                <a:lnTo>
                  <a:pt x="1297" y="462"/>
                </a:lnTo>
                <a:lnTo>
                  <a:pt x="1297" y="468"/>
                </a:lnTo>
                <a:lnTo>
                  <a:pt x="1296" y="470"/>
                </a:lnTo>
                <a:lnTo>
                  <a:pt x="1302" y="471"/>
                </a:lnTo>
                <a:lnTo>
                  <a:pt x="1300" y="474"/>
                </a:lnTo>
                <a:lnTo>
                  <a:pt x="1302" y="475"/>
                </a:lnTo>
                <a:lnTo>
                  <a:pt x="1304" y="475"/>
                </a:lnTo>
                <a:lnTo>
                  <a:pt x="1307" y="470"/>
                </a:lnTo>
                <a:lnTo>
                  <a:pt x="1306" y="465"/>
                </a:lnTo>
                <a:lnTo>
                  <a:pt x="1309" y="463"/>
                </a:lnTo>
                <a:lnTo>
                  <a:pt x="1309" y="462"/>
                </a:lnTo>
                <a:lnTo>
                  <a:pt x="1309" y="462"/>
                </a:lnTo>
                <a:lnTo>
                  <a:pt x="1309" y="462"/>
                </a:lnTo>
                <a:lnTo>
                  <a:pt x="1309" y="454"/>
                </a:lnTo>
                <a:lnTo>
                  <a:pt x="1315" y="451"/>
                </a:lnTo>
                <a:lnTo>
                  <a:pt x="1321" y="451"/>
                </a:lnTo>
                <a:lnTo>
                  <a:pt x="1335" y="461"/>
                </a:lnTo>
                <a:lnTo>
                  <a:pt x="1337" y="473"/>
                </a:lnTo>
                <a:lnTo>
                  <a:pt x="1336" y="476"/>
                </a:lnTo>
                <a:lnTo>
                  <a:pt x="1332" y="470"/>
                </a:lnTo>
                <a:lnTo>
                  <a:pt x="1328" y="473"/>
                </a:lnTo>
                <a:lnTo>
                  <a:pt x="1329" y="477"/>
                </a:lnTo>
                <a:lnTo>
                  <a:pt x="1329" y="482"/>
                </a:lnTo>
                <a:lnTo>
                  <a:pt x="1333" y="488"/>
                </a:lnTo>
                <a:lnTo>
                  <a:pt x="1344" y="499"/>
                </a:lnTo>
                <a:lnTo>
                  <a:pt x="1341" y="504"/>
                </a:lnTo>
                <a:lnTo>
                  <a:pt x="1348" y="500"/>
                </a:lnTo>
                <a:lnTo>
                  <a:pt x="1347" y="497"/>
                </a:lnTo>
                <a:lnTo>
                  <a:pt x="1350" y="496"/>
                </a:lnTo>
                <a:lnTo>
                  <a:pt x="1355" y="497"/>
                </a:lnTo>
                <a:lnTo>
                  <a:pt x="1357" y="490"/>
                </a:lnTo>
                <a:lnTo>
                  <a:pt x="1355" y="488"/>
                </a:lnTo>
                <a:lnTo>
                  <a:pt x="1365" y="479"/>
                </a:lnTo>
                <a:lnTo>
                  <a:pt x="1365" y="473"/>
                </a:lnTo>
                <a:lnTo>
                  <a:pt x="1365" y="469"/>
                </a:lnTo>
                <a:lnTo>
                  <a:pt x="1365" y="463"/>
                </a:lnTo>
                <a:lnTo>
                  <a:pt x="1370" y="463"/>
                </a:lnTo>
                <a:lnTo>
                  <a:pt x="1377" y="463"/>
                </a:lnTo>
                <a:lnTo>
                  <a:pt x="1377" y="459"/>
                </a:lnTo>
                <a:lnTo>
                  <a:pt x="1381" y="459"/>
                </a:lnTo>
                <a:lnTo>
                  <a:pt x="1380" y="455"/>
                </a:lnTo>
                <a:lnTo>
                  <a:pt x="1385" y="455"/>
                </a:lnTo>
                <a:lnTo>
                  <a:pt x="1376" y="452"/>
                </a:lnTo>
                <a:lnTo>
                  <a:pt x="1377" y="450"/>
                </a:lnTo>
                <a:lnTo>
                  <a:pt x="1373" y="451"/>
                </a:lnTo>
                <a:lnTo>
                  <a:pt x="1373" y="450"/>
                </a:lnTo>
                <a:lnTo>
                  <a:pt x="1369" y="448"/>
                </a:lnTo>
                <a:lnTo>
                  <a:pt x="1369" y="445"/>
                </a:lnTo>
                <a:lnTo>
                  <a:pt x="1373" y="443"/>
                </a:lnTo>
                <a:lnTo>
                  <a:pt x="1369" y="443"/>
                </a:lnTo>
                <a:lnTo>
                  <a:pt x="1370" y="439"/>
                </a:lnTo>
                <a:lnTo>
                  <a:pt x="1373" y="439"/>
                </a:lnTo>
                <a:lnTo>
                  <a:pt x="1369" y="434"/>
                </a:lnTo>
                <a:lnTo>
                  <a:pt x="1377" y="436"/>
                </a:lnTo>
                <a:lnTo>
                  <a:pt x="1387" y="433"/>
                </a:lnTo>
                <a:lnTo>
                  <a:pt x="1394" y="439"/>
                </a:lnTo>
                <a:lnTo>
                  <a:pt x="1399" y="439"/>
                </a:lnTo>
                <a:lnTo>
                  <a:pt x="1396" y="438"/>
                </a:lnTo>
                <a:lnTo>
                  <a:pt x="1418" y="439"/>
                </a:lnTo>
                <a:lnTo>
                  <a:pt x="1414" y="439"/>
                </a:lnTo>
                <a:lnTo>
                  <a:pt x="1414" y="442"/>
                </a:lnTo>
                <a:lnTo>
                  <a:pt x="1401" y="440"/>
                </a:lnTo>
                <a:lnTo>
                  <a:pt x="1414" y="445"/>
                </a:lnTo>
                <a:lnTo>
                  <a:pt x="1414" y="451"/>
                </a:lnTo>
                <a:lnTo>
                  <a:pt x="1426" y="451"/>
                </a:lnTo>
                <a:lnTo>
                  <a:pt x="1430" y="450"/>
                </a:lnTo>
                <a:lnTo>
                  <a:pt x="1430" y="451"/>
                </a:lnTo>
                <a:lnTo>
                  <a:pt x="1426" y="455"/>
                </a:lnTo>
                <a:lnTo>
                  <a:pt x="1422" y="459"/>
                </a:lnTo>
                <a:lnTo>
                  <a:pt x="1430" y="459"/>
                </a:lnTo>
                <a:lnTo>
                  <a:pt x="1430" y="462"/>
                </a:lnTo>
                <a:lnTo>
                  <a:pt x="1430" y="465"/>
                </a:lnTo>
                <a:lnTo>
                  <a:pt x="1421" y="470"/>
                </a:lnTo>
                <a:lnTo>
                  <a:pt x="1419" y="468"/>
                </a:lnTo>
                <a:lnTo>
                  <a:pt x="1418" y="470"/>
                </a:lnTo>
                <a:lnTo>
                  <a:pt x="1414" y="468"/>
                </a:lnTo>
                <a:lnTo>
                  <a:pt x="1416" y="475"/>
                </a:lnTo>
                <a:lnTo>
                  <a:pt x="1418" y="475"/>
                </a:lnTo>
                <a:lnTo>
                  <a:pt x="1416" y="477"/>
                </a:lnTo>
                <a:lnTo>
                  <a:pt x="1420" y="477"/>
                </a:lnTo>
                <a:lnTo>
                  <a:pt x="1423" y="476"/>
                </a:lnTo>
                <a:lnTo>
                  <a:pt x="1420" y="481"/>
                </a:lnTo>
                <a:lnTo>
                  <a:pt x="1422" y="482"/>
                </a:lnTo>
                <a:lnTo>
                  <a:pt x="1433" y="494"/>
                </a:lnTo>
                <a:lnTo>
                  <a:pt x="1429" y="505"/>
                </a:lnTo>
                <a:lnTo>
                  <a:pt x="1423" y="509"/>
                </a:lnTo>
                <a:lnTo>
                  <a:pt x="1414" y="519"/>
                </a:lnTo>
                <a:lnTo>
                  <a:pt x="1407" y="519"/>
                </a:lnTo>
                <a:lnTo>
                  <a:pt x="1399" y="523"/>
                </a:lnTo>
                <a:lnTo>
                  <a:pt x="1395" y="519"/>
                </a:lnTo>
                <a:lnTo>
                  <a:pt x="1392" y="516"/>
                </a:lnTo>
                <a:lnTo>
                  <a:pt x="1390" y="513"/>
                </a:lnTo>
                <a:lnTo>
                  <a:pt x="1389" y="510"/>
                </a:lnTo>
                <a:lnTo>
                  <a:pt x="1389" y="513"/>
                </a:lnTo>
                <a:lnTo>
                  <a:pt x="1389" y="515"/>
                </a:lnTo>
                <a:lnTo>
                  <a:pt x="1396" y="527"/>
                </a:lnTo>
                <a:lnTo>
                  <a:pt x="1395" y="527"/>
                </a:lnTo>
                <a:lnTo>
                  <a:pt x="1385" y="520"/>
                </a:lnTo>
                <a:lnTo>
                  <a:pt x="1384" y="523"/>
                </a:lnTo>
                <a:lnTo>
                  <a:pt x="1387" y="527"/>
                </a:lnTo>
                <a:lnTo>
                  <a:pt x="1374" y="525"/>
                </a:lnTo>
                <a:lnTo>
                  <a:pt x="1370" y="516"/>
                </a:lnTo>
                <a:lnTo>
                  <a:pt x="1366" y="519"/>
                </a:lnTo>
                <a:lnTo>
                  <a:pt x="1352" y="519"/>
                </a:lnTo>
                <a:lnTo>
                  <a:pt x="1354" y="523"/>
                </a:lnTo>
                <a:lnTo>
                  <a:pt x="1352" y="523"/>
                </a:lnTo>
                <a:lnTo>
                  <a:pt x="1354" y="524"/>
                </a:lnTo>
                <a:lnTo>
                  <a:pt x="1365" y="527"/>
                </a:lnTo>
                <a:lnTo>
                  <a:pt x="1363" y="530"/>
                </a:lnTo>
                <a:lnTo>
                  <a:pt x="1357" y="533"/>
                </a:lnTo>
                <a:lnTo>
                  <a:pt x="1355" y="538"/>
                </a:lnTo>
                <a:lnTo>
                  <a:pt x="1344" y="547"/>
                </a:lnTo>
                <a:lnTo>
                  <a:pt x="1335" y="546"/>
                </a:lnTo>
                <a:lnTo>
                  <a:pt x="1323" y="540"/>
                </a:lnTo>
                <a:lnTo>
                  <a:pt x="1321" y="540"/>
                </a:lnTo>
                <a:lnTo>
                  <a:pt x="1310" y="535"/>
                </a:lnTo>
                <a:lnTo>
                  <a:pt x="1306" y="535"/>
                </a:lnTo>
                <a:lnTo>
                  <a:pt x="1307" y="534"/>
                </a:lnTo>
                <a:lnTo>
                  <a:pt x="1302" y="535"/>
                </a:lnTo>
                <a:lnTo>
                  <a:pt x="1306" y="535"/>
                </a:lnTo>
                <a:lnTo>
                  <a:pt x="1319" y="547"/>
                </a:lnTo>
                <a:lnTo>
                  <a:pt x="1344" y="547"/>
                </a:lnTo>
                <a:lnTo>
                  <a:pt x="1350" y="551"/>
                </a:lnTo>
                <a:lnTo>
                  <a:pt x="1341" y="566"/>
                </a:lnTo>
                <a:lnTo>
                  <a:pt x="1337" y="567"/>
                </a:lnTo>
                <a:lnTo>
                  <a:pt x="1335" y="573"/>
                </a:lnTo>
                <a:lnTo>
                  <a:pt x="1333" y="576"/>
                </a:lnTo>
                <a:lnTo>
                  <a:pt x="1324" y="580"/>
                </a:lnTo>
                <a:lnTo>
                  <a:pt x="1320" y="579"/>
                </a:lnTo>
                <a:lnTo>
                  <a:pt x="1321" y="580"/>
                </a:lnTo>
                <a:lnTo>
                  <a:pt x="1313" y="577"/>
                </a:lnTo>
                <a:lnTo>
                  <a:pt x="1313" y="580"/>
                </a:lnTo>
                <a:lnTo>
                  <a:pt x="1308" y="577"/>
                </a:lnTo>
                <a:lnTo>
                  <a:pt x="1307" y="579"/>
                </a:lnTo>
                <a:lnTo>
                  <a:pt x="1307" y="579"/>
                </a:lnTo>
                <a:lnTo>
                  <a:pt x="1307" y="580"/>
                </a:lnTo>
                <a:lnTo>
                  <a:pt x="1302" y="579"/>
                </a:lnTo>
                <a:lnTo>
                  <a:pt x="1306" y="584"/>
                </a:lnTo>
                <a:lnTo>
                  <a:pt x="1303" y="589"/>
                </a:lnTo>
                <a:lnTo>
                  <a:pt x="1296" y="586"/>
                </a:lnTo>
                <a:lnTo>
                  <a:pt x="1295" y="591"/>
                </a:lnTo>
                <a:lnTo>
                  <a:pt x="1292" y="591"/>
                </a:lnTo>
                <a:lnTo>
                  <a:pt x="1284" y="587"/>
                </a:lnTo>
                <a:lnTo>
                  <a:pt x="1281" y="587"/>
                </a:lnTo>
                <a:lnTo>
                  <a:pt x="1282" y="588"/>
                </a:lnTo>
                <a:lnTo>
                  <a:pt x="1293" y="592"/>
                </a:lnTo>
                <a:lnTo>
                  <a:pt x="1292" y="591"/>
                </a:lnTo>
                <a:lnTo>
                  <a:pt x="1295" y="592"/>
                </a:lnTo>
                <a:lnTo>
                  <a:pt x="1296" y="603"/>
                </a:lnTo>
                <a:lnTo>
                  <a:pt x="1295" y="604"/>
                </a:lnTo>
                <a:lnTo>
                  <a:pt x="1290" y="604"/>
                </a:lnTo>
                <a:lnTo>
                  <a:pt x="1284" y="608"/>
                </a:lnTo>
                <a:lnTo>
                  <a:pt x="1270" y="608"/>
                </a:lnTo>
                <a:lnTo>
                  <a:pt x="1273" y="611"/>
                </a:lnTo>
                <a:lnTo>
                  <a:pt x="1280" y="612"/>
                </a:lnTo>
                <a:lnTo>
                  <a:pt x="1276" y="614"/>
                </a:lnTo>
                <a:lnTo>
                  <a:pt x="1272" y="612"/>
                </a:lnTo>
                <a:lnTo>
                  <a:pt x="1265" y="615"/>
                </a:lnTo>
                <a:lnTo>
                  <a:pt x="1265" y="619"/>
                </a:lnTo>
                <a:lnTo>
                  <a:pt x="1266" y="620"/>
                </a:lnTo>
                <a:lnTo>
                  <a:pt x="1260" y="620"/>
                </a:lnTo>
                <a:lnTo>
                  <a:pt x="1266" y="624"/>
                </a:lnTo>
                <a:lnTo>
                  <a:pt x="1262" y="624"/>
                </a:lnTo>
                <a:lnTo>
                  <a:pt x="1263" y="627"/>
                </a:lnTo>
                <a:lnTo>
                  <a:pt x="1261" y="628"/>
                </a:lnTo>
                <a:lnTo>
                  <a:pt x="1261" y="628"/>
                </a:lnTo>
                <a:lnTo>
                  <a:pt x="1260" y="628"/>
                </a:lnTo>
                <a:lnTo>
                  <a:pt x="1260" y="628"/>
                </a:lnTo>
                <a:lnTo>
                  <a:pt x="1260" y="628"/>
                </a:lnTo>
                <a:lnTo>
                  <a:pt x="1257" y="628"/>
                </a:lnTo>
                <a:lnTo>
                  <a:pt x="1259" y="628"/>
                </a:lnTo>
                <a:lnTo>
                  <a:pt x="1257" y="627"/>
                </a:lnTo>
                <a:lnTo>
                  <a:pt x="1253" y="626"/>
                </a:lnTo>
                <a:lnTo>
                  <a:pt x="1253" y="630"/>
                </a:lnTo>
                <a:lnTo>
                  <a:pt x="1257" y="631"/>
                </a:lnTo>
                <a:lnTo>
                  <a:pt x="1248" y="638"/>
                </a:lnTo>
                <a:lnTo>
                  <a:pt x="1250" y="642"/>
                </a:lnTo>
                <a:lnTo>
                  <a:pt x="1243" y="653"/>
                </a:lnTo>
                <a:lnTo>
                  <a:pt x="1241" y="660"/>
                </a:lnTo>
                <a:lnTo>
                  <a:pt x="1237" y="660"/>
                </a:lnTo>
                <a:lnTo>
                  <a:pt x="1238" y="662"/>
                </a:lnTo>
                <a:lnTo>
                  <a:pt x="1233" y="672"/>
                </a:lnTo>
                <a:lnTo>
                  <a:pt x="1233" y="679"/>
                </a:lnTo>
                <a:lnTo>
                  <a:pt x="1234" y="684"/>
                </a:lnTo>
                <a:lnTo>
                  <a:pt x="1233" y="687"/>
                </a:lnTo>
                <a:lnTo>
                  <a:pt x="1233" y="690"/>
                </a:lnTo>
                <a:lnTo>
                  <a:pt x="1241" y="700"/>
                </a:lnTo>
                <a:lnTo>
                  <a:pt x="1244" y="700"/>
                </a:lnTo>
                <a:lnTo>
                  <a:pt x="1241" y="702"/>
                </a:lnTo>
                <a:lnTo>
                  <a:pt x="1245" y="700"/>
                </a:lnTo>
                <a:lnTo>
                  <a:pt x="1260" y="700"/>
                </a:lnTo>
                <a:lnTo>
                  <a:pt x="1270" y="730"/>
                </a:lnTo>
                <a:lnTo>
                  <a:pt x="1268" y="734"/>
                </a:lnTo>
                <a:lnTo>
                  <a:pt x="1265" y="739"/>
                </a:lnTo>
                <a:lnTo>
                  <a:pt x="1270" y="736"/>
                </a:lnTo>
                <a:lnTo>
                  <a:pt x="1274" y="736"/>
                </a:lnTo>
                <a:lnTo>
                  <a:pt x="1269" y="739"/>
                </a:lnTo>
                <a:lnTo>
                  <a:pt x="1292" y="732"/>
                </a:lnTo>
                <a:lnTo>
                  <a:pt x="1324" y="740"/>
                </a:lnTo>
                <a:lnTo>
                  <a:pt x="1335" y="747"/>
                </a:lnTo>
                <a:lnTo>
                  <a:pt x="1340" y="754"/>
                </a:lnTo>
                <a:lnTo>
                  <a:pt x="1344" y="757"/>
                </a:lnTo>
                <a:lnTo>
                  <a:pt x="1368" y="766"/>
                </a:lnTo>
                <a:lnTo>
                  <a:pt x="1373" y="772"/>
                </a:lnTo>
                <a:lnTo>
                  <a:pt x="1376" y="772"/>
                </a:lnTo>
                <a:lnTo>
                  <a:pt x="1374" y="774"/>
                </a:lnTo>
                <a:lnTo>
                  <a:pt x="1377" y="771"/>
                </a:lnTo>
                <a:lnTo>
                  <a:pt x="1384" y="774"/>
                </a:lnTo>
                <a:lnTo>
                  <a:pt x="1393" y="771"/>
                </a:lnTo>
                <a:lnTo>
                  <a:pt x="1399" y="775"/>
                </a:lnTo>
                <a:lnTo>
                  <a:pt x="1396" y="771"/>
                </a:lnTo>
                <a:lnTo>
                  <a:pt x="1408" y="774"/>
                </a:lnTo>
                <a:lnTo>
                  <a:pt x="1416" y="777"/>
                </a:lnTo>
                <a:lnTo>
                  <a:pt x="1417" y="775"/>
                </a:lnTo>
                <a:lnTo>
                  <a:pt x="1419" y="782"/>
                </a:lnTo>
                <a:lnTo>
                  <a:pt x="1414" y="791"/>
                </a:lnTo>
                <a:lnTo>
                  <a:pt x="1414" y="795"/>
                </a:lnTo>
                <a:lnTo>
                  <a:pt x="1416" y="797"/>
                </a:lnTo>
                <a:lnTo>
                  <a:pt x="1418" y="802"/>
                </a:lnTo>
                <a:lnTo>
                  <a:pt x="1418" y="805"/>
                </a:lnTo>
                <a:lnTo>
                  <a:pt x="1418" y="813"/>
                </a:lnTo>
                <a:lnTo>
                  <a:pt x="1414" y="816"/>
                </a:lnTo>
                <a:lnTo>
                  <a:pt x="1414" y="817"/>
                </a:lnTo>
                <a:lnTo>
                  <a:pt x="1426" y="831"/>
                </a:lnTo>
                <a:lnTo>
                  <a:pt x="1426" y="832"/>
                </a:lnTo>
                <a:lnTo>
                  <a:pt x="1424" y="836"/>
                </a:lnTo>
                <a:lnTo>
                  <a:pt x="1429" y="834"/>
                </a:lnTo>
                <a:lnTo>
                  <a:pt x="1430" y="837"/>
                </a:lnTo>
                <a:lnTo>
                  <a:pt x="1437" y="839"/>
                </a:lnTo>
                <a:lnTo>
                  <a:pt x="1442" y="847"/>
                </a:lnTo>
                <a:lnTo>
                  <a:pt x="1445" y="853"/>
                </a:lnTo>
                <a:lnTo>
                  <a:pt x="1449" y="853"/>
                </a:lnTo>
                <a:lnTo>
                  <a:pt x="1455" y="857"/>
                </a:lnTo>
                <a:lnTo>
                  <a:pt x="1456" y="852"/>
                </a:lnTo>
                <a:lnTo>
                  <a:pt x="1461" y="849"/>
                </a:lnTo>
                <a:lnTo>
                  <a:pt x="1463" y="849"/>
                </a:lnTo>
                <a:lnTo>
                  <a:pt x="1461" y="853"/>
                </a:lnTo>
                <a:lnTo>
                  <a:pt x="1466" y="853"/>
                </a:lnTo>
                <a:lnTo>
                  <a:pt x="1466" y="849"/>
                </a:lnTo>
                <a:lnTo>
                  <a:pt x="1466" y="848"/>
                </a:lnTo>
                <a:lnTo>
                  <a:pt x="1461" y="843"/>
                </a:lnTo>
                <a:lnTo>
                  <a:pt x="1466" y="842"/>
                </a:lnTo>
                <a:lnTo>
                  <a:pt x="1466" y="840"/>
                </a:lnTo>
                <a:lnTo>
                  <a:pt x="1470" y="837"/>
                </a:lnTo>
                <a:lnTo>
                  <a:pt x="1470" y="828"/>
                </a:lnTo>
                <a:lnTo>
                  <a:pt x="1469" y="828"/>
                </a:lnTo>
                <a:lnTo>
                  <a:pt x="1470" y="828"/>
                </a:lnTo>
                <a:lnTo>
                  <a:pt x="1466" y="822"/>
                </a:lnTo>
                <a:lnTo>
                  <a:pt x="1466" y="822"/>
                </a:lnTo>
                <a:lnTo>
                  <a:pt x="1466" y="813"/>
                </a:lnTo>
                <a:lnTo>
                  <a:pt x="1463" y="812"/>
                </a:lnTo>
                <a:lnTo>
                  <a:pt x="1467" y="812"/>
                </a:lnTo>
                <a:lnTo>
                  <a:pt x="1462" y="806"/>
                </a:lnTo>
                <a:lnTo>
                  <a:pt x="1463" y="802"/>
                </a:lnTo>
                <a:lnTo>
                  <a:pt x="1467" y="802"/>
                </a:lnTo>
                <a:lnTo>
                  <a:pt x="1462" y="801"/>
                </a:lnTo>
                <a:lnTo>
                  <a:pt x="1462" y="800"/>
                </a:lnTo>
                <a:lnTo>
                  <a:pt x="1466" y="800"/>
                </a:lnTo>
                <a:lnTo>
                  <a:pt x="1462" y="797"/>
                </a:lnTo>
                <a:lnTo>
                  <a:pt x="1462" y="796"/>
                </a:lnTo>
                <a:lnTo>
                  <a:pt x="1461" y="796"/>
                </a:lnTo>
                <a:lnTo>
                  <a:pt x="1459" y="787"/>
                </a:lnTo>
                <a:lnTo>
                  <a:pt x="1455" y="785"/>
                </a:lnTo>
                <a:lnTo>
                  <a:pt x="1475" y="777"/>
                </a:lnTo>
                <a:lnTo>
                  <a:pt x="1482" y="771"/>
                </a:lnTo>
                <a:lnTo>
                  <a:pt x="1491" y="765"/>
                </a:lnTo>
                <a:lnTo>
                  <a:pt x="1498" y="757"/>
                </a:lnTo>
                <a:lnTo>
                  <a:pt x="1498" y="748"/>
                </a:lnTo>
                <a:lnTo>
                  <a:pt x="1498" y="734"/>
                </a:lnTo>
                <a:lnTo>
                  <a:pt x="1495" y="721"/>
                </a:lnTo>
                <a:lnTo>
                  <a:pt x="1488" y="710"/>
                </a:lnTo>
                <a:lnTo>
                  <a:pt x="1481" y="706"/>
                </a:lnTo>
                <a:lnTo>
                  <a:pt x="1474" y="702"/>
                </a:lnTo>
                <a:lnTo>
                  <a:pt x="1475" y="704"/>
                </a:lnTo>
                <a:lnTo>
                  <a:pt x="1472" y="702"/>
                </a:lnTo>
                <a:lnTo>
                  <a:pt x="1472" y="702"/>
                </a:lnTo>
                <a:lnTo>
                  <a:pt x="1474" y="700"/>
                </a:lnTo>
                <a:lnTo>
                  <a:pt x="1472" y="694"/>
                </a:lnTo>
                <a:lnTo>
                  <a:pt x="1475" y="695"/>
                </a:lnTo>
                <a:lnTo>
                  <a:pt x="1479" y="689"/>
                </a:lnTo>
                <a:lnTo>
                  <a:pt x="1485" y="684"/>
                </a:lnTo>
                <a:lnTo>
                  <a:pt x="1482" y="684"/>
                </a:lnTo>
                <a:lnTo>
                  <a:pt x="1482" y="681"/>
                </a:lnTo>
                <a:lnTo>
                  <a:pt x="1482" y="677"/>
                </a:lnTo>
                <a:lnTo>
                  <a:pt x="1489" y="681"/>
                </a:lnTo>
                <a:lnTo>
                  <a:pt x="1486" y="677"/>
                </a:lnTo>
                <a:lnTo>
                  <a:pt x="1489" y="676"/>
                </a:lnTo>
                <a:lnTo>
                  <a:pt x="1488" y="672"/>
                </a:lnTo>
                <a:lnTo>
                  <a:pt x="1497" y="668"/>
                </a:lnTo>
                <a:lnTo>
                  <a:pt x="1492" y="668"/>
                </a:lnTo>
                <a:lnTo>
                  <a:pt x="1489" y="672"/>
                </a:lnTo>
                <a:lnTo>
                  <a:pt x="1486" y="669"/>
                </a:lnTo>
                <a:lnTo>
                  <a:pt x="1488" y="666"/>
                </a:lnTo>
                <a:lnTo>
                  <a:pt x="1483" y="662"/>
                </a:lnTo>
                <a:lnTo>
                  <a:pt x="1488" y="660"/>
                </a:lnTo>
                <a:lnTo>
                  <a:pt x="1482" y="657"/>
                </a:lnTo>
                <a:lnTo>
                  <a:pt x="1486" y="656"/>
                </a:lnTo>
                <a:lnTo>
                  <a:pt x="1477" y="656"/>
                </a:lnTo>
                <a:lnTo>
                  <a:pt x="1485" y="644"/>
                </a:lnTo>
                <a:lnTo>
                  <a:pt x="1482" y="639"/>
                </a:lnTo>
                <a:lnTo>
                  <a:pt x="1486" y="638"/>
                </a:lnTo>
                <a:lnTo>
                  <a:pt x="1481" y="633"/>
                </a:lnTo>
                <a:lnTo>
                  <a:pt x="1477" y="622"/>
                </a:lnTo>
                <a:lnTo>
                  <a:pt x="1481" y="617"/>
                </a:lnTo>
                <a:lnTo>
                  <a:pt x="1486" y="616"/>
                </a:lnTo>
                <a:lnTo>
                  <a:pt x="1496" y="616"/>
                </a:lnTo>
                <a:lnTo>
                  <a:pt x="1514" y="620"/>
                </a:lnTo>
                <a:lnTo>
                  <a:pt x="1510" y="622"/>
                </a:lnTo>
                <a:lnTo>
                  <a:pt x="1519" y="619"/>
                </a:lnTo>
                <a:lnTo>
                  <a:pt x="1529" y="624"/>
                </a:lnTo>
                <a:lnTo>
                  <a:pt x="1526" y="622"/>
                </a:lnTo>
                <a:lnTo>
                  <a:pt x="1542" y="615"/>
                </a:lnTo>
                <a:lnTo>
                  <a:pt x="1553" y="624"/>
                </a:lnTo>
                <a:lnTo>
                  <a:pt x="1558" y="624"/>
                </a:lnTo>
                <a:lnTo>
                  <a:pt x="1558" y="626"/>
                </a:lnTo>
                <a:lnTo>
                  <a:pt x="1556" y="632"/>
                </a:lnTo>
                <a:lnTo>
                  <a:pt x="1558" y="632"/>
                </a:lnTo>
                <a:lnTo>
                  <a:pt x="1558" y="628"/>
                </a:lnTo>
                <a:lnTo>
                  <a:pt x="1562" y="628"/>
                </a:lnTo>
                <a:lnTo>
                  <a:pt x="1566" y="633"/>
                </a:lnTo>
                <a:lnTo>
                  <a:pt x="1562" y="637"/>
                </a:lnTo>
                <a:lnTo>
                  <a:pt x="1566" y="635"/>
                </a:lnTo>
                <a:lnTo>
                  <a:pt x="1566" y="633"/>
                </a:lnTo>
                <a:lnTo>
                  <a:pt x="1571" y="635"/>
                </a:lnTo>
                <a:lnTo>
                  <a:pt x="1574" y="638"/>
                </a:lnTo>
                <a:lnTo>
                  <a:pt x="1567" y="640"/>
                </a:lnTo>
                <a:lnTo>
                  <a:pt x="1571" y="640"/>
                </a:lnTo>
                <a:lnTo>
                  <a:pt x="1575" y="647"/>
                </a:lnTo>
                <a:lnTo>
                  <a:pt x="1588" y="648"/>
                </a:lnTo>
                <a:lnTo>
                  <a:pt x="1593" y="647"/>
                </a:lnTo>
                <a:lnTo>
                  <a:pt x="1594" y="651"/>
                </a:lnTo>
                <a:lnTo>
                  <a:pt x="1596" y="654"/>
                </a:lnTo>
                <a:lnTo>
                  <a:pt x="1600" y="652"/>
                </a:lnTo>
                <a:lnTo>
                  <a:pt x="1598" y="652"/>
                </a:lnTo>
                <a:lnTo>
                  <a:pt x="1598" y="648"/>
                </a:lnTo>
                <a:lnTo>
                  <a:pt x="1601" y="646"/>
                </a:lnTo>
                <a:lnTo>
                  <a:pt x="1604" y="653"/>
                </a:lnTo>
                <a:lnTo>
                  <a:pt x="1599" y="656"/>
                </a:lnTo>
                <a:lnTo>
                  <a:pt x="1600" y="658"/>
                </a:lnTo>
                <a:lnTo>
                  <a:pt x="1597" y="660"/>
                </a:lnTo>
                <a:lnTo>
                  <a:pt x="1598" y="662"/>
                </a:lnTo>
                <a:lnTo>
                  <a:pt x="1598" y="665"/>
                </a:lnTo>
                <a:lnTo>
                  <a:pt x="1598" y="665"/>
                </a:lnTo>
                <a:lnTo>
                  <a:pt x="1598" y="669"/>
                </a:lnTo>
                <a:lnTo>
                  <a:pt x="1587" y="672"/>
                </a:lnTo>
                <a:lnTo>
                  <a:pt x="1582" y="671"/>
                </a:lnTo>
                <a:lnTo>
                  <a:pt x="1586" y="676"/>
                </a:lnTo>
                <a:lnTo>
                  <a:pt x="1600" y="676"/>
                </a:lnTo>
                <a:lnTo>
                  <a:pt x="1601" y="675"/>
                </a:lnTo>
                <a:lnTo>
                  <a:pt x="1602" y="680"/>
                </a:lnTo>
                <a:lnTo>
                  <a:pt x="1600" y="684"/>
                </a:lnTo>
                <a:lnTo>
                  <a:pt x="1601" y="688"/>
                </a:lnTo>
                <a:lnTo>
                  <a:pt x="1604" y="688"/>
                </a:lnTo>
                <a:lnTo>
                  <a:pt x="1605" y="688"/>
                </a:lnTo>
                <a:lnTo>
                  <a:pt x="1607" y="692"/>
                </a:lnTo>
                <a:lnTo>
                  <a:pt x="1606" y="692"/>
                </a:lnTo>
                <a:lnTo>
                  <a:pt x="1606" y="696"/>
                </a:lnTo>
                <a:lnTo>
                  <a:pt x="1614" y="696"/>
                </a:lnTo>
                <a:lnTo>
                  <a:pt x="1620" y="699"/>
                </a:lnTo>
                <a:lnTo>
                  <a:pt x="1621" y="705"/>
                </a:lnTo>
                <a:lnTo>
                  <a:pt x="1625" y="702"/>
                </a:lnTo>
                <a:lnTo>
                  <a:pt x="1626" y="704"/>
                </a:lnTo>
                <a:lnTo>
                  <a:pt x="1626" y="705"/>
                </a:lnTo>
                <a:lnTo>
                  <a:pt x="1626" y="709"/>
                </a:lnTo>
                <a:lnTo>
                  <a:pt x="1623" y="713"/>
                </a:lnTo>
                <a:lnTo>
                  <a:pt x="1628" y="709"/>
                </a:lnTo>
                <a:lnTo>
                  <a:pt x="1630" y="710"/>
                </a:lnTo>
                <a:lnTo>
                  <a:pt x="1628" y="717"/>
                </a:lnTo>
                <a:lnTo>
                  <a:pt x="1631" y="710"/>
                </a:lnTo>
                <a:lnTo>
                  <a:pt x="1638" y="707"/>
                </a:lnTo>
                <a:lnTo>
                  <a:pt x="1640" y="704"/>
                </a:lnTo>
                <a:lnTo>
                  <a:pt x="1644" y="704"/>
                </a:lnTo>
                <a:lnTo>
                  <a:pt x="1645" y="700"/>
                </a:lnTo>
                <a:lnTo>
                  <a:pt x="1647" y="698"/>
                </a:lnTo>
                <a:lnTo>
                  <a:pt x="1655" y="702"/>
                </a:lnTo>
                <a:lnTo>
                  <a:pt x="1652" y="700"/>
                </a:lnTo>
                <a:lnTo>
                  <a:pt x="1653" y="700"/>
                </a:lnTo>
                <a:lnTo>
                  <a:pt x="1657" y="700"/>
                </a:lnTo>
                <a:lnTo>
                  <a:pt x="1653" y="698"/>
                </a:lnTo>
                <a:lnTo>
                  <a:pt x="1657" y="696"/>
                </a:lnTo>
                <a:lnTo>
                  <a:pt x="1664" y="696"/>
                </a:lnTo>
                <a:lnTo>
                  <a:pt x="1658" y="692"/>
                </a:lnTo>
                <a:lnTo>
                  <a:pt x="1656" y="687"/>
                </a:lnTo>
                <a:lnTo>
                  <a:pt x="1658" y="688"/>
                </a:lnTo>
                <a:lnTo>
                  <a:pt x="1658" y="684"/>
                </a:lnTo>
                <a:lnTo>
                  <a:pt x="1664" y="687"/>
                </a:lnTo>
                <a:lnTo>
                  <a:pt x="1660" y="683"/>
                </a:lnTo>
                <a:lnTo>
                  <a:pt x="1668" y="684"/>
                </a:lnTo>
                <a:lnTo>
                  <a:pt x="1661" y="683"/>
                </a:lnTo>
                <a:lnTo>
                  <a:pt x="1660" y="677"/>
                </a:lnTo>
                <a:lnTo>
                  <a:pt x="1664" y="673"/>
                </a:lnTo>
                <a:lnTo>
                  <a:pt x="1668" y="676"/>
                </a:lnTo>
                <a:lnTo>
                  <a:pt x="1665" y="673"/>
                </a:lnTo>
                <a:lnTo>
                  <a:pt x="1671" y="662"/>
                </a:lnTo>
                <a:lnTo>
                  <a:pt x="1676" y="666"/>
                </a:lnTo>
                <a:lnTo>
                  <a:pt x="1672" y="668"/>
                </a:lnTo>
                <a:lnTo>
                  <a:pt x="1676" y="668"/>
                </a:lnTo>
                <a:lnTo>
                  <a:pt x="1678" y="669"/>
                </a:lnTo>
                <a:lnTo>
                  <a:pt x="1675" y="669"/>
                </a:lnTo>
                <a:lnTo>
                  <a:pt x="1670" y="671"/>
                </a:lnTo>
                <a:lnTo>
                  <a:pt x="1675" y="669"/>
                </a:lnTo>
                <a:lnTo>
                  <a:pt x="1675" y="672"/>
                </a:lnTo>
                <a:lnTo>
                  <a:pt x="1679" y="672"/>
                </a:lnTo>
                <a:lnTo>
                  <a:pt x="1679" y="673"/>
                </a:lnTo>
                <a:lnTo>
                  <a:pt x="1679" y="674"/>
                </a:lnTo>
                <a:lnTo>
                  <a:pt x="1679" y="680"/>
                </a:lnTo>
                <a:lnTo>
                  <a:pt x="1681" y="680"/>
                </a:lnTo>
                <a:lnTo>
                  <a:pt x="1682" y="681"/>
                </a:lnTo>
                <a:lnTo>
                  <a:pt x="1687" y="683"/>
                </a:lnTo>
                <a:lnTo>
                  <a:pt x="1686" y="685"/>
                </a:lnTo>
                <a:lnTo>
                  <a:pt x="1684" y="687"/>
                </a:lnTo>
                <a:lnTo>
                  <a:pt x="1687" y="685"/>
                </a:lnTo>
                <a:lnTo>
                  <a:pt x="1693" y="690"/>
                </a:lnTo>
                <a:lnTo>
                  <a:pt x="1689" y="696"/>
                </a:lnTo>
                <a:lnTo>
                  <a:pt x="1693" y="696"/>
                </a:lnTo>
                <a:lnTo>
                  <a:pt x="1695" y="697"/>
                </a:lnTo>
                <a:lnTo>
                  <a:pt x="1698" y="695"/>
                </a:lnTo>
                <a:lnTo>
                  <a:pt x="1701" y="700"/>
                </a:lnTo>
                <a:lnTo>
                  <a:pt x="1689" y="711"/>
                </a:lnTo>
                <a:lnTo>
                  <a:pt x="1694" y="708"/>
                </a:lnTo>
                <a:lnTo>
                  <a:pt x="1703" y="708"/>
                </a:lnTo>
                <a:lnTo>
                  <a:pt x="1703" y="709"/>
                </a:lnTo>
                <a:lnTo>
                  <a:pt x="1701" y="712"/>
                </a:lnTo>
                <a:lnTo>
                  <a:pt x="1703" y="712"/>
                </a:lnTo>
                <a:lnTo>
                  <a:pt x="1704" y="712"/>
                </a:lnTo>
                <a:lnTo>
                  <a:pt x="1703" y="712"/>
                </a:lnTo>
                <a:lnTo>
                  <a:pt x="1703" y="713"/>
                </a:lnTo>
                <a:lnTo>
                  <a:pt x="1706" y="711"/>
                </a:lnTo>
                <a:lnTo>
                  <a:pt x="1708" y="715"/>
                </a:lnTo>
                <a:lnTo>
                  <a:pt x="1701" y="717"/>
                </a:lnTo>
                <a:lnTo>
                  <a:pt x="1710" y="715"/>
                </a:lnTo>
                <a:lnTo>
                  <a:pt x="1711" y="717"/>
                </a:lnTo>
                <a:lnTo>
                  <a:pt x="1711" y="718"/>
                </a:lnTo>
                <a:lnTo>
                  <a:pt x="1711" y="721"/>
                </a:lnTo>
                <a:lnTo>
                  <a:pt x="1710" y="719"/>
                </a:lnTo>
                <a:lnTo>
                  <a:pt x="1710" y="721"/>
                </a:lnTo>
                <a:lnTo>
                  <a:pt x="1713" y="723"/>
                </a:lnTo>
                <a:lnTo>
                  <a:pt x="1712" y="724"/>
                </a:lnTo>
                <a:lnTo>
                  <a:pt x="1708" y="728"/>
                </a:lnTo>
                <a:lnTo>
                  <a:pt x="1704" y="728"/>
                </a:lnTo>
                <a:lnTo>
                  <a:pt x="1707" y="732"/>
                </a:lnTo>
                <a:lnTo>
                  <a:pt x="1713" y="732"/>
                </a:lnTo>
                <a:lnTo>
                  <a:pt x="1715" y="732"/>
                </a:lnTo>
                <a:lnTo>
                  <a:pt x="1711" y="734"/>
                </a:lnTo>
                <a:lnTo>
                  <a:pt x="1719" y="734"/>
                </a:lnTo>
                <a:lnTo>
                  <a:pt x="1719" y="736"/>
                </a:lnTo>
                <a:lnTo>
                  <a:pt x="1719" y="739"/>
                </a:lnTo>
                <a:lnTo>
                  <a:pt x="1716" y="744"/>
                </a:lnTo>
                <a:lnTo>
                  <a:pt x="1715" y="744"/>
                </a:lnTo>
                <a:lnTo>
                  <a:pt x="1716" y="744"/>
                </a:lnTo>
                <a:lnTo>
                  <a:pt x="1715" y="744"/>
                </a:lnTo>
                <a:lnTo>
                  <a:pt x="1713" y="744"/>
                </a:lnTo>
                <a:lnTo>
                  <a:pt x="1711" y="744"/>
                </a:lnTo>
                <a:lnTo>
                  <a:pt x="1711" y="743"/>
                </a:lnTo>
                <a:lnTo>
                  <a:pt x="1707" y="742"/>
                </a:lnTo>
                <a:lnTo>
                  <a:pt x="1704" y="742"/>
                </a:lnTo>
                <a:lnTo>
                  <a:pt x="1711" y="747"/>
                </a:lnTo>
                <a:lnTo>
                  <a:pt x="1710" y="747"/>
                </a:lnTo>
                <a:lnTo>
                  <a:pt x="1711" y="748"/>
                </a:lnTo>
                <a:lnTo>
                  <a:pt x="1711" y="748"/>
                </a:lnTo>
                <a:lnTo>
                  <a:pt x="1712" y="748"/>
                </a:lnTo>
                <a:lnTo>
                  <a:pt x="1715" y="748"/>
                </a:lnTo>
                <a:lnTo>
                  <a:pt x="1715" y="752"/>
                </a:lnTo>
                <a:lnTo>
                  <a:pt x="1711" y="751"/>
                </a:lnTo>
                <a:lnTo>
                  <a:pt x="1711" y="756"/>
                </a:lnTo>
                <a:lnTo>
                  <a:pt x="1716" y="756"/>
                </a:lnTo>
                <a:lnTo>
                  <a:pt x="1720" y="756"/>
                </a:lnTo>
                <a:lnTo>
                  <a:pt x="1721" y="756"/>
                </a:lnTo>
                <a:lnTo>
                  <a:pt x="1723" y="756"/>
                </a:lnTo>
                <a:lnTo>
                  <a:pt x="1720" y="760"/>
                </a:lnTo>
                <a:lnTo>
                  <a:pt x="1724" y="760"/>
                </a:lnTo>
                <a:lnTo>
                  <a:pt x="1726" y="760"/>
                </a:lnTo>
                <a:lnTo>
                  <a:pt x="1727" y="760"/>
                </a:lnTo>
                <a:lnTo>
                  <a:pt x="1731" y="760"/>
                </a:lnTo>
                <a:lnTo>
                  <a:pt x="1729" y="763"/>
                </a:lnTo>
                <a:lnTo>
                  <a:pt x="1732" y="760"/>
                </a:lnTo>
                <a:lnTo>
                  <a:pt x="1731" y="766"/>
                </a:lnTo>
                <a:lnTo>
                  <a:pt x="1734" y="760"/>
                </a:lnTo>
                <a:lnTo>
                  <a:pt x="1738" y="764"/>
                </a:lnTo>
                <a:lnTo>
                  <a:pt x="1734" y="768"/>
                </a:lnTo>
                <a:lnTo>
                  <a:pt x="1737" y="768"/>
                </a:lnTo>
                <a:lnTo>
                  <a:pt x="1738" y="767"/>
                </a:lnTo>
                <a:lnTo>
                  <a:pt x="1739" y="768"/>
                </a:lnTo>
                <a:lnTo>
                  <a:pt x="1736" y="770"/>
                </a:lnTo>
                <a:lnTo>
                  <a:pt x="1735" y="771"/>
                </a:lnTo>
                <a:lnTo>
                  <a:pt x="1734" y="772"/>
                </a:lnTo>
                <a:lnTo>
                  <a:pt x="1735" y="771"/>
                </a:lnTo>
                <a:lnTo>
                  <a:pt x="1734" y="774"/>
                </a:lnTo>
                <a:lnTo>
                  <a:pt x="1734" y="773"/>
                </a:lnTo>
                <a:lnTo>
                  <a:pt x="1731" y="780"/>
                </a:lnTo>
                <a:lnTo>
                  <a:pt x="1738" y="776"/>
                </a:lnTo>
                <a:lnTo>
                  <a:pt x="1738" y="776"/>
                </a:lnTo>
                <a:lnTo>
                  <a:pt x="1743" y="771"/>
                </a:lnTo>
                <a:lnTo>
                  <a:pt x="1743" y="774"/>
                </a:lnTo>
                <a:lnTo>
                  <a:pt x="1741" y="776"/>
                </a:lnTo>
                <a:lnTo>
                  <a:pt x="1750" y="776"/>
                </a:lnTo>
                <a:lnTo>
                  <a:pt x="1741" y="783"/>
                </a:lnTo>
                <a:lnTo>
                  <a:pt x="1753" y="774"/>
                </a:lnTo>
                <a:lnTo>
                  <a:pt x="1750" y="779"/>
                </a:lnTo>
                <a:lnTo>
                  <a:pt x="1754" y="776"/>
                </a:lnTo>
                <a:lnTo>
                  <a:pt x="1755" y="776"/>
                </a:lnTo>
                <a:lnTo>
                  <a:pt x="1755" y="777"/>
                </a:lnTo>
                <a:lnTo>
                  <a:pt x="1757" y="779"/>
                </a:lnTo>
                <a:lnTo>
                  <a:pt x="1754" y="780"/>
                </a:lnTo>
                <a:lnTo>
                  <a:pt x="1756" y="782"/>
                </a:lnTo>
                <a:lnTo>
                  <a:pt x="1767" y="782"/>
                </a:lnTo>
                <a:lnTo>
                  <a:pt x="1765" y="782"/>
                </a:lnTo>
                <a:lnTo>
                  <a:pt x="1767" y="780"/>
                </a:lnTo>
                <a:lnTo>
                  <a:pt x="1767" y="784"/>
                </a:lnTo>
                <a:lnTo>
                  <a:pt x="1769" y="784"/>
                </a:lnTo>
                <a:lnTo>
                  <a:pt x="1772" y="783"/>
                </a:lnTo>
                <a:lnTo>
                  <a:pt x="1780" y="788"/>
                </a:lnTo>
                <a:lnTo>
                  <a:pt x="1779" y="792"/>
                </a:lnTo>
                <a:lnTo>
                  <a:pt x="1775" y="792"/>
                </a:lnTo>
                <a:lnTo>
                  <a:pt x="1779" y="792"/>
                </a:lnTo>
                <a:lnTo>
                  <a:pt x="1774" y="792"/>
                </a:lnTo>
                <a:lnTo>
                  <a:pt x="1768" y="792"/>
                </a:lnTo>
                <a:lnTo>
                  <a:pt x="1767" y="794"/>
                </a:lnTo>
                <a:lnTo>
                  <a:pt x="1764" y="795"/>
                </a:lnTo>
                <a:lnTo>
                  <a:pt x="1761" y="800"/>
                </a:lnTo>
                <a:lnTo>
                  <a:pt x="1762" y="799"/>
                </a:lnTo>
                <a:lnTo>
                  <a:pt x="1763" y="799"/>
                </a:lnTo>
                <a:lnTo>
                  <a:pt x="1763" y="796"/>
                </a:lnTo>
                <a:lnTo>
                  <a:pt x="1779" y="796"/>
                </a:lnTo>
                <a:lnTo>
                  <a:pt x="1783" y="802"/>
                </a:lnTo>
                <a:lnTo>
                  <a:pt x="1776" y="805"/>
                </a:lnTo>
                <a:lnTo>
                  <a:pt x="1779" y="808"/>
                </a:lnTo>
                <a:lnTo>
                  <a:pt x="1779" y="809"/>
                </a:lnTo>
                <a:lnTo>
                  <a:pt x="1784" y="804"/>
                </a:lnTo>
                <a:lnTo>
                  <a:pt x="1791" y="802"/>
                </a:lnTo>
                <a:lnTo>
                  <a:pt x="1791" y="808"/>
                </a:lnTo>
                <a:lnTo>
                  <a:pt x="1790" y="808"/>
                </a:lnTo>
                <a:lnTo>
                  <a:pt x="1799" y="812"/>
                </a:lnTo>
                <a:lnTo>
                  <a:pt x="1799" y="812"/>
                </a:lnTo>
                <a:lnTo>
                  <a:pt x="1799" y="816"/>
                </a:lnTo>
                <a:lnTo>
                  <a:pt x="1800" y="820"/>
                </a:lnTo>
                <a:lnTo>
                  <a:pt x="1797" y="820"/>
                </a:lnTo>
                <a:lnTo>
                  <a:pt x="1800" y="823"/>
                </a:lnTo>
                <a:lnTo>
                  <a:pt x="1802" y="823"/>
                </a:lnTo>
                <a:lnTo>
                  <a:pt x="1798" y="826"/>
                </a:lnTo>
                <a:lnTo>
                  <a:pt x="1802" y="828"/>
                </a:lnTo>
                <a:lnTo>
                  <a:pt x="1799" y="828"/>
                </a:lnTo>
                <a:lnTo>
                  <a:pt x="1797" y="828"/>
                </a:lnTo>
                <a:lnTo>
                  <a:pt x="1791" y="828"/>
                </a:lnTo>
                <a:lnTo>
                  <a:pt x="1803" y="831"/>
                </a:lnTo>
                <a:lnTo>
                  <a:pt x="1803" y="832"/>
                </a:lnTo>
                <a:lnTo>
                  <a:pt x="1802" y="832"/>
                </a:lnTo>
                <a:lnTo>
                  <a:pt x="1796" y="831"/>
                </a:lnTo>
                <a:lnTo>
                  <a:pt x="1803" y="834"/>
                </a:lnTo>
                <a:lnTo>
                  <a:pt x="1803" y="837"/>
                </a:lnTo>
                <a:lnTo>
                  <a:pt x="1785" y="853"/>
                </a:lnTo>
                <a:lnTo>
                  <a:pt x="1781" y="853"/>
                </a:lnTo>
                <a:lnTo>
                  <a:pt x="1774" y="853"/>
                </a:lnTo>
                <a:lnTo>
                  <a:pt x="1770" y="854"/>
                </a:lnTo>
                <a:lnTo>
                  <a:pt x="1759" y="855"/>
                </a:lnTo>
                <a:lnTo>
                  <a:pt x="1759" y="856"/>
                </a:lnTo>
                <a:lnTo>
                  <a:pt x="1755" y="860"/>
                </a:lnTo>
                <a:lnTo>
                  <a:pt x="1755" y="862"/>
                </a:lnTo>
                <a:lnTo>
                  <a:pt x="1751" y="863"/>
                </a:lnTo>
                <a:lnTo>
                  <a:pt x="1751" y="862"/>
                </a:lnTo>
                <a:lnTo>
                  <a:pt x="1745" y="869"/>
                </a:lnTo>
                <a:lnTo>
                  <a:pt x="1743" y="871"/>
                </a:lnTo>
                <a:lnTo>
                  <a:pt x="1743" y="872"/>
                </a:lnTo>
                <a:lnTo>
                  <a:pt x="1741" y="874"/>
                </a:lnTo>
                <a:lnTo>
                  <a:pt x="1723" y="875"/>
                </a:lnTo>
                <a:lnTo>
                  <a:pt x="1716" y="879"/>
                </a:lnTo>
                <a:lnTo>
                  <a:pt x="1719" y="877"/>
                </a:lnTo>
                <a:lnTo>
                  <a:pt x="1716" y="877"/>
                </a:lnTo>
                <a:lnTo>
                  <a:pt x="1715" y="875"/>
                </a:lnTo>
                <a:lnTo>
                  <a:pt x="1707" y="872"/>
                </a:lnTo>
                <a:lnTo>
                  <a:pt x="1694" y="874"/>
                </a:lnTo>
                <a:lnTo>
                  <a:pt x="1686" y="873"/>
                </a:lnTo>
                <a:lnTo>
                  <a:pt x="1665" y="873"/>
                </a:lnTo>
                <a:lnTo>
                  <a:pt x="1653" y="873"/>
                </a:lnTo>
                <a:lnTo>
                  <a:pt x="1652" y="875"/>
                </a:lnTo>
                <a:lnTo>
                  <a:pt x="1647" y="874"/>
                </a:lnTo>
                <a:lnTo>
                  <a:pt x="1638" y="882"/>
                </a:lnTo>
                <a:lnTo>
                  <a:pt x="1637" y="889"/>
                </a:lnTo>
                <a:lnTo>
                  <a:pt x="1633" y="892"/>
                </a:lnTo>
                <a:lnTo>
                  <a:pt x="1623" y="894"/>
                </a:lnTo>
                <a:lnTo>
                  <a:pt x="1621" y="895"/>
                </a:lnTo>
                <a:lnTo>
                  <a:pt x="1615" y="897"/>
                </a:lnTo>
                <a:lnTo>
                  <a:pt x="1608" y="901"/>
                </a:lnTo>
                <a:lnTo>
                  <a:pt x="1607" y="904"/>
                </a:lnTo>
                <a:lnTo>
                  <a:pt x="1600" y="915"/>
                </a:lnTo>
                <a:lnTo>
                  <a:pt x="1599" y="915"/>
                </a:lnTo>
                <a:lnTo>
                  <a:pt x="1595" y="921"/>
                </a:lnTo>
                <a:lnTo>
                  <a:pt x="1593" y="926"/>
                </a:lnTo>
                <a:lnTo>
                  <a:pt x="1588" y="928"/>
                </a:lnTo>
                <a:lnTo>
                  <a:pt x="1585" y="935"/>
                </a:lnTo>
                <a:lnTo>
                  <a:pt x="1578" y="941"/>
                </a:lnTo>
                <a:lnTo>
                  <a:pt x="1588" y="936"/>
                </a:lnTo>
                <a:lnTo>
                  <a:pt x="1604" y="917"/>
                </a:lnTo>
                <a:lnTo>
                  <a:pt x="1621" y="906"/>
                </a:lnTo>
                <a:lnTo>
                  <a:pt x="1651" y="897"/>
                </a:lnTo>
                <a:lnTo>
                  <a:pt x="1661" y="897"/>
                </a:lnTo>
                <a:lnTo>
                  <a:pt x="1672" y="896"/>
                </a:lnTo>
                <a:lnTo>
                  <a:pt x="1680" y="901"/>
                </a:lnTo>
                <a:lnTo>
                  <a:pt x="1681" y="904"/>
                </a:lnTo>
                <a:lnTo>
                  <a:pt x="1675" y="901"/>
                </a:lnTo>
                <a:lnTo>
                  <a:pt x="1681" y="905"/>
                </a:lnTo>
                <a:lnTo>
                  <a:pt x="1679" y="905"/>
                </a:lnTo>
                <a:lnTo>
                  <a:pt x="1679" y="908"/>
                </a:lnTo>
                <a:lnTo>
                  <a:pt x="1664" y="917"/>
                </a:lnTo>
                <a:lnTo>
                  <a:pt x="1655" y="913"/>
                </a:lnTo>
                <a:lnTo>
                  <a:pt x="1641" y="917"/>
                </a:lnTo>
                <a:lnTo>
                  <a:pt x="1648" y="917"/>
                </a:lnTo>
                <a:lnTo>
                  <a:pt x="1657" y="920"/>
                </a:lnTo>
                <a:lnTo>
                  <a:pt x="1659" y="924"/>
                </a:lnTo>
                <a:lnTo>
                  <a:pt x="1665" y="920"/>
                </a:lnTo>
                <a:lnTo>
                  <a:pt x="1672" y="920"/>
                </a:lnTo>
                <a:lnTo>
                  <a:pt x="1674" y="923"/>
                </a:lnTo>
                <a:lnTo>
                  <a:pt x="1671" y="924"/>
                </a:lnTo>
                <a:lnTo>
                  <a:pt x="1671" y="929"/>
                </a:lnTo>
                <a:lnTo>
                  <a:pt x="1664" y="937"/>
                </a:lnTo>
                <a:lnTo>
                  <a:pt x="1672" y="937"/>
                </a:lnTo>
                <a:lnTo>
                  <a:pt x="1671" y="941"/>
                </a:lnTo>
                <a:lnTo>
                  <a:pt x="1674" y="943"/>
                </a:lnTo>
                <a:lnTo>
                  <a:pt x="1676" y="951"/>
                </a:lnTo>
                <a:lnTo>
                  <a:pt x="1686" y="953"/>
                </a:lnTo>
                <a:lnTo>
                  <a:pt x="1681" y="955"/>
                </a:lnTo>
                <a:lnTo>
                  <a:pt x="1687" y="961"/>
                </a:lnTo>
                <a:lnTo>
                  <a:pt x="1689" y="961"/>
                </a:lnTo>
                <a:lnTo>
                  <a:pt x="1694" y="961"/>
                </a:lnTo>
                <a:lnTo>
                  <a:pt x="1701" y="961"/>
                </a:lnTo>
                <a:lnTo>
                  <a:pt x="1704" y="963"/>
                </a:lnTo>
                <a:lnTo>
                  <a:pt x="1711" y="958"/>
                </a:lnTo>
                <a:lnTo>
                  <a:pt x="1711" y="960"/>
                </a:lnTo>
                <a:lnTo>
                  <a:pt x="1717" y="961"/>
                </a:lnTo>
                <a:lnTo>
                  <a:pt x="1719" y="960"/>
                </a:lnTo>
                <a:lnTo>
                  <a:pt x="1719" y="954"/>
                </a:lnTo>
                <a:lnTo>
                  <a:pt x="1719" y="952"/>
                </a:lnTo>
                <a:lnTo>
                  <a:pt x="1723" y="952"/>
                </a:lnTo>
                <a:lnTo>
                  <a:pt x="1731" y="938"/>
                </a:lnTo>
                <a:lnTo>
                  <a:pt x="1736" y="940"/>
                </a:lnTo>
                <a:lnTo>
                  <a:pt x="1732" y="951"/>
                </a:lnTo>
                <a:lnTo>
                  <a:pt x="1735" y="949"/>
                </a:lnTo>
                <a:lnTo>
                  <a:pt x="1732" y="952"/>
                </a:lnTo>
                <a:lnTo>
                  <a:pt x="1724" y="955"/>
                </a:lnTo>
                <a:lnTo>
                  <a:pt x="1731" y="954"/>
                </a:lnTo>
                <a:lnTo>
                  <a:pt x="1731" y="954"/>
                </a:lnTo>
                <a:lnTo>
                  <a:pt x="1733" y="953"/>
                </a:lnTo>
                <a:lnTo>
                  <a:pt x="1737" y="949"/>
                </a:lnTo>
                <a:lnTo>
                  <a:pt x="1743" y="951"/>
                </a:lnTo>
                <a:lnTo>
                  <a:pt x="1743" y="952"/>
                </a:lnTo>
                <a:lnTo>
                  <a:pt x="1743" y="955"/>
                </a:lnTo>
                <a:lnTo>
                  <a:pt x="1738" y="958"/>
                </a:lnTo>
                <a:lnTo>
                  <a:pt x="1738" y="962"/>
                </a:lnTo>
                <a:lnTo>
                  <a:pt x="1734" y="965"/>
                </a:lnTo>
                <a:lnTo>
                  <a:pt x="1727" y="965"/>
                </a:lnTo>
                <a:lnTo>
                  <a:pt x="1724" y="965"/>
                </a:lnTo>
                <a:lnTo>
                  <a:pt x="1721" y="965"/>
                </a:lnTo>
                <a:lnTo>
                  <a:pt x="1723" y="967"/>
                </a:lnTo>
                <a:lnTo>
                  <a:pt x="1720" y="969"/>
                </a:lnTo>
                <a:lnTo>
                  <a:pt x="1727" y="969"/>
                </a:lnTo>
                <a:lnTo>
                  <a:pt x="1726" y="973"/>
                </a:lnTo>
                <a:lnTo>
                  <a:pt x="1723" y="973"/>
                </a:lnTo>
                <a:lnTo>
                  <a:pt x="1720" y="972"/>
                </a:lnTo>
                <a:lnTo>
                  <a:pt x="1705" y="975"/>
                </a:lnTo>
                <a:lnTo>
                  <a:pt x="1699" y="978"/>
                </a:lnTo>
                <a:lnTo>
                  <a:pt x="1695" y="977"/>
                </a:lnTo>
                <a:lnTo>
                  <a:pt x="1695" y="978"/>
                </a:lnTo>
                <a:lnTo>
                  <a:pt x="1694" y="977"/>
                </a:lnTo>
                <a:lnTo>
                  <a:pt x="1691" y="980"/>
                </a:lnTo>
                <a:lnTo>
                  <a:pt x="1687" y="978"/>
                </a:lnTo>
                <a:lnTo>
                  <a:pt x="1690" y="981"/>
                </a:lnTo>
                <a:lnTo>
                  <a:pt x="1688" y="983"/>
                </a:lnTo>
                <a:lnTo>
                  <a:pt x="1683" y="981"/>
                </a:lnTo>
                <a:lnTo>
                  <a:pt x="1683" y="978"/>
                </a:lnTo>
                <a:lnTo>
                  <a:pt x="1679" y="980"/>
                </a:lnTo>
                <a:lnTo>
                  <a:pt x="1679" y="981"/>
                </a:lnTo>
                <a:lnTo>
                  <a:pt x="1679" y="982"/>
                </a:lnTo>
                <a:lnTo>
                  <a:pt x="1679" y="983"/>
                </a:lnTo>
                <a:lnTo>
                  <a:pt x="1680" y="986"/>
                </a:lnTo>
                <a:lnTo>
                  <a:pt x="1675" y="989"/>
                </a:lnTo>
                <a:lnTo>
                  <a:pt x="1674" y="993"/>
                </a:lnTo>
                <a:lnTo>
                  <a:pt x="1672" y="993"/>
                </a:lnTo>
                <a:lnTo>
                  <a:pt x="1668" y="997"/>
                </a:lnTo>
                <a:lnTo>
                  <a:pt x="1664" y="997"/>
                </a:lnTo>
                <a:lnTo>
                  <a:pt x="1661" y="1002"/>
                </a:lnTo>
                <a:lnTo>
                  <a:pt x="1660" y="1001"/>
                </a:lnTo>
                <a:lnTo>
                  <a:pt x="1657" y="1001"/>
                </a:lnTo>
                <a:lnTo>
                  <a:pt x="1655" y="995"/>
                </a:lnTo>
                <a:lnTo>
                  <a:pt x="1652" y="996"/>
                </a:lnTo>
                <a:lnTo>
                  <a:pt x="1650" y="993"/>
                </a:lnTo>
                <a:lnTo>
                  <a:pt x="1650" y="989"/>
                </a:lnTo>
                <a:lnTo>
                  <a:pt x="1651" y="985"/>
                </a:lnTo>
                <a:lnTo>
                  <a:pt x="1655" y="981"/>
                </a:lnTo>
                <a:lnTo>
                  <a:pt x="1658" y="981"/>
                </a:lnTo>
                <a:lnTo>
                  <a:pt x="1658" y="977"/>
                </a:lnTo>
                <a:lnTo>
                  <a:pt x="1675" y="966"/>
                </a:lnTo>
                <a:lnTo>
                  <a:pt x="1675" y="973"/>
                </a:lnTo>
                <a:lnTo>
                  <a:pt x="1680" y="973"/>
                </a:lnTo>
                <a:lnTo>
                  <a:pt x="1679" y="973"/>
                </a:lnTo>
                <a:lnTo>
                  <a:pt x="1679" y="969"/>
                </a:lnTo>
                <a:lnTo>
                  <a:pt x="1692" y="966"/>
                </a:lnTo>
                <a:lnTo>
                  <a:pt x="1675" y="965"/>
                </a:lnTo>
                <a:lnTo>
                  <a:pt x="1671" y="966"/>
                </a:lnTo>
                <a:lnTo>
                  <a:pt x="1671" y="965"/>
                </a:lnTo>
                <a:lnTo>
                  <a:pt x="1671" y="965"/>
                </a:lnTo>
                <a:lnTo>
                  <a:pt x="1655" y="971"/>
                </a:lnTo>
                <a:lnTo>
                  <a:pt x="1652" y="966"/>
                </a:lnTo>
                <a:lnTo>
                  <a:pt x="1653" y="963"/>
                </a:lnTo>
                <a:lnTo>
                  <a:pt x="1651" y="966"/>
                </a:lnTo>
                <a:lnTo>
                  <a:pt x="1652" y="969"/>
                </a:lnTo>
                <a:lnTo>
                  <a:pt x="1647" y="972"/>
                </a:lnTo>
                <a:lnTo>
                  <a:pt x="1645" y="971"/>
                </a:lnTo>
                <a:lnTo>
                  <a:pt x="1641" y="973"/>
                </a:lnTo>
                <a:lnTo>
                  <a:pt x="1640" y="973"/>
                </a:lnTo>
                <a:lnTo>
                  <a:pt x="1639" y="973"/>
                </a:lnTo>
                <a:lnTo>
                  <a:pt x="1643" y="976"/>
                </a:lnTo>
                <a:lnTo>
                  <a:pt x="1639" y="977"/>
                </a:lnTo>
                <a:lnTo>
                  <a:pt x="1641" y="977"/>
                </a:lnTo>
                <a:lnTo>
                  <a:pt x="1641" y="979"/>
                </a:lnTo>
                <a:lnTo>
                  <a:pt x="1639" y="981"/>
                </a:lnTo>
                <a:lnTo>
                  <a:pt x="1630" y="981"/>
                </a:lnTo>
                <a:lnTo>
                  <a:pt x="1630" y="985"/>
                </a:lnTo>
                <a:lnTo>
                  <a:pt x="1631" y="985"/>
                </a:lnTo>
                <a:lnTo>
                  <a:pt x="1622" y="985"/>
                </a:lnTo>
                <a:lnTo>
                  <a:pt x="1623" y="989"/>
                </a:lnTo>
                <a:lnTo>
                  <a:pt x="1618" y="989"/>
                </a:lnTo>
                <a:lnTo>
                  <a:pt x="1618" y="989"/>
                </a:lnTo>
                <a:lnTo>
                  <a:pt x="1617" y="989"/>
                </a:lnTo>
                <a:lnTo>
                  <a:pt x="1614" y="988"/>
                </a:lnTo>
                <a:lnTo>
                  <a:pt x="1617" y="982"/>
                </a:lnTo>
                <a:lnTo>
                  <a:pt x="1613" y="983"/>
                </a:lnTo>
                <a:lnTo>
                  <a:pt x="1611" y="989"/>
                </a:lnTo>
                <a:lnTo>
                  <a:pt x="1607" y="992"/>
                </a:lnTo>
                <a:lnTo>
                  <a:pt x="1605" y="989"/>
                </a:lnTo>
                <a:lnTo>
                  <a:pt x="1602" y="993"/>
                </a:lnTo>
                <a:lnTo>
                  <a:pt x="1602" y="989"/>
                </a:lnTo>
                <a:lnTo>
                  <a:pt x="1598" y="992"/>
                </a:lnTo>
                <a:lnTo>
                  <a:pt x="1598" y="997"/>
                </a:lnTo>
                <a:lnTo>
                  <a:pt x="1598" y="993"/>
                </a:lnTo>
                <a:lnTo>
                  <a:pt x="1596" y="995"/>
                </a:lnTo>
                <a:lnTo>
                  <a:pt x="1595" y="998"/>
                </a:lnTo>
                <a:lnTo>
                  <a:pt x="1596" y="999"/>
                </a:lnTo>
                <a:lnTo>
                  <a:pt x="1591" y="1003"/>
                </a:lnTo>
                <a:lnTo>
                  <a:pt x="1589" y="1008"/>
                </a:lnTo>
                <a:lnTo>
                  <a:pt x="1587" y="1007"/>
                </a:lnTo>
                <a:lnTo>
                  <a:pt x="1585" y="1015"/>
                </a:lnTo>
                <a:lnTo>
                  <a:pt x="1589" y="1016"/>
                </a:lnTo>
                <a:lnTo>
                  <a:pt x="1585" y="1018"/>
                </a:lnTo>
                <a:lnTo>
                  <a:pt x="1583" y="1020"/>
                </a:lnTo>
                <a:lnTo>
                  <a:pt x="1586" y="1022"/>
                </a:lnTo>
                <a:lnTo>
                  <a:pt x="1586" y="1027"/>
                </a:lnTo>
                <a:lnTo>
                  <a:pt x="1590" y="1030"/>
                </a:lnTo>
                <a:lnTo>
                  <a:pt x="1590" y="1031"/>
                </a:lnTo>
                <a:lnTo>
                  <a:pt x="1594" y="1033"/>
                </a:lnTo>
                <a:lnTo>
                  <a:pt x="1598" y="1031"/>
                </a:lnTo>
                <a:lnTo>
                  <a:pt x="1598" y="1033"/>
                </a:lnTo>
                <a:lnTo>
                  <a:pt x="1590" y="1035"/>
                </a:lnTo>
                <a:lnTo>
                  <a:pt x="1586" y="1036"/>
                </a:lnTo>
                <a:lnTo>
                  <a:pt x="1586" y="1034"/>
                </a:lnTo>
                <a:lnTo>
                  <a:pt x="1578" y="1038"/>
                </a:lnTo>
                <a:lnTo>
                  <a:pt x="1578" y="1037"/>
                </a:lnTo>
                <a:lnTo>
                  <a:pt x="1578" y="1035"/>
                </a:lnTo>
                <a:lnTo>
                  <a:pt x="1579" y="1034"/>
                </a:lnTo>
                <a:lnTo>
                  <a:pt x="1578" y="1031"/>
                </a:lnTo>
                <a:lnTo>
                  <a:pt x="1577" y="1038"/>
                </a:lnTo>
                <a:lnTo>
                  <a:pt x="1556" y="1041"/>
                </a:lnTo>
                <a:lnTo>
                  <a:pt x="1546" y="1046"/>
                </a:lnTo>
                <a:lnTo>
                  <a:pt x="1542" y="1048"/>
                </a:lnTo>
                <a:lnTo>
                  <a:pt x="1546" y="1047"/>
                </a:lnTo>
                <a:lnTo>
                  <a:pt x="1561" y="1046"/>
                </a:lnTo>
                <a:lnTo>
                  <a:pt x="1565" y="1042"/>
                </a:lnTo>
                <a:lnTo>
                  <a:pt x="1561" y="1047"/>
                </a:lnTo>
                <a:lnTo>
                  <a:pt x="1572" y="1044"/>
                </a:lnTo>
                <a:lnTo>
                  <a:pt x="1558" y="1049"/>
                </a:lnTo>
                <a:lnTo>
                  <a:pt x="1545" y="1053"/>
                </a:lnTo>
                <a:lnTo>
                  <a:pt x="1544" y="1053"/>
                </a:lnTo>
                <a:lnTo>
                  <a:pt x="1541" y="1053"/>
                </a:lnTo>
                <a:lnTo>
                  <a:pt x="1540" y="1053"/>
                </a:lnTo>
                <a:lnTo>
                  <a:pt x="1540" y="1050"/>
                </a:lnTo>
                <a:lnTo>
                  <a:pt x="1539" y="1050"/>
                </a:lnTo>
                <a:lnTo>
                  <a:pt x="1542" y="1044"/>
                </a:lnTo>
                <a:lnTo>
                  <a:pt x="1538" y="1038"/>
                </a:lnTo>
                <a:lnTo>
                  <a:pt x="1538" y="1046"/>
                </a:lnTo>
                <a:lnTo>
                  <a:pt x="1537" y="1054"/>
                </a:lnTo>
                <a:lnTo>
                  <a:pt x="1537" y="1054"/>
                </a:lnTo>
                <a:lnTo>
                  <a:pt x="1537" y="1054"/>
                </a:lnTo>
                <a:lnTo>
                  <a:pt x="1537" y="1057"/>
                </a:lnTo>
                <a:lnTo>
                  <a:pt x="1540" y="1057"/>
                </a:lnTo>
                <a:lnTo>
                  <a:pt x="1540" y="1059"/>
                </a:lnTo>
                <a:lnTo>
                  <a:pt x="1538" y="1068"/>
                </a:lnTo>
                <a:lnTo>
                  <a:pt x="1538" y="1062"/>
                </a:lnTo>
                <a:lnTo>
                  <a:pt x="1538" y="1069"/>
                </a:lnTo>
                <a:lnTo>
                  <a:pt x="1535" y="1072"/>
                </a:lnTo>
                <a:lnTo>
                  <a:pt x="1534" y="1073"/>
                </a:lnTo>
                <a:lnTo>
                  <a:pt x="1533" y="1073"/>
                </a:lnTo>
                <a:lnTo>
                  <a:pt x="1534" y="1073"/>
                </a:lnTo>
                <a:lnTo>
                  <a:pt x="1533" y="1074"/>
                </a:lnTo>
                <a:lnTo>
                  <a:pt x="1530" y="1077"/>
                </a:lnTo>
                <a:lnTo>
                  <a:pt x="1532" y="1077"/>
                </a:lnTo>
                <a:lnTo>
                  <a:pt x="1530" y="1080"/>
                </a:lnTo>
                <a:lnTo>
                  <a:pt x="1526" y="1081"/>
                </a:lnTo>
                <a:lnTo>
                  <a:pt x="1526" y="1077"/>
                </a:lnTo>
                <a:lnTo>
                  <a:pt x="1518" y="1074"/>
                </a:lnTo>
                <a:lnTo>
                  <a:pt x="1517" y="1070"/>
                </a:lnTo>
                <a:lnTo>
                  <a:pt x="1524" y="1062"/>
                </a:lnTo>
                <a:lnTo>
                  <a:pt x="1514" y="1069"/>
                </a:lnTo>
                <a:lnTo>
                  <a:pt x="1514" y="1070"/>
                </a:lnTo>
                <a:lnTo>
                  <a:pt x="1514" y="1072"/>
                </a:lnTo>
                <a:lnTo>
                  <a:pt x="1522" y="1085"/>
                </a:lnTo>
                <a:lnTo>
                  <a:pt x="1520" y="1087"/>
                </a:lnTo>
                <a:lnTo>
                  <a:pt x="1522" y="1088"/>
                </a:lnTo>
                <a:lnTo>
                  <a:pt x="1522" y="1092"/>
                </a:lnTo>
                <a:lnTo>
                  <a:pt x="1519" y="1098"/>
                </a:lnTo>
                <a:lnTo>
                  <a:pt x="1518" y="1105"/>
                </a:lnTo>
                <a:lnTo>
                  <a:pt x="1516" y="1108"/>
                </a:lnTo>
                <a:lnTo>
                  <a:pt x="1510" y="1115"/>
                </a:lnTo>
                <a:lnTo>
                  <a:pt x="1510" y="1111"/>
                </a:lnTo>
                <a:lnTo>
                  <a:pt x="1511" y="1105"/>
                </a:lnTo>
                <a:lnTo>
                  <a:pt x="1513" y="1102"/>
                </a:lnTo>
                <a:lnTo>
                  <a:pt x="1514" y="1093"/>
                </a:lnTo>
                <a:lnTo>
                  <a:pt x="1511" y="1094"/>
                </a:lnTo>
                <a:lnTo>
                  <a:pt x="1507" y="1093"/>
                </a:lnTo>
                <a:lnTo>
                  <a:pt x="1506" y="1092"/>
                </a:lnTo>
                <a:lnTo>
                  <a:pt x="1510" y="1089"/>
                </a:lnTo>
                <a:lnTo>
                  <a:pt x="1510" y="1089"/>
                </a:lnTo>
                <a:lnTo>
                  <a:pt x="1508" y="1089"/>
                </a:lnTo>
                <a:lnTo>
                  <a:pt x="1507" y="1089"/>
                </a:lnTo>
                <a:lnTo>
                  <a:pt x="1506" y="1089"/>
                </a:lnTo>
                <a:lnTo>
                  <a:pt x="1507" y="1085"/>
                </a:lnTo>
                <a:lnTo>
                  <a:pt x="1510" y="1085"/>
                </a:lnTo>
                <a:lnTo>
                  <a:pt x="1507" y="1082"/>
                </a:lnTo>
                <a:lnTo>
                  <a:pt x="1507" y="1081"/>
                </a:lnTo>
                <a:lnTo>
                  <a:pt x="1507" y="1081"/>
                </a:lnTo>
                <a:lnTo>
                  <a:pt x="1506" y="1081"/>
                </a:lnTo>
                <a:lnTo>
                  <a:pt x="1506" y="1081"/>
                </a:lnTo>
                <a:lnTo>
                  <a:pt x="1506" y="1081"/>
                </a:lnTo>
                <a:lnTo>
                  <a:pt x="1506" y="1081"/>
                </a:lnTo>
                <a:lnTo>
                  <a:pt x="1506" y="1080"/>
                </a:lnTo>
                <a:lnTo>
                  <a:pt x="1506" y="1077"/>
                </a:lnTo>
                <a:lnTo>
                  <a:pt x="1510" y="1076"/>
                </a:lnTo>
                <a:lnTo>
                  <a:pt x="1511" y="1075"/>
                </a:lnTo>
                <a:lnTo>
                  <a:pt x="1514" y="1073"/>
                </a:lnTo>
                <a:lnTo>
                  <a:pt x="1510" y="1073"/>
                </a:lnTo>
                <a:lnTo>
                  <a:pt x="1511" y="1073"/>
                </a:lnTo>
                <a:lnTo>
                  <a:pt x="1506" y="1074"/>
                </a:lnTo>
                <a:lnTo>
                  <a:pt x="1506" y="1072"/>
                </a:lnTo>
                <a:lnTo>
                  <a:pt x="1504" y="1074"/>
                </a:lnTo>
                <a:lnTo>
                  <a:pt x="1502" y="1076"/>
                </a:lnTo>
                <a:lnTo>
                  <a:pt x="1502" y="1077"/>
                </a:lnTo>
                <a:lnTo>
                  <a:pt x="1500" y="1076"/>
                </a:lnTo>
                <a:lnTo>
                  <a:pt x="1506" y="1080"/>
                </a:lnTo>
                <a:lnTo>
                  <a:pt x="1503" y="1085"/>
                </a:lnTo>
                <a:lnTo>
                  <a:pt x="1506" y="1093"/>
                </a:lnTo>
                <a:lnTo>
                  <a:pt x="1501" y="1092"/>
                </a:lnTo>
                <a:lnTo>
                  <a:pt x="1506" y="1094"/>
                </a:lnTo>
                <a:lnTo>
                  <a:pt x="1506" y="1098"/>
                </a:lnTo>
                <a:lnTo>
                  <a:pt x="1503" y="1094"/>
                </a:lnTo>
                <a:lnTo>
                  <a:pt x="1499" y="1094"/>
                </a:lnTo>
                <a:lnTo>
                  <a:pt x="1497" y="1094"/>
                </a:lnTo>
                <a:lnTo>
                  <a:pt x="1495" y="1094"/>
                </a:lnTo>
                <a:lnTo>
                  <a:pt x="1499" y="1098"/>
                </a:lnTo>
                <a:lnTo>
                  <a:pt x="1503" y="1098"/>
                </a:lnTo>
                <a:lnTo>
                  <a:pt x="1507" y="1102"/>
                </a:lnTo>
                <a:lnTo>
                  <a:pt x="1506" y="1105"/>
                </a:lnTo>
                <a:lnTo>
                  <a:pt x="1500" y="1100"/>
                </a:lnTo>
                <a:lnTo>
                  <a:pt x="1503" y="1106"/>
                </a:lnTo>
                <a:lnTo>
                  <a:pt x="1506" y="1106"/>
                </a:lnTo>
                <a:lnTo>
                  <a:pt x="1507" y="1110"/>
                </a:lnTo>
                <a:lnTo>
                  <a:pt x="1506" y="1110"/>
                </a:lnTo>
                <a:lnTo>
                  <a:pt x="1506" y="1111"/>
                </a:lnTo>
                <a:lnTo>
                  <a:pt x="1501" y="1109"/>
                </a:lnTo>
                <a:lnTo>
                  <a:pt x="1507" y="1115"/>
                </a:lnTo>
                <a:lnTo>
                  <a:pt x="1506" y="1117"/>
                </a:lnTo>
                <a:lnTo>
                  <a:pt x="1502" y="1112"/>
                </a:lnTo>
                <a:lnTo>
                  <a:pt x="1494" y="1111"/>
                </a:lnTo>
                <a:lnTo>
                  <a:pt x="1502" y="1115"/>
                </a:lnTo>
                <a:lnTo>
                  <a:pt x="1505" y="1117"/>
                </a:lnTo>
                <a:lnTo>
                  <a:pt x="1506" y="1119"/>
                </a:lnTo>
                <a:lnTo>
                  <a:pt x="1506" y="1118"/>
                </a:lnTo>
                <a:lnTo>
                  <a:pt x="1511" y="1118"/>
                </a:lnTo>
                <a:lnTo>
                  <a:pt x="1513" y="1121"/>
                </a:lnTo>
                <a:lnTo>
                  <a:pt x="1511" y="1123"/>
                </a:lnTo>
                <a:lnTo>
                  <a:pt x="1514" y="1132"/>
                </a:lnTo>
                <a:lnTo>
                  <a:pt x="1511" y="1127"/>
                </a:lnTo>
                <a:lnTo>
                  <a:pt x="1513" y="1131"/>
                </a:lnTo>
                <a:lnTo>
                  <a:pt x="1507" y="1127"/>
                </a:lnTo>
                <a:lnTo>
                  <a:pt x="1511" y="1131"/>
                </a:lnTo>
                <a:lnTo>
                  <a:pt x="1507" y="1132"/>
                </a:lnTo>
                <a:lnTo>
                  <a:pt x="1506" y="1131"/>
                </a:lnTo>
                <a:lnTo>
                  <a:pt x="1504" y="1134"/>
                </a:lnTo>
                <a:lnTo>
                  <a:pt x="1499" y="1132"/>
                </a:lnTo>
                <a:lnTo>
                  <a:pt x="1500" y="1134"/>
                </a:lnTo>
                <a:lnTo>
                  <a:pt x="1506" y="1134"/>
                </a:lnTo>
                <a:lnTo>
                  <a:pt x="1507" y="1134"/>
                </a:lnTo>
                <a:lnTo>
                  <a:pt x="1510" y="1134"/>
                </a:lnTo>
                <a:lnTo>
                  <a:pt x="1510" y="1135"/>
                </a:lnTo>
                <a:lnTo>
                  <a:pt x="1513" y="1134"/>
                </a:lnTo>
                <a:lnTo>
                  <a:pt x="1517" y="1138"/>
                </a:lnTo>
                <a:lnTo>
                  <a:pt x="1514" y="1140"/>
                </a:lnTo>
                <a:lnTo>
                  <a:pt x="1511" y="1144"/>
                </a:lnTo>
                <a:lnTo>
                  <a:pt x="1510" y="1146"/>
                </a:lnTo>
                <a:lnTo>
                  <a:pt x="1506" y="1146"/>
                </a:lnTo>
                <a:lnTo>
                  <a:pt x="1505" y="1145"/>
                </a:lnTo>
                <a:lnTo>
                  <a:pt x="1502" y="1147"/>
                </a:lnTo>
                <a:lnTo>
                  <a:pt x="1503" y="1149"/>
                </a:lnTo>
                <a:lnTo>
                  <a:pt x="1502" y="1149"/>
                </a:lnTo>
                <a:lnTo>
                  <a:pt x="1502" y="1151"/>
                </a:lnTo>
                <a:lnTo>
                  <a:pt x="1506" y="1150"/>
                </a:lnTo>
                <a:lnTo>
                  <a:pt x="1507" y="1150"/>
                </a:lnTo>
                <a:lnTo>
                  <a:pt x="1506" y="1153"/>
                </a:lnTo>
                <a:lnTo>
                  <a:pt x="1503" y="1158"/>
                </a:lnTo>
                <a:lnTo>
                  <a:pt x="1498" y="1158"/>
                </a:lnTo>
                <a:lnTo>
                  <a:pt x="1498" y="1154"/>
                </a:lnTo>
                <a:lnTo>
                  <a:pt x="1493" y="1155"/>
                </a:lnTo>
                <a:lnTo>
                  <a:pt x="1492" y="1157"/>
                </a:lnTo>
                <a:lnTo>
                  <a:pt x="1491" y="1155"/>
                </a:lnTo>
                <a:lnTo>
                  <a:pt x="1492" y="1158"/>
                </a:lnTo>
                <a:lnTo>
                  <a:pt x="1487" y="1161"/>
                </a:lnTo>
                <a:lnTo>
                  <a:pt x="1484" y="1169"/>
                </a:lnTo>
                <a:lnTo>
                  <a:pt x="1482" y="1165"/>
                </a:lnTo>
                <a:lnTo>
                  <a:pt x="1482" y="1170"/>
                </a:lnTo>
                <a:lnTo>
                  <a:pt x="1474" y="1170"/>
                </a:lnTo>
                <a:lnTo>
                  <a:pt x="1469" y="1172"/>
                </a:lnTo>
                <a:lnTo>
                  <a:pt x="1466" y="1181"/>
                </a:lnTo>
                <a:lnTo>
                  <a:pt x="1463" y="1178"/>
                </a:lnTo>
                <a:lnTo>
                  <a:pt x="1466" y="1183"/>
                </a:lnTo>
                <a:lnTo>
                  <a:pt x="1462" y="1186"/>
                </a:lnTo>
                <a:lnTo>
                  <a:pt x="1461" y="1186"/>
                </a:lnTo>
                <a:lnTo>
                  <a:pt x="1455" y="1189"/>
                </a:lnTo>
                <a:lnTo>
                  <a:pt x="1455" y="1189"/>
                </a:lnTo>
                <a:lnTo>
                  <a:pt x="1449" y="1193"/>
                </a:lnTo>
                <a:lnTo>
                  <a:pt x="1444" y="1192"/>
                </a:lnTo>
                <a:lnTo>
                  <a:pt x="1446" y="1193"/>
                </a:lnTo>
                <a:lnTo>
                  <a:pt x="1446" y="1195"/>
                </a:lnTo>
                <a:lnTo>
                  <a:pt x="1443" y="1196"/>
                </a:lnTo>
                <a:lnTo>
                  <a:pt x="1443" y="1196"/>
                </a:lnTo>
                <a:lnTo>
                  <a:pt x="1438" y="1197"/>
                </a:lnTo>
                <a:lnTo>
                  <a:pt x="1438" y="1199"/>
                </a:lnTo>
                <a:lnTo>
                  <a:pt x="1438" y="1200"/>
                </a:lnTo>
                <a:lnTo>
                  <a:pt x="1438" y="1205"/>
                </a:lnTo>
                <a:lnTo>
                  <a:pt x="1436" y="1210"/>
                </a:lnTo>
                <a:lnTo>
                  <a:pt x="1436" y="1210"/>
                </a:lnTo>
                <a:lnTo>
                  <a:pt x="1435" y="1212"/>
                </a:lnTo>
                <a:lnTo>
                  <a:pt x="1432" y="1215"/>
                </a:lnTo>
                <a:lnTo>
                  <a:pt x="1433" y="1216"/>
                </a:lnTo>
                <a:lnTo>
                  <a:pt x="1432" y="1219"/>
                </a:lnTo>
                <a:lnTo>
                  <a:pt x="1433" y="1218"/>
                </a:lnTo>
                <a:lnTo>
                  <a:pt x="1433" y="1218"/>
                </a:lnTo>
                <a:lnTo>
                  <a:pt x="1434" y="1218"/>
                </a:lnTo>
                <a:lnTo>
                  <a:pt x="1434" y="1220"/>
                </a:lnTo>
                <a:lnTo>
                  <a:pt x="1434" y="1220"/>
                </a:lnTo>
                <a:lnTo>
                  <a:pt x="1436" y="1237"/>
                </a:lnTo>
                <a:lnTo>
                  <a:pt x="1440" y="1247"/>
                </a:lnTo>
                <a:lnTo>
                  <a:pt x="1447" y="1257"/>
                </a:lnTo>
                <a:lnTo>
                  <a:pt x="1445" y="1262"/>
                </a:lnTo>
                <a:lnTo>
                  <a:pt x="1444" y="1261"/>
                </a:lnTo>
                <a:lnTo>
                  <a:pt x="1452" y="1284"/>
                </a:lnTo>
                <a:lnTo>
                  <a:pt x="1450" y="1299"/>
                </a:lnTo>
                <a:lnTo>
                  <a:pt x="1449" y="1304"/>
                </a:lnTo>
                <a:lnTo>
                  <a:pt x="1448" y="1309"/>
                </a:lnTo>
                <a:lnTo>
                  <a:pt x="1449" y="1307"/>
                </a:lnTo>
                <a:lnTo>
                  <a:pt x="1447" y="1311"/>
                </a:lnTo>
                <a:lnTo>
                  <a:pt x="1447" y="1311"/>
                </a:lnTo>
                <a:lnTo>
                  <a:pt x="1448" y="1309"/>
                </a:lnTo>
                <a:lnTo>
                  <a:pt x="1447" y="1310"/>
                </a:lnTo>
                <a:lnTo>
                  <a:pt x="1447" y="1310"/>
                </a:lnTo>
                <a:lnTo>
                  <a:pt x="1446" y="1310"/>
                </a:lnTo>
                <a:lnTo>
                  <a:pt x="1439" y="1310"/>
                </a:lnTo>
                <a:lnTo>
                  <a:pt x="1439" y="1310"/>
                </a:lnTo>
                <a:lnTo>
                  <a:pt x="1440" y="1310"/>
                </a:lnTo>
                <a:lnTo>
                  <a:pt x="1440" y="1310"/>
                </a:lnTo>
                <a:lnTo>
                  <a:pt x="1439" y="1310"/>
                </a:lnTo>
                <a:lnTo>
                  <a:pt x="1438" y="1310"/>
                </a:lnTo>
                <a:lnTo>
                  <a:pt x="1438" y="1310"/>
                </a:lnTo>
                <a:lnTo>
                  <a:pt x="1435" y="1307"/>
                </a:lnTo>
                <a:lnTo>
                  <a:pt x="1435" y="1300"/>
                </a:lnTo>
                <a:lnTo>
                  <a:pt x="1428" y="1299"/>
                </a:lnTo>
                <a:lnTo>
                  <a:pt x="1428" y="1290"/>
                </a:lnTo>
                <a:lnTo>
                  <a:pt x="1426" y="1290"/>
                </a:lnTo>
                <a:lnTo>
                  <a:pt x="1422" y="1290"/>
                </a:lnTo>
                <a:lnTo>
                  <a:pt x="1422" y="1286"/>
                </a:lnTo>
                <a:lnTo>
                  <a:pt x="1421" y="1286"/>
                </a:lnTo>
                <a:lnTo>
                  <a:pt x="1416" y="1276"/>
                </a:lnTo>
                <a:lnTo>
                  <a:pt x="1418" y="1269"/>
                </a:lnTo>
                <a:lnTo>
                  <a:pt x="1418" y="1266"/>
                </a:lnTo>
                <a:lnTo>
                  <a:pt x="1414" y="1265"/>
                </a:lnTo>
                <a:lnTo>
                  <a:pt x="1414" y="1265"/>
                </a:lnTo>
                <a:lnTo>
                  <a:pt x="1413" y="1265"/>
                </a:lnTo>
                <a:lnTo>
                  <a:pt x="1414" y="1258"/>
                </a:lnTo>
                <a:lnTo>
                  <a:pt x="1414" y="1253"/>
                </a:lnTo>
                <a:lnTo>
                  <a:pt x="1411" y="1247"/>
                </a:lnTo>
                <a:lnTo>
                  <a:pt x="1408" y="1245"/>
                </a:lnTo>
                <a:lnTo>
                  <a:pt x="1401" y="1241"/>
                </a:lnTo>
                <a:lnTo>
                  <a:pt x="1401" y="1238"/>
                </a:lnTo>
                <a:lnTo>
                  <a:pt x="1397" y="1235"/>
                </a:lnTo>
                <a:lnTo>
                  <a:pt x="1394" y="1234"/>
                </a:lnTo>
                <a:lnTo>
                  <a:pt x="1391" y="1234"/>
                </a:lnTo>
                <a:lnTo>
                  <a:pt x="1387" y="1235"/>
                </a:lnTo>
                <a:lnTo>
                  <a:pt x="1381" y="1237"/>
                </a:lnTo>
                <a:lnTo>
                  <a:pt x="1373" y="1238"/>
                </a:lnTo>
                <a:lnTo>
                  <a:pt x="1373" y="1235"/>
                </a:lnTo>
                <a:lnTo>
                  <a:pt x="1371" y="1234"/>
                </a:lnTo>
                <a:lnTo>
                  <a:pt x="1375" y="1234"/>
                </a:lnTo>
                <a:lnTo>
                  <a:pt x="1371" y="1233"/>
                </a:lnTo>
                <a:lnTo>
                  <a:pt x="1361" y="1230"/>
                </a:lnTo>
                <a:lnTo>
                  <a:pt x="1364" y="1230"/>
                </a:lnTo>
                <a:lnTo>
                  <a:pt x="1362" y="1228"/>
                </a:lnTo>
                <a:lnTo>
                  <a:pt x="1348" y="1227"/>
                </a:lnTo>
                <a:lnTo>
                  <a:pt x="1353" y="1226"/>
                </a:lnTo>
                <a:lnTo>
                  <a:pt x="1349" y="1223"/>
                </a:lnTo>
                <a:lnTo>
                  <a:pt x="1347" y="1227"/>
                </a:lnTo>
                <a:lnTo>
                  <a:pt x="1344" y="1228"/>
                </a:lnTo>
                <a:lnTo>
                  <a:pt x="1343" y="1230"/>
                </a:lnTo>
                <a:lnTo>
                  <a:pt x="1340" y="1230"/>
                </a:lnTo>
                <a:lnTo>
                  <a:pt x="1337" y="1226"/>
                </a:lnTo>
                <a:lnTo>
                  <a:pt x="1335" y="1230"/>
                </a:lnTo>
                <a:lnTo>
                  <a:pt x="1332" y="1230"/>
                </a:lnTo>
                <a:lnTo>
                  <a:pt x="1330" y="1230"/>
                </a:lnTo>
                <a:lnTo>
                  <a:pt x="1323" y="1228"/>
                </a:lnTo>
                <a:lnTo>
                  <a:pt x="1315" y="1231"/>
                </a:lnTo>
                <a:lnTo>
                  <a:pt x="1304" y="1227"/>
                </a:lnTo>
                <a:lnTo>
                  <a:pt x="1301" y="1231"/>
                </a:lnTo>
                <a:lnTo>
                  <a:pt x="1301" y="1234"/>
                </a:lnTo>
                <a:lnTo>
                  <a:pt x="1305" y="1234"/>
                </a:lnTo>
                <a:lnTo>
                  <a:pt x="1310" y="1233"/>
                </a:lnTo>
                <a:lnTo>
                  <a:pt x="1313" y="1235"/>
                </a:lnTo>
                <a:lnTo>
                  <a:pt x="1315" y="1232"/>
                </a:lnTo>
                <a:lnTo>
                  <a:pt x="1316" y="1235"/>
                </a:lnTo>
                <a:lnTo>
                  <a:pt x="1313" y="1237"/>
                </a:lnTo>
                <a:lnTo>
                  <a:pt x="1313" y="1235"/>
                </a:lnTo>
                <a:lnTo>
                  <a:pt x="1310" y="1239"/>
                </a:lnTo>
                <a:lnTo>
                  <a:pt x="1323" y="1247"/>
                </a:lnTo>
                <a:lnTo>
                  <a:pt x="1321" y="1250"/>
                </a:lnTo>
                <a:lnTo>
                  <a:pt x="1320" y="1250"/>
                </a:lnTo>
                <a:lnTo>
                  <a:pt x="1315" y="1250"/>
                </a:lnTo>
                <a:lnTo>
                  <a:pt x="1316" y="1247"/>
                </a:lnTo>
                <a:lnTo>
                  <a:pt x="1313" y="1249"/>
                </a:lnTo>
                <a:lnTo>
                  <a:pt x="1313" y="1245"/>
                </a:lnTo>
                <a:lnTo>
                  <a:pt x="1309" y="1243"/>
                </a:lnTo>
                <a:lnTo>
                  <a:pt x="1309" y="1242"/>
                </a:lnTo>
                <a:lnTo>
                  <a:pt x="1301" y="1241"/>
                </a:lnTo>
                <a:lnTo>
                  <a:pt x="1301" y="1244"/>
                </a:lnTo>
                <a:lnTo>
                  <a:pt x="1297" y="1247"/>
                </a:lnTo>
                <a:lnTo>
                  <a:pt x="1289" y="1245"/>
                </a:lnTo>
                <a:lnTo>
                  <a:pt x="1293" y="1243"/>
                </a:lnTo>
                <a:lnTo>
                  <a:pt x="1287" y="1241"/>
                </a:lnTo>
                <a:lnTo>
                  <a:pt x="1284" y="1237"/>
                </a:lnTo>
                <a:lnTo>
                  <a:pt x="1282" y="1235"/>
                </a:lnTo>
                <a:lnTo>
                  <a:pt x="1276" y="1237"/>
                </a:lnTo>
                <a:lnTo>
                  <a:pt x="1278" y="1238"/>
                </a:lnTo>
                <a:lnTo>
                  <a:pt x="1275" y="1241"/>
                </a:lnTo>
                <a:lnTo>
                  <a:pt x="1261" y="1238"/>
                </a:lnTo>
                <a:lnTo>
                  <a:pt x="1252" y="1238"/>
                </a:lnTo>
                <a:lnTo>
                  <a:pt x="1251" y="1236"/>
                </a:lnTo>
                <a:lnTo>
                  <a:pt x="1250" y="1237"/>
                </a:lnTo>
                <a:lnTo>
                  <a:pt x="1252" y="1242"/>
                </a:lnTo>
                <a:lnTo>
                  <a:pt x="1249" y="1242"/>
                </a:lnTo>
                <a:lnTo>
                  <a:pt x="1243" y="1242"/>
                </a:lnTo>
                <a:lnTo>
                  <a:pt x="1238" y="1244"/>
                </a:lnTo>
                <a:lnTo>
                  <a:pt x="1242" y="1242"/>
                </a:lnTo>
                <a:lnTo>
                  <a:pt x="1238" y="1242"/>
                </a:lnTo>
                <a:lnTo>
                  <a:pt x="1239" y="1238"/>
                </a:lnTo>
                <a:lnTo>
                  <a:pt x="1235" y="1238"/>
                </a:lnTo>
                <a:lnTo>
                  <a:pt x="1237" y="1243"/>
                </a:lnTo>
                <a:lnTo>
                  <a:pt x="1237" y="1243"/>
                </a:lnTo>
                <a:lnTo>
                  <a:pt x="1237" y="1245"/>
                </a:lnTo>
                <a:lnTo>
                  <a:pt x="1235" y="1246"/>
                </a:lnTo>
                <a:lnTo>
                  <a:pt x="1234" y="1249"/>
                </a:lnTo>
                <a:lnTo>
                  <a:pt x="1217" y="1258"/>
                </a:lnTo>
                <a:lnTo>
                  <a:pt x="1221" y="1255"/>
                </a:lnTo>
                <a:lnTo>
                  <a:pt x="1217" y="1257"/>
                </a:lnTo>
                <a:lnTo>
                  <a:pt x="1219" y="1255"/>
                </a:lnTo>
                <a:lnTo>
                  <a:pt x="1215" y="1255"/>
                </a:lnTo>
                <a:lnTo>
                  <a:pt x="1216" y="1258"/>
                </a:lnTo>
                <a:lnTo>
                  <a:pt x="1215" y="1258"/>
                </a:lnTo>
                <a:lnTo>
                  <a:pt x="1216" y="1258"/>
                </a:lnTo>
                <a:lnTo>
                  <a:pt x="1211" y="1260"/>
                </a:lnTo>
                <a:lnTo>
                  <a:pt x="1209" y="1258"/>
                </a:lnTo>
                <a:lnTo>
                  <a:pt x="1209" y="1261"/>
                </a:lnTo>
                <a:lnTo>
                  <a:pt x="1209" y="1266"/>
                </a:lnTo>
                <a:lnTo>
                  <a:pt x="1206" y="1266"/>
                </a:lnTo>
                <a:lnTo>
                  <a:pt x="1205" y="1270"/>
                </a:lnTo>
                <a:lnTo>
                  <a:pt x="1206" y="1269"/>
                </a:lnTo>
                <a:lnTo>
                  <a:pt x="1203" y="1273"/>
                </a:lnTo>
                <a:lnTo>
                  <a:pt x="1201" y="1277"/>
                </a:lnTo>
                <a:lnTo>
                  <a:pt x="1201" y="1274"/>
                </a:lnTo>
                <a:lnTo>
                  <a:pt x="1200" y="1278"/>
                </a:lnTo>
                <a:lnTo>
                  <a:pt x="1199" y="1278"/>
                </a:lnTo>
                <a:lnTo>
                  <a:pt x="1198" y="1284"/>
                </a:lnTo>
                <a:lnTo>
                  <a:pt x="1202" y="1296"/>
                </a:lnTo>
                <a:lnTo>
                  <a:pt x="1201" y="1295"/>
                </a:lnTo>
                <a:lnTo>
                  <a:pt x="1201" y="1298"/>
                </a:lnTo>
                <a:lnTo>
                  <a:pt x="1202" y="1298"/>
                </a:lnTo>
                <a:lnTo>
                  <a:pt x="1196" y="1319"/>
                </a:lnTo>
                <a:lnTo>
                  <a:pt x="1194" y="1345"/>
                </a:lnTo>
                <a:lnTo>
                  <a:pt x="1193" y="1351"/>
                </a:lnTo>
                <a:lnTo>
                  <a:pt x="1196" y="1359"/>
                </a:lnTo>
                <a:lnTo>
                  <a:pt x="1201" y="1367"/>
                </a:lnTo>
                <a:lnTo>
                  <a:pt x="1194" y="1358"/>
                </a:lnTo>
                <a:lnTo>
                  <a:pt x="1196" y="1365"/>
                </a:lnTo>
                <a:lnTo>
                  <a:pt x="1204" y="1380"/>
                </a:lnTo>
                <a:lnTo>
                  <a:pt x="1214" y="1393"/>
                </a:lnTo>
                <a:lnTo>
                  <a:pt x="1217" y="1400"/>
                </a:lnTo>
                <a:lnTo>
                  <a:pt x="1221" y="1405"/>
                </a:lnTo>
                <a:lnTo>
                  <a:pt x="1221" y="1407"/>
                </a:lnTo>
                <a:lnTo>
                  <a:pt x="1223" y="1409"/>
                </a:lnTo>
                <a:lnTo>
                  <a:pt x="1233" y="1412"/>
                </a:lnTo>
                <a:lnTo>
                  <a:pt x="1234" y="1415"/>
                </a:lnTo>
                <a:lnTo>
                  <a:pt x="1238" y="1415"/>
                </a:lnTo>
                <a:lnTo>
                  <a:pt x="1243" y="1420"/>
                </a:lnTo>
                <a:lnTo>
                  <a:pt x="1252" y="1417"/>
                </a:lnTo>
                <a:lnTo>
                  <a:pt x="1256" y="1415"/>
                </a:lnTo>
                <a:lnTo>
                  <a:pt x="1261" y="1415"/>
                </a:lnTo>
                <a:lnTo>
                  <a:pt x="1261" y="1415"/>
                </a:lnTo>
                <a:lnTo>
                  <a:pt x="1270" y="1411"/>
                </a:lnTo>
                <a:lnTo>
                  <a:pt x="1279" y="1409"/>
                </a:lnTo>
                <a:lnTo>
                  <a:pt x="1282" y="1412"/>
                </a:lnTo>
                <a:lnTo>
                  <a:pt x="1278" y="1415"/>
                </a:lnTo>
                <a:lnTo>
                  <a:pt x="1281" y="1415"/>
                </a:lnTo>
                <a:lnTo>
                  <a:pt x="1281" y="1415"/>
                </a:lnTo>
                <a:lnTo>
                  <a:pt x="1283" y="1415"/>
                </a:lnTo>
                <a:lnTo>
                  <a:pt x="1286" y="1415"/>
                </a:lnTo>
                <a:lnTo>
                  <a:pt x="1287" y="1412"/>
                </a:lnTo>
                <a:lnTo>
                  <a:pt x="1290" y="1411"/>
                </a:lnTo>
                <a:lnTo>
                  <a:pt x="1287" y="1408"/>
                </a:lnTo>
                <a:lnTo>
                  <a:pt x="1289" y="1407"/>
                </a:lnTo>
                <a:lnTo>
                  <a:pt x="1287" y="1407"/>
                </a:lnTo>
                <a:lnTo>
                  <a:pt x="1297" y="1400"/>
                </a:lnTo>
                <a:lnTo>
                  <a:pt x="1298" y="1394"/>
                </a:lnTo>
                <a:lnTo>
                  <a:pt x="1302" y="1392"/>
                </a:lnTo>
                <a:lnTo>
                  <a:pt x="1301" y="1381"/>
                </a:lnTo>
                <a:lnTo>
                  <a:pt x="1304" y="1374"/>
                </a:lnTo>
                <a:lnTo>
                  <a:pt x="1309" y="1370"/>
                </a:lnTo>
                <a:lnTo>
                  <a:pt x="1325" y="1369"/>
                </a:lnTo>
                <a:lnTo>
                  <a:pt x="1331" y="1367"/>
                </a:lnTo>
                <a:lnTo>
                  <a:pt x="1338" y="1365"/>
                </a:lnTo>
                <a:lnTo>
                  <a:pt x="1348" y="1369"/>
                </a:lnTo>
                <a:lnTo>
                  <a:pt x="1350" y="1367"/>
                </a:lnTo>
                <a:lnTo>
                  <a:pt x="1345" y="1367"/>
                </a:lnTo>
                <a:lnTo>
                  <a:pt x="1351" y="1365"/>
                </a:lnTo>
                <a:lnTo>
                  <a:pt x="1353" y="1369"/>
                </a:lnTo>
                <a:lnTo>
                  <a:pt x="1353" y="1371"/>
                </a:lnTo>
                <a:lnTo>
                  <a:pt x="1352" y="1377"/>
                </a:lnTo>
                <a:lnTo>
                  <a:pt x="1345" y="1386"/>
                </a:lnTo>
                <a:lnTo>
                  <a:pt x="1345" y="1392"/>
                </a:lnTo>
                <a:lnTo>
                  <a:pt x="1343" y="1393"/>
                </a:lnTo>
                <a:lnTo>
                  <a:pt x="1340" y="1394"/>
                </a:lnTo>
                <a:lnTo>
                  <a:pt x="1341" y="1397"/>
                </a:lnTo>
                <a:lnTo>
                  <a:pt x="1345" y="1395"/>
                </a:lnTo>
                <a:lnTo>
                  <a:pt x="1345" y="1399"/>
                </a:lnTo>
                <a:lnTo>
                  <a:pt x="1341" y="1400"/>
                </a:lnTo>
                <a:lnTo>
                  <a:pt x="1341" y="1403"/>
                </a:lnTo>
                <a:lnTo>
                  <a:pt x="1344" y="1400"/>
                </a:lnTo>
                <a:lnTo>
                  <a:pt x="1337" y="1416"/>
                </a:lnTo>
                <a:lnTo>
                  <a:pt x="1337" y="1413"/>
                </a:lnTo>
                <a:lnTo>
                  <a:pt x="1334" y="1412"/>
                </a:lnTo>
                <a:lnTo>
                  <a:pt x="1332" y="1415"/>
                </a:lnTo>
                <a:lnTo>
                  <a:pt x="1331" y="1415"/>
                </a:lnTo>
                <a:lnTo>
                  <a:pt x="1329" y="1419"/>
                </a:lnTo>
                <a:lnTo>
                  <a:pt x="1331" y="1419"/>
                </a:lnTo>
                <a:lnTo>
                  <a:pt x="1333" y="1419"/>
                </a:lnTo>
                <a:lnTo>
                  <a:pt x="1329" y="1429"/>
                </a:lnTo>
                <a:lnTo>
                  <a:pt x="1329" y="1435"/>
                </a:lnTo>
                <a:lnTo>
                  <a:pt x="1331" y="1439"/>
                </a:lnTo>
                <a:lnTo>
                  <a:pt x="1329" y="1445"/>
                </a:lnTo>
                <a:lnTo>
                  <a:pt x="1329" y="1443"/>
                </a:lnTo>
                <a:lnTo>
                  <a:pt x="1325" y="1448"/>
                </a:lnTo>
                <a:lnTo>
                  <a:pt x="1322" y="1450"/>
                </a:lnTo>
                <a:lnTo>
                  <a:pt x="1317" y="1452"/>
                </a:lnTo>
                <a:lnTo>
                  <a:pt x="1317" y="1455"/>
                </a:lnTo>
                <a:lnTo>
                  <a:pt x="1317" y="1455"/>
                </a:lnTo>
                <a:lnTo>
                  <a:pt x="1317" y="1459"/>
                </a:lnTo>
                <a:lnTo>
                  <a:pt x="1321" y="1459"/>
                </a:lnTo>
                <a:lnTo>
                  <a:pt x="1325" y="1462"/>
                </a:lnTo>
                <a:lnTo>
                  <a:pt x="1328" y="1456"/>
                </a:lnTo>
                <a:lnTo>
                  <a:pt x="1327" y="1455"/>
                </a:lnTo>
                <a:lnTo>
                  <a:pt x="1329" y="1457"/>
                </a:lnTo>
                <a:lnTo>
                  <a:pt x="1329" y="1457"/>
                </a:lnTo>
                <a:lnTo>
                  <a:pt x="1330" y="1459"/>
                </a:lnTo>
                <a:lnTo>
                  <a:pt x="1332" y="1459"/>
                </a:lnTo>
                <a:lnTo>
                  <a:pt x="1333" y="1459"/>
                </a:lnTo>
                <a:lnTo>
                  <a:pt x="1340" y="1454"/>
                </a:lnTo>
                <a:lnTo>
                  <a:pt x="1344" y="1454"/>
                </a:lnTo>
                <a:lnTo>
                  <a:pt x="1344" y="1453"/>
                </a:lnTo>
                <a:lnTo>
                  <a:pt x="1359" y="1454"/>
                </a:lnTo>
                <a:lnTo>
                  <a:pt x="1365" y="1453"/>
                </a:lnTo>
                <a:lnTo>
                  <a:pt x="1365" y="1451"/>
                </a:lnTo>
                <a:lnTo>
                  <a:pt x="1364" y="1451"/>
                </a:lnTo>
                <a:lnTo>
                  <a:pt x="1365" y="1451"/>
                </a:lnTo>
                <a:lnTo>
                  <a:pt x="1371" y="1453"/>
                </a:lnTo>
                <a:lnTo>
                  <a:pt x="1378" y="1450"/>
                </a:lnTo>
                <a:lnTo>
                  <a:pt x="1382" y="1453"/>
                </a:lnTo>
                <a:lnTo>
                  <a:pt x="1384" y="1455"/>
                </a:lnTo>
                <a:lnTo>
                  <a:pt x="1385" y="1455"/>
                </a:lnTo>
                <a:lnTo>
                  <a:pt x="1385" y="1453"/>
                </a:lnTo>
                <a:lnTo>
                  <a:pt x="1388" y="1454"/>
                </a:lnTo>
                <a:lnTo>
                  <a:pt x="1395" y="1460"/>
                </a:lnTo>
                <a:lnTo>
                  <a:pt x="1388" y="1458"/>
                </a:lnTo>
                <a:lnTo>
                  <a:pt x="1392" y="1462"/>
                </a:lnTo>
                <a:lnTo>
                  <a:pt x="1393" y="1461"/>
                </a:lnTo>
                <a:lnTo>
                  <a:pt x="1396" y="1463"/>
                </a:lnTo>
                <a:lnTo>
                  <a:pt x="1397" y="1463"/>
                </a:lnTo>
                <a:lnTo>
                  <a:pt x="1397" y="1465"/>
                </a:lnTo>
                <a:lnTo>
                  <a:pt x="1399" y="1462"/>
                </a:lnTo>
                <a:lnTo>
                  <a:pt x="1399" y="1462"/>
                </a:lnTo>
                <a:lnTo>
                  <a:pt x="1402" y="1463"/>
                </a:lnTo>
                <a:lnTo>
                  <a:pt x="1402" y="1467"/>
                </a:lnTo>
                <a:lnTo>
                  <a:pt x="1404" y="1467"/>
                </a:lnTo>
                <a:lnTo>
                  <a:pt x="1402" y="1470"/>
                </a:lnTo>
                <a:lnTo>
                  <a:pt x="1403" y="1472"/>
                </a:lnTo>
                <a:lnTo>
                  <a:pt x="1404" y="1477"/>
                </a:lnTo>
                <a:lnTo>
                  <a:pt x="1402" y="1483"/>
                </a:lnTo>
                <a:lnTo>
                  <a:pt x="1399" y="1492"/>
                </a:lnTo>
                <a:lnTo>
                  <a:pt x="1399" y="1500"/>
                </a:lnTo>
                <a:lnTo>
                  <a:pt x="1400" y="1501"/>
                </a:lnTo>
                <a:lnTo>
                  <a:pt x="1399" y="1503"/>
                </a:lnTo>
                <a:lnTo>
                  <a:pt x="1399" y="1503"/>
                </a:lnTo>
                <a:lnTo>
                  <a:pt x="1399" y="1503"/>
                </a:lnTo>
                <a:lnTo>
                  <a:pt x="1399" y="1501"/>
                </a:lnTo>
                <a:lnTo>
                  <a:pt x="1398" y="1500"/>
                </a:lnTo>
                <a:lnTo>
                  <a:pt x="1397" y="1499"/>
                </a:lnTo>
                <a:lnTo>
                  <a:pt x="1397" y="1503"/>
                </a:lnTo>
                <a:lnTo>
                  <a:pt x="1393" y="1507"/>
                </a:lnTo>
                <a:lnTo>
                  <a:pt x="1393" y="1513"/>
                </a:lnTo>
                <a:lnTo>
                  <a:pt x="1393" y="1514"/>
                </a:lnTo>
                <a:lnTo>
                  <a:pt x="1393" y="1516"/>
                </a:lnTo>
                <a:lnTo>
                  <a:pt x="1394" y="1514"/>
                </a:lnTo>
                <a:lnTo>
                  <a:pt x="1398" y="1519"/>
                </a:lnTo>
                <a:lnTo>
                  <a:pt x="1393" y="1523"/>
                </a:lnTo>
                <a:lnTo>
                  <a:pt x="1393" y="1527"/>
                </a:lnTo>
                <a:lnTo>
                  <a:pt x="1398" y="1530"/>
                </a:lnTo>
                <a:lnTo>
                  <a:pt x="1396" y="1531"/>
                </a:lnTo>
                <a:lnTo>
                  <a:pt x="1392" y="1533"/>
                </a:lnTo>
                <a:lnTo>
                  <a:pt x="1382" y="1528"/>
                </a:lnTo>
                <a:lnTo>
                  <a:pt x="1379" y="1530"/>
                </a:lnTo>
                <a:lnTo>
                  <a:pt x="1368" y="1524"/>
                </a:lnTo>
                <a:lnTo>
                  <a:pt x="1367" y="1528"/>
                </a:lnTo>
                <a:close/>
                <a:moveTo>
                  <a:pt x="1334" y="1411"/>
                </a:moveTo>
                <a:lnTo>
                  <a:pt x="1337" y="1411"/>
                </a:lnTo>
                <a:lnTo>
                  <a:pt x="1337" y="1407"/>
                </a:lnTo>
                <a:lnTo>
                  <a:pt x="1334" y="1411"/>
                </a:lnTo>
                <a:close/>
                <a:moveTo>
                  <a:pt x="1443" y="1258"/>
                </a:moveTo>
                <a:lnTo>
                  <a:pt x="1443" y="1259"/>
                </a:lnTo>
                <a:lnTo>
                  <a:pt x="1443" y="1260"/>
                </a:lnTo>
                <a:lnTo>
                  <a:pt x="1445" y="1258"/>
                </a:lnTo>
                <a:lnTo>
                  <a:pt x="1443" y="1258"/>
                </a:lnTo>
                <a:close/>
                <a:moveTo>
                  <a:pt x="1441" y="1254"/>
                </a:moveTo>
                <a:lnTo>
                  <a:pt x="1442" y="1257"/>
                </a:lnTo>
                <a:lnTo>
                  <a:pt x="1442" y="1254"/>
                </a:lnTo>
                <a:lnTo>
                  <a:pt x="1441" y="1254"/>
                </a:lnTo>
                <a:close/>
                <a:moveTo>
                  <a:pt x="1502" y="1143"/>
                </a:moveTo>
                <a:lnTo>
                  <a:pt x="1505" y="1145"/>
                </a:lnTo>
                <a:lnTo>
                  <a:pt x="1503" y="1141"/>
                </a:lnTo>
                <a:lnTo>
                  <a:pt x="1502" y="1143"/>
                </a:lnTo>
                <a:close/>
                <a:moveTo>
                  <a:pt x="1495" y="1147"/>
                </a:moveTo>
                <a:lnTo>
                  <a:pt x="1496" y="1150"/>
                </a:lnTo>
                <a:lnTo>
                  <a:pt x="1498" y="1151"/>
                </a:lnTo>
                <a:lnTo>
                  <a:pt x="1501" y="1149"/>
                </a:lnTo>
                <a:lnTo>
                  <a:pt x="1500" y="1150"/>
                </a:lnTo>
                <a:lnTo>
                  <a:pt x="1495" y="1147"/>
                </a:lnTo>
                <a:close/>
                <a:moveTo>
                  <a:pt x="1724" y="961"/>
                </a:moveTo>
                <a:lnTo>
                  <a:pt x="1729" y="961"/>
                </a:lnTo>
                <a:lnTo>
                  <a:pt x="1734" y="955"/>
                </a:lnTo>
                <a:lnTo>
                  <a:pt x="1731" y="958"/>
                </a:lnTo>
                <a:lnTo>
                  <a:pt x="1729" y="955"/>
                </a:lnTo>
                <a:lnTo>
                  <a:pt x="1729" y="955"/>
                </a:lnTo>
                <a:lnTo>
                  <a:pt x="1726" y="958"/>
                </a:lnTo>
                <a:lnTo>
                  <a:pt x="1724" y="961"/>
                </a:lnTo>
                <a:close/>
                <a:moveTo>
                  <a:pt x="1724" y="963"/>
                </a:moveTo>
                <a:lnTo>
                  <a:pt x="1726" y="963"/>
                </a:lnTo>
                <a:lnTo>
                  <a:pt x="1727" y="961"/>
                </a:lnTo>
                <a:lnTo>
                  <a:pt x="1724" y="963"/>
                </a:lnTo>
                <a:close/>
                <a:moveTo>
                  <a:pt x="1672" y="953"/>
                </a:moveTo>
                <a:lnTo>
                  <a:pt x="1675" y="959"/>
                </a:lnTo>
                <a:lnTo>
                  <a:pt x="1673" y="963"/>
                </a:lnTo>
                <a:lnTo>
                  <a:pt x="1680" y="959"/>
                </a:lnTo>
                <a:lnTo>
                  <a:pt x="1679" y="958"/>
                </a:lnTo>
                <a:lnTo>
                  <a:pt x="1676" y="959"/>
                </a:lnTo>
                <a:lnTo>
                  <a:pt x="1672" y="953"/>
                </a:lnTo>
                <a:close/>
                <a:moveTo>
                  <a:pt x="1617" y="988"/>
                </a:moveTo>
                <a:lnTo>
                  <a:pt x="1618" y="988"/>
                </a:lnTo>
                <a:lnTo>
                  <a:pt x="1618" y="986"/>
                </a:lnTo>
                <a:lnTo>
                  <a:pt x="1617" y="988"/>
                </a:lnTo>
                <a:close/>
                <a:moveTo>
                  <a:pt x="1734" y="811"/>
                </a:moveTo>
                <a:lnTo>
                  <a:pt x="1738" y="813"/>
                </a:lnTo>
                <a:lnTo>
                  <a:pt x="1745" y="809"/>
                </a:lnTo>
                <a:lnTo>
                  <a:pt x="1742" y="808"/>
                </a:lnTo>
                <a:lnTo>
                  <a:pt x="1751" y="804"/>
                </a:lnTo>
                <a:lnTo>
                  <a:pt x="1751" y="802"/>
                </a:lnTo>
                <a:lnTo>
                  <a:pt x="1760" y="800"/>
                </a:lnTo>
                <a:lnTo>
                  <a:pt x="1757" y="800"/>
                </a:lnTo>
                <a:lnTo>
                  <a:pt x="1747" y="803"/>
                </a:lnTo>
                <a:lnTo>
                  <a:pt x="1739" y="802"/>
                </a:lnTo>
                <a:lnTo>
                  <a:pt x="1739" y="808"/>
                </a:lnTo>
                <a:lnTo>
                  <a:pt x="1734" y="811"/>
                </a:lnTo>
                <a:close/>
                <a:moveTo>
                  <a:pt x="1735" y="770"/>
                </a:moveTo>
                <a:lnTo>
                  <a:pt x="1735" y="770"/>
                </a:lnTo>
                <a:lnTo>
                  <a:pt x="1735" y="770"/>
                </a:lnTo>
                <a:lnTo>
                  <a:pt x="1735" y="770"/>
                </a:lnTo>
                <a:close/>
                <a:moveTo>
                  <a:pt x="1693" y="716"/>
                </a:moveTo>
                <a:lnTo>
                  <a:pt x="1696" y="716"/>
                </a:lnTo>
                <a:lnTo>
                  <a:pt x="1698" y="713"/>
                </a:lnTo>
                <a:lnTo>
                  <a:pt x="1693" y="716"/>
                </a:lnTo>
                <a:close/>
                <a:moveTo>
                  <a:pt x="1682" y="688"/>
                </a:moveTo>
                <a:lnTo>
                  <a:pt x="1683" y="688"/>
                </a:lnTo>
                <a:lnTo>
                  <a:pt x="1683" y="688"/>
                </a:lnTo>
                <a:lnTo>
                  <a:pt x="1682" y="688"/>
                </a:lnTo>
                <a:close/>
                <a:moveTo>
                  <a:pt x="1602" y="692"/>
                </a:moveTo>
                <a:lnTo>
                  <a:pt x="1604" y="695"/>
                </a:lnTo>
                <a:lnTo>
                  <a:pt x="1603" y="697"/>
                </a:lnTo>
                <a:lnTo>
                  <a:pt x="1605" y="696"/>
                </a:lnTo>
                <a:lnTo>
                  <a:pt x="1604" y="692"/>
                </a:lnTo>
                <a:lnTo>
                  <a:pt x="1602" y="692"/>
                </a:lnTo>
                <a:close/>
                <a:moveTo>
                  <a:pt x="1488" y="640"/>
                </a:moveTo>
                <a:lnTo>
                  <a:pt x="1486" y="638"/>
                </a:lnTo>
                <a:lnTo>
                  <a:pt x="1486" y="640"/>
                </a:lnTo>
                <a:lnTo>
                  <a:pt x="1488" y="640"/>
                </a:lnTo>
                <a:close/>
                <a:moveTo>
                  <a:pt x="1494" y="1088"/>
                </a:moveTo>
                <a:lnTo>
                  <a:pt x="1497" y="1085"/>
                </a:lnTo>
                <a:lnTo>
                  <a:pt x="1494" y="1088"/>
                </a:lnTo>
                <a:lnTo>
                  <a:pt x="1494" y="1088"/>
                </a:lnTo>
                <a:close/>
                <a:moveTo>
                  <a:pt x="1492" y="1094"/>
                </a:moveTo>
                <a:lnTo>
                  <a:pt x="1494" y="1094"/>
                </a:lnTo>
                <a:lnTo>
                  <a:pt x="1494" y="1088"/>
                </a:lnTo>
                <a:lnTo>
                  <a:pt x="1492" y="1094"/>
                </a:lnTo>
                <a:close/>
                <a:moveTo>
                  <a:pt x="1441" y="1194"/>
                </a:moveTo>
                <a:lnTo>
                  <a:pt x="1442" y="1195"/>
                </a:lnTo>
                <a:lnTo>
                  <a:pt x="1442" y="1193"/>
                </a:lnTo>
                <a:lnTo>
                  <a:pt x="1441" y="1194"/>
                </a:lnTo>
                <a:close/>
                <a:moveTo>
                  <a:pt x="1345" y="1228"/>
                </a:moveTo>
                <a:lnTo>
                  <a:pt x="1347" y="1226"/>
                </a:lnTo>
                <a:lnTo>
                  <a:pt x="1346" y="1226"/>
                </a:lnTo>
                <a:lnTo>
                  <a:pt x="1345" y="1228"/>
                </a:lnTo>
                <a:close/>
                <a:moveTo>
                  <a:pt x="1337" y="1226"/>
                </a:moveTo>
                <a:lnTo>
                  <a:pt x="1337" y="1226"/>
                </a:lnTo>
                <a:lnTo>
                  <a:pt x="1337" y="1226"/>
                </a:lnTo>
                <a:lnTo>
                  <a:pt x="1337" y="1226"/>
                </a:lnTo>
                <a:close/>
                <a:moveTo>
                  <a:pt x="1252" y="1235"/>
                </a:moveTo>
                <a:lnTo>
                  <a:pt x="1254" y="1234"/>
                </a:lnTo>
                <a:lnTo>
                  <a:pt x="1252" y="1234"/>
                </a:lnTo>
                <a:lnTo>
                  <a:pt x="1252" y="1235"/>
                </a:lnTo>
                <a:close/>
                <a:moveTo>
                  <a:pt x="1308" y="576"/>
                </a:moveTo>
                <a:lnTo>
                  <a:pt x="1309" y="576"/>
                </a:lnTo>
                <a:lnTo>
                  <a:pt x="1309" y="573"/>
                </a:lnTo>
                <a:lnTo>
                  <a:pt x="1308" y="576"/>
                </a:lnTo>
                <a:close/>
                <a:moveTo>
                  <a:pt x="1385" y="511"/>
                </a:moveTo>
                <a:lnTo>
                  <a:pt x="1385" y="511"/>
                </a:lnTo>
                <a:lnTo>
                  <a:pt x="1382" y="511"/>
                </a:lnTo>
                <a:lnTo>
                  <a:pt x="1385" y="511"/>
                </a:lnTo>
                <a:lnTo>
                  <a:pt x="1385" y="511"/>
                </a:lnTo>
                <a:close/>
                <a:moveTo>
                  <a:pt x="1385" y="512"/>
                </a:moveTo>
                <a:lnTo>
                  <a:pt x="1385" y="515"/>
                </a:lnTo>
                <a:lnTo>
                  <a:pt x="1388" y="515"/>
                </a:lnTo>
                <a:lnTo>
                  <a:pt x="1385" y="512"/>
                </a:lnTo>
                <a:close/>
                <a:moveTo>
                  <a:pt x="1377" y="510"/>
                </a:moveTo>
                <a:lnTo>
                  <a:pt x="1384" y="508"/>
                </a:lnTo>
                <a:lnTo>
                  <a:pt x="1382" y="509"/>
                </a:lnTo>
                <a:lnTo>
                  <a:pt x="1385" y="511"/>
                </a:lnTo>
                <a:lnTo>
                  <a:pt x="1386" y="507"/>
                </a:lnTo>
                <a:lnTo>
                  <a:pt x="1377" y="504"/>
                </a:lnTo>
                <a:lnTo>
                  <a:pt x="1377" y="510"/>
                </a:lnTo>
                <a:close/>
                <a:moveTo>
                  <a:pt x="1300" y="535"/>
                </a:moveTo>
                <a:lnTo>
                  <a:pt x="1303" y="535"/>
                </a:lnTo>
                <a:lnTo>
                  <a:pt x="1301" y="535"/>
                </a:lnTo>
                <a:lnTo>
                  <a:pt x="1300" y="535"/>
                </a:lnTo>
                <a:close/>
                <a:moveTo>
                  <a:pt x="1284" y="532"/>
                </a:moveTo>
                <a:lnTo>
                  <a:pt x="1292" y="534"/>
                </a:lnTo>
                <a:lnTo>
                  <a:pt x="1290" y="533"/>
                </a:lnTo>
                <a:lnTo>
                  <a:pt x="1297" y="534"/>
                </a:lnTo>
                <a:lnTo>
                  <a:pt x="1284" y="532"/>
                </a:lnTo>
                <a:close/>
                <a:moveTo>
                  <a:pt x="1250" y="459"/>
                </a:moveTo>
                <a:lnTo>
                  <a:pt x="1248" y="459"/>
                </a:lnTo>
                <a:lnTo>
                  <a:pt x="1247" y="461"/>
                </a:lnTo>
                <a:lnTo>
                  <a:pt x="1250" y="459"/>
                </a:lnTo>
                <a:close/>
                <a:moveTo>
                  <a:pt x="1269" y="591"/>
                </a:moveTo>
                <a:lnTo>
                  <a:pt x="1277" y="587"/>
                </a:lnTo>
                <a:lnTo>
                  <a:pt x="1276" y="587"/>
                </a:lnTo>
                <a:lnTo>
                  <a:pt x="1269" y="591"/>
                </a:lnTo>
                <a:close/>
                <a:moveTo>
                  <a:pt x="1250" y="573"/>
                </a:moveTo>
                <a:lnTo>
                  <a:pt x="1254" y="577"/>
                </a:lnTo>
                <a:lnTo>
                  <a:pt x="1251" y="580"/>
                </a:lnTo>
                <a:lnTo>
                  <a:pt x="1255" y="583"/>
                </a:lnTo>
                <a:lnTo>
                  <a:pt x="1257" y="583"/>
                </a:lnTo>
                <a:lnTo>
                  <a:pt x="1268" y="584"/>
                </a:lnTo>
                <a:lnTo>
                  <a:pt x="1257" y="579"/>
                </a:lnTo>
                <a:lnTo>
                  <a:pt x="1250" y="573"/>
                </a:lnTo>
                <a:close/>
                <a:moveTo>
                  <a:pt x="1222" y="515"/>
                </a:moveTo>
                <a:lnTo>
                  <a:pt x="1224" y="515"/>
                </a:lnTo>
                <a:lnTo>
                  <a:pt x="1222" y="513"/>
                </a:lnTo>
                <a:lnTo>
                  <a:pt x="1222" y="515"/>
                </a:lnTo>
                <a:close/>
                <a:moveTo>
                  <a:pt x="1217" y="508"/>
                </a:moveTo>
                <a:lnTo>
                  <a:pt x="1218" y="509"/>
                </a:lnTo>
                <a:lnTo>
                  <a:pt x="1218" y="511"/>
                </a:lnTo>
                <a:lnTo>
                  <a:pt x="1221" y="511"/>
                </a:lnTo>
                <a:lnTo>
                  <a:pt x="1219" y="508"/>
                </a:lnTo>
                <a:lnTo>
                  <a:pt x="1217" y="508"/>
                </a:lnTo>
                <a:close/>
                <a:moveTo>
                  <a:pt x="1213" y="504"/>
                </a:moveTo>
                <a:lnTo>
                  <a:pt x="1217" y="507"/>
                </a:lnTo>
                <a:lnTo>
                  <a:pt x="1215" y="504"/>
                </a:lnTo>
                <a:lnTo>
                  <a:pt x="1213" y="504"/>
                </a:lnTo>
                <a:close/>
                <a:moveTo>
                  <a:pt x="1211" y="1255"/>
                </a:moveTo>
                <a:lnTo>
                  <a:pt x="1212" y="1256"/>
                </a:lnTo>
                <a:lnTo>
                  <a:pt x="1215" y="1258"/>
                </a:lnTo>
                <a:lnTo>
                  <a:pt x="1211" y="1255"/>
                </a:lnTo>
                <a:close/>
                <a:moveTo>
                  <a:pt x="1198" y="1270"/>
                </a:moveTo>
                <a:lnTo>
                  <a:pt x="1203" y="1272"/>
                </a:lnTo>
                <a:lnTo>
                  <a:pt x="1205" y="1270"/>
                </a:lnTo>
                <a:lnTo>
                  <a:pt x="1198" y="1270"/>
                </a:lnTo>
                <a:close/>
                <a:moveTo>
                  <a:pt x="277" y="555"/>
                </a:moveTo>
                <a:lnTo>
                  <a:pt x="275" y="555"/>
                </a:lnTo>
                <a:lnTo>
                  <a:pt x="275" y="555"/>
                </a:lnTo>
                <a:lnTo>
                  <a:pt x="277" y="555"/>
                </a:lnTo>
                <a:close/>
                <a:moveTo>
                  <a:pt x="225" y="632"/>
                </a:moveTo>
                <a:lnTo>
                  <a:pt x="219" y="637"/>
                </a:lnTo>
                <a:lnTo>
                  <a:pt x="222" y="636"/>
                </a:lnTo>
                <a:lnTo>
                  <a:pt x="225" y="632"/>
                </a:lnTo>
                <a:close/>
                <a:moveTo>
                  <a:pt x="242" y="652"/>
                </a:moveTo>
                <a:lnTo>
                  <a:pt x="236" y="651"/>
                </a:lnTo>
                <a:lnTo>
                  <a:pt x="239" y="648"/>
                </a:lnTo>
                <a:lnTo>
                  <a:pt x="236" y="647"/>
                </a:lnTo>
                <a:lnTo>
                  <a:pt x="232" y="651"/>
                </a:lnTo>
                <a:lnTo>
                  <a:pt x="223" y="650"/>
                </a:lnTo>
                <a:lnTo>
                  <a:pt x="223" y="649"/>
                </a:lnTo>
                <a:lnTo>
                  <a:pt x="222" y="649"/>
                </a:lnTo>
                <a:lnTo>
                  <a:pt x="219" y="649"/>
                </a:lnTo>
                <a:lnTo>
                  <a:pt x="220" y="650"/>
                </a:lnTo>
                <a:lnTo>
                  <a:pt x="221" y="651"/>
                </a:lnTo>
                <a:lnTo>
                  <a:pt x="221" y="651"/>
                </a:lnTo>
                <a:lnTo>
                  <a:pt x="229" y="652"/>
                </a:lnTo>
                <a:lnTo>
                  <a:pt x="229" y="654"/>
                </a:lnTo>
                <a:lnTo>
                  <a:pt x="226" y="660"/>
                </a:lnTo>
                <a:lnTo>
                  <a:pt x="234" y="656"/>
                </a:lnTo>
                <a:lnTo>
                  <a:pt x="235" y="656"/>
                </a:lnTo>
                <a:lnTo>
                  <a:pt x="238" y="656"/>
                </a:lnTo>
                <a:lnTo>
                  <a:pt x="242" y="652"/>
                </a:lnTo>
                <a:close/>
                <a:moveTo>
                  <a:pt x="285" y="512"/>
                </a:moveTo>
                <a:lnTo>
                  <a:pt x="281" y="514"/>
                </a:lnTo>
                <a:lnTo>
                  <a:pt x="275" y="513"/>
                </a:lnTo>
                <a:lnTo>
                  <a:pt x="275" y="513"/>
                </a:lnTo>
                <a:lnTo>
                  <a:pt x="275" y="513"/>
                </a:lnTo>
                <a:lnTo>
                  <a:pt x="281" y="519"/>
                </a:lnTo>
                <a:lnTo>
                  <a:pt x="285" y="519"/>
                </a:lnTo>
                <a:lnTo>
                  <a:pt x="285" y="512"/>
                </a:lnTo>
                <a:close/>
                <a:moveTo>
                  <a:pt x="448" y="636"/>
                </a:moveTo>
                <a:lnTo>
                  <a:pt x="446" y="636"/>
                </a:lnTo>
                <a:lnTo>
                  <a:pt x="443" y="637"/>
                </a:lnTo>
                <a:lnTo>
                  <a:pt x="448" y="636"/>
                </a:lnTo>
                <a:close/>
                <a:moveTo>
                  <a:pt x="460" y="666"/>
                </a:moveTo>
                <a:lnTo>
                  <a:pt x="464" y="664"/>
                </a:lnTo>
                <a:lnTo>
                  <a:pt x="463" y="664"/>
                </a:lnTo>
                <a:lnTo>
                  <a:pt x="460" y="666"/>
                </a:lnTo>
                <a:close/>
                <a:moveTo>
                  <a:pt x="632" y="683"/>
                </a:moveTo>
                <a:lnTo>
                  <a:pt x="630" y="683"/>
                </a:lnTo>
                <a:lnTo>
                  <a:pt x="630" y="686"/>
                </a:lnTo>
                <a:lnTo>
                  <a:pt x="631" y="686"/>
                </a:lnTo>
                <a:lnTo>
                  <a:pt x="632" y="685"/>
                </a:lnTo>
                <a:lnTo>
                  <a:pt x="632" y="683"/>
                </a:lnTo>
                <a:close/>
                <a:moveTo>
                  <a:pt x="659" y="459"/>
                </a:moveTo>
                <a:lnTo>
                  <a:pt x="655" y="454"/>
                </a:lnTo>
                <a:lnTo>
                  <a:pt x="654" y="456"/>
                </a:lnTo>
                <a:lnTo>
                  <a:pt x="655" y="456"/>
                </a:lnTo>
                <a:lnTo>
                  <a:pt x="659" y="459"/>
                </a:lnTo>
                <a:close/>
                <a:moveTo>
                  <a:pt x="711" y="449"/>
                </a:moveTo>
                <a:lnTo>
                  <a:pt x="711" y="450"/>
                </a:lnTo>
                <a:lnTo>
                  <a:pt x="711" y="451"/>
                </a:lnTo>
                <a:lnTo>
                  <a:pt x="711" y="449"/>
                </a:lnTo>
                <a:close/>
                <a:moveTo>
                  <a:pt x="730" y="768"/>
                </a:moveTo>
                <a:lnTo>
                  <a:pt x="730" y="767"/>
                </a:lnTo>
                <a:lnTo>
                  <a:pt x="730" y="770"/>
                </a:lnTo>
                <a:lnTo>
                  <a:pt x="730" y="768"/>
                </a:lnTo>
                <a:close/>
                <a:moveTo>
                  <a:pt x="770" y="832"/>
                </a:moveTo>
                <a:lnTo>
                  <a:pt x="773" y="832"/>
                </a:lnTo>
                <a:lnTo>
                  <a:pt x="768" y="832"/>
                </a:lnTo>
                <a:lnTo>
                  <a:pt x="773" y="839"/>
                </a:lnTo>
                <a:lnTo>
                  <a:pt x="770" y="832"/>
                </a:lnTo>
                <a:close/>
                <a:moveTo>
                  <a:pt x="764" y="867"/>
                </a:moveTo>
                <a:lnTo>
                  <a:pt x="756" y="866"/>
                </a:lnTo>
                <a:lnTo>
                  <a:pt x="760" y="867"/>
                </a:lnTo>
                <a:lnTo>
                  <a:pt x="757" y="869"/>
                </a:lnTo>
                <a:lnTo>
                  <a:pt x="760" y="869"/>
                </a:lnTo>
                <a:lnTo>
                  <a:pt x="764" y="867"/>
                </a:lnTo>
                <a:close/>
                <a:moveTo>
                  <a:pt x="773" y="881"/>
                </a:moveTo>
                <a:lnTo>
                  <a:pt x="771" y="881"/>
                </a:lnTo>
                <a:lnTo>
                  <a:pt x="768" y="882"/>
                </a:lnTo>
                <a:lnTo>
                  <a:pt x="773" y="881"/>
                </a:lnTo>
                <a:close/>
                <a:moveTo>
                  <a:pt x="790" y="861"/>
                </a:moveTo>
                <a:lnTo>
                  <a:pt x="789" y="858"/>
                </a:lnTo>
                <a:lnTo>
                  <a:pt x="789" y="860"/>
                </a:lnTo>
                <a:lnTo>
                  <a:pt x="787" y="863"/>
                </a:lnTo>
                <a:lnTo>
                  <a:pt x="783" y="865"/>
                </a:lnTo>
                <a:lnTo>
                  <a:pt x="789" y="863"/>
                </a:lnTo>
                <a:lnTo>
                  <a:pt x="790" y="861"/>
                </a:lnTo>
                <a:close/>
                <a:moveTo>
                  <a:pt x="800" y="861"/>
                </a:moveTo>
                <a:lnTo>
                  <a:pt x="798" y="863"/>
                </a:lnTo>
                <a:lnTo>
                  <a:pt x="800" y="866"/>
                </a:lnTo>
                <a:lnTo>
                  <a:pt x="799" y="868"/>
                </a:lnTo>
                <a:lnTo>
                  <a:pt x="800" y="867"/>
                </a:lnTo>
                <a:lnTo>
                  <a:pt x="800" y="866"/>
                </a:lnTo>
                <a:lnTo>
                  <a:pt x="800" y="861"/>
                </a:lnTo>
                <a:close/>
                <a:moveTo>
                  <a:pt x="800" y="437"/>
                </a:moveTo>
                <a:lnTo>
                  <a:pt x="797" y="436"/>
                </a:lnTo>
                <a:lnTo>
                  <a:pt x="798" y="439"/>
                </a:lnTo>
                <a:lnTo>
                  <a:pt x="800" y="437"/>
                </a:lnTo>
                <a:close/>
                <a:moveTo>
                  <a:pt x="801" y="873"/>
                </a:moveTo>
                <a:lnTo>
                  <a:pt x="800" y="873"/>
                </a:lnTo>
                <a:lnTo>
                  <a:pt x="800" y="873"/>
                </a:lnTo>
                <a:lnTo>
                  <a:pt x="801" y="873"/>
                </a:lnTo>
                <a:close/>
                <a:moveTo>
                  <a:pt x="989" y="1284"/>
                </a:moveTo>
                <a:lnTo>
                  <a:pt x="989" y="1285"/>
                </a:lnTo>
                <a:lnTo>
                  <a:pt x="990" y="1288"/>
                </a:lnTo>
                <a:lnTo>
                  <a:pt x="991" y="1287"/>
                </a:lnTo>
                <a:lnTo>
                  <a:pt x="989" y="1284"/>
                </a:lnTo>
                <a:close/>
                <a:moveTo>
                  <a:pt x="1078" y="465"/>
                </a:moveTo>
                <a:lnTo>
                  <a:pt x="1064" y="468"/>
                </a:lnTo>
                <a:lnTo>
                  <a:pt x="1064" y="469"/>
                </a:lnTo>
                <a:lnTo>
                  <a:pt x="1067" y="470"/>
                </a:lnTo>
                <a:lnTo>
                  <a:pt x="1065" y="473"/>
                </a:lnTo>
                <a:lnTo>
                  <a:pt x="1076" y="469"/>
                </a:lnTo>
                <a:lnTo>
                  <a:pt x="1076" y="466"/>
                </a:lnTo>
                <a:lnTo>
                  <a:pt x="1078" y="465"/>
                </a:lnTo>
                <a:close/>
                <a:moveTo>
                  <a:pt x="998" y="1299"/>
                </a:moveTo>
                <a:lnTo>
                  <a:pt x="1001" y="1294"/>
                </a:lnTo>
                <a:lnTo>
                  <a:pt x="998" y="1296"/>
                </a:lnTo>
                <a:lnTo>
                  <a:pt x="998" y="1299"/>
                </a:lnTo>
                <a:close/>
                <a:moveTo>
                  <a:pt x="1006" y="1313"/>
                </a:moveTo>
                <a:lnTo>
                  <a:pt x="1008" y="1313"/>
                </a:lnTo>
                <a:lnTo>
                  <a:pt x="1008" y="1310"/>
                </a:lnTo>
                <a:lnTo>
                  <a:pt x="1006" y="1310"/>
                </a:lnTo>
                <a:lnTo>
                  <a:pt x="1006" y="1313"/>
                </a:lnTo>
                <a:close/>
                <a:moveTo>
                  <a:pt x="964" y="1240"/>
                </a:moveTo>
                <a:lnTo>
                  <a:pt x="964" y="1241"/>
                </a:lnTo>
                <a:lnTo>
                  <a:pt x="969" y="1248"/>
                </a:lnTo>
                <a:lnTo>
                  <a:pt x="969" y="1245"/>
                </a:lnTo>
                <a:lnTo>
                  <a:pt x="966" y="1242"/>
                </a:lnTo>
                <a:lnTo>
                  <a:pt x="966" y="1241"/>
                </a:lnTo>
                <a:lnTo>
                  <a:pt x="964" y="1240"/>
                </a:lnTo>
                <a:close/>
                <a:moveTo>
                  <a:pt x="826" y="904"/>
                </a:moveTo>
                <a:lnTo>
                  <a:pt x="826" y="908"/>
                </a:lnTo>
                <a:lnTo>
                  <a:pt x="829" y="908"/>
                </a:lnTo>
                <a:lnTo>
                  <a:pt x="828" y="904"/>
                </a:lnTo>
                <a:lnTo>
                  <a:pt x="826" y="904"/>
                </a:lnTo>
                <a:close/>
                <a:moveTo>
                  <a:pt x="409" y="658"/>
                </a:moveTo>
                <a:lnTo>
                  <a:pt x="408" y="660"/>
                </a:lnTo>
                <a:lnTo>
                  <a:pt x="409" y="659"/>
                </a:lnTo>
                <a:lnTo>
                  <a:pt x="409" y="658"/>
                </a:lnTo>
                <a:close/>
                <a:moveTo>
                  <a:pt x="698" y="751"/>
                </a:moveTo>
                <a:lnTo>
                  <a:pt x="698" y="751"/>
                </a:lnTo>
                <a:lnTo>
                  <a:pt x="698" y="751"/>
                </a:lnTo>
                <a:lnTo>
                  <a:pt x="695" y="747"/>
                </a:lnTo>
                <a:lnTo>
                  <a:pt x="695" y="749"/>
                </a:lnTo>
                <a:lnTo>
                  <a:pt x="697" y="752"/>
                </a:lnTo>
                <a:lnTo>
                  <a:pt x="698" y="751"/>
                </a:lnTo>
                <a:close/>
                <a:moveTo>
                  <a:pt x="386" y="684"/>
                </a:moveTo>
                <a:lnTo>
                  <a:pt x="389" y="684"/>
                </a:lnTo>
                <a:lnTo>
                  <a:pt x="387" y="682"/>
                </a:lnTo>
                <a:lnTo>
                  <a:pt x="386" y="684"/>
                </a:lnTo>
                <a:close/>
                <a:moveTo>
                  <a:pt x="463" y="652"/>
                </a:moveTo>
                <a:lnTo>
                  <a:pt x="462" y="652"/>
                </a:lnTo>
                <a:lnTo>
                  <a:pt x="463" y="654"/>
                </a:lnTo>
                <a:lnTo>
                  <a:pt x="463" y="652"/>
                </a:lnTo>
                <a:close/>
                <a:moveTo>
                  <a:pt x="1039" y="492"/>
                </a:moveTo>
                <a:lnTo>
                  <a:pt x="1038" y="492"/>
                </a:lnTo>
                <a:lnTo>
                  <a:pt x="1039" y="493"/>
                </a:lnTo>
                <a:lnTo>
                  <a:pt x="1039" y="492"/>
                </a:lnTo>
                <a:close/>
                <a:moveTo>
                  <a:pt x="255" y="585"/>
                </a:moveTo>
                <a:lnTo>
                  <a:pt x="252" y="585"/>
                </a:lnTo>
                <a:lnTo>
                  <a:pt x="258" y="585"/>
                </a:lnTo>
                <a:lnTo>
                  <a:pt x="255" y="585"/>
                </a:lnTo>
                <a:close/>
                <a:moveTo>
                  <a:pt x="759" y="861"/>
                </a:moveTo>
                <a:lnTo>
                  <a:pt x="757" y="861"/>
                </a:lnTo>
                <a:lnTo>
                  <a:pt x="759" y="862"/>
                </a:lnTo>
                <a:lnTo>
                  <a:pt x="759" y="861"/>
                </a:lnTo>
                <a:lnTo>
                  <a:pt x="761" y="861"/>
                </a:lnTo>
                <a:lnTo>
                  <a:pt x="759" y="860"/>
                </a:lnTo>
                <a:lnTo>
                  <a:pt x="759" y="861"/>
                </a:lnTo>
                <a:close/>
                <a:moveTo>
                  <a:pt x="836" y="929"/>
                </a:moveTo>
                <a:lnTo>
                  <a:pt x="836" y="927"/>
                </a:lnTo>
                <a:lnTo>
                  <a:pt x="836" y="926"/>
                </a:lnTo>
                <a:lnTo>
                  <a:pt x="836" y="929"/>
                </a:lnTo>
                <a:close/>
                <a:moveTo>
                  <a:pt x="1042" y="493"/>
                </a:moveTo>
                <a:lnTo>
                  <a:pt x="1043" y="493"/>
                </a:lnTo>
                <a:lnTo>
                  <a:pt x="1042" y="492"/>
                </a:lnTo>
                <a:lnTo>
                  <a:pt x="1042" y="493"/>
                </a:lnTo>
                <a:close/>
                <a:moveTo>
                  <a:pt x="831" y="903"/>
                </a:moveTo>
                <a:lnTo>
                  <a:pt x="829" y="904"/>
                </a:lnTo>
                <a:lnTo>
                  <a:pt x="833" y="904"/>
                </a:lnTo>
                <a:lnTo>
                  <a:pt x="831" y="903"/>
                </a:lnTo>
                <a:close/>
                <a:moveTo>
                  <a:pt x="770" y="867"/>
                </a:moveTo>
                <a:lnTo>
                  <a:pt x="771" y="866"/>
                </a:lnTo>
                <a:lnTo>
                  <a:pt x="767" y="866"/>
                </a:lnTo>
                <a:lnTo>
                  <a:pt x="770" y="867"/>
                </a:lnTo>
                <a:close/>
                <a:moveTo>
                  <a:pt x="761" y="861"/>
                </a:moveTo>
                <a:lnTo>
                  <a:pt x="768" y="865"/>
                </a:lnTo>
                <a:lnTo>
                  <a:pt x="770" y="865"/>
                </a:lnTo>
                <a:lnTo>
                  <a:pt x="767" y="862"/>
                </a:lnTo>
                <a:lnTo>
                  <a:pt x="771" y="862"/>
                </a:lnTo>
                <a:lnTo>
                  <a:pt x="770" y="861"/>
                </a:lnTo>
                <a:lnTo>
                  <a:pt x="767" y="861"/>
                </a:lnTo>
                <a:lnTo>
                  <a:pt x="761" y="861"/>
                </a:lnTo>
                <a:close/>
                <a:moveTo>
                  <a:pt x="773" y="863"/>
                </a:moveTo>
                <a:lnTo>
                  <a:pt x="771" y="863"/>
                </a:lnTo>
                <a:lnTo>
                  <a:pt x="771" y="863"/>
                </a:lnTo>
                <a:lnTo>
                  <a:pt x="773" y="863"/>
                </a:lnTo>
                <a:close/>
                <a:moveTo>
                  <a:pt x="1903" y="1720"/>
                </a:moveTo>
                <a:lnTo>
                  <a:pt x="1903" y="1718"/>
                </a:lnTo>
                <a:lnTo>
                  <a:pt x="1901" y="1719"/>
                </a:lnTo>
                <a:lnTo>
                  <a:pt x="1900" y="1719"/>
                </a:lnTo>
                <a:lnTo>
                  <a:pt x="1903" y="1720"/>
                </a:lnTo>
                <a:close/>
                <a:moveTo>
                  <a:pt x="1538" y="2421"/>
                </a:moveTo>
                <a:lnTo>
                  <a:pt x="1541" y="2423"/>
                </a:lnTo>
                <a:lnTo>
                  <a:pt x="1541" y="2421"/>
                </a:lnTo>
                <a:lnTo>
                  <a:pt x="1540" y="2420"/>
                </a:lnTo>
                <a:lnTo>
                  <a:pt x="1541" y="2420"/>
                </a:lnTo>
                <a:lnTo>
                  <a:pt x="1538" y="2420"/>
                </a:lnTo>
                <a:lnTo>
                  <a:pt x="1537" y="2423"/>
                </a:lnTo>
                <a:lnTo>
                  <a:pt x="1538" y="2421"/>
                </a:lnTo>
                <a:close/>
                <a:moveTo>
                  <a:pt x="1542" y="2418"/>
                </a:moveTo>
                <a:lnTo>
                  <a:pt x="1542" y="2418"/>
                </a:lnTo>
                <a:lnTo>
                  <a:pt x="1542" y="2418"/>
                </a:lnTo>
                <a:lnTo>
                  <a:pt x="1542" y="2418"/>
                </a:lnTo>
                <a:close/>
                <a:moveTo>
                  <a:pt x="1543" y="2417"/>
                </a:moveTo>
                <a:lnTo>
                  <a:pt x="1542" y="2418"/>
                </a:lnTo>
                <a:lnTo>
                  <a:pt x="1543" y="2418"/>
                </a:lnTo>
                <a:lnTo>
                  <a:pt x="1543" y="2417"/>
                </a:lnTo>
                <a:close/>
                <a:moveTo>
                  <a:pt x="1541" y="2431"/>
                </a:moveTo>
                <a:lnTo>
                  <a:pt x="1542" y="2431"/>
                </a:lnTo>
                <a:lnTo>
                  <a:pt x="1542" y="2431"/>
                </a:lnTo>
                <a:lnTo>
                  <a:pt x="1541" y="2430"/>
                </a:lnTo>
                <a:lnTo>
                  <a:pt x="1543" y="2429"/>
                </a:lnTo>
                <a:lnTo>
                  <a:pt x="1543" y="2428"/>
                </a:lnTo>
                <a:lnTo>
                  <a:pt x="1539" y="2429"/>
                </a:lnTo>
                <a:lnTo>
                  <a:pt x="1539" y="2431"/>
                </a:lnTo>
                <a:lnTo>
                  <a:pt x="1541" y="2430"/>
                </a:lnTo>
                <a:lnTo>
                  <a:pt x="1541" y="2431"/>
                </a:lnTo>
                <a:close/>
                <a:moveTo>
                  <a:pt x="1533" y="2420"/>
                </a:moveTo>
                <a:lnTo>
                  <a:pt x="1533" y="2418"/>
                </a:lnTo>
                <a:lnTo>
                  <a:pt x="1530" y="2418"/>
                </a:lnTo>
                <a:lnTo>
                  <a:pt x="1533" y="2420"/>
                </a:lnTo>
                <a:close/>
                <a:moveTo>
                  <a:pt x="1538" y="2429"/>
                </a:moveTo>
                <a:lnTo>
                  <a:pt x="1539" y="2428"/>
                </a:lnTo>
                <a:lnTo>
                  <a:pt x="1538" y="2425"/>
                </a:lnTo>
                <a:lnTo>
                  <a:pt x="1537" y="2428"/>
                </a:lnTo>
                <a:lnTo>
                  <a:pt x="1538" y="2429"/>
                </a:lnTo>
                <a:close/>
                <a:moveTo>
                  <a:pt x="1539" y="2424"/>
                </a:moveTo>
                <a:lnTo>
                  <a:pt x="1538" y="2423"/>
                </a:lnTo>
                <a:lnTo>
                  <a:pt x="1537" y="2423"/>
                </a:lnTo>
                <a:lnTo>
                  <a:pt x="1538" y="2425"/>
                </a:lnTo>
                <a:lnTo>
                  <a:pt x="1539" y="2424"/>
                </a:lnTo>
                <a:close/>
                <a:moveTo>
                  <a:pt x="1519" y="2485"/>
                </a:moveTo>
                <a:lnTo>
                  <a:pt x="1514" y="2485"/>
                </a:lnTo>
                <a:lnTo>
                  <a:pt x="1517" y="2488"/>
                </a:lnTo>
                <a:lnTo>
                  <a:pt x="1519" y="2486"/>
                </a:lnTo>
                <a:lnTo>
                  <a:pt x="1514" y="2492"/>
                </a:lnTo>
                <a:lnTo>
                  <a:pt x="1516" y="2493"/>
                </a:lnTo>
                <a:lnTo>
                  <a:pt x="1520" y="2489"/>
                </a:lnTo>
                <a:lnTo>
                  <a:pt x="1520" y="2489"/>
                </a:lnTo>
                <a:lnTo>
                  <a:pt x="1520" y="2488"/>
                </a:lnTo>
                <a:lnTo>
                  <a:pt x="1519" y="2485"/>
                </a:lnTo>
                <a:close/>
                <a:moveTo>
                  <a:pt x="1539" y="2517"/>
                </a:moveTo>
                <a:lnTo>
                  <a:pt x="1538" y="2516"/>
                </a:lnTo>
                <a:lnTo>
                  <a:pt x="1538" y="2517"/>
                </a:lnTo>
                <a:lnTo>
                  <a:pt x="1539" y="2517"/>
                </a:lnTo>
                <a:close/>
                <a:moveTo>
                  <a:pt x="1538" y="2523"/>
                </a:moveTo>
                <a:lnTo>
                  <a:pt x="1538" y="2523"/>
                </a:lnTo>
                <a:lnTo>
                  <a:pt x="1538" y="2517"/>
                </a:lnTo>
                <a:lnTo>
                  <a:pt x="1538" y="2517"/>
                </a:lnTo>
                <a:lnTo>
                  <a:pt x="1535" y="2516"/>
                </a:lnTo>
                <a:lnTo>
                  <a:pt x="1538" y="2523"/>
                </a:lnTo>
                <a:close/>
                <a:moveTo>
                  <a:pt x="1911" y="1708"/>
                </a:moveTo>
                <a:lnTo>
                  <a:pt x="1910" y="1711"/>
                </a:lnTo>
                <a:lnTo>
                  <a:pt x="1911" y="1712"/>
                </a:lnTo>
                <a:lnTo>
                  <a:pt x="1911" y="1712"/>
                </a:lnTo>
                <a:lnTo>
                  <a:pt x="1911" y="1708"/>
                </a:lnTo>
                <a:lnTo>
                  <a:pt x="1911" y="1708"/>
                </a:lnTo>
                <a:close/>
                <a:moveTo>
                  <a:pt x="1531" y="2475"/>
                </a:moveTo>
                <a:lnTo>
                  <a:pt x="1535" y="2477"/>
                </a:lnTo>
                <a:lnTo>
                  <a:pt x="1533" y="2474"/>
                </a:lnTo>
                <a:lnTo>
                  <a:pt x="1531" y="2475"/>
                </a:lnTo>
                <a:close/>
                <a:moveTo>
                  <a:pt x="1531" y="2416"/>
                </a:moveTo>
                <a:lnTo>
                  <a:pt x="1533" y="2418"/>
                </a:lnTo>
                <a:lnTo>
                  <a:pt x="1535" y="2416"/>
                </a:lnTo>
                <a:lnTo>
                  <a:pt x="1533" y="2414"/>
                </a:lnTo>
                <a:lnTo>
                  <a:pt x="1531" y="2416"/>
                </a:lnTo>
                <a:close/>
                <a:moveTo>
                  <a:pt x="1531" y="2466"/>
                </a:moveTo>
                <a:lnTo>
                  <a:pt x="1533" y="2470"/>
                </a:lnTo>
                <a:lnTo>
                  <a:pt x="1539" y="2467"/>
                </a:lnTo>
                <a:lnTo>
                  <a:pt x="1541" y="2467"/>
                </a:lnTo>
                <a:lnTo>
                  <a:pt x="1536" y="2466"/>
                </a:lnTo>
                <a:lnTo>
                  <a:pt x="1535" y="2466"/>
                </a:lnTo>
                <a:lnTo>
                  <a:pt x="1531" y="2466"/>
                </a:lnTo>
                <a:close/>
                <a:moveTo>
                  <a:pt x="1520" y="2486"/>
                </a:moveTo>
                <a:lnTo>
                  <a:pt x="1524" y="2486"/>
                </a:lnTo>
                <a:lnTo>
                  <a:pt x="1523" y="2485"/>
                </a:lnTo>
                <a:lnTo>
                  <a:pt x="1519" y="2482"/>
                </a:lnTo>
                <a:lnTo>
                  <a:pt x="1520" y="2486"/>
                </a:lnTo>
                <a:close/>
                <a:moveTo>
                  <a:pt x="1527" y="2520"/>
                </a:moveTo>
                <a:lnTo>
                  <a:pt x="1530" y="2524"/>
                </a:lnTo>
                <a:lnTo>
                  <a:pt x="1527" y="2524"/>
                </a:lnTo>
                <a:lnTo>
                  <a:pt x="1526" y="2520"/>
                </a:lnTo>
                <a:lnTo>
                  <a:pt x="1526" y="2520"/>
                </a:lnTo>
                <a:lnTo>
                  <a:pt x="1526" y="2524"/>
                </a:lnTo>
                <a:lnTo>
                  <a:pt x="1526" y="2527"/>
                </a:lnTo>
                <a:lnTo>
                  <a:pt x="1527" y="2528"/>
                </a:lnTo>
                <a:lnTo>
                  <a:pt x="1531" y="2526"/>
                </a:lnTo>
                <a:lnTo>
                  <a:pt x="1533" y="2527"/>
                </a:lnTo>
                <a:lnTo>
                  <a:pt x="1533" y="2524"/>
                </a:lnTo>
                <a:lnTo>
                  <a:pt x="1533" y="2522"/>
                </a:lnTo>
                <a:lnTo>
                  <a:pt x="1527" y="2520"/>
                </a:lnTo>
                <a:close/>
                <a:moveTo>
                  <a:pt x="1878" y="1695"/>
                </a:moveTo>
                <a:lnTo>
                  <a:pt x="1878" y="1695"/>
                </a:lnTo>
                <a:lnTo>
                  <a:pt x="1874" y="1695"/>
                </a:lnTo>
                <a:lnTo>
                  <a:pt x="1873" y="1697"/>
                </a:lnTo>
                <a:lnTo>
                  <a:pt x="1875" y="1697"/>
                </a:lnTo>
                <a:lnTo>
                  <a:pt x="1877" y="1697"/>
                </a:lnTo>
                <a:lnTo>
                  <a:pt x="1878" y="1695"/>
                </a:lnTo>
                <a:close/>
                <a:moveTo>
                  <a:pt x="3853" y="292"/>
                </a:moveTo>
                <a:lnTo>
                  <a:pt x="3849" y="292"/>
                </a:lnTo>
                <a:lnTo>
                  <a:pt x="3856" y="292"/>
                </a:lnTo>
                <a:lnTo>
                  <a:pt x="3853" y="292"/>
                </a:lnTo>
                <a:close/>
                <a:moveTo>
                  <a:pt x="1812" y="1608"/>
                </a:moveTo>
                <a:lnTo>
                  <a:pt x="1813" y="1608"/>
                </a:lnTo>
                <a:lnTo>
                  <a:pt x="1813" y="1608"/>
                </a:lnTo>
                <a:lnTo>
                  <a:pt x="1814" y="1607"/>
                </a:lnTo>
                <a:lnTo>
                  <a:pt x="1812" y="1608"/>
                </a:lnTo>
                <a:close/>
                <a:moveTo>
                  <a:pt x="1570" y="2596"/>
                </a:moveTo>
                <a:lnTo>
                  <a:pt x="1572" y="2600"/>
                </a:lnTo>
                <a:lnTo>
                  <a:pt x="1571" y="2596"/>
                </a:lnTo>
                <a:lnTo>
                  <a:pt x="1570" y="2596"/>
                </a:lnTo>
                <a:close/>
                <a:moveTo>
                  <a:pt x="1875" y="1697"/>
                </a:moveTo>
                <a:lnTo>
                  <a:pt x="1875" y="1699"/>
                </a:lnTo>
                <a:lnTo>
                  <a:pt x="1876" y="1698"/>
                </a:lnTo>
                <a:lnTo>
                  <a:pt x="1875" y="1697"/>
                </a:lnTo>
                <a:close/>
                <a:moveTo>
                  <a:pt x="755" y="833"/>
                </a:moveTo>
                <a:lnTo>
                  <a:pt x="752" y="834"/>
                </a:lnTo>
                <a:lnTo>
                  <a:pt x="756" y="836"/>
                </a:lnTo>
                <a:lnTo>
                  <a:pt x="756" y="834"/>
                </a:lnTo>
                <a:lnTo>
                  <a:pt x="756" y="834"/>
                </a:lnTo>
                <a:lnTo>
                  <a:pt x="755" y="833"/>
                </a:lnTo>
                <a:close/>
                <a:moveTo>
                  <a:pt x="1878" y="1697"/>
                </a:moveTo>
                <a:lnTo>
                  <a:pt x="1876" y="1698"/>
                </a:lnTo>
                <a:lnTo>
                  <a:pt x="1877" y="1698"/>
                </a:lnTo>
                <a:lnTo>
                  <a:pt x="1878" y="1697"/>
                </a:lnTo>
                <a:close/>
                <a:moveTo>
                  <a:pt x="1725" y="1563"/>
                </a:moveTo>
                <a:lnTo>
                  <a:pt x="1725" y="1565"/>
                </a:lnTo>
                <a:lnTo>
                  <a:pt x="1728" y="1564"/>
                </a:lnTo>
                <a:lnTo>
                  <a:pt x="1726" y="1565"/>
                </a:lnTo>
                <a:lnTo>
                  <a:pt x="1727" y="1564"/>
                </a:lnTo>
                <a:lnTo>
                  <a:pt x="1728" y="1563"/>
                </a:lnTo>
                <a:lnTo>
                  <a:pt x="1726" y="1563"/>
                </a:lnTo>
                <a:lnTo>
                  <a:pt x="1725" y="1563"/>
                </a:lnTo>
                <a:close/>
                <a:moveTo>
                  <a:pt x="1488" y="1629"/>
                </a:moveTo>
                <a:lnTo>
                  <a:pt x="1491" y="1629"/>
                </a:lnTo>
                <a:lnTo>
                  <a:pt x="1490" y="1627"/>
                </a:lnTo>
                <a:lnTo>
                  <a:pt x="1490" y="1626"/>
                </a:lnTo>
                <a:lnTo>
                  <a:pt x="1488" y="1629"/>
                </a:lnTo>
                <a:close/>
                <a:moveTo>
                  <a:pt x="1414" y="1550"/>
                </a:moveTo>
                <a:lnTo>
                  <a:pt x="1414" y="1550"/>
                </a:lnTo>
                <a:lnTo>
                  <a:pt x="1414" y="1551"/>
                </a:lnTo>
                <a:lnTo>
                  <a:pt x="1414" y="1550"/>
                </a:lnTo>
                <a:close/>
                <a:moveTo>
                  <a:pt x="1448" y="1736"/>
                </a:moveTo>
                <a:lnTo>
                  <a:pt x="1450" y="1736"/>
                </a:lnTo>
                <a:lnTo>
                  <a:pt x="1454" y="1732"/>
                </a:lnTo>
                <a:lnTo>
                  <a:pt x="1453" y="1732"/>
                </a:lnTo>
                <a:lnTo>
                  <a:pt x="1451" y="1732"/>
                </a:lnTo>
                <a:lnTo>
                  <a:pt x="1453" y="1728"/>
                </a:lnTo>
                <a:lnTo>
                  <a:pt x="1450" y="1730"/>
                </a:lnTo>
                <a:lnTo>
                  <a:pt x="1450" y="1732"/>
                </a:lnTo>
                <a:lnTo>
                  <a:pt x="1448" y="1736"/>
                </a:lnTo>
                <a:close/>
                <a:moveTo>
                  <a:pt x="1546" y="2394"/>
                </a:moveTo>
                <a:lnTo>
                  <a:pt x="1546" y="2395"/>
                </a:lnTo>
                <a:lnTo>
                  <a:pt x="1549" y="2395"/>
                </a:lnTo>
                <a:lnTo>
                  <a:pt x="1549" y="2395"/>
                </a:lnTo>
                <a:lnTo>
                  <a:pt x="1546" y="2394"/>
                </a:lnTo>
                <a:close/>
                <a:moveTo>
                  <a:pt x="1578" y="1515"/>
                </a:moveTo>
                <a:lnTo>
                  <a:pt x="1569" y="1519"/>
                </a:lnTo>
                <a:lnTo>
                  <a:pt x="1568" y="1520"/>
                </a:lnTo>
                <a:lnTo>
                  <a:pt x="1576" y="1517"/>
                </a:lnTo>
                <a:lnTo>
                  <a:pt x="1578" y="1515"/>
                </a:lnTo>
                <a:close/>
                <a:moveTo>
                  <a:pt x="1414" y="1551"/>
                </a:moveTo>
                <a:lnTo>
                  <a:pt x="1414" y="1551"/>
                </a:lnTo>
                <a:lnTo>
                  <a:pt x="1414" y="1551"/>
                </a:lnTo>
                <a:lnTo>
                  <a:pt x="1414" y="1551"/>
                </a:lnTo>
                <a:close/>
                <a:moveTo>
                  <a:pt x="1568" y="1520"/>
                </a:moveTo>
                <a:lnTo>
                  <a:pt x="1568" y="1521"/>
                </a:lnTo>
                <a:lnTo>
                  <a:pt x="1568" y="1520"/>
                </a:lnTo>
                <a:lnTo>
                  <a:pt x="1568" y="1520"/>
                </a:lnTo>
                <a:close/>
                <a:moveTo>
                  <a:pt x="1526" y="2528"/>
                </a:moveTo>
                <a:lnTo>
                  <a:pt x="1526" y="2527"/>
                </a:lnTo>
                <a:lnTo>
                  <a:pt x="1524" y="2528"/>
                </a:lnTo>
                <a:lnTo>
                  <a:pt x="1526" y="2528"/>
                </a:lnTo>
                <a:close/>
                <a:moveTo>
                  <a:pt x="1751" y="2536"/>
                </a:moveTo>
                <a:lnTo>
                  <a:pt x="1752" y="2535"/>
                </a:lnTo>
                <a:lnTo>
                  <a:pt x="1747" y="2533"/>
                </a:lnTo>
                <a:lnTo>
                  <a:pt x="1747" y="2535"/>
                </a:lnTo>
                <a:lnTo>
                  <a:pt x="1747" y="2536"/>
                </a:lnTo>
                <a:lnTo>
                  <a:pt x="1739" y="2535"/>
                </a:lnTo>
                <a:lnTo>
                  <a:pt x="1739" y="2539"/>
                </a:lnTo>
                <a:lnTo>
                  <a:pt x="1738" y="2539"/>
                </a:lnTo>
                <a:lnTo>
                  <a:pt x="1731" y="2536"/>
                </a:lnTo>
                <a:lnTo>
                  <a:pt x="1737" y="2540"/>
                </a:lnTo>
                <a:lnTo>
                  <a:pt x="1727" y="2540"/>
                </a:lnTo>
                <a:lnTo>
                  <a:pt x="1727" y="2542"/>
                </a:lnTo>
                <a:lnTo>
                  <a:pt x="1737" y="2543"/>
                </a:lnTo>
                <a:lnTo>
                  <a:pt x="1738" y="2543"/>
                </a:lnTo>
                <a:lnTo>
                  <a:pt x="1731" y="2544"/>
                </a:lnTo>
                <a:lnTo>
                  <a:pt x="1731" y="2547"/>
                </a:lnTo>
                <a:lnTo>
                  <a:pt x="1730" y="2547"/>
                </a:lnTo>
                <a:lnTo>
                  <a:pt x="1726" y="2548"/>
                </a:lnTo>
                <a:lnTo>
                  <a:pt x="1731" y="2550"/>
                </a:lnTo>
                <a:lnTo>
                  <a:pt x="1737" y="2549"/>
                </a:lnTo>
                <a:lnTo>
                  <a:pt x="1738" y="2547"/>
                </a:lnTo>
                <a:lnTo>
                  <a:pt x="1741" y="2547"/>
                </a:lnTo>
                <a:lnTo>
                  <a:pt x="1751" y="2537"/>
                </a:lnTo>
                <a:lnTo>
                  <a:pt x="1751" y="2536"/>
                </a:lnTo>
                <a:lnTo>
                  <a:pt x="1751" y="2536"/>
                </a:lnTo>
                <a:close/>
                <a:moveTo>
                  <a:pt x="1671" y="2608"/>
                </a:moveTo>
                <a:lnTo>
                  <a:pt x="1674" y="2609"/>
                </a:lnTo>
                <a:lnTo>
                  <a:pt x="1677" y="2608"/>
                </a:lnTo>
                <a:lnTo>
                  <a:pt x="1685" y="2608"/>
                </a:lnTo>
                <a:lnTo>
                  <a:pt x="1686" y="2606"/>
                </a:lnTo>
                <a:lnTo>
                  <a:pt x="1674" y="2608"/>
                </a:lnTo>
                <a:lnTo>
                  <a:pt x="1671" y="2608"/>
                </a:lnTo>
                <a:close/>
                <a:moveTo>
                  <a:pt x="1593" y="2592"/>
                </a:moveTo>
                <a:lnTo>
                  <a:pt x="1594" y="2592"/>
                </a:lnTo>
                <a:lnTo>
                  <a:pt x="1589" y="2590"/>
                </a:lnTo>
                <a:lnTo>
                  <a:pt x="1593" y="2592"/>
                </a:lnTo>
                <a:close/>
                <a:moveTo>
                  <a:pt x="1648" y="2600"/>
                </a:moveTo>
                <a:lnTo>
                  <a:pt x="1626" y="2587"/>
                </a:lnTo>
                <a:lnTo>
                  <a:pt x="1626" y="2586"/>
                </a:lnTo>
                <a:lnTo>
                  <a:pt x="1622" y="2580"/>
                </a:lnTo>
                <a:lnTo>
                  <a:pt x="1619" y="2575"/>
                </a:lnTo>
                <a:lnTo>
                  <a:pt x="1614" y="2572"/>
                </a:lnTo>
                <a:lnTo>
                  <a:pt x="1614" y="2570"/>
                </a:lnTo>
                <a:lnTo>
                  <a:pt x="1616" y="2569"/>
                </a:lnTo>
                <a:lnTo>
                  <a:pt x="1621" y="2571"/>
                </a:lnTo>
                <a:lnTo>
                  <a:pt x="1617" y="2567"/>
                </a:lnTo>
                <a:lnTo>
                  <a:pt x="1614" y="2563"/>
                </a:lnTo>
                <a:lnTo>
                  <a:pt x="1614" y="2560"/>
                </a:lnTo>
                <a:lnTo>
                  <a:pt x="1612" y="2557"/>
                </a:lnTo>
                <a:lnTo>
                  <a:pt x="1608" y="2561"/>
                </a:lnTo>
                <a:lnTo>
                  <a:pt x="1605" y="2555"/>
                </a:lnTo>
                <a:lnTo>
                  <a:pt x="1602" y="2557"/>
                </a:lnTo>
                <a:lnTo>
                  <a:pt x="1601" y="2564"/>
                </a:lnTo>
                <a:lnTo>
                  <a:pt x="1597" y="2564"/>
                </a:lnTo>
                <a:lnTo>
                  <a:pt x="1594" y="2562"/>
                </a:lnTo>
                <a:lnTo>
                  <a:pt x="1590" y="2563"/>
                </a:lnTo>
                <a:lnTo>
                  <a:pt x="1595" y="2564"/>
                </a:lnTo>
                <a:lnTo>
                  <a:pt x="1594" y="2568"/>
                </a:lnTo>
                <a:lnTo>
                  <a:pt x="1593" y="2568"/>
                </a:lnTo>
                <a:lnTo>
                  <a:pt x="1590" y="2566"/>
                </a:lnTo>
                <a:lnTo>
                  <a:pt x="1590" y="2567"/>
                </a:lnTo>
                <a:lnTo>
                  <a:pt x="1590" y="2574"/>
                </a:lnTo>
                <a:lnTo>
                  <a:pt x="1594" y="2576"/>
                </a:lnTo>
                <a:lnTo>
                  <a:pt x="1598" y="2576"/>
                </a:lnTo>
                <a:lnTo>
                  <a:pt x="1605" y="2576"/>
                </a:lnTo>
                <a:lnTo>
                  <a:pt x="1606" y="2579"/>
                </a:lnTo>
                <a:lnTo>
                  <a:pt x="1597" y="2581"/>
                </a:lnTo>
                <a:lnTo>
                  <a:pt x="1594" y="2585"/>
                </a:lnTo>
                <a:lnTo>
                  <a:pt x="1595" y="2589"/>
                </a:lnTo>
                <a:lnTo>
                  <a:pt x="1611" y="2596"/>
                </a:lnTo>
                <a:lnTo>
                  <a:pt x="1606" y="2597"/>
                </a:lnTo>
                <a:lnTo>
                  <a:pt x="1606" y="2597"/>
                </a:lnTo>
                <a:lnTo>
                  <a:pt x="1598" y="2594"/>
                </a:lnTo>
                <a:lnTo>
                  <a:pt x="1601" y="2598"/>
                </a:lnTo>
                <a:lnTo>
                  <a:pt x="1595" y="2592"/>
                </a:lnTo>
                <a:lnTo>
                  <a:pt x="1594" y="2594"/>
                </a:lnTo>
                <a:lnTo>
                  <a:pt x="1595" y="2596"/>
                </a:lnTo>
                <a:lnTo>
                  <a:pt x="1594" y="2596"/>
                </a:lnTo>
                <a:lnTo>
                  <a:pt x="1584" y="2591"/>
                </a:lnTo>
                <a:lnTo>
                  <a:pt x="1584" y="2591"/>
                </a:lnTo>
                <a:lnTo>
                  <a:pt x="1584" y="2591"/>
                </a:lnTo>
                <a:lnTo>
                  <a:pt x="1582" y="2590"/>
                </a:lnTo>
                <a:lnTo>
                  <a:pt x="1583" y="2592"/>
                </a:lnTo>
                <a:lnTo>
                  <a:pt x="1582" y="2592"/>
                </a:lnTo>
                <a:lnTo>
                  <a:pt x="1587" y="2594"/>
                </a:lnTo>
                <a:lnTo>
                  <a:pt x="1590" y="2597"/>
                </a:lnTo>
                <a:lnTo>
                  <a:pt x="1594" y="2600"/>
                </a:lnTo>
                <a:lnTo>
                  <a:pt x="1593" y="2600"/>
                </a:lnTo>
                <a:lnTo>
                  <a:pt x="1587" y="2597"/>
                </a:lnTo>
                <a:lnTo>
                  <a:pt x="1586" y="2599"/>
                </a:lnTo>
                <a:lnTo>
                  <a:pt x="1587" y="2596"/>
                </a:lnTo>
                <a:lnTo>
                  <a:pt x="1584" y="2596"/>
                </a:lnTo>
                <a:lnTo>
                  <a:pt x="1582" y="2596"/>
                </a:lnTo>
                <a:lnTo>
                  <a:pt x="1582" y="2597"/>
                </a:lnTo>
                <a:lnTo>
                  <a:pt x="1576" y="2596"/>
                </a:lnTo>
                <a:lnTo>
                  <a:pt x="1572" y="2596"/>
                </a:lnTo>
                <a:lnTo>
                  <a:pt x="1575" y="2600"/>
                </a:lnTo>
                <a:lnTo>
                  <a:pt x="1572" y="2600"/>
                </a:lnTo>
                <a:lnTo>
                  <a:pt x="1571" y="2600"/>
                </a:lnTo>
                <a:lnTo>
                  <a:pt x="1568" y="2600"/>
                </a:lnTo>
                <a:lnTo>
                  <a:pt x="1567" y="2600"/>
                </a:lnTo>
                <a:lnTo>
                  <a:pt x="1568" y="2601"/>
                </a:lnTo>
                <a:lnTo>
                  <a:pt x="1570" y="2601"/>
                </a:lnTo>
                <a:lnTo>
                  <a:pt x="1570" y="2603"/>
                </a:lnTo>
                <a:lnTo>
                  <a:pt x="1569" y="2602"/>
                </a:lnTo>
                <a:lnTo>
                  <a:pt x="1568" y="2604"/>
                </a:lnTo>
                <a:lnTo>
                  <a:pt x="1571" y="2604"/>
                </a:lnTo>
                <a:lnTo>
                  <a:pt x="1575" y="2603"/>
                </a:lnTo>
                <a:lnTo>
                  <a:pt x="1576" y="2598"/>
                </a:lnTo>
                <a:lnTo>
                  <a:pt x="1578" y="2602"/>
                </a:lnTo>
                <a:lnTo>
                  <a:pt x="1583" y="2601"/>
                </a:lnTo>
                <a:lnTo>
                  <a:pt x="1582" y="2603"/>
                </a:lnTo>
                <a:lnTo>
                  <a:pt x="1589" y="2601"/>
                </a:lnTo>
                <a:lnTo>
                  <a:pt x="1584" y="2603"/>
                </a:lnTo>
                <a:lnTo>
                  <a:pt x="1586" y="2605"/>
                </a:lnTo>
                <a:lnTo>
                  <a:pt x="1589" y="2603"/>
                </a:lnTo>
                <a:lnTo>
                  <a:pt x="1590" y="2601"/>
                </a:lnTo>
                <a:lnTo>
                  <a:pt x="1590" y="2603"/>
                </a:lnTo>
                <a:lnTo>
                  <a:pt x="1590" y="2605"/>
                </a:lnTo>
                <a:lnTo>
                  <a:pt x="1597" y="2603"/>
                </a:lnTo>
                <a:lnTo>
                  <a:pt x="1598" y="2601"/>
                </a:lnTo>
                <a:lnTo>
                  <a:pt x="1598" y="2603"/>
                </a:lnTo>
                <a:lnTo>
                  <a:pt x="1607" y="2607"/>
                </a:lnTo>
                <a:lnTo>
                  <a:pt x="1614" y="2605"/>
                </a:lnTo>
                <a:lnTo>
                  <a:pt x="1614" y="2607"/>
                </a:lnTo>
                <a:lnTo>
                  <a:pt x="1617" y="2607"/>
                </a:lnTo>
                <a:lnTo>
                  <a:pt x="1620" y="2608"/>
                </a:lnTo>
                <a:lnTo>
                  <a:pt x="1622" y="2608"/>
                </a:lnTo>
                <a:lnTo>
                  <a:pt x="1623" y="2608"/>
                </a:lnTo>
                <a:lnTo>
                  <a:pt x="1624" y="2613"/>
                </a:lnTo>
                <a:lnTo>
                  <a:pt x="1626" y="2612"/>
                </a:lnTo>
                <a:lnTo>
                  <a:pt x="1626" y="2616"/>
                </a:lnTo>
                <a:lnTo>
                  <a:pt x="1630" y="2616"/>
                </a:lnTo>
                <a:lnTo>
                  <a:pt x="1632" y="2612"/>
                </a:lnTo>
                <a:lnTo>
                  <a:pt x="1634" y="2612"/>
                </a:lnTo>
                <a:lnTo>
                  <a:pt x="1634" y="2616"/>
                </a:lnTo>
                <a:lnTo>
                  <a:pt x="1638" y="2616"/>
                </a:lnTo>
                <a:lnTo>
                  <a:pt x="1639" y="2611"/>
                </a:lnTo>
                <a:lnTo>
                  <a:pt x="1635" y="2609"/>
                </a:lnTo>
                <a:lnTo>
                  <a:pt x="1629" y="2608"/>
                </a:lnTo>
                <a:lnTo>
                  <a:pt x="1639" y="2608"/>
                </a:lnTo>
                <a:lnTo>
                  <a:pt x="1640" y="2608"/>
                </a:lnTo>
                <a:lnTo>
                  <a:pt x="1641" y="2608"/>
                </a:lnTo>
                <a:lnTo>
                  <a:pt x="1643" y="2609"/>
                </a:lnTo>
                <a:lnTo>
                  <a:pt x="1641" y="2609"/>
                </a:lnTo>
                <a:lnTo>
                  <a:pt x="1647" y="2611"/>
                </a:lnTo>
                <a:lnTo>
                  <a:pt x="1655" y="2607"/>
                </a:lnTo>
                <a:lnTo>
                  <a:pt x="1663" y="2610"/>
                </a:lnTo>
                <a:lnTo>
                  <a:pt x="1667" y="2604"/>
                </a:lnTo>
                <a:lnTo>
                  <a:pt x="1658" y="2604"/>
                </a:lnTo>
                <a:lnTo>
                  <a:pt x="1648" y="2600"/>
                </a:lnTo>
                <a:close/>
                <a:moveTo>
                  <a:pt x="1755" y="2542"/>
                </a:moveTo>
                <a:lnTo>
                  <a:pt x="1755" y="2543"/>
                </a:lnTo>
                <a:lnTo>
                  <a:pt x="1754" y="2543"/>
                </a:lnTo>
                <a:lnTo>
                  <a:pt x="1749" y="2546"/>
                </a:lnTo>
                <a:lnTo>
                  <a:pt x="1744" y="2550"/>
                </a:lnTo>
                <a:lnTo>
                  <a:pt x="1747" y="2554"/>
                </a:lnTo>
                <a:lnTo>
                  <a:pt x="1747" y="2549"/>
                </a:lnTo>
                <a:lnTo>
                  <a:pt x="1751" y="2550"/>
                </a:lnTo>
                <a:lnTo>
                  <a:pt x="1751" y="2549"/>
                </a:lnTo>
                <a:lnTo>
                  <a:pt x="1753" y="2547"/>
                </a:lnTo>
                <a:lnTo>
                  <a:pt x="1754" y="2547"/>
                </a:lnTo>
                <a:lnTo>
                  <a:pt x="1756" y="2549"/>
                </a:lnTo>
                <a:lnTo>
                  <a:pt x="1759" y="2547"/>
                </a:lnTo>
                <a:lnTo>
                  <a:pt x="1759" y="2546"/>
                </a:lnTo>
                <a:lnTo>
                  <a:pt x="1755" y="2544"/>
                </a:lnTo>
                <a:lnTo>
                  <a:pt x="1755" y="2542"/>
                </a:lnTo>
                <a:close/>
                <a:moveTo>
                  <a:pt x="1728" y="2546"/>
                </a:moveTo>
                <a:lnTo>
                  <a:pt x="1726" y="2542"/>
                </a:lnTo>
                <a:lnTo>
                  <a:pt x="1725" y="2542"/>
                </a:lnTo>
                <a:lnTo>
                  <a:pt x="1722" y="2542"/>
                </a:lnTo>
                <a:lnTo>
                  <a:pt x="1726" y="2546"/>
                </a:lnTo>
                <a:lnTo>
                  <a:pt x="1728" y="2546"/>
                </a:lnTo>
                <a:close/>
                <a:moveTo>
                  <a:pt x="1721" y="2544"/>
                </a:moveTo>
                <a:lnTo>
                  <a:pt x="1722" y="2542"/>
                </a:lnTo>
                <a:lnTo>
                  <a:pt x="1721" y="2542"/>
                </a:lnTo>
                <a:lnTo>
                  <a:pt x="1721" y="2544"/>
                </a:lnTo>
                <a:close/>
                <a:moveTo>
                  <a:pt x="1713" y="2309"/>
                </a:moveTo>
                <a:lnTo>
                  <a:pt x="1713" y="2307"/>
                </a:lnTo>
                <a:lnTo>
                  <a:pt x="1709" y="2305"/>
                </a:lnTo>
                <a:lnTo>
                  <a:pt x="1713" y="2309"/>
                </a:lnTo>
                <a:close/>
                <a:moveTo>
                  <a:pt x="3837" y="313"/>
                </a:moveTo>
                <a:lnTo>
                  <a:pt x="3830" y="314"/>
                </a:lnTo>
                <a:lnTo>
                  <a:pt x="3837" y="315"/>
                </a:lnTo>
                <a:lnTo>
                  <a:pt x="3837" y="313"/>
                </a:lnTo>
                <a:close/>
                <a:moveTo>
                  <a:pt x="1582" y="2590"/>
                </a:moveTo>
                <a:lnTo>
                  <a:pt x="1582" y="2590"/>
                </a:lnTo>
                <a:lnTo>
                  <a:pt x="1582" y="2589"/>
                </a:lnTo>
                <a:lnTo>
                  <a:pt x="1578" y="2586"/>
                </a:lnTo>
                <a:lnTo>
                  <a:pt x="1572" y="2585"/>
                </a:lnTo>
                <a:lnTo>
                  <a:pt x="1572" y="2587"/>
                </a:lnTo>
                <a:lnTo>
                  <a:pt x="1571" y="2585"/>
                </a:lnTo>
                <a:lnTo>
                  <a:pt x="1568" y="2584"/>
                </a:lnTo>
                <a:lnTo>
                  <a:pt x="1567" y="2586"/>
                </a:lnTo>
                <a:lnTo>
                  <a:pt x="1564" y="2585"/>
                </a:lnTo>
                <a:lnTo>
                  <a:pt x="1565" y="2589"/>
                </a:lnTo>
                <a:lnTo>
                  <a:pt x="1570" y="2594"/>
                </a:lnTo>
                <a:lnTo>
                  <a:pt x="1571" y="2592"/>
                </a:lnTo>
                <a:lnTo>
                  <a:pt x="1568" y="2586"/>
                </a:lnTo>
                <a:lnTo>
                  <a:pt x="1571" y="2590"/>
                </a:lnTo>
                <a:lnTo>
                  <a:pt x="1575" y="2592"/>
                </a:lnTo>
                <a:lnTo>
                  <a:pt x="1575" y="2591"/>
                </a:lnTo>
                <a:lnTo>
                  <a:pt x="1576" y="2594"/>
                </a:lnTo>
                <a:lnTo>
                  <a:pt x="1579" y="2596"/>
                </a:lnTo>
                <a:lnTo>
                  <a:pt x="1582" y="2592"/>
                </a:lnTo>
                <a:lnTo>
                  <a:pt x="1582" y="2592"/>
                </a:lnTo>
                <a:lnTo>
                  <a:pt x="1582" y="2590"/>
                </a:lnTo>
                <a:close/>
                <a:moveTo>
                  <a:pt x="1589" y="2593"/>
                </a:moveTo>
                <a:lnTo>
                  <a:pt x="1587" y="2587"/>
                </a:lnTo>
                <a:lnTo>
                  <a:pt x="1589" y="2588"/>
                </a:lnTo>
                <a:lnTo>
                  <a:pt x="1590" y="2588"/>
                </a:lnTo>
                <a:lnTo>
                  <a:pt x="1589" y="2579"/>
                </a:lnTo>
                <a:lnTo>
                  <a:pt x="1586" y="2583"/>
                </a:lnTo>
                <a:lnTo>
                  <a:pt x="1587" y="2588"/>
                </a:lnTo>
                <a:lnTo>
                  <a:pt x="1583" y="2588"/>
                </a:lnTo>
                <a:lnTo>
                  <a:pt x="1584" y="2591"/>
                </a:lnTo>
                <a:lnTo>
                  <a:pt x="1584" y="2591"/>
                </a:lnTo>
                <a:lnTo>
                  <a:pt x="1589" y="2593"/>
                </a:lnTo>
                <a:close/>
                <a:moveTo>
                  <a:pt x="3808" y="258"/>
                </a:moveTo>
                <a:lnTo>
                  <a:pt x="3802" y="258"/>
                </a:lnTo>
                <a:lnTo>
                  <a:pt x="3797" y="258"/>
                </a:lnTo>
                <a:lnTo>
                  <a:pt x="3796" y="258"/>
                </a:lnTo>
                <a:lnTo>
                  <a:pt x="3802" y="258"/>
                </a:lnTo>
                <a:lnTo>
                  <a:pt x="3808" y="258"/>
                </a:lnTo>
                <a:close/>
                <a:moveTo>
                  <a:pt x="3813" y="312"/>
                </a:moveTo>
                <a:lnTo>
                  <a:pt x="3813" y="310"/>
                </a:lnTo>
                <a:lnTo>
                  <a:pt x="3808" y="312"/>
                </a:lnTo>
                <a:lnTo>
                  <a:pt x="3813" y="312"/>
                </a:lnTo>
                <a:close/>
                <a:moveTo>
                  <a:pt x="3820" y="311"/>
                </a:moveTo>
                <a:lnTo>
                  <a:pt x="3815" y="314"/>
                </a:lnTo>
                <a:lnTo>
                  <a:pt x="3826" y="314"/>
                </a:lnTo>
                <a:lnTo>
                  <a:pt x="3820" y="311"/>
                </a:lnTo>
                <a:close/>
                <a:moveTo>
                  <a:pt x="1616" y="2608"/>
                </a:moveTo>
                <a:lnTo>
                  <a:pt x="1614" y="2608"/>
                </a:lnTo>
                <a:lnTo>
                  <a:pt x="1614" y="2607"/>
                </a:lnTo>
                <a:lnTo>
                  <a:pt x="1598" y="2608"/>
                </a:lnTo>
                <a:lnTo>
                  <a:pt x="1595" y="2609"/>
                </a:lnTo>
                <a:lnTo>
                  <a:pt x="1598" y="2613"/>
                </a:lnTo>
                <a:lnTo>
                  <a:pt x="1604" y="2612"/>
                </a:lnTo>
                <a:lnTo>
                  <a:pt x="1601" y="2613"/>
                </a:lnTo>
                <a:lnTo>
                  <a:pt x="1604" y="2616"/>
                </a:lnTo>
                <a:lnTo>
                  <a:pt x="1605" y="2616"/>
                </a:lnTo>
                <a:lnTo>
                  <a:pt x="1604" y="2618"/>
                </a:lnTo>
                <a:lnTo>
                  <a:pt x="1605" y="2620"/>
                </a:lnTo>
                <a:lnTo>
                  <a:pt x="1606" y="2620"/>
                </a:lnTo>
                <a:lnTo>
                  <a:pt x="1605" y="2615"/>
                </a:lnTo>
                <a:lnTo>
                  <a:pt x="1606" y="2612"/>
                </a:lnTo>
                <a:lnTo>
                  <a:pt x="1605" y="2612"/>
                </a:lnTo>
                <a:lnTo>
                  <a:pt x="1608" y="2609"/>
                </a:lnTo>
                <a:lnTo>
                  <a:pt x="1608" y="2613"/>
                </a:lnTo>
                <a:lnTo>
                  <a:pt x="1610" y="2612"/>
                </a:lnTo>
                <a:lnTo>
                  <a:pt x="1610" y="2616"/>
                </a:lnTo>
                <a:lnTo>
                  <a:pt x="1615" y="2616"/>
                </a:lnTo>
                <a:lnTo>
                  <a:pt x="1623" y="2616"/>
                </a:lnTo>
                <a:lnTo>
                  <a:pt x="1621" y="2612"/>
                </a:lnTo>
                <a:lnTo>
                  <a:pt x="1616" y="2612"/>
                </a:lnTo>
                <a:lnTo>
                  <a:pt x="1615" y="2612"/>
                </a:lnTo>
                <a:lnTo>
                  <a:pt x="1609" y="2608"/>
                </a:lnTo>
                <a:lnTo>
                  <a:pt x="1616" y="2612"/>
                </a:lnTo>
                <a:lnTo>
                  <a:pt x="1621" y="2608"/>
                </a:lnTo>
                <a:lnTo>
                  <a:pt x="1620" y="2608"/>
                </a:lnTo>
                <a:lnTo>
                  <a:pt x="1620" y="2608"/>
                </a:lnTo>
                <a:lnTo>
                  <a:pt x="1616" y="2608"/>
                </a:lnTo>
                <a:close/>
                <a:moveTo>
                  <a:pt x="2048" y="1903"/>
                </a:moveTo>
                <a:lnTo>
                  <a:pt x="2048" y="1904"/>
                </a:lnTo>
                <a:lnTo>
                  <a:pt x="2048" y="1904"/>
                </a:lnTo>
                <a:lnTo>
                  <a:pt x="2048" y="1904"/>
                </a:lnTo>
                <a:lnTo>
                  <a:pt x="2048" y="1904"/>
                </a:lnTo>
                <a:lnTo>
                  <a:pt x="2048" y="1903"/>
                </a:lnTo>
                <a:close/>
                <a:moveTo>
                  <a:pt x="2072" y="1865"/>
                </a:moveTo>
                <a:lnTo>
                  <a:pt x="2071" y="1866"/>
                </a:lnTo>
                <a:lnTo>
                  <a:pt x="2073" y="1865"/>
                </a:lnTo>
                <a:lnTo>
                  <a:pt x="2072" y="1865"/>
                </a:lnTo>
                <a:close/>
                <a:moveTo>
                  <a:pt x="3856" y="298"/>
                </a:moveTo>
                <a:lnTo>
                  <a:pt x="3849" y="300"/>
                </a:lnTo>
                <a:lnTo>
                  <a:pt x="3852" y="301"/>
                </a:lnTo>
                <a:lnTo>
                  <a:pt x="3856" y="298"/>
                </a:lnTo>
                <a:close/>
                <a:moveTo>
                  <a:pt x="2085" y="2596"/>
                </a:moveTo>
                <a:lnTo>
                  <a:pt x="2084" y="2596"/>
                </a:lnTo>
                <a:lnTo>
                  <a:pt x="2085" y="2599"/>
                </a:lnTo>
                <a:lnTo>
                  <a:pt x="2082" y="2596"/>
                </a:lnTo>
                <a:lnTo>
                  <a:pt x="2080" y="2596"/>
                </a:lnTo>
                <a:lnTo>
                  <a:pt x="2080" y="2590"/>
                </a:lnTo>
                <a:lnTo>
                  <a:pt x="2059" y="2589"/>
                </a:lnTo>
                <a:lnTo>
                  <a:pt x="2066" y="2592"/>
                </a:lnTo>
                <a:lnTo>
                  <a:pt x="2068" y="2592"/>
                </a:lnTo>
                <a:lnTo>
                  <a:pt x="2068" y="2596"/>
                </a:lnTo>
                <a:lnTo>
                  <a:pt x="2074" y="2596"/>
                </a:lnTo>
                <a:lnTo>
                  <a:pt x="2076" y="2596"/>
                </a:lnTo>
                <a:lnTo>
                  <a:pt x="2082" y="2601"/>
                </a:lnTo>
                <a:lnTo>
                  <a:pt x="2089" y="2608"/>
                </a:lnTo>
                <a:lnTo>
                  <a:pt x="2090" y="2608"/>
                </a:lnTo>
                <a:lnTo>
                  <a:pt x="2094" y="2608"/>
                </a:lnTo>
                <a:lnTo>
                  <a:pt x="2089" y="2602"/>
                </a:lnTo>
                <a:lnTo>
                  <a:pt x="2085" y="2596"/>
                </a:lnTo>
                <a:close/>
                <a:moveTo>
                  <a:pt x="1971" y="2044"/>
                </a:moveTo>
                <a:lnTo>
                  <a:pt x="1971" y="2046"/>
                </a:lnTo>
                <a:lnTo>
                  <a:pt x="1975" y="2044"/>
                </a:lnTo>
                <a:lnTo>
                  <a:pt x="1972" y="2042"/>
                </a:lnTo>
                <a:lnTo>
                  <a:pt x="1971" y="2044"/>
                </a:lnTo>
                <a:close/>
                <a:moveTo>
                  <a:pt x="1538" y="2539"/>
                </a:moveTo>
                <a:lnTo>
                  <a:pt x="1537" y="2538"/>
                </a:lnTo>
                <a:lnTo>
                  <a:pt x="1535" y="2539"/>
                </a:lnTo>
                <a:lnTo>
                  <a:pt x="1538" y="2542"/>
                </a:lnTo>
                <a:lnTo>
                  <a:pt x="1539" y="2539"/>
                </a:lnTo>
                <a:lnTo>
                  <a:pt x="1538" y="2539"/>
                </a:lnTo>
                <a:lnTo>
                  <a:pt x="1538" y="2539"/>
                </a:lnTo>
                <a:lnTo>
                  <a:pt x="1538" y="2539"/>
                </a:lnTo>
                <a:close/>
                <a:moveTo>
                  <a:pt x="1541" y="2542"/>
                </a:moveTo>
                <a:lnTo>
                  <a:pt x="1541" y="2539"/>
                </a:lnTo>
                <a:lnTo>
                  <a:pt x="1540" y="2539"/>
                </a:lnTo>
                <a:lnTo>
                  <a:pt x="1539" y="2539"/>
                </a:lnTo>
                <a:lnTo>
                  <a:pt x="1541" y="2542"/>
                </a:lnTo>
                <a:close/>
                <a:moveTo>
                  <a:pt x="3841" y="302"/>
                </a:moveTo>
                <a:lnTo>
                  <a:pt x="3846" y="302"/>
                </a:lnTo>
                <a:lnTo>
                  <a:pt x="3842" y="301"/>
                </a:lnTo>
                <a:lnTo>
                  <a:pt x="3837" y="302"/>
                </a:lnTo>
                <a:lnTo>
                  <a:pt x="3842" y="303"/>
                </a:lnTo>
                <a:lnTo>
                  <a:pt x="3841" y="302"/>
                </a:lnTo>
                <a:close/>
                <a:moveTo>
                  <a:pt x="1550" y="2576"/>
                </a:moveTo>
                <a:lnTo>
                  <a:pt x="1550" y="2578"/>
                </a:lnTo>
                <a:lnTo>
                  <a:pt x="1548" y="2576"/>
                </a:lnTo>
                <a:lnTo>
                  <a:pt x="1548" y="2576"/>
                </a:lnTo>
                <a:lnTo>
                  <a:pt x="1549" y="2576"/>
                </a:lnTo>
                <a:lnTo>
                  <a:pt x="1542" y="2569"/>
                </a:lnTo>
                <a:lnTo>
                  <a:pt x="1543" y="2567"/>
                </a:lnTo>
                <a:lnTo>
                  <a:pt x="1532" y="2566"/>
                </a:lnTo>
                <a:lnTo>
                  <a:pt x="1526" y="2561"/>
                </a:lnTo>
                <a:lnTo>
                  <a:pt x="1526" y="2562"/>
                </a:lnTo>
                <a:lnTo>
                  <a:pt x="1532" y="2569"/>
                </a:lnTo>
                <a:lnTo>
                  <a:pt x="1538" y="2568"/>
                </a:lnTo>
                <a:lnTo>
                  <a:pt x="1542" y="2572"/>
                </a:lnTo>
                <a:lnTo>
                  <a:pt x="1542" y="2573"/>
                </a:lnTo>
                <a:lnTo>
                  <a:pt x="1542" y="2573"/>
                </a:lnTo>
                <a:lnTo>
                  <a:pt x="1544" y="2576"/>
                </a:lnTo>
                <a:lnTo>
                  <a:pt x="1542" y="2576"/>
                </a:lnTo>
                <a:lnTo>
                  <a:pt x="1542" y="2575"/>
                </a:lnTo>
                <a:lnTo>
                  <a:pt x="1542" y="2579"/>
                </a:lnTo>
                <a:lnTo>
                  <a:pt x="1543" y="2578"/>
                </a:lnTo>
                <a:lnTo>
                  <a:pt x="1543" y="2578"/>
                </a:lnTo>
                <a:lnTo>
                  <a:pt x="1545" y="2580"/>
                </a:lnTo>
                <a:lnTo>
                  <a:pt x="1545" y="2580"/>
                </a:lnTo>
                <a:lnTo>
                  <a:pt x="1546" y="2581"/>
                </a:lnTo>
                <a:lnTo>
                  <a:pt x="1545" y="2583"/>
                </a:lnTo>
                <a:lnTo>
                  <a:pt x="1549" y="2581"/>
                </a:lnTo>
                <a:lnTo>
                  <a:pt x="1546" y="2579"/>
                </a:lnTo>
                <a:lnTo>
                  <a:pt x="1548" y="2578"/>
                </a:lnTo>
                <a:lnTo>
                  <a:pt x="1546" y="2576"/>
                </a:lnTo>
                <a:lnTo>
                  <a:pt x="1546" y="2576"/>
                </a:lnTo>
                <a:lnTo>
                  <a:pt x="1549" y="2579"/>
                </a:lnTo>
                <a:lnTo>
                  <a:pt x="1554" y="2580"/>
                </a:lnTo>
                <a:lnTo>
                  <a:pt x="1554" y="2576"/>
                </a:lnTo>
                <a:lnTo>
                  <a:pt x="1553" y="2576"/>
                </a:lnTo>
                <a:lnTo>
                  <a:pt x="1552" y="2576"/>
                </a:lnTo>
                <a:lnTo>
                  <a:pt x="1550" y="2576"/>
                </a:lnTo>
                <a:close/>
                <a:moveTo>
                  <a:pt x="3856" y="310"/>
                </a:moveTo>
                <a:lnTo>
                  <a:pt x="3854" y="310"/>
                </a:lnTo>
                <a:lnTo>
                  <a:pt x="3853" y="312"/>
                </a:lnTo>
                <a:lnTo>
                  <a:pt x="3856" y="310"/>
                </a:lnTo>
                <a:close/>
                <a:moveTo>
                  <a:pt x="1777" y="2539"/>
                </a:moveTo>
                <a:lnTo>
                  <a:pt x="1770" y="2539"/>
                </a:lnTo>
                <a:lnTo>
                  <a:pt x="1775" y="2540"/>
                </a:lnTo>
                <a:lnTo>
                  <a:pt x="1775" y="2543"/>
                </a:lnTo>
                <a:lnTo>
                  <a:pt x="1767" y="2543"/>
                </a:lnTo>
                <a:lnTo>
                  <a:pt x="1769" y="2545"/>
                </a:lnTo>
                <a:lnTo>
                  <a:pt x="1767" y="2547"/>
                </a:lnTo>
                <a:lnTo>
                  <a:pt x="1764" y="2547"/>
                </a:lnTo>
                <a:lnTo>
                  <a:pt x="1764" y="2547"/>
                </a:lnTo>
                <a:lnTo>
                  <a:pt x="1761" y="2547"/>
                </a:lnTo>
                <a:lnTo>
                  <a:pt x="1757" y="2544"/>
                </a:lnTo>
                <a:lnTo>
                  <a:pt x="1754" y="2540"/>
                </a:lnTo>
                <a:lnTo>
                  <a:pt x="1752" y="2539"/>
                </a:lnTo>
                <a:lnTo>
                  <a:pt x="1752" y="2538"/>
                </a:lnTo>
                <a:lnTo>
                  <a:pt x="1756" y="2536"/>
                </a:lnTo>
                <a:lnTo>
                  <a:pt x="1755" y="2535"/>
                </a:lnTo>
                <a:lnTo>
                  <a:pt x="1757" y="2535"/>
                </a:lnTo>
                <a:lnTo>
                  <a:pt x="1766" y="2535"/>
                </a:lnTo>
                <a:lnTo>
                  <a:pt x="1766" y="2536"/>
                </a:lnTo>
                <a:lnTo>
                  <a:pt x="1767" y="2535"/>
                </a:lnTo>
                <a:lnTo>
                  <a:pt x="1775" y="2535"/>
                </a:lnTo>
                <a:lnTo>
                  <a:pt x="1777" y="2539"/>
                </a:lnTo>
                <a:close/>
                <a:moveTo>
                  <a:pt x="1769" y="2539"/>
                </a:moveTo>
                <a:lnTo>
                  <a:pt x="1766" y="2536"/>
                </a:lnTo>
                <a:lnTo>
                  <a:pt x="1766" y="2536"/>
                </a:lnTo>
                <a:lnTo>
                  <a:pt x="1763" y="2536"/>
                </a:lnTo>
                <a:lnTo>
                  <a:pt x="1767" y="2540"/>
                </a:lnTo>
                <a:lnTo>
                  <a:pt x="1767" y="2539"/>
                </a:lnTo>
                <a:lnTo>
                  <a:pt x="1769" y="2539"/>
                </a:lnTo>
                <a:close/>
                <a:moveTo>
                  <a:pt x="1751" y="2537"/>
                </a:moveTo>
                <a:lnTo>
                  <a:pt x="1751" y="2539"/>
                </a:lnTo>
                <a:lnTo>
                  <a:pt x="1752" y="2538"/>
                </a:lnTo>
                <a:lnTo>
                  <a:pt x="1751" y="2536"/>
                </a:lnTo>
                <a:lnTo>
                  <a:pt x="1751" y="2537"/>
                </a:lnTo>
                <a:close/>
                <a:moveTo>
                  <a:pt x="1910" y="2120"/>
                </a:moveTo>
                <a:lnTo>
                  <a:pt x="1911" y="2116"/>
                </a:lnTo>
                <a:lnTo>
                  <a:pt x="1911" y="2113"/>
                </a:lnTo>
                <a:lnTo>
                  <a:pt x="1910" y="2113"/>
                </a:lnTo>
                <a:lnTo>
                  <a:pt x="1910" y="2120"/>
                </a:lnTo>
                <a:close/>
                <a:moveTo>
                  <a:pt x="1956" y="2056"/>
                </a:moveTo>
                <a:lnTo>
                  <a:pt x="1957" y="2058"/>
                </a:lnTo>
                <a:lnTo>
                  <a:pt x="1957" y="2055"/>
                </a:lnTo>
                <a:lnTo>
                  <a:pt x="1957" y="2053"/>
                </a:lnTo>
                <a:lnTo>
                  <a:pt x="1956" y="2056"/>
                </a:lnTo>
                <a:close/>
                <a:moveTo>
                  <a:pt x="1740" y="2533"/>
                </a:moveTo>
                <a:lnTo>
                  <a:pt x="1737" y="2532"/>
                </a:lnTo>
                <a:lnTo>
                  <a:pt x="1737" y="2535"/>
                </a:lnTo>
                <a:lnTo>
                  <a:pt x="1738" y="2535"/>
                </a:lnTo>
                <a:lnTo>
                  <a:pt x="1740" y="2533"/>
                </a:lnTo>
                <a:close/>
                <a:moveTo>
                  <a:pt x="1877" y="1692"/>
                </a:moveTo>
                <a:lnTo>
                  <a:pt x="1874" y="1695"/>
                </a:lnTo>
                <a:lnTo>
                  <a:pt x="1878" y="1692"/>
                </a:lnTo>
                <a:lnTo>
                  <a:pt x="1877" y="1692"/>
                </a:lnTo>
                <a:close/>
                <a:moveTo>
                  <a:pt x="4296" y="303"/>
                </a:moveTo>
                <a:lnTo>
                  <a:pt x="4296" y="303"/>
                </a:lnTo>
                <a:lnTo>
                  <a:pt x="4296" y="307"/>
                </a:lnTo>
                <a:lnTo>
                  <a:pt x="4300" y="307"/>
                </a:lnTo>
                <a:lnTo>
                  <a:pt x="4296" y="303"/>
                </a:lnTo>
                <a:close/>
                <a:moveTo>
                  <a:pt x="4247" y="241"/>
                </a:moveTo>
                <a:lnTo>
                  <a:pt x="4249" y="241"/>
                </a:lnTo>
                <a:lnTo>
                  <a:pt x="4247" y="238"/>
                </a:lnTo>
                <a:lnTo>
                  <a:pt x="4238" y="238"/>
                </a:lnTo>
                <a:lnTo>
                  <a:pt x="4243" y="240"/>
                </a:lnTo>
                <a:lnTo>
                  <a:pt x="4247" y="241"/>
                </a:lnTo>
                <a:close/>
                <a:moveTo>
                  <a:pt x="4258" y="242"/>
                </a:moveTo>
                <a:lnTo>
                  <a:pt x="4255" y="243"/>
                </a:lnTo>
                <a:lnTo>
                  <a:pt x="4259" y="243"/>
                </a:lnTo>
                <a:lnTo>
                  <a:pt x="4258" y="242"/>
                </a:lnTo>
                <a:close/>
                <a:moveTo>
                  <a:pt x="4357" y="341"/>
                </a:moveTo>
                <a:lnTo>
                  <a:pt x="4359" y="341"/>
                </a:lnTo>
                <a:lnTo>
                  <a:pt x="4356" y="340"/>
                </a:lnTo>
                <a:lnTo>
                  <a:pt x="4353" y="339"/>
                </a:lnTo>
                <a:lnTo>
                  <a:pt x="4349" y="341"/>
                </a:lnTo>
                <a:lnTo>
                  <a:pt x="4355" y="342"/>
                </a:lnTo>
                <a:lnTo>
                  <a:pt x="4357" y="341"/>
                </a:lnTo>
                <a:close/>
                <a:moveTo>
                  <a:pt x="4586" y="274"/>
                </a:moveTo>
                <a:lnTo>
                  <a:pt x="4587" y="273"/>
                </a:lnTo>
                <a:lnTo>
                  <a:pt x="4586" y="270"/>
                </a:lnTo>
                <a:lnTo>
                  <a:pt x="4590" y="267"/>
                </a:lnTo>
                <a:lnTo>
                  <a:pt x="4587" y="266"/>
                </a:lnTo>
                <a:lnTo>
                  <a:pt x="4583" y="265"/>
                </a:lnTo>
                <a:lnTo>
                  <a:pt x="4582" y="260"/>
                </a:lnTo>
                <a:lnTo>
                  <a:pt x="4582" y="260"/>
                </a:lnTo>
                <a:lnTo>
                  <a:pt x="4582" y="260"/>
                </a:lnTo>
                <a:lnTo>
                  <a:pt x="4579" y="265"/>
                </a:lnTo>
                <a:lnTo>
                  <a:pt x="4582" y="269"/>
                </a:lnTo>
                <a:lnTo>
                  <a:pt x="4578" y="274"/>
                </a:lnTo>
                <a:lnTo>
                  <a:pt x="4586" y="274"/>
                </a:lnTo>
                <a:close/>
                <a:moveTo>
                  <a:pt x="4587" y="318"/>
                </a:moveTo>
                <a:lnTo>
                  <a:pt x="4591" y="315"/>
                </a:lnTo>
                <a:lnTo>
                  <a:pt x="4587" y="312"/>
                </a:lnTo>
                <a:lnTo>
                  <a:pt x="4583" y="309"/>
                </a:lnTo>
                <a:lnTo>
                  <a:pt x="4578" y="306"/>
                </a:lnTo>
                <a:lnTo>
                  <a:pt x="4578" y="306"/>
                </a:lnTo>
                <a:lnTo>
                  <a:pt x="4578" y="310"/>
                </a:lnTo>
                <a:lnTo>
                  <a:pt x="4582" y="314"/>
                </a:lnTo>
                <a:lnTo>
                  <a:pt x="4587" y="318"/>
                </a:lnTo>
                <a:close/>
                <a:moveTo>
                  <a:pt x="1535" y="2528"/>
                </a:moveTo>
                <a:lnTo>
                  <a:pt x="1533" y="2524"/>
                </a:lnTo>
                <a:lnTo>
                  <a:pt x="1535" y="2531"/>
                </a:lnTo>
                <a:lnTo>
                  <a:pt x="1537" y="2531"/>
                </a:lnTo>
                <a:lnTo>
                  <a:pt x="1535" y="2528"/>
                </a:lnTo>
                <a:lnTo>
                  <a:pt x="1535" y="2528"/>
                </a:lnTo>
                <a:lnTo>
                  <a:pt x="1535" y="2528"/>
                </a:lnTo>
                <a:close/>
                <a:moveTo>
                  <a:pt x="4421" y="318"/>
                </a:moveTo>
                <a:lnTo>
                  <a:pt x="4415" y="318"/>
                </a:lnTo>
                <a:lnTo>
                  <a:pt x="4419" y="319"/>
                </a:lnTo>
                <a:lnTo>
                  <a:pt x="4421" y="318"/>
                </a:lnTo>
                <a:close/>
                <a:moveTo>
                  <a:pt x="4036" y="124"/>
                </a:moveTo>
                <a:lnTo>
                  <a:pt x="4028" y="120"/>
                </a:lnTo>
                <a:lnTo>
                  <a:pt x="4000" y="123"/>
                </a:lnTo>
                <a:lnTo>
                  <a:pt x="3998" y="125"/>
                </a:lnTo>
                <a:lnTo>
                  <a:pt x="3995" y="127"/>
                </a:lnTo>
                <a:lnTo>
                  <a:pt x="3993" y="125"/>
                </a:lnTo>
                <a:lnTo>
                  <a:pt x="3991" y="123"/>
                </a:lnTo>
                <a:lnTo>
                  <a:pt x="3981" y="129"/>
                </a:lnTo>
                <a:lnTo>
                  <a:pt x="3984" y="130"/>
                </a:lnTo>
                <a:lnTo>
                  <a:pt x="3987" y="132"/>
                </a:lnTo>
                <a:lnTo>
                  <a:pt x="3978" y="134"/>
                </a:lnTo>
                <a:lnTo>
                  <a:pt x="3966" y="142"/>
                </a:lnTo>
                <a:lnTo>
                  <a:pt x="3963" y="143"/>
                </a:lnTo>
                <a:lnTo>
                  <a:pt x="3963" y="146"/>
                </a:lnTo>
                <a:lnTo>
                  <a:pt x="3974" y="139"/>
                </a:lnTo>
                <a:lnTo>
                  <a:pt x="3973" y="142"/>
                </a:lnTo>
                <a:lnTo>
                  <a:pt x="3975" y="144"/>
                </a:lnTo>
                <a:lnTo>
                  <a:pt x="3977" y="146"/>
                </a:lnTo>
                <a:lnTo>
                  <a:pt x="3980" y="146"/>
                </a:lnTo>
                <a:lnTo>
                  <a:pt x="3980" y="152"/>
                </a:lnTo>
                <a:lnTo>
                  <a:pt x="3990" y="158"/>
                </a:lnTo>
                <a:lnTo>
                  <a:pt x="3999" y="156"/>
                </a:lnTo>
                <a:lnTo>
                  <a:pt x="4002" y="162"/>
                </a:lnTo>
                <a:lnTo>
                  <a:pt x="4017" y="162"/>
                </a:lnTo>
                <a:lnTo>
                  <a:pt x="4025" y="165"/>
                </a:lnTo>
                <a:lnTo>
                  <a:pt x="4040" y="167"/>
                </a:lnTo>
                <a:lnTo>
                  <a:pt x="4056" y="165"/>
                </a:lnTo>
                <a:lnTo>
                  <a:pt x="4065" y="162"/>
                </a:lnTo>
                <a:lnTo>
                  <a:pt x="4063" y="159"/>
                </a:lnTo>
                <a:lnTo>
                  <a:pt x="4050" y="154"/>
                </a:lnTo>
                <a:lnTo>
                  <a:pt x="4058" y="154"/>
                </a:lnTo>
                <a:lnTo>
                  <a:pt x="4061" y="148"/>
                </a:lnTo>
                <a:lnTo>
                  <a:pt x="4059" y="144"/>
                </a:lnTo>
                <a:lnTo>
                  <a:pt x="4061" y="140"/>
                </a:lnTo>
                <a:lnTo>
                  <a:pt x="4063" y="137"/>
                </a:lnTo>
                <a:lnTo>
                  <a:pt x="4066" y="136"/>
                </a:lnTo>
                <a:lnTo>
                  <a:pt x="4053" y="126"/>
                </a:lnTo>
                <a:lnTo>
                  <a:pt x="4044" y="126"/>
                </a:lnTo>
                <a:lnTo>
                  <a:pt x="4042" y="128"/>
                </a:lnTo>
                <a:lnTo>
                  <a:pt x="4044" y="128"/>
                </a:lnTo>
                <a:lnTo>
                  <a:pt x="4040" y="131"/>
                </a:lnTo>
                <a:lnTo>
                  <a:pt x="4033" y="129"/>
                </a:lnTo>
                <a:lnTo>
                  <a:pt x="4031" y="134"/>
                </a:lnTo>
                <a:lnTo>
                  <a:pt x="4025" y="135"/>
                </a:lnTo>
                <a:lnTo>
                  <a:pt x="4028" y="134"/>
                </a:lnTo>
                <a:lnTo>
                  <a:pt x="4036" y="124"/>
                </a:lnTo>
                <a:close/>
                <a:moveTo>
                  <a:pt x="4158" y="186"/>
                </a:moveTo>
                <a:lnTo>
                  <a:pt x="4165" y="189"/>
                </a:lnTo>
                <a:lnTo>
                  <a:pt x="4172" y="192"/>
                </a:lnTo>
                <a:lnTo>
                  <a:pt x="4174" y="190"/>
                </a:lnTo>
                <a:lnTo>
                  <a:pt x="4176" y="189"/>
                </a:lnTo>
                <a:lnTo>
                  <a:pt x="4158" y="186"/>
                </a:lnTo>
                <a:close/>
                <a:moveTo>
                  <a:pt x="4065" y="146"/>
                </a:moveTo>
                <a:lnTo>
                  <a:pt x="4065" y="143"/>
                </a:lnTo>
                <a:lnTo>
                  <a:pt x="4065" y="143"/>
                </a:lnTo>
                <a:lnTo>
                  <a:pt x="4063" y="146"/>
                </a:lnTo>
                <a:lnTo>
                  <a:pt x="4065" y="146"/>
                </a:lnTo>
                <a:close/>
                <a:moveTo>
                  <a:pt x="4065" y="140"/>
                </a:moveTo>
                <a:lnTo>
                  <a:pt x="4069" y="137"/>
                </a:lnTo>
                <a:lnTo>
                  <a:pt x="4065" y="137"/>
                </a:lnTo>
                <a:lnTo>
                  <a:pt x="4065" y="140"/>
                </a:lnTo>
                <a:close/>
                <a:moveTo>
                  <a:pt x="4172" y="212"/>
                </a:moveTo>
                <a:lnTo>
                  <a:pt x="4169" y="216"/>
                </a:lnTo>
                <a:lnTo>
                  <a:pt x="4170" y="218"/>
                </a:lnTo>
                <a:lnTo>
                  <a:pt x="4173" y="217"/>
                </a:lnTo>
                <a:lnTo>
                  <a:pt x="4176" y="216"/>
                </a:lnTo>
                <a:lnTo>
                  <a:pt x="4176" y="214"/>
                </a:lnTo>
                <a:lnTo>
                  <a:pt x="4174" y="213"/>
                </a:lnTo>
                <a:lnTo>
                  <a:pt x="4172" y="212"/>
                </a:lnTo>
                <a:close/>
                <a:moveTo>
                  <a:pt x="4065" y="177"/>
                </a:moveTo>
                <a:lnTo>
                  <a:pt x="4054" y="192"/>
                </a:lnTo>
                <a:lnTo>
                  <a:pt x="4056" y="196"/>
                </a:lnTo>
                <a:lnTo>
                  <a:pt x="4064" y="193"/>
                </a:lnTo>
                <a:lnTo>
                  <a:pt x="4083" y="186"/>
                </a:lnTo>
                <a:lnTo>
                  <a:pt x="4100" y="185"/>
                </a:lnTo>
                <a:lnTo>
                  <a:pt x="4103" y="186"/>
                </a:lnTo>
                <a:lnTo>
                  <a:pt x="4106" y="185"/>
                </a:lnTo>
                <a:lnTo>
                  <a:pt x="4132" y="181"/>
                </a:lnTo>
                <a:lnTo>
                  <a:pt x="4142" y="174"/>
                </a:lnTo>
                <a:lnTo>
                  <a:pt x="4139" y="166"/>
                </a:lnTo>
                <a:lnTo>
                  <a:pt x="4132" y="166"/>
                </a:lnTo>
                <a:lnTo>
                  <a:pt x="4130" y="166"/>
                </a:lnTo>
                <a:lnTo>
                  <a:pt x="4128" y="167"/>
                </a:lnTo>
                <a:lnTo>
                  <a:pt x="4128" y="165"/>
                </a:lnTo>
                <a:lnTo>
                  <a:pt x="4128" y="164"/>
                </a:lnTo>
                <a:lnTo>
                  <a:pt x="4128" y="162"/>
                </a:lnTo>
                <a:lnTo>
                  <a:pt x="4122" y="162"/>
                </a:lnTo>
                <a:lnTo>
                  <a:pt x="4122" y="159"/>
                </a:lnTo>
                <a:lnTo>
                  <a:pt x="4121" y="156"/>
                </a:lnTo>
                <a:lnTo>
                  <a:pt x="4114" y="157"/>
                </a:lnTo>
                <a:lnTo>
                  <a:pt x="4106" y="158"/>
                </a:lnTo>
                <a:lnTo>
                  <a:pt x="4099" y="165"/>
                </a:lnTo>
                <a:lnTo>
                  <a:pt x="4105" y="152"/>
                </a:lnTo>
                <a:lnTo>
                  <a:pt x="4108" y="151"/>
                </a:lnTo>
                <a:lnTo>
                  <a:pt x="4110" y="150"/>
                </a:lnTo>
                <a:lnTo>
                  <a:pt x="4097" y="146"/>
                </a:lnTo>
                <a:lnTo>
                  <a:pt x="4092" y="147"/>
                </a:lnTo>
                <a:lnTo>
                  <a:pt x="4092" y="152"/>
                </a:lnTo>
                <a:lnTo>
                  <a:pt x="4090" y="151"/>
                </a:lnTo>
                <a:lnTo>
                  <a:pt x="4088" y="147"/>
                </a:lnTo>
                <a:lnTo>
                  <a:pt x="4080" y="152"/>
                </a:lnTo>
                <a:lnTo>
                  <a:pt x="4079" y="155"/>
                </a:lnTo>
                <a:lnTo>
                  <a:pt x="4078" y="157"/>
                </a:lnTo>
                <a:lnTo>
                  <a:pt x="4088" y="161"/>
                </a:lnTo>
                <a:lnTo>
                  <a:pt x="4078" y="158"/>
                </a:lnTo>
                <a:lnTo>
                  <a:pt x="4076" y="163"/>
                </a:lnTo>
                <a:lnTo>
                  <a:pt x="4078" y="166"/>
                </a:lnTo>
                <a:lnTo>
                  <a:pt x="4081" y="169"/>
                </a:lnTo>
                <a:lnTo>
                  <a:pt x="4070" y="167"/>
                </a:lnTo>
                <a:lnTo>
                  <a:pt x="4065" y="177"/>
                </a:lnTo>
                <a:close/>
                <a:moveTo>
                  <a:pt x="4158" y="185"/>
                </a:moveTo>
                <a:lnTo>
                  <a:pt x="4162" y="184"/>
                </a:lnTo>
                <a:lnTo>
                  <a:pt x="4158" y="181"/>
                </a:lnTo>
                <a:lnTo>
                  <a:pt x="4154" y="183"/>
                </a:lnTo>
                <a:lnTo>
                  <a:pt x="4151" y="185"/>
                </a:lnTo>
                <a:lnTo>
                  <a:pt x="4153" y="186"/>
                </a:lnTo>
                <a:lnTo>
                  <a:pt x="4158" y="185"/>
                </a:lnTo>
                <a:close/>
                <a:moveTo>
                  <a:pt x="4942" y="404"/>
                </a:moveTo>
                <a:lnTo>
                  <a:pt x="4940" y="403"/>
                </a:lnTo>
                <a:lnTo>
                  <a:pt x="4945" y="406"/>
                </a:lnTo>
                <a:lnTo>
                  <a:pt x="4942" y="404"/>
                </a:lnTo>
                <a:close/>
                <a:moveTo>
                  <a:pt x="5064" y="439"/>
                </a:moveTo>
                <a:lnTo>
                  <a:pt x="5068" y="439"/>
                </a:lnTo>
                <a:lnTo>
                  <a:pt x="5068" y="439"/>
                </a:lnTo>
                <a:lnTo>
                  <a:pt x="5068" y="433"/>
                </a:lnTo>
                <a:lnTo>
                  <a:pt x="5068" y="430"/>
                </a:lnTo>
                <a:lnTo>
                  <a:pt x="5055" y="426"/>
                </a:lnTo>
                <a:lnTo>
                  <a:pt x="5051" y="429"/>
                </a:lnTo>
                <a:lnTo>
                  <a:pt x="5047" y="432"/>
                </a:lnTo>
                <a:lnTo>
                  <a:pt x="5056" y="435"/>
                </a:lnTo>
                <a:lnTo>
                  <a:pt x="5064" y="439"/>
                </a:lnTo>
                <a:close/>
                <a:moveTo>
                  <a:pt x="4958" y="442"/>
                </a:moveTo>
                <a:lnTo>
                  <a:pt x="4958" y="442"/>
                </a:lnTo>
                <a:lnTo>
                  <a:pt x="4958" y="438"/>
                </a:lnTo>
                <a:lnTo>
                  <a:pt x="4955" y="438"/>
                </a:lnTo>
                <a:lnTo>
                  <a:pt x="4955" y="443"/>
                </a:lnTo>
                <a:lnTo>
                  <a:pt x="4956" y="442"/>
                </a:lnTo>
                <a:lnTo>
                  <a:pt x="4958" y="442"/>
                </a:lnTo>
                <a:close/>
                <a:moveTo>
                  <a:pt x="4953" y="440"/>
                </a:moveTo>
                <a:lnTo>
                  <a:pt x="4954" y="439"/>
                </a:lnTo>
                <a:lnTo>
                  <a:pt x="4954" y="439"/>
                </a:lnTo>
                <a:lnTo>
                  <a:pt x="4954" y="439"/>
                </a:lnTo>
                <a:lnTo>
                  <a:pt x="4952" y="441"/>
                </a:lnTo>
                <a:lnTo>
                  <a:pt x="4952" y="441"/>
                </a:lnTo>
                <a:lnTo>
                  <a:pt x="4952" y="441"/>
                </a:lnTo>
                <a:lnTo>
                  <a:pt x="4953" y="440"/>
                </a:lnTo>
                <a:close/>
                <a:moveTo>
                  <a:pt x="5224" y="400"/>
                </a:moveTo>
                <a:lnTo>
                  <a:pt x="5234" y="403"/>
                </a:lnTo>
                <a:lnTo>
                  <a:pt x="5254" y="399"/>
                </a:lnTo>
                <a:lnTo>
                  <a:pt x="5262" y="394"/>
                </a:lnTo>
                <a:lnTo>
                  <a:pt x="5254" y="391"/>
                </a:lnTo>
                <a:lnTo>
                  <a:pt x="5247" y="387"/>
                </a:lnTo>
                <a:lnTo>
                  <a:pt x="5225" y="387"/>
                </a:lnTo>
                <a:lnTo>
                  <a:pt x="5224" y="387"/>
                </a:lnTo>
                <a:lnTo>
                  <a:pt x="5209" y="395"/>
                </a:lnTo>
                <a:lnTo>
                  <a:pt x="5205" y="399"/>
                </a:lnTo>
                <a:lnTo>
                  <a:pt x="5208" y="406"/>
                </a:lnTo>
                <a:lnTo>
                  <a:pt x="5224" y="400"/>
                </a:lnTo>
                <a:close/>
                <a:moveTo>
                  <a:pt x="1857" y="2186"/>
                </a:moveTo>
                <a:lnTo>
                  <a:pt x="1861" y="2186"/>
                </a:lnTo>
                <a:lnTo>
                  <a:pt x="1865" y="2183"/>
                </a:lnTo>
                <a:lnTo>
                  <a:pt x="1858" y="2185"/>
                </a:lnTo>
                <a:lnTo>
                  <a:pt x="1857" y="2186"/>
                </a:lnTo>
                <a:close/>
                <a:moveTo>
                  <a:pt x="4951" y="443"/>
                </a:moveTo>
                <a:lnTo>
                  <a:pt x="4952" y="441"/>
                </a:lnTo>
                <a:lnTo>
                  <a:pt x="4950" y="443"/>
                </a:lnTo>
                <a:lnTo>
                  <a:pt x="4951" y="445"/>
                </a:lnTo>
                <a:lnTo>
                  <a:pt x="4951" y="443"/>
                </a:lnTo>
                <a:close/>
                <a:moveTo>
                  <a:pt x="5083" y="435"/>
                </a:moveTo>
                <a:lnTo>
                  <a:pt x="5083" y="431"/>
                </a:lnTo>
                <a:lnTo>
                  <a:pt x="5079" y="433"/>
                </a:lnTo>
                <a:lnTo>
                  <a:pt x="5083" y="435"/>
                </a:lnTo>
                <a:lnTo>
                  <a:pt x="5083" y="435"/>
                </a:lnTo>
                <a:close/>
                <a:moveTo>
                  <a:pt x="4775" y="292"/>
                </a:moveTo>
                <a:lnTo>
                  <a:pt x="4786" y="292"/>
                </a:lnTo>
                <a:lnTo>
                  <a:pt x="4799" y="288"/>
                </a:lnTo>
                <a:lnTo>
                  <a:pt x="4800" y="286"/>
                </a:lnTo>
                <a:lnTo>
                  <a:pt x="4800" y="285"/>
                </a:lnTo>
                <a:lnTo>
                  <a:pt x="4803" y="281"/>
                </a:lnTo>
                <a:lnTo>
                  <a:pt x="4796" y="284"/>
                </a:lnTo>
                <a:lnTo>
                  <a:pt x="4792" y="278"/>
                </a:lnTo>
                <a:lnTo>
                  <a:pt x="4786" y="277"/>
                </a:lnTo>
                <a:lnTo>
                  <a:pt x="4781" y="276"/>
                </a:lnTo>
                <a:lnTo>
                  <a:pt x="4775" y="277"/>
                </a:lnTo>
                <a:lnTo>
                  <a:pt x="4770" y="278"/>
                </a:lnTo>
                <a:lnTo>
                  <a:pt x="4769" y="277"/>
                </a:lnTo>
                <a:lnTo>
                  <a:pt x="4770" y="274"/>
                </a:lnTo>
                <a:lnTo>
                  <a:pt x="4767" y="274"/>
                </a:lnTo>
                <a:lnTo>
                  <a:pt x="4752" y="274"/>
                </a:lnTo>
                <a:lnTo>
                  <a:pt x="4750" y="278"/>
                </a:lnTo>
                <a:lnTo>
                  <a:pt x="4747" y="278"/>
                </a:lnTo>
                <a:lnTo>
                  <a:pt x="4744" y="275"/>
                </a:lnTo>
                <a:lnTo>
                  <a:pt x="4741" y="273"/>
                </a:lnTo>
                <a:lnTo>
                  <a:pt x="4743" y="270"/>
                </a:lnTo>
                <a:lnTo>
                  <a:pt x="4741" y="268"/>
                </a:lnTo>
                <a:lnTo>
                  <a:pt x="4739" y="267"/>
                </a:lnTo>
                <a:lnTo>
                  <a:pt x="4739" y="267"/>
                </a:lnTo>
                <a:lnTo>
                  <a:pt x="4739" y="267"/>
                </a:lnTo>
                <a:lnTo>
                  <a:pt x="4738" y="268"/>
                </a:lnTo>
                <a:lnTo>
                  <a:pt x="4733" y="278"/>
                </a:lnTo>
                <a:lnTo>
                  <a:pt x="4765" y="292"/>
                </a:lnTo>
                <a:lnTo>
                  <a:pt x="4775" y="292"/>
                </a:lnTo>
                <a:close/>
                <a:moveTo>
                  <a:pt x="4694" y="329"/>
                </a:moveTo>
                <a:lnTo>
                  <a:pt x="4682" y="319"/>
                </a:lnTo>
                <a:lnTo>
                  <a:pt x="4678" y="318"/>
                </a:lnTo>
                <a:lnTo>
                  <a:pt x="4673" y="318"/>
                </a:lnTo>
                <a:lnTo>
                  <a:pt x="4661" y="318"/>
                </a:lnTo>
                <a:lnTo>
                  <a:pt x="4651" y="329"/>
                </a:lnTo>
                <a:lnTo>
                  <a:pt x="4645" y="331"/>
                </a:lnTo>
                <a:lnTo>
                  <a:pt x="4639" y="333"/>
                </a:lnTo>
                <a:lnTo>
                  <a:pt x="4643" y="334"/>
                </a:lnTo>
                <a:lnTo>
                  <a:pt x="4656" y="330"/>
                </a:lnTo>
                <a:lnTo>
                  <a:pt x="4678" y="335"/>
                </a:lnTo>
                <a:lnTo>
                  <a:pt x="4695" y="337"/>
                </a:lnTo>
                <a:lnTo>
                  <a:pt x="4694" y="333"/>
                </a:lnTo>
                <a:lnTo>
                  <a:pt x="4695" y="330"/>
                </a:lnTo>
                <a:lnTo>
                  <a:pt x="4694" y="329"/>
                </a:lnTo>
                <a:close/>
                <a:moveTo>
                  <a:pt x="4660" y="314"/>
                </a:moveTo>
                <a:lnTo>
                  <a:pt x="4661" y="310"/>
                </a:lnTo>
                <a:lnTo>
                  <a:pt x="4655" y="307"/>
                </a:lnTo>
                <a:lnTo>
                  <a:pt x="4650" y="308"/>
                </a:lnTo>
                <a:lnTo>
                  <a:pt x="4646" y="310"/>
                </a:lnTo>
                <a:lnTo>
                  <a:pt x="4646" y="314"/>
                </a:lnTo>
                <a:lnTo>
                  <a:pt x="4650" y="318"/>
                </a:lnTo>
                <a:lnTo>
                  <a:pt x="4655" y="316"/>
                </a:lnTo>
                <a:lnTo>
                  <a:pt x="4660" y="314"/>
                </a:lnTo>
                <a:close/>
                <a:moveTo>
                  <a:pt x="4598" y="278"/>
                </a:moveTo>
                <a:lnTo>
                  <a:pt x="4604" y="282"/>
                </a:lnTo>
                <a:lnTo>
                  <a:pt x="4613" y="287"/>
                </a:lnTo>
                <a:lnTo>
                  <a:pt x="4614" y="288"/>
                </a:lnTo>
                <a:lnTo>
                  <a:pt x="4616" y="290"/>
                </a:lnTo>
                <a:lnTo>
                  <a:pt x="4623" y="293"/>
                </a:lnTo>
                <a:lnTo>
                  <a:pt x="4631" y="295"/>
                </a:lnTo>
                <a:lnTo>
                  <a:pt x="4637" y="293"/>
                </a:lnTo>
                <a:lnTo>
                  <a:pt x="4638" y="291"/>
                </a:lnTo>
                <a:lnTo>
                  <a:pt x="4638" y="290"/>
                </a:lnTo>
                <a:lnTo>
                  <a:pt x="4639" y="290"/>
                </a:lnTo>
                <a:lnTo>
                  <a:pt x="4642" y="290"/>
                </a:lnTo>
                <a:lnTo>
                  <a:pt x="4645" y="290"/>
                </a:lnTo>
                <a:lnTo>
                  <a:pt x="4661" y="288"/>
                </a:lnTo>
                <a:lnTo>
                  <a:pt x="4677" y="287"/>
                </a:lnTo>
                <a:lnTo>
                  <a:pt x="4678" y="290"/>
                </a:lnTo>
                <a:lnTo>
                  <a:pt x="4674" y="290"/>
                </a:lnTo>
                <a:lnTo>
                  <a:pt x="4677" y="291"/>
                </a:lnTo>
                <a:lnTo>
                  <a:pt x="4680" y="292"/>
                </a:lnTo>
                <a:lnTo>
                  <a:pt x="4682" y="290"/>
                </a:lnTo>
                <a:lnTo>
                  <a:pt x="4683" y="288"/>
                </a:lnTo>
                <a:lnTo>
                  <a:pt x="4697" y="287"/>
                </a:lnTo>
                <a:lnTo>
                  <a:pt x="4690" y="284"/>
                </a:lnTo>
                <a:lnTo>
                  <a:pt x="4682" y="281"/>
                </a:lnTo>
                <a:lnTo>
                  <a:pt x="4678" y="277"/>
                </a:lnTo>
                <a:lnTo>
                  <a:pt x="4674" y="274"/>
                </a:lnTo>
                <a:lnTo>
                  <a:pt x="4674" y="267"/>
                </a:lnTo>
                <a:lnTo>
                  <a:pt x="4677" y="265"/>
                </a:lnTo>
                <a:lnTo>
                  <a:pt x="4680" y="264"/>
                </a:lnTo>
                <a:lnTo>
                  <a:pt x="4683" y="264"/>
                </a:lnTo>
                <a:lnTo>
                  <a:pt x="4686" y="265"/>
                </a:lnTo>
                <a:lnTo>
                  <a:pt x="4686" y="267"/>
                </a:lnTo>
                <a:lnTo>
                  <a:pt x="4684" y="270"/>
                </a:lnTo>
                <a:lnTo>
                  <a:pt x="4682" y="273"/>
                </a:lnTo>
                <a:lnTo>
                  <a:pt x="4680" y="275"/>
                </a:lnTo>
                <a:lnTo>
                  <a:pt x="4687" y="281"/>
                </a:lnTo>
                <a:lnTo>
                  <a:pt x="4695" y="283"/>
                </a:lnTo>
                <a:lnTo>
                  <a:pt x="4702" y="285"/>
                </a:lnTo>
                <a:lnTo>
                  <a:pt x="4706" y="284"/>
                </a:lnTo>
                <a:lnTo>
                  <a:pt x="4709" y="284"/>
                </a:lnTo>
                <a:lnTo>
                  <a:pt x="4713" y="280"/>
                </a:lnTo>
                <a:lnTo>
                  <a:pt x="4717" y="276"/>
                </a:lnTo>
                <a:lnTo>
                  <a:pt x="4714" y="276"/>
                </a:lnTo>
                <a:lnTo>
                  <a:pt x="4712" y="275"/>
                </a:lnTo>
                <a:lnTo>
                  <a:pt x="4714" y="273"/>
                </a:lnTo>
                <a:lnTo>
                  <a:pt x="4723" y="270"/>
                </a:lnTo>
                <a:lnTo>
                  <a:pt x="4701" y="260"/>
                </a:lnTo>
                <a:lnTo>
                  <a:pt x="4682" y="258"/>
                </a:lnTo>
                <a:lnTo>
                  <a:pt x="4664" y="249"/>
                </a:lnTo>
                <a:lnTo>
                  <a:pt x="4668" y="255"/>
                </a:lnTo>
                <a:lnTo>
                  <a:pt x="4660" y="254"/>
                </a:lnTo>
                <a:lnTo>
                  <a:pt x="4657" y="265"/>
                </a:lnTo>
                <a:lnTo>
                  <a:pt x="4660" y="266"/>
                </a:lnTo>
                <a:lnTo>
                  <a:pt x="4650" y="266"/>
                </a:lnTo>
                <a:lnTo>
                  <a:pt x="4650" y="262"/>
                </a:lnTo>
                <a:lnTo>
                  <a:pt x="4647" y="261"/>
                </a:lnTo>
                <a:lnTo>
                  <a:pt x="4643" y="260"/>
                </a:lnTo>
                <a:lnTo>
                  <a:pt x="4643" y="259"/>
                </a:lnTo>
                <a:lnTo>
                  <a:pt x="4642" y="258"/>
                </a:lnTo>
                <a:lnTo>
                  <a:pt x="4643" y="258"/>
                </a:lnTo>
                <a:lnTo>
                  <a:pt x="4643" y="257"/>
                </a:lnTo>
                <a:lnTo>
                  <a:pt x="4643" y="256"/>
                </a:lnTo>
                <a:lnTo>
                  <a:pt x="4642" y="255"/>
                </a:lnTo>
                <a:lnTo>
                  <a:pt x="4637" y="254"/>
                </a:lnTo>
                <a:lnTo>
                  <a:pt x="4632" y="253"/>
                </a:lnTo>
                <a:lnTo>
                  <a:pt x="4630" y="251"/>
                </a:lnTo>
                <a:lnTo>
                  <a:pt x="4628" y="250"/>
                </a:lnTo>
                <a:lnTo>
                  <a:pt x="4622" y="250"/>
                </a:lnTo>
                <a:lnTo>
                  <a:pt x="4622" y="254"/>
                </a:lnTo>
                <a:lnTo>
                  <a:pt x="4621" y="251"/>
                </a:lnTo>
                <a:lnTo>
                  <a:pt x="4613" y="254"/>
                </a:lnTo>
                <a:lnTo>
                  <a:pt x="4606" y="259"/>
                </a:lnTo>
                <a:lnTo>
                  <a:pt x="4612" y="266"/>
                </a:lnTo>
                <a:lnTo>
                  <a:pt x="4604" y="266"/>
                </a:lnTo>
                <a:lnTo>
                  <a:pt x="4602" y="266"/>
                </a:lnTo>
                <a:lnTo>
                  <a:pt x="4604" y="268"/>
                </a:lnTo>
                <a:lnTo>
                  <a:pt x="4600" y="270"/>
                </a:lnTo>
                <a:lnTo>
                  <a:pt x="4605" y="270"/>
                </a:lnTo>
                <a:lnTo>
                  <a:pt x="4604" y="274"/>
                </a:lnTo>
                <a:lnTo>
                  <a:pt x="4606" y="274"/>
                </a:lnTo>
                <a:lnTo>
                  <a:pt x="4606" y="278"/>
                </a:lnTo>
                <a:lnTo>
                  <a:pt x="4598" y="278"/>
                </a:lnTo>
                <a:close/>
                <a:moveTo>
                  <a:pt x="1945" y="35"/>
                </a:moveTo>
                <a:lnTo>
                  <a:pt x="1922" y="36"/>
                </a:lnTo>
                <a:lnTo>
                  <a:pt x="1934" y="46"/>
                </a:lnTo>
                <a:lnTo>
                  <a:pt x="1955" y="52"/>
                </a:lnTo>
                <a:lnTo>
                  <a:pt x="1961" y="57"/>
                </a:lnTo>
                <a:lnTo>
                  <a:pt x="1965" y="55"/>
                </a:lnTo>
                <a:lnTo>
                  <a:pt x="1960" y="52"/>
                </a:lnTo>
                <a:lnTo>
                  <a:pt x="1969" y="46"/>
                </a:lnTo>
                <a:lnTo>
                  <a:pt x="1945" y="35"/>
                </a:lnTo>
                <a:close/>
                <a:moveTo>
                  <a:pt x="4780" y="234"/>
                </a:moveTo>
                <a:lnTo>
                  <a:pt x="4773" y="234"/>
                </a:lnTo>
                <a:lnTo>
                  <a:pt x="4767" y="238"/>
                </a:lnTo>
                <a:lnTo>
                  <a:pt x="4777" y="238"/>
                </a:lnTo>
                <a:lnTo>
                  <a:pt x="4780" y="234"/>
                </a:lnTo>
                <a:close/>
                <a:moveTo>
                  <a:pt x="4606" y="385"/>
                </a:moveTo>
                <a:lnTo>
                  <a:pt x="4600" y="386"/>
                </a:lnTo>
                <a:lnTo>
                  <a:pt x="4606" y="387"/>
                </a:lnTo>
                <a:lnTo>
                  <a:pt x="4612" y="389"/>
                </a:lnTo>
                <a:lnTo>
                  <a:pt x="4616" y="386"/>
                </a:lnTo>
                <a:lnTo>
                  <a:pt x="4612" y="385"/>
                </a:lnTo>
                <a:lnTo>
                  <a:pt x="4606" y="385"/>
                </a:lnTo>
                <a:close/>
                <a:moveTo>
                  <a:pt x="4661" y="253"/>
                </a:moveTo>
                <a:lnTo>
                  <a:pt x="4657" y="251"/>
                </a:lnTo>
                <a:lnTo>
                  <a:pt x="4656" y="253"/>
                </a:lnTo>
                <a:lnTo>
                  <a:pt x="4657" y="254"/>
                </a:lnTo>
                <a:lnTo>
                  <a:pt x="4661" y="253"/>
                </a:lnTo>
                <a:close/>
                <a:moveTo>
                  <a:pt x="1534" y="2473"/>
                </a:moveTo>
                <a:lnTo>
                  <a:pt x="1534" y="2472"/>
                </a:lnTo>
                <a:lnTo>
                  <a:pt x="1531" y="2469"/>
                </a:lnTo>
                <a:lnTo>
                  <a:pt x="1527" y="2469"/>
                </a:lnTo>
                <a:lnTo>
                  <a:pt x="1530" y="2471"/>
                </a:lnTo>
                <a:lnTo>
                  <a:pt x="1530" y="2474"/>
                </a:lnTo>
                <a:lnTo>
                  <a:pt x="1530" y="2475"/>
                </a:lnTo>
                <a:lnTo>
                  <a:pt x="1533" y="2474"/>
                </a:lnTo>
                <a:lnTo>
                  <a:pt x="1531" y="2471"/>
                </a:lnTo>
                <a:lnTo>
                  <a:pt x="1534" y="2473"/>
                </a:lnTo>
                <a:close/>
                <a:moveTo>
                  <a:pt x="1542" y="2432"/>
                </a:moveTo>
                <a:lnTo>
                  <a:pt x="1539" y="2431"/>
                </a:lnTo>
                <a:lnTo>
                  <a:pt x="1541" y="2435"/>
                </a:lnTo>
                <a:lnTo>
                  <a:pt x="1542" y="2433"/>
                </a:lnTo>
                <a:lnTo>
                  <a:pt x="1542" y="2432"/>
                </a:lnTo>
                <a:lnTo>
                  <a:pt x="1542" y="2432"/>
                </a:lnTo>
                <a:close/>
                <a:moveTo>
                  <a:pt x="3964" y="136"/>
                </a:moveTo>
                <a:lnTo>
                  <a:pt x="3970" y="132"/>
                </a:lnTo>
                <a:lnTo>
                  <a:pt x="3975" y="129"/>
                </a:lnTo>
                <a:lnTo>
                  <a:pt x="3969" y="128"/>
                </a:lnTo>
                <a:lnTo>
                  <a:pt x="3961" y="127"/>
                </a:lnTo>
                <a:lnTo>
                  <a:pt x="3955" y="126"/>
                </a:lnTo>
                <a:lnTo>
                  <a:pt x="3934" y="125"/>
                </a:lnTo>
                <a:lnTo>
                  <a:pt x="3935" y="129"/>
                </a:lnTo>
                <a:lnTo>
                  <a:pt x="3934" y="131"/>
                </a:lnTo>
                <a:lnTo>
                  <a:pt x="3948" y="132"/>
                </a:lnTo>
                <a:lnTo>
                  <a:pt x="3953" y="136"/>
                </a:lnTo>
                <a:lnTo>
                  <a:pt x="3946" y="137"/>
                </a:lnTo>
                <a:lnTo>
                  <a:pt x="3955" y="136"/>
                </a:lnTo>
                <a:lnTo>
                  <a:pt x="3964" y="136"/>
                </a:lnTo>
                <a:close/>
                <a:moveTo>
                  <a:pt x="3932" y="142"/>
                </a:moveTo>
                <a:lnTo>
                  <a:pt x="3936" y="143"/>
                </a:lnTo>
                <a:lnTo>
                  <a:pt x="3941" y="143"/>
                </a:lnTo>
                <a:lnTo>
                  <a:pt x="3935" y="142"/>
                </a:lnTo>
                <a:lnTo>
                  <a:pt x="3929" y="140"/>
                </a:lnTo>
                <a:lnTo>
                  <a:pt x="3932" y="142"/>
                </a:lnTo>
                <a:close/>
                <a:moveTo>
                  <a:pt x="3977" y="127"/>
                </a:moveTo>
                <a:lnTo>
                  <a:pt x="3977" y="128"/>
                </a:lnTo>
                <a:lnTo>
                  <a:pt x="3983" y="127"/>
                </a:lnTo>
                <a:lnTo>
                  <a:pt x="3977" y="127"/>
                </a:lnTo>
                <a:close/>
                <a:moveTo>
                  <a:pt x="3934" y="126"/>
                </a:moveTo>
                <a:lnTo>
                  <a:pt x="3934" y="125"/>
                </a:lnTo>
                <a:lnTo>
                  <a:pt x="3931" y="126"/>
                </a:lnTo>
                <a:lnTo>
                  <a:pt x="3934" y="126"/>
                </a:lnTo>
                <a:close/>
                <a:moveTo>
                  <a:pt x="3948" y="204"/>
                </a:moveTo>
                <a:lnTo>
                  <a:pt x="3944" y="203"/>
                </a:lnTo>
                <a:lnTo>
                  <a:pt x="3946" y="204"/>
                </a:lnTo>
                <a:lnTo>
                  <a:pt x="3948" y="204"/>
                </a:lnTo>
                <a:close/>
                <a:moveTo>
                  <a:pt x="1538" y="2451"/>
                </a:moveTo>
                <a:lnTo>
                  <a:pt x="1537" y="2451"/>
                </a:lnTo>
                <a:lnTo>
                  <a:pt x="1537" y="2452"/>
                </a:lnTo>
                <a:lnTo>
                  <a:pt x="1538" y="2451"/>
                </a:lnTo>
                <a:lnTo>
                  <a:pt x="1538" y="2451"/>
                </a:lnTo>
                <a:lnTo>
                  <a:pt x="1538" y="2451"/>
                </a:lnTo>
                <a:lnTo>
                  <a:pt x="1538" y="2451"/>
                </a:lnTo>
                <a:close/>
                <a:moveTo>
                  <a:pt x="3941" y="115"/>
                </a:moveTo>
                <a:lnTo>
                  <a:pt x="3939" y="116"/>
                </a:lnTo>
                <a:lnTo>
                  <a:pt x="3951" y="117"/>
                </a:lnTo>
                <a:lnTo>
                  <a:pt x="3951" y="117"/>
                </a:lnTo>
                <a:lnTo>
                  <a:pt x="3960" y="122"/>
                </a:lnTo>
                <a:lnTo>
                  <a:pt x="3948" y="122"/>
                </a:lnTo>
                <a:lnTo>
                  <a:pt x="3973" y="128"/>
                </a:lnTo>
                <a:lnTo>
                  <a:pt x="3988" y="121"/>
                </a:lnTo>
                <a:lnTo>
                  <a:pt x="4022" y="118"/>
                </a:lnTo>
                <a:lnTo>
                  <a:pt x="4027" y="117"/>
                </a:lnTo>
                <a:lnTo>
                  <a:pt x="4024" y="115"/>
                </a:lnTo>
                <a:lnTo>
                  <a:pt x="4022" y="108"/>
                </a:lnTo>
                <a:lnTo>
                  <a:pt x="4021" y="107"/>
                </a:lnTo>
                <a:lnTo>
                  <a:pt x="4022" y="102"/>
                </a:lnTo>
                <a:lnTo>
                  <a:pt x="4036" y="100"/>
                </a:lnTo>
                <a:lnTo>
                  <a:pt x="4017" y="93"/>
                </a:lnTo>
                <a:lnTo>
                  <a:pt x="4003" y="81"/>
                </a:lnTo>
                <a:lnTo>
                  <a:pt x="3994" y="81"/>
                </a:lnTo>
                <a:lnTo>
                  <a:pt x="3993" y="83"/>
                </a:lnTo>
                <a:lnTo>
                  <a:pt x="3992" y="85"/>
                </a:lnTo>
                <a:lnTo>
                  <a:pt x="4000" y="85"/>
                </a:lnTo>
                <a:lnTo>
                  <a:pt x="3963" y="92"/>
                </a:lnTo>
                <a:lnTo>
                  <a:pt x="3964" y="94"/>
                </a:lnTo>
                <a:lnTo>
                  <a:pt x="3958" y="96"/>
                </a:lnTo>
                <a:lnTo>
                  <a:pt x="3954" y="99"/>
                </a:lnTo>
                <a:lnTo>
                  <a:pt x="3960" y="98"/>
                </a:lnTo>
                <a:lnTo>
                  <a:pt x="3966" y="96"/>
                </a:lnTo>
                <a:lnTo>
                  <a:pt x="3960" y="104"/>
                </a:lnTo>
                <a:lnTo>
                  <a:pt x="3958" y="107"/>
                </a:lnTo>
                <a:lnTo>
                  <a:pt x="3945" y="112"/>
                </a:lnTo>
                <a:lnTo>
                  <a:pt x="3957" y="114"/>
                </a:lnTo>
                <a:lnTo>
                  <a:pt x="3944" y="114"/>
                </a:lnTo>
                <a:lnTo>
                  <a:pt x="3941" y="115"/>
                </a:lnTo>
                <a:close/>
                <a:moveTo>
                  <a:pt x="3902" y="220"/>
                </a:moveTo>
                <a:lnTo>
                  <a:pt x="3899" y="220"/>
                </a:lnTo>
                <a:lnTo>
                  <a:pt x="3901" y="224"/>
                </a:lnTo>
                <a:lnTo>
                  <a:pt x="3902" y="220"/>
                </a:lnTo>
                <a:close/>
                <a:moveTo>
                  <a:pt x="1900" y="1721"/>
                </a:moveTo>
                <a:lnTo>
                  <a:pt x="1900" y="1721"/>
                </a:lnTo>
                <a:lnTo>
                  <a:pt x="1900" y="1720"/>
                </a:lnTo>
                <a:lnTo>
                  <a:pt x="1900" y="1719"/>
                </a:lnTo>
                <a:lnTo>
                  <a:pt x="1900" y="1719"/>
                </a:lnTo>
                <a:lnTo>
                  <a:pt x="1900" y="1721"/>
                </a:lnTo>
                <a:close/>
                <a:moveTo>
                  <a:pt x="3876" y="287"/>
                </a:moveTo>
                <a:lnTo>
                  <a:pt x="3875" y="285"/>
                </a:lnTo>
                <a:lnTo>
                  <a:pt x="3865" y="288"/>
                </a:lnTo>
                <a:lnTo>
                  <a:pt x="3872" y="290"/>
                </a:lnTo>
                <a:lnTo>
                  <a:pt x="3871" y="288"/>
                </a:lnTo>
                <a:lnTo>
                  <a:pt x="3874" y="287"/>
                </a:lnTo>
                <a:lnTo>
                  <a:pt x="3876" y="287"/>
                </a:lnTo>
                <a:close/>
                <a:moveTo>
                  <a:pt x="3919" y="88"/>
                </a:moveTo>
                <a:lnTo>
                  <a:pt x="3927" y="88"/>
                </a:lnTo>
                <a:lnTo>
                  <a:pt x="3934" y="89"/>
                </a:lnTo>
                <a:lnTo>
                  <a:pt x="3938" y="87"/>
                </a:lnTo>
                <a:lnTo>
                  <a:pt x="3942" y="85"/>
                </a:lnTo>
                <a:lnTo>
                  <a:pt x="3938" y="84"/>
                </a:lnTo>
                <a:lnTo>
                  <a:pt x="3934" y="82"/>
                </a:lnTo>
                <a:lnTo>
                  <a:pt x="3916" y="84"/>
                </a:lnTo>
                <a:lnTo>
                  <a:pt x="3918" y="86"/>
                </a:lnTo>
                <a:lnTo>
                  <a:pt x="3919" y="88"/>
                </a:lnTo>
                <a:close/>
                <a:moveTo>
                  <a:pt x="3913" y="216"/>
                </a:moveTo>
                <a:lnTo>
                  <a:pt x="3908" y="214"/>
                </a:lnTo>
                <a:lnTo>
                  <a:pt x="3906" y="216"/>
                </a:lnTo>
                <a:lnTo>
                  <a:pt x="3908" y="219"/>
                </a:lnTo>
                <a:lnTo>
                  <a:pt x="3913" y="216"/>
                </a:lnTo>
                <a:close/>
                <a:moveTo>
                  <a:pt x="1900" y="1719"/>
                </a:moveTo>
                <a:lnTo>
                  <a:pt x="1900" y="1719"/>
                </a:lnTo>
                <a:lnTo>
                  <a:pt x="1900" y="1719"/>
                </a:lnTo>
                <a:lnTo>
                  <a:pt x="1900" y="1719"/>
                </a:lnTo>
                <a:close/>
                <a:moveTo>
                  <a:pt x="4029" y="237"/>
                </a:moveTo>
                <a:lnTo>
                  <a:pt x="4029" y="237"/>
                </a:lnTo>
                <a:lnTo>
                  <a:pt x="4029" y="235"/>
                </a:lnTo>
                <a:lnTo>
                  <a:pt x="4028" y="232"/>
                </a:lnTo>
                <a:lnTo>
                  <a:pt x="4026" y="235"/>
                </a:lnTo>
                <a:lnTo>
                  <a:pt x="4029" y="237"/>
                </a:lnTo>
                <a:close/>
                <a:moveTo>
                  <a:pt x="1870" y="1698"/>
                </a:moveTo>
                <a:lnTo>
                  <a:pt x="1871" y="1697"/>
                </a:lnTo>
                <a:lnTo>
                  <a:pt x="1871" y="1696"/>
                </a:lnTo>
                <a:lnTo>
                  <a:pt x="1870" y="1696"/>
                </a:lnTo>
                <a:lnTo>
                  <a:pt x="1869" y="1698"/>
                </a:lnTo>
                <a:lnTo>
                  <a:pt x="1870" y="1697"/>
                </a:lnTo>
                <a:lnTo>
                  <a:pt x="1870" y="1698"/>
                </a:lnTo>
                <a:close/>
                <a:moveTo>
                  <a:pt x="3988" y="249"/>
                </a:moveTo>
                <a:lnTo>
                  <a:pt x="3992" y="247"/>
                </a:lnTo>
                <a:lnTo>
                  <a:pt x="3987" y="247"/>
                </a:lnTo>
                <a:lnTo>
                  <a:pt x="3988" y="249"/>
                </a:lnTo>
                <a:close/>
                <a:moveTo>
                  <a:pt x="1533" y="2501"/>
                </a:moveTo>
                <a:lnTo>
                  <a:pt x="1531" y="2500"/>
                </a:lnTo>
                <a:lnTo>
                  <a:pt x="1530" y="2501"/>
                </a:lnTo>
                <a:lnTo>
                  <a:pt x="1530" y="2493"/>
                </a:lnTo>
                <a:lnTo>
                  <a:pt x="1530" y="2484"/>
                </a:lnTo>
                <a:lnTo>
                  <a:pt x="1530" y="2483"/>
                </a:lnTo>
                <a:lnTo>
                  <a:pt x="1526" y="2483"/>
                </a:lnTo>
                <a:lnTo>
                  <a:pt x="1524" y="2486"/>
                </a:lnTo>
                <a:lnTo>
                  <a:pt x="1527" y="2489"/>
                </a:lnTo>
                <a:lnTo>
                  <a:pt x="1526" y="2492"/>
                </a:lnTo>
                <a:lnTo>
                  <a:pt x="1526" y="2489"/>
                </a:lnTo>
                <a:lnTo>
                  <a:pt x="1524" y="2487"/>
                </a:lnTo>
                <a:lnTo>
                  <a:pt x="1523" y="2487"/>
                </a:lnTo>
                <a:lnTo>
                  <a:pt x="1520" y="2489"/>
                </a:lnTo>
                <a:lnTo>
                  <a:pt x="1525" y="2492"/>
                </a:lnTo>
                <a:lnTo>
                  <a:pt x="1525" y="2493"/>
                </a:lnTo>
                <a:lnTo>
                  <a:pt x="1522" y="2492"/>
                </a:lnTo>
                <a:lnTo>
                  <a:pt x="1522" y="2494"/>
                </a:lnTo>
                <a:lnTo>
                  <a:pt x="1519" y="2495"/>
                </a:lnTo>
                <a:lnTo>
                  <a:pt x="1514" y="2495"/>
                </a:lnTo>
                <a:lnTo>
                  <a:pt x="1514" y="2499"/>
                </a:lnTo>
                <a:lnTo>
                  <a:pt x="1520" y="2499"/>
                </a:lnTo>
                <a:lnTo>
                  <a:pt x="1519" y="2503"/>
                </a:lnTo>
                <a:lnTo>
                  <a:pt x="1514" y="2503"/>
                </a:lnTo>
                <a:lnTo>
                  <a:pt x="1514" y="2507"/>
                </a:lnTo>
                <a:lnTo>
                  <a:pt x="1517" y="2507"/>
                </a:lnTo>
                <a:lnTo>
                  <a:pt x="1522" y="2507"/>
                </a:lnTo>
                <a:lnTo>
                  <a:pt x="1522" y="2505"/>
                </a:lnTo>
                <a:lnTo>
                  <a:pt x="1526" y="2504"/>
                </a:lnTo>
                <a:lnTo>
                  <a:pt x="1526" y="2507"/>
                </a:lnTo>
                <a:lnTo>
                  <a:pt x="1526" y="2507"/>
                </a:lnTo>
                <a:lnTo>
                  <a:pt x="1526" y="2509"/>
                </a:lnTo>
                <a:lnTo>
                  <a:pt x="1531" y="2506"/>
                </a:lnTo>
                <a:lnTo>
                  <a:pt x="1533" y="2501"/>
                </a:lnTo>
                <a:lnTo>
                  <a:pt x="1533" y="2501"/>
                </a:lnTo>
                <a:lnTo>
                  <a:pt x="1533" y="2501"/>
                </a:lnTo>
                <a:close/>
                <a:moveTo>
                  <a:pt x="1531" y="2500"/>
                </a:moveTo>
                <a:lnTo>
                  <a:pt x="1534" y="2498"/>
                </a:lnTo>
                <a:lnTo>
                  <a:pt x="1533" y="2497"/>
                </a:lnTo>
                <a:lnTo>
                  <a:pt x="1531" y="2497"/>
                </a:lnTo>
                <a:lnTo>
                  <a:pt x="1531" y="2500"/>
                </a:lnTo>
                <a:close/>
                <a:moveTo>
                  <a:pt x="3992" y="249"/>
                </a:moveTo>
                <a:lnTo>
                  <a:pt x="3992" y="251"/>
                </a:lnTo>
                <a:lnTo>
                  <a:pt x="3994" y="251"/>
                </a:lnTo>
                <a:lnTo>
                  <a:pt x="3992" y="249"/>
                </a:lnTo>
                <a:close/>
                <a:moveTo>
                  <a:pt x="4013" y="219"/>
                </a:moveTo>
                <a:lnTo>
                  <a:pt x="3995" y="226"/>
                </a:lnTo>
                <a:lnTo>
                  <a:pt x="4008" y="226"/>
                </a:lnTo>
                <a:lnTo>
                  <a:pt x="4014" y="221"/>
                </a:lnTo>
                <a:lnTo>
                  <a:pt x="4013" y="219"/>
                </a:lnTo>
                <a:close/>
                <a:moveTo>
                  <a:pt x="4010" y="235"/>
                </a:moveTo>
                <a:lnTo>
                  <a:pt x="4013" y="234"/>
                </a:lnTo>
                <a:lnTo>
                  <a:pt x="4006" y="235"/>
                </a:lnTo>
                <a:lnTo>
                  <a:pt x="4010" y="235"/>
                </a:lnTo>
                <a:close/>
                <a:moveTo>
                  <a:pt x="3988" y="235"/>
                </a:moveTo>
                <a:lnTo>
                  <a:pt x="3993" y="235"/>
                </a:lnTo>
                <a:lnTo>
                  <a:pt x="3998" y="234"/>
                </a:lnTo>
                <a:lnTo>
                  <a:pt x="3994" y="232"/>
                </a:lnTo>
                <a:lnTo>
                  <a:pt x="3988" y="235"/>
                </a:lnTo>
                <a:close/>
                <a:moveTo>
                  <a:pt x="1968" y="1736"/>
                </a:moveTo>
                <a:lnTo>
                  <a:pt x="1969" y="1733"/>
                </a:lnTo>
                <a:lnTo>
                  <a:pt x="1968" y="1735"/>
                </a:lnTo>
                <a:lnTo>
                  <a:pt x="1968" y="1737"/>
                </a:lnTo>
                <a:lnTo>
                  <a:pt x="1968" y="1737"/>
                </a:lnTo>
                <a:lnTo>
                  <a:pt x="1968" y="1737"/>
                </a:lnTo>
                <a:lnTo>
                  <a:pt x="1969" y="1736"/>
                </a:lnTo>
                <a:lnTo>
                  <a:pt x="1969" y="1736"/>
                </a:lnTo>
                <a:lnTo>
                  <a:pt x="1968" y="1736"/>
                </a:lnTo>
                <a:close/>
                <a:moveTo>
                  <a:pt x="3945" y="138"/>
                </a:moveTo>
                <a:lnTo>
                  <a:pt x="3934" y="136"/>
                </a:lnTo>
                <a:lnTo>
                  <a:pt x="3942" y="138"/>
                </a:lnTo>
                <a:lnTo>
                  <a:pt x="3945" y="138"/>
                </a:lnTo>
                <a:close/>
                <a:moveTo>
                  <a:pt x="4008" y="251"/>
                </a:moveTo>
                <a:lnTo>
                  <a:pt x="4008" y="250"/>
                </a:lnTo>
                <a:lnTo>
                  <a:pt x="4012" y="250"/>
                </a:lnTo>
                <a:lnTo>
                  <a:pt x="4014" y="250"/>
                </a:lnTo>
                <a:lnTo>
                  <a:pt x="4014" y="250"/>
                </a:lnTo>
                <a:lnTo>
                  <a:pt x="4017" y="247"/>
                </a:lnTo>
                <a:lnTo>
                  <a:pt x="3998" y="246"/>
                </a:lnTo>
                <a:lnTo>
                  <a:pt x="3993" y="249"/>
                </a:lnTo>
                <a:lnTo>
                  <a:pt x="4008" y="253"/>
                </a:lnTo>
                <a:lnTo>
                  <a:pt x="4008" y="251"/>
                </a:lnTo>
                <a:close/>
                <a:moveTo>
                  <a:pt x="3966" y="254"/>
                </a:moveTo>
                <a:lnTo>
                  <a:pt x="3968" y="253"/>
                </a:lnTo>
                <a:lnTo>
                  <a:pt x="3966" y="253"/>
                </a:lnTo>
                <a:lnTo>
                  <a:pt x="3966" y="253"/>
                </a:lnTo>
                <a:lnTo>
                  <a:pt x="3966" y="254"/>
                </a:lnTo>
                <a:close/>
                <a:moveTo>
                  <a:pt x="3975" y="238"/>
                </a:moveTo>
                <a:lnTo>
                  <a:pt x="3983" y="238"/>
                </a:lnTo>
                <a:lnTo>
                  <a:pt x="3977" y="236"/>
                </a:lnTo>
                <a:lnTo>
                  <a:pt x="3975" y="238"/>
                </a:lnTo>
                <a:close/>
                <a:moveTo>
                  <a:pt x="1534" y="2477"/>
                </a:moveTo>
                <a:lnTo>
                  <a:pt x="1535" y="2477"/>
                </a:lnTo>
                <a:lnTo>
                  <a:pt x="1531" y="2477"/>
                </a:lnTo>
                <a:lnTo>
                  <a:pt x="1531" y="2478"/>
                </a:lnTo>
                <a:lnTo>
                  <a:pt x="1533" y="2477"/>
                </a:lnTo>
                <a:lnTo>
                  <a:pt x="1533" y="2477"/>
                </a:lnTo>
                <a:lnTo>
                  <a:pt x="1534" y="2477"/>
                </a:lnTo>
                <a:close/>
                <a:moveTo>
                  <a:pt x="4021" y="246"/>
                </a:moveTo>
                <a:lnTo>
                  <a:pt x="4018" y="243"/>
                </a:lnTo>
                <a:lnTo>
                  <a:pt x="4017" y="249"/>
                </a:lnTo>
                <a:lnTo>
                  <a:pt x="4018" y="251"/>
                </a:lnTo>
                <a:lnTo>
                  <a:pt x="4021" y="246"/>
                </a:lnTo>
                <a:close/>
                <a:moveTo>
                  <a:pt x="1552" y="1367"/>
                </a:moveTo>
                <a:lnTo>
                  <a:pt x="1551" y="1367"/>
                </a:lnTo>
                <a:lnTo>
                  <a:pt x="1551" y="1370"/>
                </a:lnTo>
                <a:lnTo>
                  <a:pt x="1552" y="1367"/>
                </a:lnTo>
                <a:close/>
                <a:moveTo>
                  <a:pt x="3402" y="80"/>
                </a:moveTo>
                <a:lnTo>
                  <a:pt x="3398" y="79"/>
                </a:lnTo>
                <a:lnTo>
                  <a:pt x="3399" y="80"/>
                </a:lnTo>
                <a:lnTo>
                  <a:pt x="3402" y="80"/>
                </a:lnTo>
                <a:close/>
                <a:moveTo>
                  <a:pt x="1543" y="1412"/>
                </a:moveTo>
                <a:lnTo>
                  <a:pt x="1542" y="1412"/>
                </a:lnTo>
                <a:lnTo>
                  <a:pt x="1543" y="1414"/>
                </a:lnTo>
                <a:lnTo>
                  <a:pt x="1543" y="1412"/>
                </a:lnTo>
                <a:close/>
                <a:moveTo>
                  <a:pt x="3434" y="96"/>
                </a:moveTo>
                <a:lnTo>
                  <a:pt x="3439" y="102"/>
                </a:lnTo>
                <a:lnTo>
                  <a:pt x="3451" y="99"/>
                </a:lnTo>
                <a:lnTo>
                  <a:pt x="3426" y="89"/>
                </a:lnTo>
                <a:lnTo>
                  <a:pt x="3418" y="91"/>
                </a:lnTo>
                <a:lnTo>
                  <a:pt x="3406" y="88"/>
                </a:lnTo>
                <a:lnTo>
                  <a:pt x="3402" y="91"/>
                </a:lnTo>
                <a:lnTo>
                  <a:pt x="3434" y="96"/>
                </a:lnTo>
                <a:close/>
                <a:moveTo>
                  <a:pt x="1597" y="1038"/>
                </a:moveTo>
                <a:lnTo>
                  <a:pt x="1596" y="1041"/>
                </a:lnTo>
                <a:lnTo>
                  <a:pt x="1599" y="1041"/>
                </a:lnTo>
                <a:lnTo>
                  <a:pt x="1597" y="1038"/>
                </a:lnTo>
                <a:close/>
                <a:moveTo>
                  <a:pt x="3420" y="81"/>
                </a:moveTo>
                <a:lnTo>
                  <a:pt x="3418" y="82"/>
                </a:lnTo>
                <a:lnTo>
                  <a:pt x="3432" y="85"/>
                </a:lnTo>
                <a:lnTo>
                  <a:pt x="3451" y="80"/>
                </a:lnTo>
                <a:lnTo>
                  <a:pt x="3429" y="77"/>
                </a:lnTo>
                <a:lnTo>
                  <a:pt x="3434" y="82"/>
                </a:lnTo>
                <a:lnTo>
                  <a:pt x="3420" y="81"/>
                </a:lnTo>
                <a:lnTo>
                  <a:pt x="3420" y="81"/>
                </a:lnTo>
                <a:lnTo>
                  <a:pt x="3420" y="81"/>
                </a:lnTo>
                <a:close/>
                <a:moveTo>
                  <a:pt x="3420" y="81"/>
                </a:moveTo>
                <a:lnTo>
                  <a:pt x="3417" y="81"/>
                </a:lnTo>
                <a:lnTo>
                  <a:pt x="3420" y="81"/>
                </a:lnTo>
                <a:lnTo>
                  <a:pt x="3420" y="81"/>
                </a:lnTo>
                <a:close/>
                <a:moveTo>
                  <a:pt x="1595" y="1026"/>
                </a:moveTo>
                <a:lnTo>
                  <a:pt x="1599" y="1030"/>
                </a:lnTo>
                <a:lnTo>
                  <a:pt x="1597" y="1026"/>
                </a:lnTo>
                <a:lnTo>
                  <a:pt x="1595" y="1026"/>
                </a:lnTo>
                <a:close/>
                <a:moveTo>
                  <a:pt x="1565" y="1361"/>
                </a:moveTo>
                <a:lnTo>
                  <a:pt x="1569" y="1365"/>
                </a:lnTo>
                <a:lnTo>
                  <a:pt x="1566" y="1361"/>
                </a:lnTo>
                <a:lnTo>
                  <a:pt x="1565" y="1361"/>
                </a:lnTo>
                <a:close/>
                <a:moveTo>
                  <a:pt x="1571" y="1366"/>
                </a:moveTo>
                <a:lnTo>
                  <a:pt x="1570" y="1365"/>
                </a:lnTo>
                <a:lnTo>
                  <a:pt x="1569" y="1365"/>
                </a:lnTo>
                <a:lnTo>
                  <a:pt x="1569" y="1366"/>
                </a:lnTo>
                <a:lnTo>
                  <a:pt x="1571" y="1366"/>
                </a:lnTo>
                <a:close/>
                <a:moveTo>
                  <a:pt x="3462" y="76"/>
                </a:moveTo>
                <a:lnTo>
                  <a:pt x="3451" y="71"/>
                </a:lnTo>
                <a:lnTo>
                  <a:pt x="3437" y="74"/>
                </a:lnTo>
                <a:lnTo>
                  <a:pt x="3455" y="77"/>
                </a:lnTo>
                <a:lnTo>
                  <a:pt x="3462" y="76"/>
                </a:lnTo>
                <a:close/>
                <a:moveTo>
                  <a:pt x="1550" y="1406"/>
                </a:moveTo>
                <a:lnTo>
                  <a:pt x="1549" y="1408"/>
                </a:lnTo>
                <a:lnTo>
                  <a:pt x="1555" y="1412"/>
                </a:lnTo>
                <a:lnTo>
                  <a:pt x="1555" y="1408"/>
                </a:lnTo>
                <a:lnTo>
                  <a:pt x="1550" y="1406"/>
                </a:lnTo>
                <a:close/>
                <a:moveTo>
                  <a:pt x="3385" y="107"/>
                </a:moveTo>
                <a:lnTo>
                  <a:pt x="3390" y="107"/>
                </a:lnTo>
                <a:lnTo>
                  <a:pt x="3387" y="104"/>
                </a:lnTo>
                <a:lnTo>
                  <a:pt x="3383" y="104"/>
                </a:lnTo>
                <a:lnTo>
                  <a:pt x="3387" y="105"/>
                </a:lnTo>
                <a:lnTo>
                  <a:pt x="3385" y="107"/>
                </a:lnTo>
                <a:close/>
                <a:moveTo>
                  <a:pt x="3399" y="112"/>
                </a:moveTo>
                <a:lnTo>
                  <a:pt x="3402" y="108"/>
                </a:lnTo>
                <a:lnTo>
                  <a:pt x="3398" y="107"/>
                </a:lnTo>
                <a:lnTo>
                  <a:pt x="3401" y="105"/>
                </a:lnTo>
                <a:lnTo>
                  <a:pt x="3395" y="104"/>
                </a:lnTo>
                <a:lnTo>
                  <a:pt x="3394" y="105"/>
                </a:lnTo>
                <a:lnTo>
                  <a:pt x="3395" y="107"/>
                </a:lnTo>
                <a:lnTo>
                  <a:pt x="3392" y="108"/>
                </a:lnTo>
                <a:lnTo>
                  <a:pt x="3399" y="112"/>
                </a:lnTo>
                <a:close/>
                <a:moveTo>
                  <a:pt x="3409" y="100"/>
                </a:moveTo>
                <a:lnTo>
                  <a:pt x="3425" y="96"/>
                </a:lnTo>
                <a:lnTo>
                  <a:pt x="3413" y="94"/>
                </a:lnTo>
                <a:lnTo>
                  <a:pt x="3395" y="96"/>
                </a:lnTo>
                <a:lnTo>
                  <a:pt x="3402" y="98"/>
                </a:lnTo>
                <a:lnTo>
                  <a:pt x="3409" y="100"/>
                </a:lnTo>
                <a:close/>
                <a:moveTo>
                  <a:pt x="3380" y="120"/>
                </a:moveTo>
                <a:lnTo>
                  <a:pt x="3388" y="120"/>
                </a:lnTo>
                <a:lnTo>
                  <a:pt x="3394" y="118"/>
                </a:lnTo>
                <a:lnTo>
                  <a:pt x="3387" y="114"/>
                </a:lnTo>
                <a:lnTo>
                  <a:pt x="3380" y="114"/>
                </a:lnTo>
                <a:lnTo>
                  <a:pt x="3369" y="118"/>
                </a:lnTo>
                <a:lnTo>
                  <a:pt x="3373" y="120"/>
                </a:lnTo>
                <a:lnTo>
                  <a:pt x="3380" y="120"/>
                </a:lnTo>
                <a:close/>
                <a:moveTo>
                  <a:pt x="1591" y="1038"/>
                </a:moveTo>
                <a:lnTo>
                  <a:pt x="1585" y="1038"/>
                </a:lnTo>
                <a:lnTo>
                  <a:pt x="1591" y="1038"/>
                </a:lnTo>
                <a:lnTo>
                  <a:pt x="1591" y="1038"/>
                </a:lnTo>
                <a:close/>
                <a:moveTo>
                  <a:pt x="3439" y="86"/>
                </a:moveTo>
                <a:lnTo>
                  <a:pt x="3447" y="88"/>
                </a:lnTo>
                <a:lnTo>
                  <a:pt x="3451" y="87"/>
                </a:lnTo>
                <a:lnTo>
                  <a:pt x="3455" y="85"/>
                </a:lnTo>
                <a:lnTo>
                  <a:pt x="3440" y="85"/>
                </a:lnTo>
                <a:lnTo>
                  <a:pt x="3439" y="86"/>
                </a:lnTo>
                <a:close/>
                <a:moveTo>
                  <a:pt x="3448" y="96"/>
                </a:moveTo>
                <a:lnTo>
                  <a:pt x="3459" y="94"/>
                </a:lnTo>
                <a:lnTo>
                  <a:pt x="3447" y="89"/>
                </a:lnTo>
                <a:lnTo>
                  <a:pt x="3426" y="88"/>
                </a:lnTo>
                <a:lnTo>
                  <a:pt x="3448" y="96"/>
                </a:lnTo>
                <a:close/>
                <a:moveTo>
                  <a:pt x="1327" y="1234"/>
                </a:moveTo>
                <a:lnTo>
                  <a:pt x="1324" y="1232"/>
                </a:lnTo>
                <a:lnTo>
                  <a:pt x="1324" y="1237"/>
                </a:lnTo>
                <a:lnTo>
                  <a:pt x="1327" y="1234"/>
                </a:lnTo>
                <a:close/>
                <a:moveTo>
                  <a:pt x="1278" y="1241"/>
                </a:moveTo>
                <a:lnTo>
                  <a:pt x="1282" y="1242"/>
                </a:lnTo>
                <a:lnTo>
                  <a:pt x="1283" y="1241"/>
                </a:lnTo>
                <a:lnTo>
                  <a:pt x="1280" y="1238"/>
                </a:lnTo>
                <a:lnTo>
                  <a:pt x="1278" y="1241"/>
                </a:lnTo>
                <a:close/>
                <a:moveTo>
                  <a:pt x="3451" y="89"/>
                </a:moveTo>
                <a:lnTo>
                  <a:pt x="3460" y="93"/>
                </a:lnTo>
                <a:lnTo>
                  <a:pt x="3466" y="91"/>
                </a:lnTo>
                <a:lnTo>
                  <a:pt x="3455" y="88"/>
                </a:lnTo>
                <a:lnTo>
                  <a:pt x="3451" y="89"/>
                </a:lnTo>
                <a:close/>
                <a:moveTo>
                  <a:pt x="3469" y="78"/>
                </a:moveTo>
                <a:lnTo>
                  <a:pt x="3460" y="81"/>
                </a:lnTo>
                <a:lnTo>
                  <a:pt x="3475" y="81"/>
                </a:lnTo>
                <a:lnTo>
                  <a:pt x="3469" y="78"/>
                </a:lnTo>
                <a:close/>
                <a:moveTo>
                  <a:pt x="3471" y="96"/>
                </a:moveTo>
                <a:lnTo>
                  <a:pt x="3466" y="94"/>
                </a:lnTo>
                <a:lnTo>
                  <a:pt x="3454" y="97"/>
                </a:lnTo>
                <a:lnTo>
                  <a:pt x="3451" y="97"/>
                </a:lnTo>
                <a:lnTo>
                  <a:pt x="3462" y="100"/>
                </a:lnTo>
                <a:lnTo>
                  <a:pt x="3471" y="96"/>
                </a:lnTo>
                <a:close/>
                <a:moveTo>
                  <a:pt x="3418" y="116"/>
                </a:moveTo>
                <a:lnTo>
                  <a:pt x="3415" y="114"/>
                </a:lnTo>
                <a:lnTo>
                  <a:pt x="3409" y="117"/>
                </a:lnTo>
                <a:lnTo>
                  <a:pt x="3413" y="119"/>
                </a:lnTo>
                <a:lnTo>
                  <a:pt x="3418" y="116"/>
                </a:lnTo>
                <a:close/>
                <a:moveTo>
                  <a:pt x="1354" y="1381"/>
                </a:moveTo>
                <a:lnTo>
                  <a:pt x="1353" y="1381"/>
                </a:lnTo>
                <a:lnTo>
                  <a:pt x="1351" y="1386"/>
                </a:lnTo>
                <a:lnTo>
                  <a:pt x="1354" y="1381"/>
                </a:lnTo>
                <a:close/>
                <a:moveTo>
                  <a:pt x="3478" y="126"/>
                </a:moveTo>
                <a:lnTo>
                  <a:pt x="3475" y="126"/>
                </a:lnTo>
                <a:lnTo>
                  <a:pt x="3466" y="128"/>
                </a:lnTo>
                <a:lnTo>
                  <a:pt x="3473" y="129"/>
                </a:lnTo>
                <a:lnTo>
                  <a:pt x="3478" y="127"/>
                </a:lnTo>
                <a:lnTo>
                  <a:pt x="3478" y="126"/>
                </a:lnTo>
                <a:close/>
                <a:moveTo>
                  <a:pt x="3472" y="66"/>
                </a:moveTo>
                <a:lnTo>
                  <a:pt x="3475" y="62"/>
                </a:lnTo>
                <a:lnTo>
                  <a:pt x="3455" y="64"/>
                </a:lnTo>
                <a:lnTo>
                  <a:pt x="3451" y="69"/>
                </a:lnTo>
                <a:lnTo>
                  <a:pt x="3455" y="69"/>
                </a:lnTo>
                <a:lnTo>
                  <a:pt x="3472" y="66"/>
                </a:lnTo>
                <a:close/>
                <a:moveTo>
                  <a:pt x="3467" y="257"/>
                </a:moveTo>
                <a:lnTo>
                  <a:pt x="3466" y="258"/>
                </a:lnTo>
                <a:lnTo>
                  <a:pt x="3474" y="255"/>
                </a:lnTo>
                <a:lnTo>
                  <a:pt x="3474" y="255"/>
                </a:lnTo>
                <a:lnTo>
                  <a:pt x="3467" y="257"/>
                </a:lnTo>
                <a:close/>
                <a:moveTo>
                  <a:pt x="1360" y="1444"/>
                </a:moveTo>
                <a:lnTo>
                  <a:pt x="1358" y="1444"/>
                </a:lnTo>
                <a:lnTo>
                  <a:pt x="1354" y="1445"/>
                </a:lnTo>
                <a:lnTo>
                  <a:pt x="1360" y="1444"/>
                </a:lnTo>
                <a:close/>
                <a:moveTo>
                  <a:pt x="3466" y="69"/>
                </a:moveTo>
                <a:lnTo>
                  <a:pt x="3459" y="69"/>
                </a:lnTo>
                <a:lnTo>
                  <a:pt x="3458" y="71"/>
                </a:lnTo>
                <a:lnTo>
                  <a:pt x="3466" y="69"/>
                </a:lnTo>
                <a:close/>
                <a:moveTo>
                  <a:pt x="3474" y="257"/>
                </a:moveTo>
                <a:lnTo>
                  <a:pt x="3469" y="258"/>
                </a:lnTo>
                <a:lnTo>
                  <a:pt x="3471" y="258"/>
                </a:lnTo>
                <a:lnTo>
                  <a:pt x="3474" y="257"/>
                </a:lnTo>
                <a:close/>
                <a:moveTo>
                  <a:pt x="3442" y="105"/>
                </a:moveTo>
                <a:lnTo>
                  <a:pt x="3451" y="108"/>
                </a:lnTo>
                <a:lnTo>
                  <a:pt x="3455" y="105"/>
                </a:lnTo>
                <a:lnTo>
                  <a:pt x="3444" y="105"/>
                </a:lnTo>
                <a:lnTo>
                  <a:pt x="3442" y="105"/>
                </a:lnTo>
                <a:close/>
                <a:moveTo>
                  <a:pt x="1484" y="1355"/>
                </a:moveTo>
                <a:lnTo>
                  <a:pt x="1483" y="1355"/>
                </a:lnTo>
                <a:lnTo>
                  <a:pt x="1481" y="1357"/>
                </a:lnTo>
                <a:lnTo>
                  <a:pt x="1483" y="1357"/>
                </a:lnTo>
                <a:lnTo>
                  <a:pt x="1484" y="1357"/>
                </a:lnTo>
                <a:lnTo>
                  <a:pt x="1484" y="1355"/>
                </a:lnTo>
                <a:close/>
                <a:moveTo>
                  <a:pt x="1503" y="1315"/>
                </a:moveTo>
                <a:lnTo>
                  <a:pt x="1507" y="1318"/>
                </a:lnTo>
                <a:lnTo>
                  <a:pt x="1507" y="1310"/>
                </a:lnTo>
                <a:lnTo>
                  <a:pt x="1504" y="1315"/>
                </a:lnTo>
                <a:lnTo>
                  <a:pt x="1503" y="1315"/>
                </a:lnTo>
                <a:close/>
                <a:moveTo>
                  <a:pt x="1477" y="1351"/>
                </a:moveTo>
                <a:lnTo>
                  <a:pt x="1483" y="1355"/>
                </a:lnTo>
                <a:lnTo>
                  <a:pt x="1481" y="1351"/>
                </a:lnTo>
                <a:lnTo>
                  <a:pt x="1477" y="1351"/>
                </a:lnTo>
                <a:close/>
                <a:moveTo>
                  <a:pt x="1469" y="1289"/>
                </a:moveTo>
                <a:lnTo>
                  <a:pt x="1466" y="1287"/>
                </a:lnTo>
                <a:lnTo>
                  <a:pt x="1470" y="1289"/>
                </a:lnTo>
                <a:lnTo>
                  <a:pt x="1471" y="1290"/>
                </a:lnTo>
                <a:lnTo>
                  <a:pt x="1482" y="1290"/>
                </a:lnTo>
                <a:lnTo>
                  <a:pt x="1481" y="1289"/>
                </a:lnTo>
                <a:lnTo>
                  <a:pt x="1469" y="1289"/>
                </a:lnTo>
                <a:close/>
                <a:moveTo>
                  <a:pt x="1543" y="1372"/>
                </a:moveTo>
                <a:lnTo>
                  <a:pt x="1538" y="1376"/>
                </a:lnTo>
                <a:lnTo>
                  <a:pt x="1538" y="1377"/>
                </a:lnTo>
                <a:lnTo>
                  <a:pt x="1547" y="1376"/>
                </a:lnTo>
                <a:lnTo>
                  <a:pt x="1550" y="1371"/>
                </a:lnTo>
                <a:lnTo>
                  <a:pt x="1547" y="1374"/>
                </a:lnTo>
                <a:lnTo>
                  <a:pt x="1543" y="1372"/>
                </a:lnTo>
                <a:close/>
                <a:moveTo>
                  <a:pt x="1499" y="1305"/>
                </a:moveTo>
                <a:lnTo>
                  <a:pt x="1500" y="1306"/>
                </a:lnTo>
                <a:lnTo>
                  <a:pt x="1497" y="1303"/>
                </a:lnTo>
                <a:lnTo>
                  <a:pt x="1499" y="1305"/>
                </a:lnTo>
                <a:close/>
                <a:moveTo>
                  <a:pt x="1472" y="1350"/>
                </a:moveTo>
                <a:lnTo>
                  <a:pt x="1476" y="1351"/>
                </a:lnTo>
                <a:lnTo>
                  <a:pt x="1477" y="1351"/>
                </a:lnTo>
                <a:lnTo>
                  <a:pt x="1476" y="1350"/>
                </a:lnTo>
                <a:lnTo>
                  <a:pt x="1472" y="1350"/>
                </a:lnTo>
                <a:close/>
                <a:moveTo>
                  <a:pt x="1474" y="1310"/>
                </a:moveTo>
                <a:lnTo>
                  <a:pt x="1474" y="1313"/>
                </a:lnTo>
                <a:lnTo>
                  <a:pt x="1474" y="1317"/>
                </a:lnTo>
                <a:lnTo>
                  <a:pt x="1474" y="1317"/>
                </a:lnTo>
                <a:lnTo>
                  <a:pt x="1473" y="1318"/>
                </a:lnTo>
                <a:lnTo>
                  <a:pt x="1474" y="1319"/>
                </a:lnTo>
                <a:lnTo>
                  <a:pt x="1474" y="1317"/>
                </a:lnTo>
                <a:lnTo>
                  <a:pt x="1476" y="1318"/>
                </a:lnTo>
                <a:lnTo>
                  <a:pt x="1475" y="1319"/>
                </a:lnTo>
                <a:lnTo>
                  <a:pt x="1474" y="1319"/>
                </a:lnTo>
                <a:lnTo>
                  <a:pt x="1474" y="1320"/>
                </a:lnTo>
                <a:lnTo>
                  <a:pt x="1475" y="1319"/>
                </a:lnTo>
                <a:lnTo>
                  <a:pt x="1480" y="1324"/>
                </a:lnTo>
                <a:lnTo>
                  <a:pt x="1482" y="1320"/>
                </a:lnTo>
                <a:lnTo>
                  <a:pt x="1481" y="1310"/>
                </a:lnTo>
                <a:lnTo>
                  <a:pt x="1474" y="1310"/>
                </a:lnTo>
                <a:close/>
                <a:moveTo>
                  <a:pt x="1484" y="1324"/>
                </a:moveTo>
                <a:lnTo>
                  <a:pt x="1482" y="1328"/>
                </a:lnTo>
                <a:lnTo>
                  <a:pt x="1482" y="1326"/>
                </a:lnTo>
                <a:lnTo>
                  <a:pt x="1482" y="1324"/>
                </a:lnTo>
                <a:lnTo>
                  <a:pt x="1482" y="1322"/>
                </a:lnTo>
                <a:lnTo>
                  <a:pt x="1480" y="1330"/>
                </a:lnTo>
                <a:lnTo>
                  <a:pt x="1483" y="1334"/>
                </a:lnTo>
                <a:lnTo>
                  <a:pt x="1486" y="1334"/>
                </a:lnTo>
                <a:lnTo>
                  <a:pt x="1486" y="1331"/>
                </a:lnTo>
                <a:lnTo>
                  <a:pt x="1486" y="1331"/>
                </a:lnTo>
                <a:lnTo>
                  <a:pt x="1486" y="1331"/>
                </a:lnTo>
                <a:lnTo>
                  <a:pt x="1486" y="1326"/>
                </a:lnTo>
                <a:lnTo>
                  <a:pt x="1484" y="1324"/>
                </a:lnTo>
                <a:close/>
                <a:moveTo>
                  <a:pt x="1489" y="1287"/>
                </a:moveTo>
                <a:lnTo>
                  <a:pt x="1492" y="1288"/>
                </a:lnTo>
                <a:lnTo>
                  <a:pt x="1492" y="1287"/>
                </a:lnTo>
                <a:lnTo>
                  <a:pt x="1489" y="1287"/>
                </a:lnTo>
                <a:close/>
                <a:moveTo>
                  <a:pt x="1407" y="1366"/>
                </a:moveTo>
                <a:lnTo>
                  <a:pt x="1409" y="1371"/>
                </a:lnTo>
                <a:lnTo>
                  <a:pt x="1410" y="1371"/>
                </a:lnTo>
                <a:lnTo>
                  <a:pt x="1417" y="1368"/>
                </a:lnTo>
                <a:lnTo>
                  <a:pt x="1414" y="1363"/>
                </a:lnTo>
                <a:lnTo>
                  <a:pt x="1410" y="1363"/>
                </a:lnTo>
                <a:lnTo>
                  <a:pt x="1409" y="1363"/>
                </a:lnTo>
                <a:lnTo>
                  <a:pt x="1410" y="1366"/>
                </a:lnTo>
                <a:lnTo>
                  <a:pt x="1409" y="1367"/>
                </a:lnTo>
                <a:lnTo>
                  <a:pt x="1407" y="1366"/>
                </a:lnTo>
                <a:close/>
                <a:moveTo>
                  <a:pt x="1488" y="1313"/>
                </a:moveTo>
                <a:lnTo>
                  <a:pt x="1491" y="1311"/>
                </a:lnTo>
                <a:lnTo>
                  <a:pt x="1486" y="1311"/>
                </a:lnTo>
                <a:lnTo>
                  <a:pt x="1488" y="1313"/>
                </a:lnTo>
                <a:close/>
                <a:moveTo>
                  <a:pt x="1491" y="1299"/>
                </a:moveTo>
                <a:lnTo>
                  <a:pt x="1491" y="1294"/>
                </a:lnTo>
                <a:lnTo>
                  <a:pt x="1488" y="1298"/>
                </a:lnTo>
                <a:lnTo>
                  <a:pt x="1491" y="1299"/>
                </a:lnTo>
                <a:close/>
                <a:moveTo>
                  <a:pt x="1487" y="1360"/>
                </a:moveTo>
                <a:lnTo>
                  <a:pt x="1487" y="1359"/>
                </a:lnTo>
                <a:lnTo>
                  <a:pt x="1483" y="1357"/>
                </a:lnTo>
                <a:lnTo>
                  <a:pt x="1487" y="1360"/>
                </a:lnTo>
                <a:close/>
                <a:moveTo>
                  <a:pt x="1491" y="1294"/>
                </a:moveTo>
                <a:lnTo>
                  <a:pt x="1494" y="1291"/>
                </a:lnTo>
                <a:lnTo>
                  <a:pt x="1494" y="1288"/>
                </a:lnTo>
                <a:lnTo>
                  <a:pt x="1492" y="1288"/>
                </a:lnTo>
                <a:lnTo>
                  <a:pt x="1491" y="1291"/>
                </a:lnTo>
                <a:lnTo>
                  <a:pt x="1491" y="1294"/>
                </a:lnTo>
                <a:close/>
                <a:moveTo>
                  <a:pt x="1500" y="1306"/>
                </a:moveTo>
                <a:lnTo>
                  <a:pt x="1507" y="1310"/>
                </a:lnTo>
                <a:lnTo>
                  <a:pt x="1503" y="1306"/>
                </a:lnTo>
                <a:lnTo>
                  <a:pt x="1500" y="1306"/>
                </a:lnTo>
                <a:close/>
                <a:moveTo>
                  <a:pt x="1533" y="1349"/>
                </a:moveTo>
                <a:lnTo>
                  <a:pt x="1536" y="1349"/>
                </a:lnTo>
                <a:lnTo>
                  <a:pt x="1537" y="1349"/>
                </a:lnTo>
                <a:lnTo>
                  <a:pt x="1532" y="1346"/>
                </a:lnTo>
                <a:lnTo>
                  <a:pt x="1533" y="1349"/>
                </a:lnTo>
                <a:close/>
                <a:moveTo>
                  <a:pt x="1540" y="1348"/>
                </a:moveTo>
                <a:lnTo>
                  <a:pt x="1537" y="1349"/>
                </a:lnTo>
                <a:lnTo>
                  <a:pt x="1538" y="1353"/>
                </a:lnTo>
                <a:lnTo>
                  <a:pt x="1540" y="1348"/>
                </a:lnTo>
                <a:close/>
                <a:moveTo>
                  <a:pt x="1534" y="1073"/>
                </a:moveTo>
                <a:lnTo>
                  <a:pt x="1534" y="1074"/>
                </a:lnTo>
                <a:lnTo>
                  <a:pt x="1535" y="1074"/>
                </a:lnTo>
                <a:lnTo>
                  <a:pt x="1537" y="1072"/>
                </a:lnTo>
                <a:lnTo>
                  <a:pt x="1534" y="1073"/>
                </a:lnTo>
                <a:close/>
                <a:moveTo>
                  <a:pt x="1529" y="1326"/>
                </a:moveTo>
                <a:lnTo>
                  <a:pt x="1530" y="1329"/>
                </a:lnTo>
                <a:lnTo>
                  <a:pt x="1530" y="1326"/>
                </a:lnTo>
                <a:lnTo>
                  <a:pt x="1529" y="1326"/>
                </a:lnTo>
                <a:close/>
                <a:moveTo>
                  <a:pt x="1484" y="1411"/>
                </a:moveTo>
                <a:lnTo>
                  <a:pt x="1479" y="1415"/>
                </a:lnTo>
                <a:lnTo>
                  <a:pt x="1477" y="1419"/>
                </a:lnTo>
                <a:lnTo>
                  <a:pt x="1480" y="1419"/>
                </a:lnTo>
                <a:lnTo>
                  <a:pt x="1485" y="1427"/>
                </a:lnTo>
                <a:lnTo>
                  <a:pt x="1489" y="1427"/>
                </a:lnTo>
                <a:lnTo>
                  <a:pt x="1492" y="1428"/>
                </a:lnTo>
                <a:lnTo>
                  <a:pt x="1493" y="1424"/>
                </a:lnTo>
                <a:lnTo>
                  <a:pt x="1494" y="1424"/>
                </a:lnTo>
                <a:lnTo>
                  <a:pt x="1497" y="1420"/>
                </a:lnTo>
                <a:lnTo>
                  <a:pt x="1500" y="1423"/>
                </a:lnTo>
                <a:lnTo>
                  <a:pt x="1501" y="1424"/>
                </a:lnTo>
                <a:lnTo>
                  <a:pt x="1504" y="1423"/>
                </a:lnTo>
                <a:lnTo>
                  <a:pt x="1503" y="1419"/>
                </a:lnTo>
                <a:lnTo>
                  <a:pt x="1492" y="1413"/>
                </a:lnTo>
                <a:lnTo>
                  <a:pt x="1484" y="1411"/>
                </a:lnTo>
                <a:close/>
                <a:moveTo>
                  <a:pt x="1559" y="1391"/>
                </a:moveTo>
                <a:lnTo>
                  <a:pt x="1555" y="1389"/>
                </a:lnTo>
                <a:lnTo>
                  <a:pt x="1553" y="1389"/>
                </a:lnTo>
                <a:lnTo>
                  <a:pt x="1559" y="1391"/>
                </a:lnTo>
                <a:close/>
                <a:moveTo>
                  <a:pt x="1549" y="1355"/>
                </a:moveTo>
                <a:lnTo>
                  <a:pt x="1554" y="1356"/>
                </a:lnTo>
                <a:lnTo>
                  <a:pt x="1554" y="1355"/>
                </a:lnTo>
                <a:lnTo>
                  <a:pt x="1551" y="1353"/>
                </a:lnTo>
                <a:lnTo>
                  <a:pt x="1549" y="1355"/>
                </a:lnTo>
                <a:close/>
                <a:moveTo>
                  <a:pt x="1511" y="1317"/>
                </a:moveTo>
                <a:lnTo>
                  <a:pt x="1516" y="1322"/>
                </a:lnTo>
                <a:lnTo>
                  <a:pt x="1516" y="1322"/>
                </a:lnTo>
                <a:lnTo>
                  <a:pt x="1511" y="1317"/>
                </a:lnTo>
                <a:close/>
                <a:moveTo>
                  <a:pt x="1521" y="1100"/>
                </a:moveTo>
                <a:lnTo>
                  <a:pt x="1525" y="1094"/>
                </a:lnTo>
                <a:lnTo>
                  <a:pt x="1522" y="1098"/>
                </a:lnTo>
                <a:lnTo>
                  <a:pt x="1521" y="1100"/>
                </a:lnTo>
                <a:close/>
                <a:moveTo>
                  <a:pt x="1525" y="1333"/>
                </a:moveTo>
                <a:lnTo>
                  <a:pt x="1524" y="1333"/>
                </a:lnTo>
                <a:lnTo>
                  <a:pt x="1525" y="1334"/>
                </a:lnTo>
                <a:lnTo>
                  <a:pt x="1525" y="1333"/>
                </a:lnTo>
                <a:close/>
                <a:moveTo>
                  <a:pt x="1613" y="2620"/>
                </a:moveTo>
                <a:lnTo>
                  <a:pt x="1620" y="2620"/>
                </a:lnTo>
                <a:lnTo>
                  <a:pt x="1625" y="2624"/>
                </a:lnTo>
                <a:lnTo>
                  <a:pt x="1626" y="2620"/>
                </a:lnTo>
                <a:lnTo>
                  <a:pt x="1623" y="2618"/>
                </a:lnTo>
                <a:lnTo>
                  <a:pt x="1615" y="2616"/>
                </a:lnTo>
                <a:lnTo>
                  <a:pt x="1612" y="2618"/>
                </a:lnTo>
                <a:lnTo>
                  <a:pt x="1613" y="2620"/>
                </a:lnTo>
                <a:close/>
                <a:moveTo>
                  <a:pt x="1521" y="1343"/>
                </a:moveTo>
                <a:lnTo>
                  <a:pt x="1522" y="1346"/>
                </a:lnTo>
                <a:lnTo>
                  <a:pt x="1522" y="1345"/>
                </a:lnTo>
                <a:lnTo>
                  <a:pt x="1521" y="1341"/>
                </a:lnTo>
                <a:lnTo>
                  <a:pt x="1516" y="1333"/>
                </a:lnTo>
                <a:lnTo>
                  <a:pt x="1521" y="1343"/>
                </a:lnTo>
                <a:close/>
                <a:moveTo>
                  <a:pt x="1518" y="1147"/>
                </a:moveTo>
                <a:lnTo>
                  <a:pt x="1518" y="1146"/>
                </a:lnTo>
                <a:lnTo>
                  <a:pt x="1517" y="1147"/>
                </a:lnTo>
                <a:lnTo>
                  <a:pt x="1518" y="1147"/>
                </a:lnTo>
                <a:close/>
                <a:moveTo>
                  <a:pt x="1519" y="1145"/>
                </a:moveTo>
                <a:lnTo>
                  <a:pt x="1519" y="1139"/>
                </a:lnTo>
                <a:lnTo>
                  <a:pt x="1518" y="1146"/>
                </a:lnTo>
                <a:lnTo>
                  <a:pt x="1519" y="1145"/>
                </a:lnTo>
                <a:close/>
                <a:moveTo>
                  <a:pt x="1516" y="1326"/>
                </a:moveTo>
                <a:lnTo>
                  <a:pt x="1519" y="1326"/>
                </a:lnTo>
                <a:lnTo>
                  <a:pt x="1516" y="1322"/>
                </a:lnTo>
                <a:lnTo>
                  <a:pt x="1515" y="1326"/>
                </a:lnTo>
                <a:lnTo>
                  <a:pt x="1516" y="1326"/>
                </a:lnTo>
                <a:close/>
                <a:moveTo>
                  <a:pt x="1530" y="2550"/>
                </a:moveTo>
                <a:lnTo>
                  <a:pt x="1526" y="2550"/>
                </a:lnTo>
                <a:lnTo>
                  <a:pt x="1526" y="2551"/>
                </a:lnTo>
                <a:lnTo>
                  <a:pt x="1530" y="2550"/>
                </a:lnTo>
                <a:close/>
                <a:moveTo>
                  <a:pt x="1526" y="2539"/>
                </a:moveTo>
                <a:lnTo>
                  <a:pt x="1526" y="2542"/>
                </a:lnTo>
                <a:lnTo>
                  <a:pt x="1526" y="2539"/>
                </a:lnTo>
                <a:lnTo>
                  <a:pt x="1526" y="2539"/>
                </a:lnTo>
                <a:close/>
                <a:moveTo>
                  <a:pt x="1530" y="2542"/>
                </a:moveTo>
                <a:lnTo>
                  <a:pt x="1526" y="2542"/>
                </a:lnTo>
                <a:lnTo>
                  <a:pt x="1526" y="2549"/>
                </a:lnTo>
                <a:lnTo>
                  <a:pt x="1530" y="2542"/>
                </a:lnTo>
                <a:close/>
                <a:moveTo>
                  <a:pt x="1526" y="2549"/>
                </a:moveTo>
                <a:lnTo>
                  <a:pt x="1526" y="2550"/>
                </a:lnTo>
                <a:lnTo>
                  <a:pt x="1530" y="2546"/>
                </a:lnTo>
                <a:lnTo>
                  <a:pt x="1526" y="2549"/>
                </a:lnTo>
                <a:close/>
                <a:moveTo>
                  <a:pt x="1560" y="2580"/>
                </a:moveTo>
                <a:lnTo>
                  <a:pt x="1558" y="2582"/>
                </a:lnTo>
                <a:lnTo>
                  <a:pt x="1558" y="2580"/>
                </a:lnTo>
                <a:lnTo>
                  <a:pt x="1557" y="2580"/>
                </a:lnTo>
                <a:lnTo>
                  <a:pt x="1556" y="2577"/>
                </a:lnTo>
                <a:lnTo>
                  <a:pt x="1553" y="2584"/>
                </a:lnTo>
                <a:lnTo>
                  <a:pt x="1546" y="2584"/>
                </a:lnTo>
                <a:lnTo>
                  <a:pt x="1546" y="2584"/>
                </a:lnTo>
                <a:lnTo>
                  <a:pt x="1549" y="2588"/>
                </a:lnTo>
                <a:lnTo>
                  <a:pt x="1552" y="2588"/>
                </a:lnTo>
                <a:lnTo>
                  <a:pt x="1557" y="2588"/>
                </a:lnTo>
                <a:lnTo>
                  <a:pt x="1556" y="2588"/>
                </a:lnTo>
                <a:lnTo>
                  <a:pt x="1552" y="2590"/>
                </a:lnTo>
                <a:lnTo>
                  <a:pt x="1554" y="2590"/>
                </a:lnTo>
                <a:lnTo>
                  <a:pt x="1558" y="2589"/>
                </a:lnTo>
                <a:lnTo>
                  <a:pt x="1558" y="2585"/>
                </a:lnTo>
                <a:lnTo>
                  <a:pt x="1563" y="2584"/>
                </a:lnTo>
                <a:lnTo>
                  <a:pt x="1560" y="2580"/>
                </a:lnTo>
                <a:close/>
                <a:moveTo>
                  <a:pt x="3799" y="278"/>
                </a:moveTo>
                <a:lnTo>
                  <a:pt x="3799" y="278"/>
                </a:lnTo>
                <a:lnTo>
                  <a:pt x="3803" y="280"/>
                </a:lnTo>
                <a:lnTo>
                  <a:pt x="3803" y="278"/>
                </a:lnTo>
                <a:lnTo>
                  <a:pt x="3808" y="278"/>
                </a:lnTo>
                <a:lnTo>
                  <a:pt x="3804" y="274"/>
                </a:lnTo>
                <a:lnTo>
                  <a:pt x="3805" y="270"/>
                </a:lnTo>
                <a:lnTo>
                  <a:pt x="3796" y="276"/>
                </a:lnTo>
                <a:lnTo>
                  <a:pt x="3799" y="278"/>
                </a:lnTo>
                <a:lnTo>
                  <a:pt x="3799" y="278"/>
                </a:lnTo>
                <a:close/>
                <a:moveTo>
                  <a:pt x="1549" y="2590"/>
                </a:moveTo>
                <a:lnTo>
                  <a:pt x="1550" y="2589"/>
                </a:lnTo>
                <a:lnTo>
                  <a:pt x="1546" y="2589"/>
                </a:lnTo>
                <a:lnTo>
                  <a:pt x="1549" y="2590"/>
                </a:lnTo>
                <a:close/>
                <a:moveTo>
                  <a:pt x="1526" y="2516"/>
                </a:moveTo>
                <a:lnTo>
                  <a:pt x="1526" y="2515"/>
                </a:lnTo>
                <a:lnTo>
                  <a:pt x="1526" y="2515"/>
                </a:lnTo>
                <a:lnTo>
                  <a:pt x="1526" y="2516"/>
                </a:lnTo>
                <a:lnTo>
                  <a:pt x="1527" y="2516"/>
                </a:lnTo>
                <a:lnTo>
                  <a:pt x="1530" y="2515"/>
                </a:lnTo>
                <a:lnTo>
                  <a:pt x="1529" y="2515"/>
                </a:lnTo>
                <a:lnTo>
                  <a:pt x="1526" y="2516"/>
                </a:lnTo>
                <a:close/>
                <a:moveTo>
                  <a:pt x="3768" y="296"/>
                </a:moveTo>
                <a:lnTo>
                  <a:pt x="3763" y="296"/>
                </a:lnTo>
                <a:lnTo>
                  <a:pt x="3767" y="300"/>
                </a:lnTo>
                <a:lnTo>
                  <a:pt x="3768" y="296"/>
                </a:lnTo>
                <a:close/>
                <a:moveTo>
                  <a:pt x="1524" y="2522"/>
                </a:moveTo>
                <a:lnTo>
                  <a:pt x="1524" y="2520"/>
                </a:lnTo>
                <a:lnTo>
                  <a:pt x="1523" y="2520"/>
                </a:lnTo>
                <a:lnTo>
                  <a:pt x="1524" y="2522"/>
                </a:lnTo>
                <a:close/>
                <a:moveTo>
                  <a:pt x="1560" y="2596"/>
                </a:moveTo>
                <a:lnTo>
                  <a:pt x="1564" y="2594"/>
                </a:lnTo>
                <a:lnTo>
                  <a:pt x="1560" y="2594"/>
                </a:lnTo>
                <a:lnTo>
                  <a:pt x="1560" y="2596"/>
                </a:lnTo>
                <a:close/>
                <a:moveTo>
                  <a:pt x="3780" y="94"/>
                </a:moveTo>
                <a:lnTo>
                  <a:pt x="3763" y="93"/>
                </a:lnTo>
                <a:lnTo>
                  <a:pt x="3760" y="97"/>
                </a:lnTo>
                <a:lnTo>
                  <a:pt x="3771" y="97"/>
                </a:lnTo>
                <a:lnTo>
                  <a:pt x="3780" y="94"/>
                </a:lnTo>
                <a:close/>
                <a:moveTo>
                  <a:pt x="1524" y="2545"/>
                </a:moveTo>
                <a:lnTo>
                  <a:pt x="1524" y="2549"/>
                </a:lnTo>
                <a:lnTo>
                  <a:pt x="1526" y="2542"/>
                </a:lnTo>
                <a:lnTo>
                  <a:pt x="1526" y="2542"/>
                </a:lnTo>
                <a:lnTo>
                  <a:pt x="1524" y="2545"/>
                </a:lnTo>
                <a:close/>
                <a:moveTo>
                  <a:pt x="1520" y="2532"/>
                </a:moveTo>
                <a:lnTo>
                  <a:pt x="1519" y="2539"/>
                </a:lnTo>
                <a:lnTo>
                  <a:pt x="1523" y="2538"/>
                </a:lnTo>
                <a:lnTo>
                  <a:pt x="1524" y="2532"/>
                </a:lnTo>
                <a:lnTo>
                  <a:pt x="1520" y="2532"/>
                </a:lnTo>
                <a:close/>
                <a:moveTo>
                  <a:pt x="1527" y="2532"/>
                </a:moveTo>
                <a:lnTo>
                  <a:pt x="1530" y="2534"/>
                </a:lnTo>
                <a:lnTo>
                  <a:pt x="1530" y="2532"/>
                </a:lnTo>
                <a:lnTo>
                  <a:pt x="1530" y="2531"/>
                </a:lnTo>
                <a:lnTo>
                  <a:pt x="1526" y="2531"/>
                </a:lnTo>
                <a:lnTo>
                  <a:pt x="1526" y="2532"/>
                </a:lnTo>
                <a:lnTo>
                  <a:pt x="1526" y="2532"/>
                </a:lnTo>
                <a:lnTo>
                  <a:pt x="1524" y="2536"/>
                </a:lnTo>
                <a:lnTo>
                  <a:pt x="1527" y="2532"/>
                </a:lnTo>
                <a:close/>
                <a:moveTo>
                  <a:pt x="1597" y="2616"/>
                </a:moveTo>
                <a:lnTo>
                  <a:pt x="1597" y="2613"/>
                </a:lnTo>
                <a:lnTo>
                  <a:pt x="1595" y="2613"/>
                </a:lnTo>
                <a:lnTo>
                  <a:pt x="1597" y="2616"/>
                </a:lnTo>
                <a:close/>
                <a:moveTo>
                  <a:pt x="1635" y="2619"/>
                </a:moveTo>
                <a:lnTo>
                  <a:pt x="1632" y="2621"/>
                </a:lnTo>
                <a:lnTo>
                  <a:pt x="1632" y="2623"/>
                </a:lnTo>
                <a:lnTo>
                  <a:pt x="1635" y="2624"/>
                </a:lnTo>
                <a:lnTo>
                  <a:pt x="1638" y="2623"/>
                </a:lnTo>
                <a:lnTo>
                  <a:pt x="1635" y="2619"/>
                </a:lnTo>
                <a:close/>
                <a:moveTo>
                  <a:pt x="1639" y="2626"/>
                </a:moveTo>
                <a:lnTo>
                  <a:pt x="1639" y="2624"/>
                </a:lnTo>
                <a:lnTo>
                  <a:pt x="1638" y="2626"/>
                </a:lnTo>
                <a:lnTo>
                  <a:pt x="1639" y="2626"/>
                </a:lnTo>
                <a:close/>
                <a:moveTo>
                  <a:pt x="1635" y="2624"/>
                </a:moveTo>
                <a:lnTo>
                  <a:pt x="1634" y="2624"/>
                </a:lnTo>
                <a:lnTo>
                  <a:pt x="1638" y="2626"/>
                </a:lnTo>
                <a:lnTo>
                  <a:pt x="1638" y="2624"/>
                </a:lnTo>
                <a:lnTo>
                  <a:pt x="1635" y="2624"/>
                </a:lnTo>
                <a:close/>
                <a:moveTo>
                  <a:pt x="1639" y="2616"/>
                </a:moveTo>
                <a:lnTo>
                  <a:pt x="1642" y="2616"/>
                </a:lnTo>
                <a:lnTo>
                  <a:pt x="1642" y="2613"/>
                </a:lnTo>
                <a:lnTo>
                  <a:pt x="1641" y="2613"/>
                </a:lnTo>
                <a:lnTo>
                  <a:pt x="1639" y="2616"/>
                </a:lnTo>
                <a:close/>
                <a:moveTo>
                  <a:pt x="1630" y="2619"/>
                </a:moveTo>
                <a:lnTo>
                  <a:pt x="1629" y="2619"/>
                </a:lnTo>
                <a:lnTo>
                  <a:pt x="1632" y="2619"/>
                </a:lnTo>
                <a:lnTo>
                  <a:pt x="1630" y="2619"/>
                </a:lnTo>
                <a:close/>
                <a:moveTo>
                  <a:pt x="1646" y="2613"/>
                </a:moveTo>
                <a:lnTo>
                  <a:pt x="1648" y="2612"/>
                </a:lnTo>
                <a:lnTo>
                  <a:pt x="1645" y="2612"/>
                </a:lnTo>
                <a:lnTo>
                  <a:pt x="1646" y="2613"/>
                </a:lnTo>
                <a:close/>
                <a:moveTo>
                  <a:pt x="1560" y="2592"/>
                </a:moveTo>
                <a:lnTo>
                  <a:pt x="1564" y="2592"/>
                </a:lnTo>
                <a:lnTo>
                  <a:pt x="1565" y="2590"/>
                </a:lnTo>
                <a:lnTo>
                  <a:pt x="1564" y="2589"/>
                </a:lnTo>
                <a:lnTo>
                  <a:pt x="1560" y="2592"/>
                </a:lnTo>
                <a:close/>
                <a:moveTo>
                  <a:pt x="1640" y="2608"/>
                </a:moveTo>
                <a:lnTo>
                  <a:pt x="1639" y="2608"/>
                </a:lnTo>
                <a:lnTo>
                  <a:pt x="1641" y="2609"/>
                </a:lnTo>
                <a:lnTo>
                  <a:pt x="1640" y="2608"/>
                </a:lnTo>
                <a:close/>
                <a:moveTo>
                  <a:pt x="1583" y="2608"/>
                </a:moveTo>
                <a:lnTo>
                  <a:pt x="1582" y="2610"/>
                </a:lnTo>
                <a:lnTo>
                  <a:pt x="1586" y="2612"/>
                </a:lnTo>
                <a:lnTo>
                  <a:pt x="1590" y="2608"/>
                </a:lnTo>
                <a:lnTo>
                  <a:pt x="1587" y="2608"/>
                </a:lnTo>
                <a:lnTo>
                  <a:pt x="1583" y="2608"/>
                </a:lnTo>
                <a:close/>
                <a:moveTo>
                  <a:pt x="1630" y="2626"/>
                </a:moveTo>
                <a:lnTo>
                  <a:pt x="1632" y="2624"/>
                </a:lnTo>
                <a:lnTo>
                  <a:pt x="1627" y="2624"/>
                </a:lnTo>
                <a:lnTo>
                  <a:pt x="1630" y="2626"/>
                </a:lnTo>
                <a:close/>
                <a:moveTo>
                  <a:pt x="1583" y="2607"/>
                </a:moveTo>
                <a:lnTo>
                  <a:pt x="1576" y="2603"/>
                </a:lnTo>
                <a:lnTo>
                  <a:pt x="1575" y="2605"/>
                </a:lnTo>
                <a:lnTo>
                  <a:pt x="1582" y="2607"/>
                </a:lnTo>
                <a:lnTo>
                  <a:pt x="1583" y="2607"/>
                </a:lnTo>
                <a:close/>
                <a:moveTo>
                  <a:pt x="1567" y="2600"/>
                </a:moveTo>
                <a:lnTo>
                  <a:pt x="1568" y="2602"/>
                </a:lnTo>
                <a:lnTo>
                  <a:pt x="1568" y="2601"/>
                </a:lnTo>
                <a:lnTo>
                  <a:pt x="1567" y="2600"/>
                </a:lnTo>
                <a:close/>
                <a:moveTo>
                  <a:pt x="1601" y="2617"/>
                </a:moveTo>
                <a:lnTo>
                  <a:pt x="1602" y="2616"/>
                </a:lnTo>
                <a:lnTo>
                  <a:pt x="1601" y="2616"/>
                </a:lnTo>
                <a:lnTo>
                  <a:pt x="1601" y="2617"/>
                </a:lnTo>
                <a:close/>
                <a:moveTo>
                  <a:pt x="1596" y="2605"/>
                </a:moveTo>
                <a:lnTo>
                  <a:pt x="1594" y="2607"/>
                </a:lnTo>
                <a:lnTo>
                  <a:pt x="1594" y="2608"/>
                </a:lnTo>
                <a:lnTo>
                  <a:pt x="1606" y="2607"/>
                </a:lnTo>
                <a:lnTo>
                  <a:pt x="1596" y="2605"/>
                </a:lnTo>
                <a:close/>
                <a:moveTo>
                  <a:pt x="3767" y="351"/>
                </a:moveTo>
                <a:lnTo>
                  <a:pt x="3767" y="346"/>
                </a:lnTo>
                <a:lnTo>
                  <a:pt x="3761" y="341"/>
                </a:lnTo>
                <a:lnTo>
                  <a:pt x="3751" y="346"/>
                </a:lnTo>
                <a:lnTo>
                  <a:pt x="3751" y="349"/>
                </a:lnTo>
                <a:lnTo>
                  <a:pt x="3763" y="352"/>
                </a:lnTo>
                <a:lnTo>
                  <a:pt x="3767" y="351"/>
                </a:lnTo>
                <a:close/>
                <a:moveTo>
                  <a:pt x="1530" y="2515"/>
                </a:moveTo>
                <a:lnTo>
                  <a:pt x="1526" y="2515"/>
                </a:lnTo>
                <a:lnTo>
                  <a:pt x="1526" y="2515"/>
                </a:lnTo>
                <a:lnTo>
                  <a:pt x="1529" y="2515"/>
                </a:lnTo>
                <a:lnTo>
                  <a:pt x="1530" y="2515"/>
                </a:lnTo>
                <a:close/>
                <a:moveTo>
                  <a:pt x="3474" y="115"/>
                </a:moveTo>
                <a:lnTo>
                  <a:pt x="3460" y="109"/>
                </a:lnTo>
                <a:lnTo>
                  <a:pt x="3439" y="109"/>
                </a:lnTo>
                <a:lnTo>
                  <a:pt x="3441" y="112"/>
                </a:lnTo>
                <a:lnTo>
                  <a:pt x="3441" y="120"/>
                </a:lnTo>
                <a:lnTo>
                  <a:pt x="3448" y="126"/>
                </a:lnTo>
                <a:lnTo>
                  <a:pt x="3454" y="126"/>
                </a:lnTo>
                <a:lnTo>
                  <a:pt x="3451" y="122"/>
                </a:lnTo>
                <a:lnTo>
                  <a:pt x="3454" y="120"/>
                </a:lnTo>
                <a:lnTo>
                  <a:pt x="3460" y="121"/>
                </a:lnTo>
                <a:lnTo>
                  <a:pt x="3462" y="118"/>
                </a:lnTo>
                <a:lnTo>
                  <a:pt x="3455" y="118"/>
                </a:lnTo>
                <a:lnTo>
                  <a:pt x="3460" y="117"/>
                </a:lnTo>
                <a:lnTo>
                  <a:pt x="3474" y="115"/>
                </a:lnTo>
                <a:close/>
                <a:moveTo>
                  <a:pt x="3482" y="251"/>
                </a:moveTo>
                <a:lnTo>
                  <a:pt x="3481" y="253"/>
                </a:lnTo>
                <a:lnTo>
                  <a:pt x="3487" y="251"/>
                </a:lnTo>
                <a:lnTo>
                  <a:pt x="3492" y="249"/>
                </a:lnTo>
                <a:lnTo>
                  <a:pt x="3487" y="250"/>
                </a:lnTo>
                <a:lnTo>
                  <a:pt x="3482" y="251"/>
                </a:lnTo>
                <a:close/>
                <a:moveTo>
                  <a:pt x="3437" y="123"/>
                </a:moveTo>
                <a:lnTo>
                  <a:pt x="3437" y="116"/>
                </a:lnTo>
                <a:lnTo>
                  <a:pt x="3421" y="114"/>
                </a:lnTo>
                <a:lnTo>
                  <a:pt x="3421" y="117"/>
                </a:lnTo>
                <a:lnTo>
                  <a:pt x="3421" y="119"/>
                </a:lnTo>
                <a:lnTo>
                  <a:pt x="3421" y="126"/>
                </a:lnTo>
                <a:lnTo>
                  <a:pt x="3438" y="125"/>
                </a:lnTo>
                <a:lnTo>
                  <a:pt x="3437" y="123"/>
                </a:lnTo>
                <a:close/>
                <a:moveTo>
                  <a:pt x="1424" y="1575"/>
                </a:moveTo>
                <a:lnTo>
                  <a:pt x="1423" y="1577"/>
                </a:lnTo>
                <a:lnTo>
                  <a:pt x="1423" y="1579"/>
                </a:lnTo>
                <a:lnTo>
                  <a:pt x="1426" y="1582"/>
                </a:lnTo>
                <a:lnTo>
                  <a:pt x="1424" y="1579"/>
                </a:lnTo>
                <a:lnTo>
                  <a:pt x="1424" y="1575"/>
                </a:lnTo>
                <a:close/>
                <a:moveTo>
                  <a:pt x="3511" y="69"/>
                </a:moveTo>
                <a:lnTo>
                  <a:pt x="3508" y="69"/>
                </a:lnTo>
                <a:lnTo>
                  <a:pt x="3514" y="71"/>
                </a:lnTo>
                <a:lnTo>
                  <a:pt x="3511" y="69"/>
                </a:lnTo>
                <a:close/>
                <a:moveTo>
                  <a:pt x="3499" y="94"/>
                </a:moveTo>
                <a:lnTo>
                  <a:pt x="3508" y="89"/>
                </a:lnTo>
                <a:lnTo>
                  <a:pt x="3494" y="89"/>
                </a:lnTo>
                <a:lnTo>
                  <a:pt x="3485" y="91"/>
                </a:lnTo>
                <a:lnTo>
                  <a:pt x="3492" y="92"/>
                </a:lnTo>
                <a:lnTo>
                  <a:pt x="3499" y="94"/>
                </a:lnTo>
                <a:close/>
                <a:moveTo>
                  <a:pt x="3472" y="104"/>
                </a:moveTo>
                <a:lnTo>
                  <a:pt x="3475" y="105"/>
                </a:lnTo>
                <a:lnTo>
                  <a:pt x="3474" y="107"/>
                </a:lnTo>
                <a:lnTo>
                  <a:pt x="3478" y="112"/>
                </a:lnTo>
                <a:lnTo>
                  <a:pt x="3483" y="109"/>
                </a:lnTo>
                <a:lnTo>
                  <a:pt x="3488" y="108"/>
                </a:lnTo>
                <a:lnTo>
                  <a:pt x="3499" y="112"/>
                </a:lnTo>
                <a:lnTo>
                  <a:pt x="3508" y="105"/>
                </a:lnTo>
                <a:lnTo>
                  <a:pt x="3511" y="104"/>
                </a:lnTo>
                <a:lnTo>
                  <a:pt x="3514" y="104"/>
                </a:lnTo>
                <a:lnTo>
                  <a:pt x="3514" y="103"/>
                </a:lnTo>
                <a:lnTo>
                  <a:pt x="3513" y="102"/>
                </a:lnTo>
                <a:lnTo>
                  <a:pt x="3515" y="99"/>
                </a:lnTo>
                <a:lnTo>
                  <a:pt x="3511" y="96"/>
                </a:lnTo>
                <a:lnTo>
                  <a:pt x="3480" y="97"/>
                </a:lnTo>
                <a:lnTo>
                  <a:pt x="3474" y="102"/>
                </a:lnTo>
                <a:lnTo>
                  <a:pt x="3472" y="104"/>
                </a:lnTo>
                <a:close/>
                <a:moveTo>
                  <a:pt x="3421" y="126"/>
                </a:moveTo>
                <a:lnTo>
                  <a:pt x="3421" y="126"/>
                </a:lnTo>
                <a:lnTo>
                  <a:pt x="3420" y="126"/>
                </a:lnTo>
                <a:lnTo>
                  <a:pt x="3421" y="126"/>
                </a:lnTo>
                <a:close/>
                <a:moveTo>
                  <a:pt x="3398" y="116"/>
                </a:moveTo>
                <a:lnTo>
                  <a:pt x="3399" y="119"/>
                </a:lnTo>
                <a:lnTo>
                  <a:pt x="3402" y="116"/>
                </a:lnTo>
                <a:lnTo>
                  <a:pt x="3399" y="114"/>
                </a:lnTo>
                <a:lnTo>
                  <a:pt x="3398" y="116"/>
                </a:lnTo>
                <a:close/>
                <a:moveTo>
                  <a:pt x="1204" y="1298"/>
                </a:moveTo>
                <a:lnTo>
                  <a:pt x="1204" y="1298"/>
                </a:lnTo>
                <a:lnTo>
                  <a:pt x="1204" y="1298"/>
                </a:lnTo>
                <a:lnTo>
                  <a:pt x="1204" y="1298"/>
                </a:lnTo>
                <a:close/>
                <a:moveTo>
                  <a:pt x="3411" y="105"/>
                </a:moveTo>
                <a:lnTo>
                  <a:pt x="3406" y="107"/>
                </a:lnTo>
                <a:lnTo>
                  <a:pt x="3413" y="108"/>
                </a:lnTo>
                <a:lnTo>
                  <a:pt x="3411" y="105"/>
                </a:lnTo>
                <a:close/>
                <a:moveTo>
                  <a:pt x="1210" y="1264"/>
                </a:moveTo>
                <a:lnTo>
                  <a:pt x="1216" y="1258"/>
                </a:lnTo>
                <a:lnTo>
                  <a:pt x="1210" y="1261"/>
                </a:lnTo>
                <a:lnTo>
                  <a:pt x="1210" y="1264"/>
                </a:lnTo>
                <a:close/>
                <a:moveTo>
                  <a:pt x="3406" y="108"/>
                </a:moveTo>
                <a:lnTo>
                  <a:pt x="3402" y="112"/>
                </a:lnTo>
                <a:lnTo>
                  <a:pt x="3401" y="112"/>
                </a:lnTo>
                <a:lnTo>
                  <a:pt x="3409" y="112"/>
                </a:lnTo>
                <a:lnTo>
                  <a:pt x="3406" y="108"/>
                </a:lnTo>
                <a:close/>
                <a:moveTo>
                  <a:pt x="1200" y="1370"/>
                </a:moveTo>
                <a:lnTo>
                  <a:pt x="1201" y="1367"/>
                </a:lnTo>
                <a:lnTo>
                  <a:pt x="1200" y="1369"/>
                </a:lnTo>
                <a:lnTo>
                  <a:pt x="1200" y="1370"/>
                </a:lnTo>
                <a:close/>
                <a:moveTo>
                  <a:pt x="3432" y="100"/>
                </a:moveTo>
                <a:lnTo>
                  <a:pt x="3418" y="101"/>
                </a:lnTo>
                <a:lnTo>
                  <a:pt x="3417" y="101"/>
                </a:lnTo>
                <a:lnTo>
                  <a:pt x="3424" y="104"/>
                </a:lnTo>
                <a:lnTo>
                  <a:pt x="3439" y="102"/>
                </a:lnTo>
                <a:lnTo>
                  <a:pt x="3432" y="100"/>
                </a:lnTo>
                <a:close/>
                <a:moveTo>
                  <a:pt x="1338" y="1422"/>
                </a:moveTo>
                <a:lnTo>
                  <a:pt x="1338" y="1420"/>
                </a:lnTo>
                <a:lnTo>
                  <a:pt x="1336" y="1424"/>
                </a:lnTo>
                <a:lnTo>
                  <a:pt x="1338" y="1422"/>
                </a:lnTo>
                <a:close/>
                <a:moveTo>
                  <a:pt x="3719" y="342"/>
                </a:moveTo>
                <a:lnTo>
                  <a:pt x="3728" y="342"/>
                </a:lnTo>
                <a:lnTo>
                  <a:pt x="3718" y="340"/>
                </a:lnTo>
                <a:lnTo>
                  <a:pt x="3719" y="342"/>
                </a:lnTo>
                <a:close/>
                <a:moveTo>
                  <a:pt x="3539" y="69"/>
                </a:moveTo>
                <a:lnTo>
                  <a:pt x="3531" y="69"/>
                </a:lnTo>
                <a:lnTo>
                  <a:pt x="3522" y="69"/>
                </a:lnTo>
                <a:lnTo>
                  <a:pt x="3533" y="71"/>
                </a:lnTo>
                <a:lnTo>
                  <a:pt x="3539" y="69"/>
                </a:lnTo>
                <a:close/>
                <a:moveTo>
                  <a:pt x="3694" y="341"/>
                </a:moveTo>
                <a:lnTo>
                  <a:pt x="3700" y="342"/>
                </a:lnTo>
                <a:lnTo>
                  <a:pt x="3700" y="342"/>
                </a:lnTo>
                <a:lnTo>
                  <a:pt x="3700" y="342"/>
                </a:lnTo>
                <a:lnTo>
                  <a:pt x="3692" y="339"/>
                </a:lnTo>
                <a:lnTo>
                  <a:pt x="3687" y="342"/>
                </a:lnTo>
                <a:lnTo>
                  <a:pt x="3694" y="347"/>
                </a:lnTo>
                <a:lnTo>
                  <a:pt x="3694" y="341"/>
                </a:lnTo>
                <a:close/>
                <a:moveTo>
                  <a:pt x="3708" y="332"/>
                </a:moveTo>
                <a:lnTo>
                  <a:pt x="3708" y="334"/>
                </a:lnTo>
                <a:lnTo>
                  <a:pt x="3715" y="334"/>
                </a:lnTo>
                <a:lnTo>
                  <a:pt x="3718" y="330"/>
                </a:lnTo>
                <a:lnTo>
                  <a:pt x="3710" y="330"/>
                </a:lnTo>
                <a:lnTo>
                  <a:pt x="3707" y="332"/>
                </a:lnTo>
                <a:lnTo>
                  <a:pt x="3710" y="331"/>
                </a:lnTo>
                <a:lnTo>
                  <a:pt x="3708" y="332"/>
                </a:lnTo>
                <a:close/>
                <a:moveTo>
                  <a:pt x="1529" y="2515"/>
                </a:moveTo>
                <a:lnTo>
                  <a:pt x="1531" y="2516"/>
                </a:lnTo>
                <a:lnTo>
                  <a:pt x="1530" y="2520"/>
                </a:lnTo>
                <a:lnTo>
                  <a:pt x="1535" y="2523"/>
                </a:lnTo>
                <a:lnTo>
                  <a:pt x="1537" y="2523"/>
                </a:lnTo>
                <a:lnTo>
                  <a:pt x="1533" y="2516"/>
                </a:lnTo>
                <a:lnTo>
                  <a:pt x="1530" y="2515"/>
                </a:lnTo>
                <a:lnTo>
                  <a:pt x="1530" y="2515"/>
                </a:lnTo>
                <a:lnTo>
                  <a:pt x="1530" y="2515"/>
                </a:lnTo>
                <a:lnTo>
                  <a:pt x="1529" y="2515"/>
                </a:lnTo>
                <a:close/>
                <a:moveTo>
                  <a:pt x="3728" y="143"/>
                </a:moveTo>
                <a:lnTo>
                  <a:pt x="3741" y="142"/>
                </a:lnTo>
                <a:lnTo>
                  <a:pt x="3716" y="139"/>
                </a:lnTo>
                <a:lnTo>
                  <a:pt x="3726" y="142"/>
                </a:lnTo>
                <a:lnTo>
                  <a:pt x="3728" y="143"/>
                </a:lnTo>
                <a:close/>
                <a:moveTo>
                  <a:pt x="1519" y="2519"/>
                </a:moveTo>
                <a:lnTo>
                  <a:pt x="1517" y="2515"/>
                </a:lnTo>
                <a:lnTo>
                  <a:pt x="1517" y="2515"/>
                </a:lnTo>
                <a:lnTo>
                  <a:pt x="1517" y="2515"/>
                </a:lnTo>
                <a:lnTo>
                  <a:pt x="1517" y="2515"/>
                </a:lnTo>
                <a:lnTo>
                  <a:pt x="1517" y="2515"/>
                </a:lnTo>
                <a:lnTo>
                  <a:pt x="1519" y="2510"/>
                </a:lnTo>
                <a:lnTo>
                  <a:pt x="1521" y="2511"/>
                </a:lnTo>
                <a:lnTo>
                  <a:pt x="1523" y="2511"/>
                </a:lnTo>
                <a:lnTo>
                  <a:pt x="1523" y="2511"/>
                </a:lnTo>
                <a:lnTo>
                  <a:pt x="1526" y="2509"/>
                </a:lnTo>
                <a:lnTo>
                  <a:pt x="1526" y="2511"/>
                </a:lnTo>
                <a:lnTo>
                  <a:pt x="1523" y="2512"/>
                </a:lnTo>
                <a:lnTo>
                  <a:pt x="1520" y="2515"/>
                </a:lnTo>
                <a:lnTo>
                  <a:pt x="1523" y="2515"/>
                </a:lnTo>
                <a:lnTo>
                  <a:pt x="1520" y="2516"/>
                </a:lnTo>
                <a:lnTo>
                  <a:pt x="1519" y="2522"/>
                </a:lnTo>
                <a:lnTo>
                  <a:pt x="1516" y="2519"/>
                </a:lnTo>
                <a:lnTo>
                  <a:pt x="1519" y="2519"/>
                </a:lnTo>
                <a:close/>
                <a:moveTo>
                  <a:pt x="1520" y="2515"/>
                </a:moveTo>
                <a:lnTo>
                  <a:pt x="1519" y="2514"/>
                </a:lnTo>
                <a:lnTo>
                  <a:pt x="1520" y="2512"/>
                </a:lnTo>
                <a:lnTo>
                  <a:pt x="1517" y="2515"/>
                </a:lnTo>
                <a:lnTo>
                  <a:pt x="1520" y="2515"/>
                </a:lnTo>
                <a:close/>
                <a:moveTo>
                  <a:pt x="3673" y="352"/>
                </a:moveTo>
                <a:lnTo>
                  <a:pt x="3669" y="352"/>
                </a:lnTo>
                <a:lnTo>
                  <a:pt x="3673" y="353"/>
                </a:lnTo>
                <a:lnTo>
                  <a:pt x="3673" y="352"/>
                </a:lnTo>
                <a:close/>
                <a:moveTo>
                  <a:pt x="3514" y="68"/>
                </a:moveTo>
                <a:lnTo>
                  <a:pt x="3514" y="69"/>
                </a:lnTo>
                <a:lnTo>
                  <a:pt x="3522" y="69"/>
                </a:lnTo>
                <a:lnTo>
                  <a:pt x="3514" y="68"/>
                </a:lnTo>
                <a:close/>
                <a:moveTo>
                  <a:pt x="1522" y="2511"/>
                </a:moveTo>
                <a:lnTo>
                  <a:pt x="1523" y="2511"/>
                </a:lnTo>
                <a:lnTo>
                  <a:pt x="1522" y="2509"/>
                </a:lnTo>
                <a:lnTo>
                  <a:pt x="1522" y="2511"/>
                </a:lnTo>
                <a:close/>
                <a:moveTo>
                  <a:pt x="3650" y="333"/>
                </a:moveTo>
                <a:lnTo>
                  <a:pt x="3650" y="333"/>
                </a:lnTo>
                <a:lnTo>
                  <a:pt x="3650" y="333"/>
                </a:lnTo>
                <a:lnTo>
                  <a:pt x="3650" y="333"/>
                </a:lnTo>
                <a:close/>
                <a:moveTo>
                  <a:pt x="1466" y="2214"/>
                </a:moveTo>
                <a:lnTo>
                  <a:pt x="1469" y="2213"/>
                </a:lnTo>
                <a:lnTo>
                  <a:pt x="1467" y="2213"/>
                </a:lnTo>
                <a:lnTo>
                  <a:pt x="1466" y="2214"/>
                </a:lnTo>
                <a:close/>
                <a:moveTo>
                  <a:pt x="3521" y="95"/>
                </a:moveTo>
                <a:lnTo>
                  <a:pt x="3519" y="96"/>
                </a:lnTo>
                <a:lnTo>
                  <a:pt x="3531" y="102"/>
                </a:lnTo>
                <a:lnTo>
                  <a:pt x="3550" y="99"/>
                </a:lnTo>
                <a:lnTo>
                  <a:pt x="3562" y="93"/>
                </a:lnTo>
                <a:lnTo>
                  <a:pt x="3562" y="91"/>
                </a:lnTo>
                <a:lnTo>
                  <a:pt x="3559" y="85"/>
                </a:lnTo>
                <a:lnTo>
                  <a:pt x="3550" y="84"/>
                </a:lnTo>
                <a:lnTo>
                  <a:pt x="3545" y="85"/>
                </a:lnTo>
                <a:lnTo>
                  <a:pt x="3544" y="91"/>
                </a:lnTo>
                <a:lnTo>
                  <a:pt x="3530" y="93"/>
                </a:lnTo>
                <a:lnTo>
                  <a:pt x="3521" y="95"/>
                </a:lnTo>
                <a:close/>
                <a:moveTo>
                  <a:pt x="3634" y="342"/>
                </a:moveTo>
                <a:lnTo>
                  <a:pt x="3653" y="337"/>
                </a:lnTo>
                <a:lnTo>
                  <a:pt x="3651" y="334"/>
                </a:lnTo>
                <a:lnTo>
                  <a:pt x="3646" y="335"/>
                </a:lnTo>
                <a:lnTo>
                  <a:pt x="3650" y="333"/>
                </a:lnTo>
                <a:lnTo>
                  <a:pt x="3648" y="333"/>
                </a:lnTo>
                <a:lnTo>
                  <a:pt x="3642" y="334"/>
                </a:lnTo>
                <a:lnTo>
                  <a:pt x="3642" y="335"/>
                </a:lnTo>
                <a:lnTo>
                  <a:pt x="3641" y="335"/>
                </a:lnTo>
                <a:lnTo>
                  <a:pt x="3647" y="330"/>
                </a:lnTo>
                <a:lnTo>
                  <a:pt x="3642" y="330"/>
                </a:lnTo>
                <a:lnTo>
                  <a:pt x="3636" y="329"/>
                </a:lnTo>
                <a:lnTo>
                  <a:pt x="3632" y="331"/>
                </a:lnTo>
                <a:lnTo>
                  <a:pt x="3629" y="333"/>
                </a:lnTo>
                <a:lnTo>
                  <a:pt x="3630" y="337"/>
                </a:lnTo>
                <a:lnTo>
                  <a:pt x="3626" y="342"/>
                </a:lnTo>
                <a:lnTo>
                  <a:pt x="3634" y="342"/>
                </a:lnTo>
                <a:close/>
                <a:moveTo>
                  <a:pt x="4033" y="230"/>
                </a:moveTo>
                <a:lnTo>
                  <a:pt x="4031" y="230"/>
                </a:lnTo>
                <a:lnTo>
                  <a:pt x="4033" y="231"/>
                </a:lnTo>
                <a:lnTo>
                  <a:pt x="4033" y="230"/>
                </a:lnTo>
                <a:close/>
                <a:moveTo>
                  <a:pt x="1162" y="454"/>
                </a:moveTo>
                <a:lnTo>
                  <a:pt x="1159" y="451"/>
                </a:lnTo>
                <a:lnTo>
                  <a:pt x="1158" y="454"/>
                </a:lnTo>
                <a:lnTo>
                  <a:pt x="1162" y="456"/>
                </a:lnTo>
                <a:lnTo>
                  <a:pt x="1162" y="454"/>
                </a:lnTo>
                <a:close/>
                <a:moveTo>
                  <a:pt x="1159" y="470"/>
                </a:moveTo>
                <a:lnTo>
                  <a:pt x="1158" y="473"/>
                </a:lnTo>
                <a:lnTo>
                  <a:pt x="1159" y="474"/>
                </a:lnTo>
                <a:lnTo>
                  <a:pt x="1159" y="470"/>
                </a:lnTo>
                <a:close/>
                <a:moveTo>
                  <a:pt x="1149" y="420"/>
                </a:moveTo>
                <a:lnTo>
                  <a:pt x="1147" y="420"/>
                </a:lnTo>
                <a:lnTo>
                  <a:pt x="1149" y="422"/>
                </a:lnTo>
                <a:lnTo>
                  <a:pt x="1149" y="420"/>
                </a:lnTo>
                <a:close/>
                <a:moveTo>
                  <a:pt x="1158" y="413"/>
                </a:moveTo>
                <a:lnTo>
                  <a:pt x="1155" y="410"/>
                </a:lnTo>
                <a:lnTo>
                  <a:pt x="1151" y="410"/>
                </a:lnTo>
                <a:lnTo>
                  <a:pt x="1151" y="413"/>
                </a:lnTo>
                <a:lnTo>
                  <a:pt x="1158" y="417"/>
                </a:lnTo>
                <a:lnTo>
                  <a:pt x="1158" y="413"/>
                </a:lnTo>
                <a:close/>
                <a:moveTo>
                  <a:pt x="1146" y="443"/>
                </a:moveTo>
                <a:lnTo>
                  <a:pt x="1145" y="442"/>
                </a:lnTo>
                <a:lnTo>
                  <a:pt x="1142" y="440"/>
                </a:lnTo>
                <a:lnTo>
                  <a:pt x="1140" y="442"/>
                </a:lnTo>
                <a:lnTo>
                  <a:pt x="1143" y="443"/>
                </a:lnTo>
                <a:lnTo>
                  <a:pt x="1143" y="445"/>
                </a:lnTo>
                <a:lnTo>
                  <a:pt x="1146" y="443"/>
                </a:lnTo>
                <a:close/>
                <a:moveTo>
                  <a:pt x="916" y="443"/>
                </a:moveTo>
                <a:lnTo>
                  <a:pt x="916" y="443"/>
                </a:lnTo>
                <a:lnTo>
                  <a:pt x="916" y="443"/>
                </a:lnTo>
                <a:lnTo>
                  <a:pt x="916" y="443"/>
                </a:lnTo>
                <a:lnTo>
                  <a:pt x="916" y="443"/>
                </a:lnTo>
                <a:close/>
                <a:moveTo>
                  <a:pt x="1453" y="816"/>
                </a:moveTo>
                <a:lnTo>
                  <a:pt x="1452" y="817"/>
                </a:lnTo>
                <a:lnTo>
                  <a:pt x="1455" y="816"/>
                </a:lnTo>
                <a:lnTo>
                  <a:pt x="1453" y="816"/>
                </a:lnTo>
                <a:close/>
                <a:moveTo>
                  <a:pt x="1224" y="447"/>
                </a:moveTo>
                <a:lnTo>
                  <a:pt x="1226" y="447"/>
                </a:lnTo>
                <a:lnTo>
                  <a:pt x="1228" y="442"/>
                </a:lnTo>
                <a:lnTo>
                  <a:pt x="1226" y="440"/>
                </a:lnTo>
                <a:lnTo>
                  <a:pt x="1222" y="440"/>
                </a:lnTo>
                <a:lnTo>
                  <a:pt x="1224" y="442"/>
                </a:lnTo>
                <a:lnTo>
                  <a:pt x="1224" y="445"/>
                </a:lnTo>
                <a:lnTo>
                  <a:pt x="1224" y="447"/>
                </a:lnTo>
                <a:close/>
                <a:moveTo>
                  <a:pt x="1218" y="442"/>
                </a:moveTo>
                <a:lnTo>
                  <a:pt x="1218" y="445"/>
                </a:lnTo>
                <a:lnTo>
                  <a:pt x="1221" y="447"/>
                </a:lnTo>
                <a:lnTo>
                  <a:pt x="1222" y="440"/>
                </a:lnTo>
                <a:lnTo>
                  <a:pt x="1221" y="440"/>
                </a:lnTo>
                <a:lnTo>
                  <a:pt x="1218" y="442"/>
                </a:lnTo>
                <a:close/>
                <a:moveTo>
                  <a:pt x="1157" y="459"/>
                </a:moveTo>
                <a:lnTo>
                  <a:pt x="1159" y="458"/>
                </a:lnTo>
                <a:lnTo>
                  <a:pt x="1157" y="455"/>
                </a:lnTo>
                <a:lnTo>
                  <a:pt x="1148" y="455"/>
                </a:lnTo>
                <a:lnTo>
                  <a:pt x="1148" y="462"/>
                </a:lnTo>
                <a:lnTo>
                  <a:pt x="1156" y="463"/>
                </a:lnTo>
                <a:lnTo>
                  <a:pt x="1157" y="459"/>
                </a:lnTo>
                <a:close/>
                <a:moveTo>
                  <a:pt x="1146" y="424"/>
                </a:moveTo>
                <a:lnTo>
                  <a:pt x="1136" y="425"/>
                </a:lnTo>
                <a:lnTo>
                  <a:pt x="1132" y="424"/>
                </a:lnTo>
                <a:lnTo>
                  <a:pt x="1132" y="423"/>
                </a:lnTo>
                <a:lnTo>
                  <a:pt x="1131" y="423"/>
                </a:lnTo>
                <a:lnTo>
                  <a:pt x="1121" y="417"/>
                </a:lnTo>
                <a:lnTo>
                  <a:pt x="1116" y="411"/>
                </a:lnTo>
                <a:lnTo>
                  <a:pt x="1112" y="411"/>
                </a:lnTo>
                <a:lnTo>
                  <a:pt x="1112" y="413"/>
                </a:lnTo>
                <a:lnTo>
                  <a:pt x="1116" y="416"/>
                </a:lnTo>
                <a:lnTo>
                  <a:pt x="1109" y="412"/>
                </a:lnTo>
                <a:lnTo>
                  <a:pt x="1094" y="399"/>
                </a:lnTo>
                <a:lnTo>
                  <a:pt x="1097" y="396"/>
                </a:lnTo>
                <a:lnTo>
                  <a:pt x="1095" y="393"/>
                </a:lnTo>
                <a:lnTo>
                  <a:pt x="1096" y="390"/>
                </a:lnTo>
                <a:lnTo>
                  <a:pt x="1096" y="388"/>
                </a:lnTo>
                <a:lnTo>
                  <a:pt x="1096" y="386"/>
                </a:lnTo>
                <a:lnTo>
                  <a:pt x="1087" y="373"/>
                </a:lnTo>
                <a:lnTo>
                  <a:pt x="1089" y="371"/>
                </a:lnTo>
                <a:lnTo>
                  <a:pt x="1084" y="363"/>
                </a:lnTo>
                <a:lnTo>
                  <a:pt x="1086" y="363"/>
                </a:lnTo>
                <a:lnTo>
                  <a:pt x="1081" y="354"/>
                </a:lnTo>
                <a:lnTo>
                  <a:pt x="1083" y="354"/>
                </a:lnTo>
                <a:lnTo>
                  <a:pt x="1076" y="345"/>
                </a:lnTo>
                <a:lnTo>
                  <a:pt x="1069" y="343"/>
                </a:lnTo>
                <a:lnTo>
                  <a:pt x="1062" y="336"/>
                </a:lnTo>
                <a:lnTo>
                  <a:pt x="1056" y="337"/>
                </a:lnTo>
                <a:lnTo>
                  <a:pt x="1056" y="339"/>
                </a:lnTo>
                <a:lnTo>
                  <a:pt x="1056" y="341"/>
                </a:lnTo>
                <a:lnTo>
                  <a:pt x="1044" y="336"/>
                </a:lnTo>
                <a:lnTo>
                  <a:pt x="1042" y="337"/>
                </a:lnTo>
                <a:lnTo>
                  <a:pt x="1045" y="339"/>
                </a:lnTo>
                <a:lnTo>
                  <a:pt x="1039" y="341"/>
                </a:lnTo>
                <a:lnTo>
                  <a:pt x="1045" y="355"/>
                </a:lnTo>
                <a:lnTo>
                  <a:pt x="1046" y="359"/>
                </a:lnTo>
                <a:lnTo>
                  <a:pt x="1047" y="370"/>
                </a:lnTo>
                <a:lnTo>
                  <a:pt x="1054" y="378"/>
                </a:lnTo>
                <a:lnTo>
                  <a:pt x="1044" y="383"/>
                </a:lnTo>
                <a:lnTo>
                  <a:pt x="1044" y="385"/>
                </a:lnTo>
                <a:lnTo>
                  <a:pt x="1040" y="383"/>
                </a:lnTo>
                <a:lnTo>
                  <a:pt x="1040" y="378"/>
                </a:lnTo>
                <a:lnTo>
                  <a:pt x="1040" y="376"/>
                </a:lnTo>
                <a:lnTo>
                  <a:pt x="1038" y="373"/>
                </a:lnTo>
                <a:lnTo>
                  <a:pt x="1038" y="370"/>
                </a:lnTo>
                <a:lnTo>
                  <a:pt x="1035" y="367"/>
                </a:lnTo>
                <a:lnTo>
                  <a:pt x="1036" y="363"/>
                </a:lnTo>
                <a:lnTo>
                  <a:pt x="1028" y="363"/>
                </a:lnTo>
                <a:lnTo>
                  <a:pt x="1028" y="354"/>
                </a:lnTo>
                <a:lnTo>
                  <a:pt x="1026" y="352"/>
                </a:lnTo>
                <a:lnTo>
                  <a:pt x="1018" y="349"/>
                </a:lnTo>
                <a:lnTo>
                  <a:pt x="1021" y="348"/>
                </a:lnTo>
                <a:lnTo>
                  <a:pt x="1009" y="344"/>
                </a:lnTo>
                <a:lnTo>
                  <a:pt x="1005" y="347"/>
                </a:lnTo>
                <a:lnTo>
                  <a:pt x="1008" y="349"/>
                </a:lnTo>
                <a:lnTo>
                  <a:pt x="1019" y="352"/>
                </a:lnTo>
                <a:lnTo>
                  <a:pt x="1011" y="354"/>
                </a:lnTo>
                <a:lnTo>
                  <a:pt x="1016" y="355"/>
                </a:lnTo>
                <a:lnTo>
                  <a:pt x="1019" y="360"/>
                </a:lnTo>
                <a:lnTo>
                  <a:pt x="1012" y="359"/>
                </a:lnTo>
                <a:lnTo>
                  <a:pt x="1019" y="361"/>
                </a:lnTo>
                <a:lnTo>
                  <a:pt x="1011" y="359"/>
                </a:lnTo>
                <a:lnTo>
                  <a:pt x="1008" y="360"/>
                </a:lnTo>
                <a:lnTo>
                  <a:pt x="1006" y="359"/>
                </a:lnTo>
                <a:lnTo>
                  <a:pt x="1002" y="362"/>
                </a:lnTo>
                <a:lnTo>
                  <a:pt x="1001" y="367"/>
                </a:lnTo>
                <a:lnTo>
                  <a:pt x="997" y="367"/>
                </a:lnTo>
                <a:lnTo>
                  <a:pt x="998" y="363"/>
                </a:lnTo>
                <a:lnTo>
                  <a:pt x="997" y="363"/>
                </a:lnTo>
                <a:lnTo>
                  <a:pt x="991" y="367"/>
                </a:lnTo>
                <a:lnTo>
                  <a:pt x="995" y="367"/>
                </a:lnTo>
                <a:lnTo>
                  <a:pt x="991" y="368"/>
                </a:lnTo>
                <a:lnTo>
                  <a:pt x="989" y="365"/>
                </a:lnTo>
                <a:lnTo>
                  <a:pt x="997" y="359"/>
                </a:lnTo>
                <a:lnTo>
                  <a:pt x="998" y="354"/>
                </a:lnTo>
                <a:lnTo>
                  <a:pt x="971" y="347"/>
                </a:lnTo>
                <a:lnTo>
                  <a:pt x="964" y="351"/>
                </a:lnTo>
                <a:lnTo>
                  <a:pt x="966" y="352"/>
                </a:lnTo>
                <a:lnTo>
                  <a:pt x="965" y="357"/>
                </a:lnTo>
                <a:lnTo>
                  <a:pt x="950" y="363"/>
                </a:lnTo>
                <a:lnTo>
                  <a:pt x="949" y="363"/>
                </a:lnTo>
                <a:lnTo>
                  <a:pt x="952" y="355"/>
                </a:lnTo>
                <a:lnTo>
                  <a:pt x="952" y="352"/>
                </a:lnTo>
                <a:lnTo>
                  <a:pt x="958" y="351"/>
                </a:lnTo>
                <a:lnTo>
                  <a:pt x="957" y="349"/>
                </a:lnTo>
                <a:lnTo>
                  <a:pt x="958" y="341"/>
                </a:lnTo>
                <a:lnTo>
                  <a:pt x="955" y="336"/>
                </a:lnTo>
                <a:lnTo>
                  <a:pt x="949" y="335"/>
                </a:lnTo>
                <a:lnTo>
                  <a:pt x="908" y="348"/>
                </a:lnTo>
                <a:lnTo>
                  <a:pt x="887" y="360"/>
                </a:lnTo>
                <a:lnTo>
                  <a:pt x="887" y="364"/>
                </a:lnTo>
                <a:lnTo>
                  <a:pt x="896" y="365"/>
                </a:lnTo>
                <a:lnTo>
                  <a:pt x="896" y="368"/>
                </a:lnTo>
                <a:lnTo>
                  <a:pt x="887" y="371"/>
                </a:lnTo>
                <a:lnTo>
                  <a:pt x="879" y="376"/>
                </a:lnTo>
                <a:lnTo>
                  <a:pt x="879" y="382"/>
                </a:lnTo>
                <a:lnTo>
                  <a:pt x="879" y="385"/>
                </a:lnTo>
                <a:lnTo>
                  <a:pt x="884" y="386"/>
                </a:lnTo>
                <a:lnTo>
                  <a:pt x="886" y="383"/>
                </a:lnTo>
                <a:lnTo>
                  <a:pt x="893" y="386"/>
                </a:lnTo>
                <a:lnTo>
                  <a:pt x="904" y="383"/>
                </a:lnTo>
                <a:lnTo>
                  <a:pt x="901" y="385"/>
                </a:lnTo>
                <a:lnTo>
                  <a:pt x="905" y="386"/>
                </a:lnTo>
                <a:lnTo>
                  <a:pt x="893" y="390"/>
                </a:lnTo>
                <a:lnTo>
                  <a:pt x="898" y="391"/>
                </a:lnTo>
                <a:lnTo>
                  <a:pt x="904" y="391"/>
                </a:lnTo>
                <a:lnTo>
                  <a:pt x="904" y="388"/>
                </a:lnTo>
                <a:lnTo>
                  <a:pt x="908" y="389"/>
                </a:lnTo>
                <a:lnTo>
                  <a:pt x="908" y="390"/>
                </a:lnTo>
                <a:lnTo>
                  <a:pt x="932" y="386"/>
                </a:lnTo>
                <a:lnTo>
                  <a:pt x="942" y="388"/>
                </a:lnTo>
                <a:lnTo>
                  <a:pt x="938" y="391"/>
                </a:lnTo>
                <a:lnTo>
                  <a:pt x="931" y="391"/>
                </a:lnTo>
                <a:lnTo>
                  <a:pt x="928" y="391"/>
                </a:lnTo>
                <a:lnTo>
                  <a:pt x="932" y="391"/>
                </a:lnTo>
                <a:lnTo>
                  <a:pt x="903" y="397"/>
                </a:lnTo>
                <a:lnTo>
                  <a:pt x="892" y="403"/>
                </a:lnTo>
                <a:lnTo>
                  <a:pt x="906" y="415"/>
                </a:lnTo>
                <a:lnTo>
                  <a:pt x="942" y="415"/>
                </a:lnTo>
                <a:lnTo>
                  <a:pt x="958" y="410"/>
                </a:lnTo>
                <a:lnTo>
                  <a:pt x="984" y="417"/>
                </a:lnTo>
                <a:lnTo>
                  <a:pt x="987" y="421"/>
                </a:lnTo>
                <a:lnTo>
                  <a:pt x="993" y="423"/>
                </a:lnTo>
                <a:lnTo>
                  <a:pt x="983" y="423"/>
                </a:lnTo>
                <a:lnTo>
                  <a:pt x="986" y="423"/>
                </a:lnTo>
                <a:lnTo>
                  <a:pt x="979" y="425"/>
                </a:lnTo>
                <a:lnTo>
                  <a:pt x="953" y="420"/>
                </a:lnTo>
                <a:lnTo>
                  <a:pt x="942" y="422"/>
                </a:lnTo>
                <a:lnTo>
                  <a:pt x="913" y="425"/>
                </a:lnTo>
                <a:lnTo>
                  <a:pt x="908" y="429"/>
                </a:lnTo>
                <a:lnTo>
                  <a:pt x="910" y="435"/>
                </a:lnTo>
                <a:lnTo>
                  <a:pt x="917" y="441"/>
                </a:lnTo>
                <a:lnTo>
                  <a:pt x="916" y="443"/>
                </a:lnTo>
                <a:lnTo>
                  <a:pt x="920" y="445"/>
                </a:lnTo>
                <a:lnTo>
                  <a:pt x="929" y="447"/>
                </a:lnTo>
                <a:lnTo>
                  <a:pt x="953" y="448"/>
                </a:lnTo>
                <a:lnTo>
                  <a:pt x="965" y="451"/>
                </a:lnTo>
                <a:lnTo>
                  <a:pt x="962" y="451"/>
                </a:lnTo>
                <a:lnTo>
                  <a:pt x="965" y="454"/>
                </a:lnTo>
                <a:lnTo>
                  <a:pt x="964" y="459"/>
                </a:lnTo>
                <a:lnTo>
                  <a:pt x="966" y="466"/>
                </a:lnTo>
                <a:lnTo>
                  <a:pt x="971" y="468"/>
                </a:lnTo>
                <a:lnTo>
                  <a:pt x="968" y="469"/>
                </a:lnTo>
                <a:lnTo>
                  <a:pt x="998" y="468"/>
                </a:lnTo>
                <a:lnTo>
                  <a:pt x="995" y="467"/>
                </a:lnTo>
                <a:lnTo>
                  <a:pt x="1001" y="467"/>
                </a:lnTo>
                <a:lnTo>
                  <a:pt x="1002" y="467"/>
                </a:lnTo>
                <a:lnTo>
                  <a:pt x="1004" y="467"/>
                </a:lnTo>
                <a:lnTo>
                  <a:pt x="1006" y="467"/>
                </a:lnTo>
                <a:lnTo>
                  <a:pt x="1008" y="467"/>
                </a:lnTo>
                <a:lnTo>
                  <a:pt x="1011" y="467"/>
                </a:lnTo>
                <a:lnTo>
                  <a:pt x="1028" y="463"/>
                </a:lnTo>
                <a:lnTo>
                  <a:pt x="1036" y="458"/>
                </a:lnTo>
                <a:lnTo>
                  <a:pt x="1036" y="456"/>
                </a:lnTo>
                <a:lnTo>
                  <a:pt x="1054" y="454"/>
                </a:lnTo>
                <a:lnTo>
                  <a:pt x="1061" y="450"/>
                </a:lnTo>
                <a:lnTo>
                  <a:pt x="1058" y="447"/>
                </a:lnTo>
                <a:lnTo>
                  <a:pt x="1065" y="442"/>
                </a:lnTo>
                <a:lnTo>
                  <a:pt x="1068" y="445"/>
                </a:lnTo>
                <a:lnTo>
                  <a:pt x="1069" y="447"/>
                </a:lnTo>
                <a:lnTo>
                  <a:pt x="1068" y="450"/>
                </a:lnTo>
                <a:lnTo>
                  <a:pt x="1089" y="453"/>
                </a:lnTo>
                <a:lnTo>
                  <a:pt x="1084" y="457"/>
                </a:lnTo>
                <a:lnTo>
                  <a:pt x="1086" y="459"/>
                </a:lnTo>
                <a:lnTo>
                  <a:pt x="1094" y="459"/>
                </a:lnTo>
                <a:lnTo>
                  <a:pt x="1095" y="457"/>
                </a:lnTo>
                <a:lnTo>
                  <a:pt x="1111" y="462"/>
                </a:lnTo>
                <a:lnTo>
                  <a:pt x="1114" y="459"/>
                </a:lnTo>
                <a:lnTo>
                  <a:pt x="1120" y="459"/>
                </a:lnTo>
                <a:lnTo>
                  <a:pt x="1134" y="454"/>
                </a:lnTo>
                <a:lnTo>
                  <a:pt x="1135" y="450"/>
                </a:lnTo>
                <a:lnTo>
                  <a:pt x="1131" y="448"/>
                </a:lnTo>
                <a:lnTo>
                  <a:pt x="1130" y="450"/>
                </a:lnTo>
                <a:lnTo>
                  <a:pt x="1128" y="448"/>
                </a:lnTo>
                <a:lnTo>
                  <a:pt x="1131" y="443"/>
                </a:lnTo>
                <a:lnTo>
                  <a:pt x="1127" y="442"/>
                </a:lnTo>
                <a:lnTo>
                  <a:pt x="1119" y="445"/>
                </a:lnTo>
                <a:lnTo>
                  <a:pt x="1112" y="451"/>
                </a:lnTo>
                <a:lnTo>
                  <a:pt x="1112" y="450"/>
                </a:lnTo>
                <a:lnTo>
                  <a:pt x="1112" y="448"/>
                </a:lnTo>
                <a:lnTo>
                  <a:pt x="1112" y="442"/>
                </a:lnTo>
                <a:lnTo>
                  <a:pt x="1108" y="439"/>
                </a:lnTo>
                <a:lnTo>
                  <a:pt x="1108" y="436"/>
                </a:lnTo>
                <a:lnTo>
                  <a:pt x="1120" y="442"/>
                </a:lnTo>
                <a:lnTo>
                  <a:pt x="1120" y="436"/>
                </a:lnTo>
                <a:lnTo>
                  <a:pt x="1123" y="439"/>
                </a:lnTo>
                <a:lnTo>
                  <a:pt x="1124" y="439"/>
                </a:lnTo>
                <a:lnTo>
                  <a:pt x="1128" y="432"/>
                </a:lnTo>
                <a:lnTo>
                  <a:pt x="1134" y="437"/>
                </a:lnTo>
                <a:lnTo>
                  <a:pt x="1136" y="431"/>
                </a:lnTo>
                <a:lnTo>
                  <a:pt x="1136" y="433"/>
                </a:lnTo>
                <a:lnTo>
                  <a:pt x="1140" y="436"/>
                </a:lnTo>
                <a:lnTo>
                  <a:pt x="1145" y="439"/>
                </a:lnTo>
                <a:lnTo>
                  <a:pt x="1147" y="435"/>
                </a:lnTo>
                <a:lnTo>
                  <a:pt x="1146" y="424"/>
                </a:lnTo>
                <a:close/>
                <a:moveTo>
                  <a:pt x="1217" y="440"/>
                </a:moveTo>
                <a:lnTo>
                  <a:pt x="1209" y="440"/>
                </a:lnTo>
                <a:lnTo>
                  <a:pt x="1217" y="447"/>
                </a:lnTo>
                <a:lnTo>
                  <a:pt x="1217" y="440"/>
                </a:lnTo>
                <a:close/>
                <a:moveTo>
                  <a:pt x="1176" y="479"/>
                </a:moveTo>
                <a:lnTo>
                  <a:pt x="1174" y="479"/>
                </a:lnTo>
                <a:lnTo>
                  <a:pt x="1176" y="481"/>
                </a:lnTo>
                <a:lnTo>
                  <a:pt x="1176" y="479"/>
                </a:lnTo>
                <a:close/>
                <a:moveTo>
                  <a:pt x="1200" y="430"/>
                </a:moveTo>
                <a:lnTo>
                  <a:pt x="1198" y="430"/>
                </a:lnTo>
                <a:lnTo>
                  <a:pt x="1202" y="431"/>
                </a:lnTo>
                <a:lnTo>
                  <a:pt x="1200" y="430"/>
                </a:lnTo>
                <a:close/>
                <a:moveTo>
                  <a:pt x="1176" y="393"/>
                </a:moveTo>
                <a:lnTo>
                  <a:pt x="1177" y="394"/>
                </a:lnTo>
                <a:lnTo>
                  <a:pt x="1177" y="393"/>
                </a:lnTo>
                <a:lnTo>
                  <a:pt x="1176" y="393"/>
                </a:lnTo>
                <a:close/>
                <a:moveTo>
                  <a:pt x="1201" y="436"/>
                </a:moveTo>
                <a:lnTo>
                  <a:pt x="1200" y="441"/>
                </a:lnTo>
                <a:lnTo>
                  <a:pt x="1198" y="439"/>
                </a:lnTo>
                <a:lnTo>
                  <a:pt x="1200" y="439"/>
                </a:lnTo>
                <a:lnTo>
                  <a:pt x="1191" y="433"/>
                </a:lnTo>
                <a:lnTo>
                  <a:pt x="1187" y="434"/>
                </a:lnTo>
                <a:lnTo>
                  <a:pt x="1185" y="439"/>
                </a:lnTo>
                <a:lnTo>
                  <a:pt x="1190" y="443"/>
                </a:lnTo>
                <a:lnTo>
                  <a:pt x="1181" y="440"/>
                </a:lnTo>
                <a:lnTo>
                  <a:pt x="1181" y="442"/>
                </a:lnTo>
                <a:lnTo>
                  <a:pt x="1184" y="443"/>
                </a:lnTo>
                <a:lnTo>
                  <a:pt x="1182" y="443"/>
                </a:lnTo>
                <a:lnTo>
                  <a:pt x="1185" y="449"/>
                </a:lnTo>
                <a:lnTo>
                  <a:pt x="1176" y="455"/>
                </a:lnTo>
                <a:lnTo>
                  <a:pt x="1169" y="455"/>
                </a:lnTo>
                <a:lnTo>
                  <a:pt x="1168" y="456"/>
                </a:lnTo>
                <a:lnTo>
                  <a:pt x="1170" y="460"/>
                </a:lnTo>
                <a:lnTo>
                  <a:pt x="1173" y="456"/>
                </a:lnTo>
                <a:lnTo>
                  <a:pt x="1173" y="459"/>
                </a:lnTo>
                <a:lnTo>
                  <a:pt x="1182" y="463"/>
                </a:lnTo>
                <a:lnTo>
                  <a:pt x="1184" y="463"/>
                </a:lnTo>
                <a:lnTo>
                  <a:pt x="1185" y="459"/>
                </a:lnTo>
                <a:lnTo>
                  <a:pt x="1188" y="463"/>
                </a:lnTo>
                <a:lnTo>
                  <a:pt x="1210" y="470"/>
                </a:lnTo>
                <a:lnTo>
                  <a:pt x="1215" y="468"/>
                </a:lnTo>
                <a:lnTo>
                  <a:pt x="1222" y="462"/>
                </a:lnTo>
                <a:lnTo>
                  <a:pt x="1226" y="463"/>
                </a:lnTo>
                <a:lnTo>
                  <a:pt x="1229" y="459"/>
                </a:lnTo>
                <a:lnTo>
                  <a:pt x="1222" y="458"/>
                </a:lnTo>
                <a:lnTo>
                  <a:pt x="1216" y="448"/>
                </a:lnTo>
                <a:lnTo>
                  <a:pt x="1213" y="450"/>
                </a:lnTo>
                <a:lnTo>
                  <a:pt x="1213" y="447"/>
                </a:lnTo>
                <a:lnTo>
                  <a:pt x="1204" y="442"/>
                </a:lnTo>
                <a:lnTo>
                  <a:pt x="1201" y="436"/>
                </a:lnTo>
                <a:close/>
                <a:moveTo>
                  <a:pt x="1043" y="373"/>
                </a:moveTo>
                <a:lnTo>
                  <a:pt x="1042" y="375"/>
                </a:lnTo>
                <a:lnTo>
                  <a:pt x="1045" y="375"/>
                </a:lnTo>
                <a:lnTo>
                  <a:pt x="1043" y="373"/>
                </a:lnTo>
                <a:close/>
                <a:moveTo>
                  <a:pt x="1097" y="244"/>
                </a:moveTo>
                <a:lnTo>
                  <a:pt x="1098" y="246"/>
                </a:lnTo>
                <a:lnTo>
                  <a:pt x="1097" y="250"/>
                </a:lnTo>
                <a:lnTo>
                  <a:pt x="1109" y="250"/>
                </a:lnTo>
                <a:lnTo>
                  <a:pt x="1117" y="246"/>
                </a:lnTo>
                <a:lnTo>
                  <a:pt x="1105" y="239"/>
                </a:lnTo>
                <a:lnTo>
                  <a:pt x="1102" y="240"/>
                </a:lnTo>
                <a:lnTo>
                  <a:pt x="1103" y="238"/>
                </a:lnTo>
                <a:lnTo>
                  <a:pt x="1101" y="237"/>
                </a:lnTo>
                <a:lnTo>
                  <a:pt x="1091" y="240"/>
                </a:lnTo>
                <a:lnTo>
                  <a:pt x="1097" y="244"/>
                </a:lnTo>
                <a:close/>
                <a:moveTo>
                  <a:pt x="1050" y="328"/>
                </a:moveTo>
                <a:lnTo>
                  <a:pt x="1043" y="328"/>
                </a:lnTo>
                <a:lnTo>
                  <a:pt x="1049" y="330"/>
                </a:lnTo>
                <a:lnTo>
                  <a:pt x="1050" y="328"/>
                </a:lnTo>
                <a:close/>
                <a:moveTo>
                  <a:pt x="1102" y="222"/>
                </a:moveTo>
                <a:lnTo>
                  <a:pt x="1097" y="223"/>
                </a:lnTo>
                <a:lnTo>
                  <a:pt x="1103" y="223"/>
                </a:lnTo>
                <a:lnTo>
                  <a:pt x="1102" y="222"/>
                </a:lnTo>
                <a:close/>
                <a:moveTo>
                  <a:pt x="1151" y="278"/>
                </a:moveTo>
                <a:lnTo>
                  <a:pt x="1153" y="278"/>
                </a:lnTo>
                <a:lnTo>
                  <a:pt x="1155" y="277"/>
                </a:lnTo>
                <a:lnTo>
                  <a:pt x="1151" y="278"/>
                </a:lnTo>
                <a:close/>
                <a:moveTo>
                  <a:pt x="1173" y="242"/>
                </a:moveTo>
                <a:lnTo>
                  <a:pt x="1173" y="242"/>
                </a:lnTo>
                <a:lnTo>
                  <a:pt x="1173" y="241"/>
                </a:lnTo>
                <a:lnTo>
                  <a:pt x="1173" y="242"/>
                </a:lnTo>
                <a:close/>
                <a:moveTo>
                  <a:pt x="1184" y="238"/>
                </a:moveTo>
                <a:lnTo>
                  <a:pt x="1184" y="238"/>
                </a:lnTo>
                <a:lnTo>
                  <a:pt x="1184" y="238"/>
                </a:lnTo>
                <a:lnTo>
                  <a:pt x="1185" y="238"/>
                </a:lnTo>
                <a:lnTo>
                  <a:pt x="1185" y="238"/>
                </a:lnTo>
                <a:lnTo>
                  <a:pt x="1184" y="238"/>
                </a:lnTo>
                <a:close/>
                <a:moveTo>
                  <a:pt x="1025" y="481"/>
                </a:moveTo>
                <a:lnTo>
                  <a:pt x="1024" y="477"/>
                </a:lnTo>
                <a:lnTo>
                  <a:pt x="1023" y="479"/>
                </a:lnTo>
                <a:lnTo>
                  <a:pt x="1025" y="481"/>
                </a:lnTo>
                <a:close/>
                <a:moveTo>
                  <a:pt x="1133" y="466"/>
                </a:moveTo>
                <a:lnTo>
                  <a:pt x="1134" y="463"/>
                </a:lnTo>
                <a:lnTo>
                  <a:pt x="1134" y="462"/>
                </a:lnTo>
                <a:lnTo>
                  <a:pt x="1130" y="459"/>
                </a:lnTo>
                <a:lnTo>
                  <a:pt x="1127" y="463"/>
                </a:lnTo>
                <a:lnTo>
                  <a:pt x="1133" y="466"/>
                </a:lnTo>
                <a:close/>
                <a:moveTo>
                  <a:pt x="1130" y="439"/>
                </a:moveTo>
                <a:lnTo>
                  <a:pt x="1130" y="436"/>
                </a:lnTo>
                <a:lnTo>
                  <a:pt x="1128" y="436"/>
                </a:lnTo>
                <a:lnTo>
                  <a:pt x="1130" y="439"/>
                </a:lnTo>
                <a:close/>
                <a:moveTo>
                  <a:pt x="1087" y="467"/>
                </a:moveTo>
                <a:lnTo>
                  <a:pt x="1091" y="471"/>
                </a:lnTo>
                <a:lnTo>
                  <a:pt x="1097" y="470"/>
                </a:lnTo>
                <a:lnTo>
                  <a:pt x="1091" y="467"/>
                </a:lnTo>
                <a:lnTo>
                  <a:pt x="1087" y="467"/>
                </a:lnTo>
                <a:close/>
                <a:moveTo>
                  <a:pt x="1135" y="453"/>
                </a:moveTo>
                <a:lnTo>
                  <a:pt x="1138" y="453"/>
                </a:lnTo>
                <a:lnTo>
                  <a:pt x="1138" y="450"/>
                </a:lnTo>
                <a:lnTo>
                  <a:pt x="1136" y="450"/>
                </a:lnTo>
                <a:lnTo>
                  <a:pt x="1135" y="453"/>
                </a:lnTo>
                <a:close/>
                <a:moveTo>
                  <a:pt x="1031" y="485"/>
                </a:moveTo>
                <a:lnTo>
                  <a:pt x="1031" y="481"/>
                </a:lnTo>
                <a:lnTo>
                  <a:pt x="1027" y="481"/>
                </a:lnTo>
                <a:lnTo>
                  <a:pt x="1031" y="485"/>
                </a:lnTo>
                <a:close/>
                <a:moveTo>
                  <a:pt x="1084" y="466"/>
                </a:moveTo>
                <a:lnTo>
                  <a:pt x="1087" y="468"/>
                </a:lnTo>
                <a:lnTo>
                  <a:pt x="1086" y="466"/>
                </a:lnTo>
                <a:lnTo>
                  <a:pt x="1084" y="466"/>
                </a:lnTo>
                <a:close/>
                <a:moveTo>
                  <a:pt x="1538" y="474"/>
                </a:moveTo>
                <a:lnTo>
                  <a:pt x="1536" y="476"/>
                </a:lnTo>
                <a:lnTo>
                  <a:pt x="1538" y="477"/>
                </a:lnTo>
                <a:lnTo>
                  <a:pt x="1538" y="474"/>
                </a:lnTo>
                <a:close/>
                <a:moveTo>
                  <a:pt x="1533" y="469"/>
                </a:moveTo>
                <a:lnTo>
                  <a:pt x="1533" y="470"/>
                </a:lnTo>
                <a:lnTo>
                  <a:pt x="1534" y="474"/>
                </a:lnTo>
                <a:lnTo>
                  <a:pt x="1538" y="473"/>
                </a:lnTo>
                <a:lnTo>
                  <a:pt x="1533" y="469"/>
                </a:lnTo>
                <a:close/>
                <a:moveTo>
                  <a:pt x="1481" y="579"/>
                </a:moveTo>
                <a:lnTo>
                  <a:pt x="1483" y="580"/>
                </a:lnTo>
                <a:lnTo>
                  <a:pt x="1485" y="579"/>
                </a:lnTo>
                <a:lnTo>
                  <a:pt x="1481" y="579"/>
                </a:lnTo>
                <a:close/>
                <a:moveTo>
                  <a:pt x="1467" y="465"/>
                </a:moveTo>
                <a:lnTo>
                  <a:pt x="1470" y="466"/>
                </a:lnTo>
                <a:lnTo>
                  <a:pt x="1466" y="468"/>
                </a:lnTo>
                <a:lnTo>
                  <a:pt x="1469" y="469"/>
                </a:lnTo>
                <a:lnTo>
                  <a:pt x="1474" y="465"/>
                </a:lnTo>
                <a:lnTo>
                  <a:pt x="1467" y="465"/>
                </a:lnTo>
                <a:close/>
                <a:moveTo>
                  <a:pt x="1155" y="270"/>
                </a:moveTo>
                <a:lnTo>
                  <a:pt x="1155" y="270"/>
                </a:lnTo>
                <a:lnTo>
                  <a:pt x="1145" y="272"/>
                </a:lnTo>
                <a:lnTo>
                  <a:pt x="1155" y="270"/>
                </a:lnTo>
                <a:close/>
                <a:moveTo>
                  <a:pt x="1525" y="465"/>
                </a:moveTo>
                <a:lnTo>
                  <a:pt x="1531" y="466"/>
                </a:lnTo>
                <a:lnTo>
                  <a:pt x="1526" y="463"/>
                </a:lnTo>
                <a:lnTo>
                  <a:pt x="1525" y="465"/>
                </a:lnTo>
                <a:close/>
                <a:moveTo>
                  <a:pt x="1470" y="747"/>
                </a:moveTo>
                <a:lnTo>
                  <a:pt x="1467" y="748"/>
                </a:lnTo>
                <a:lnTo>
                  <a:pt x="1466" y="754"/>
                </a:lnTo>
                <a:lnTo>
                  <a:pt x="1470" y="754"/>
                </a:lnTo>
                <a:lnTo>
                  <a:pt x="1470" y="747"/>
                </a:lnTo>
                <a:close/>
                <a:moveTo>
                  <a:pt x="1526" y="481"/>
                </a:moveTo>
                <a:lnTo>
                  <a:pt x="1527" y="485"/>
                </a:lnTo>
                <a:lnTo>
                  <a:pt x="1533" y="486"/>
                </a:lnTo>
                <a:lnTo>
                  <a:pt x="1545" y="487"/>
                </a:lnTo>
                <a:lnTo>
                  <a:pt x="1546" y="486"/>
                </a:lnTo>
                <a:lnTo>
                  <a:pt x="1546" y="483"/>
                </a:lnTo>
                <a:lnTo>
                  <a:pt x="1542" y="483"/>
                </a:lnTo>
                <a:lnTo>
                  <a:pt x="1536" y="480"/>
                </a:lnTo>
                <a:lnTo>
                  <a:pt x="1533" y="477"/>
                </a:lnTo>
                <a:lnTo>
                  <a:pt x="1526" y="481"/>
                </a:lnTo>
                <a:close/>
                <a:moveTo>
                  <a:pt x="1463" y="453"/>
                </a:moveTo>
                <a:lnTo>
                  <a:pt x="1460" y="458"/>
                </a:lnTo>
                <a:lnTo>
                  <a:pt x="1463" y="459"/>
                </a:lnTo>
                <a:lnTo>
                  <a:pt x="1467" y="458"/>
                </a:lnTo>
                <a:lnTo>
                  <a:pt x="1477" y="447"/>
                </a:lnTo>
                <a:lnTo>
                  <a:pt x="1474" y="445"/>
                </a:lnTo>
                <a:lnTo>
                  <a:pt x="1469" y="447"/>
                </a:lnTo>
                <a:lnTo>
                  <a:pt x="1467" y="451"/>
                </a:lnTo>
                <a:lnTo>
                  <a:pt x="1463" y="453"/>
                </a:lnTo>
                <a:close/>
                <a:moveTo>
                  <a:pt x="1458" y="747"/>
                </a:moveTo>
                <a:lnTo>
                  <a:pt x="1458" y="745"/>
                </a:lnTo>
                <a:lnTo>
                  <a:pt x="1454" y="752"/>
                </a:lnTo>
                <a:lnTo>
                  <a:pt x="1450" y="757"/>
                </a:lnTo>
                <a:lnTo>
                  <a:pt x="1450" y="759"/>
                </a:lnTo>
                <a:lnTo>
                  <a:pt x="1452" y="760"/>
                </a:lnTo>
                <a:lnTo>
                  <a:pt x="1457" y="754"/>
                </a:lnTo>
                <a:lnTo>
                  <a:pt x="1458" y="747"/>
                </a:lnTo>
                <a:close/>
                <a:moveTo>
                  <a:pt x="1520" y="463"/>
                </a:moveTo>
                <a:lnTo>
                  <a:pt x="1516" y="468"/>
                </a:lnTo>
                <a:lnTo>
                  <a:pt x="1526" y="473"/>
                </a:lnTo>
                <a:lnTo>
                  <a:pt x="1526" y="468"/>
                </a:lnTo>
                <a:lnTo>
                  <a:pt x="1522" y="463"/>
                </a:lnTo>
                <a:lnTo>
                  <a:pt x="1520" y="463"/>
                </a:lnTo>
                <a:close/>
                <a:moveTo>
                  <a:pt x="1449" y="813"/>
                </a:moveTo>
                <a:lnTo>
                  <a:pt x="1452" y="813"/>
                </a:lnTo>
                <a:lnTo>
                  <a:pt x="1452" y="811"/>
                </a:lnTo>
                <a:lnTo>
                  <a:pt x="1449" y="813"/>
                </a:lnTo>
                <a:close/>
                <a:moveTo>
                  <a:pt x="1461" y="744"/>
                </a:moveTo>
                <a:lnTo>
                  <a:pt x="1463" y="744"/>
                </a:lnTo>
                <a:lnTo>
                  <a:pt x="1463" y="743"/>
                </a:lnTo>
                <a:lnTo>
                  <a:pt x="1461" y="744"/>
                </a:lnTo>
                <a:close/>
                <a:moveTo>
                  <a:pt x="1469" y="474"/>
                </a:moveTo>
                <a:lnTo>
                  <a:pt x="1463" y="470"/>
                </a:lnTo>
                <a:lnTo>
                  <a:pt x="1463" y="474"/>
                </a:lnTo>
                <a:lnTo>
                  <a:pt x="1463" y="476"/>
                </a:lnTo>
                <a:lnTo>
                  <a:pt x="1469" y="474"/>
                </a:lnTo>
                <a:close/>
                <a:moveTo>
                  <a:pt x="1479" y="435"/>
                </a:moveTo>
                <a:lnTo>
                  <a:pt x="1467" y="443"/>
                </a:lnTo>
                <a:lnTo>
                  <a:pt x="1481" y="439"/>
                </a:lnTo>
                <a:lnTo>
                  <a:pt x="1479" y="435"/>
                </a:lnTo>
                <a:close/>
                <a:moveTo>
                  <a:pt x="812" y="384"/>
                </a:moveTo>
                <a:lnTo>
                  <a:pt x="823" y="398"/>
                </a:lnTo>
                <a:lnTo>
                  <a:pt x="830" y="399"/>
                </a:lnTo>
                <a:lnTo>
                  <a:pt x="845" y="390"/>
                </a:lnTo>
                <a:lnTo>
                  <a:pt x="849" y="391"/>
                </a:lnTo>
                <a:lnTo>
                  <a:pt x="863" y="388"/>
                </a:lnTo>
                <a:lnTo>
                  <a:pt x="865" y="383"/>
                </a:lnTo>
                <a:lnTo>
                  <a:pt x="864" y="376"/>
                </a:lnTo>
                <a:lnTo>
                  <a:pt x="868" y="370"/>
                </a:lnTo>
                <a:lnTo>
                  <a:pt x="867" y="367"/>
                </a:lnTo>
                <a:lnTo>
                  <a:pt x="873" y="368"/>
                </a:lnTo>
                <a:lnTo>
                  <a:pt x="879" y="365"/>
                </a:lnTo>
                <a:lnTo>
                  <a:pt x="883" y="355"/>
                </a:lnTo>
                <a:lnTo>
                  <a:pt x="939" y="331"/>
                </a:lnTo>
                <a:lnTo>
                  <a:pt x="935" y="326"/>
                </a:lnTo>
                <a:lnTo>
                  <a:pt x="908" y="310"/>
                </a:lnTo>
                <a:lnTo>
                  <a:pt x="889" y="310"/>
                </a:lnTo>
                <a:lnTo>
                  <a:pt x="886" y="313"/>
                </a:lnTo>
                <a:lnTo>
                  <a:pt x="887" y="314"/>
                </a:lnTo>
                <a:lnTo>
                  <a:pt x="885" y="318"/>
                </a:lnTo>
                <a:lnTo>
                  <a:pt x="883" y="318"/>
                </a:lnTo>
                <a:lnTo>
                  <a:pt x="885" y="314"/>
                </a:lnTo>
                <a:lnTo>
                  <a:pt x="883" y="310"/>
                </a:lnTo>
                <a:lnTo>
                  <a:pt x="878" y="310"/>
                </a:lnTo>
                <a:lnTo>
                  <a:pt x="871" y="317"/>
                </a:lnTo>
                <a:lnTo>
                  <a:pt x="871" y="314"/>
                </a:lnTo>
                <a:lnTo>
                  <a:pt x="875" y="310"/>
                </a:lnTo>
                <a:lnTo>
                  <a:pt x="848" y="301"/>
                </a:lnTo>
                <a:lnTo>
                  <a:pt x="801" y="307"/>
                </a:lnTo>
                <a:lnTo>
                  <a:pt x="806" y="313"/>
                </a:lnTo>
                <a:lnTo>
                  <a:pt x="809" y="320"/>
                </a:lnTo>
                <a:lnTo>
                  <a:pt x="814" y="321"/>
                </a:lnTo>
                <a:lnTo>
                  <a:pt x="816" y="324"/>
                </a:lnTo>
                <a:lnTo>
                  <a:pt x="814" y="325"/>
                </a:lnTo>
                <a:lnTo>
                  <a:pt x="811" y="326"/>
                </a:lnTo>
                <a:lnTo>
                  <a:pt x="811" y="329"/>
                </a:lnTo>
                <a:lnTo>
                  <a:pt x="807" y="328"/>
                </a:lnTo>
                <a:lnTo>
                  <a:pt x="807" y="330"/>
                </a:lnTo>
                <a:lnTo>
                  <a:pt x="811" y="330"/>
                </a:lnTo>
                <a:lnTo>
                  <a:pt x="806" y="333"/>
                </a:lnTo>
                <a:lnTo>
                  <a:pt x="800" y="343"/>
                </a:lnTo>
                <a:lnTo>
                  <a:pt x="805" y="348"/>
                </a:lnTo>
                <a:lnTo>
                  <a:pt x="797" y="351"/>
                </a:lnTo>
                <a:lnTo>
                  <a:pt x="798" y="354"/>
                </a:lnTo>
                <a:lnTo>
                  <a:pt x="797" y="359"/>
                </a:lnTo>
                <a:lnTo>
                  <a:pt x="791" y="364"/>
                </a:lnTo>
                <a:lnTo>
                  <a:pt x="783" y="370"/>
                </a:lnTo>
                <a:lnTo>
                  <a:pt x="783" y="379"/>
                </a:lnTo>
                <a:lnTo>
                  <a:pt x="796" y="379"/>
                </a:lnTo>
                <a:lnTo>
                  <a:pt x="812" y="384"/>
                </a:lnTo>
                <a:close/>
                <a:moveTo>
                  <a:pt x="1290" y="298"/>
                </a:moveTo>
                <a:lnTo>
                  <a:pt x="1295" y="291"/>
                </a:lnTo>
                <a:lnTo>
                  <a:pt x="1288" y="297"/>
                </a:lnTo>
                <a:lnTo>
                  <a:pt x="1290" y="302"/>
                </a:lnTo>
                <a:lnTo>
                  <a:pt x="1284" y="302"/>
                </a:lnTo>
                <a:lnTo>
                  <a:pt x="1276" y="296"/>
                </a:lnTo>
                <a:lnTo>
                  <a:pt x="1277" y="291"/>
                </a:lnTo>
                <a:lnTo>
                  <a:pt x="1274" y="286"/>
                </a:lnTo>
                <a:lnTo>
                  <a:pt x="1277" y="284"/>
                </a:lnTo>
                <a:lnTo>
                  <a:pt x="1276" y="283"/>
                </a:lnTo>
                <a:lnTo>
                  <a:pt x="1269" y="280"/>
                </a:lnTo>
                <a:lnTo>
                  <a:pt x="1270" y="274"/>
                </a:lnTo>
                <a:lnTo>
                  <a:pt x="1276" y="269"/>
                </a:lnTo>
                <a:lnTo>
                  <a:pt x="1273" y="267"/>
                </a:lnTo>
                <a:lnTo>
                  <a:pt x="1274" y="261"/>
                </a:lnTo>
                <a:lnTo>
                  <a:pt x="1265" y="257"/>
                </a:lnTo>
                <a:lnTo>
                  <a:pt x="1265" y="255"/>
                </a:lnTo>
                <a:lnTo>
                  <a:pt x="1260" y="246"/>
                </a:lnTo>
                <a:lnTo>
                  <a:pt x="1250" y="250"/>
                </a:lnTo>
                <a:lnTo>
                  <a:pt x="1236" y="250"/>
                </a:lnTo>
                <a:lnTo>
                  <a:pt x="1222" y="246"/>
                </a:lnTo>
                <a:lnTo>
                  <a:pt x="1217" y="241"/>
                </a:lnTo>
                <a:lnTo>
                  <a:pt x="1225" y="238"/>
                </a:lnTo>
                <a:lnTo>
                  <a:pt x="1218" y="240"/>
                </a:lnTo>
                <a:lnTo>
                  <a:pt x="1206" y="234"/>
                </a:lnTo>
                <a:lnTo>
                  <a:pt x="1207" y="233"/>
                </a:lnTo>
                <a:lnTo>
                  <a:pt x="1214" y="235"/>
                </a:lnTo>
                <a:lnTo>
                  <a:pt x="1207" y="230"/>
                </a:lnTo>
                <a:lnTo>
                  <a:pt x="1206" y="230"/>
                </a:lnTo>
                <a:lnTo>
                  <a:pt x="1209" y="230"/>
                </a:lnTo>
                <a:lnTo>
                  <a:pt x="1207" y="227"/>
                </a:lnTo>
                <a:lnTo>
                  <a:pt x="1224" y="226"/>
                </a:lnTo>
                <a:lnTo>
                  <a:pt x="1244" y="230"/>
                </a:lnTo>
                <a:lnTo>
                  <a:pt x="1251" y="229"/>
                </a:lnTo>
                <a:lnTo>
                  <a:pt x="1260" y="235"/>
                </a:lnTo>
                <a:lnTo>
                  <a:pt x="1258" y="242"/>
                </a:lnTo>
                <a:lnTo>
                  <a:pt x="1254" y="245"/>
                </a:lnTo>
                <a:lnTo>
                  <a:pt x="1255" y="248"/>
                </a:lnTo>
                <a:lnTo>
                  <a:pt x="1262" y="242"/>
                </a:lnTo>
                <a:lnTo>
                  <a:pt x="1286" y="242"/>
                </a:lnTo>
                <a:lnTo>
                  <a:pt x="1284" y="241"/>
                </a:lnTo>
                <a:lnTo>
                  <a:pt x="1287" y="242"/>
                </a:lnTo>
                <a:lnTo>
                  <a:pt x="1292" y="242"/>
                </a:lnTo>
                <a:lnTo>
                  <a:pt x="1298" y="245"/>
                </a:lnTo>
                <a:lnTo>
                  <a:pt x="1317" y="250"/>
                </a:lnTo>
                <a:lnTo>
                  <a:pt x="1301" y="253"/>
                </a:lnTo>
                <a:lnTo>
                  <a:pt x="1304" y="254"/>
                </a:lnTo>
                <a:lnTo>
                  <a:pt x="1300" y="254"/>
                </a:lnTo>
                <a:lnTo>
                  <a:pt x="1301" y="253"/>
                </a:lnTo>
                <a:lnTo>
                  <a:pt x="1282" y="250"/>
                </a:lnTo>
                <a:lnTo>
                  <a:pt x="1296" y="256"/>
                </a:lnTo>
                <a:lnTo>
                  <a:pt x="1293" y="258"/>
                </a:lnTo>
                <a:lnTo>
                  <a:pt x="1288" y="258"/>
                </a:lnTo>
                <a:lnTo>
                  <a:pt x="1291" y="261"/>
                </a:lnTo>
                <a:lnTo>
                  <a:pt x="1295" y="258"/>
                </a:lnTo>
                <a:lnTo>
                  <a:pt x="1300" y="258"/>
                </a:lnTo>
                <a:lnTo>
                  <a:pt x="1298" y="261"/>
                </a:lnTo>
                <a:lnTo>
                  <a:pt x="1306" y="257"/>
                </a:lnTo>
                <a:lnTo>
                  <a:pt x="1310" y="261"/>
                </a:lnTo>
                <a:lnTo>
                  <a:pt x="1308" y="264"/>
                </a:lnTo>
                <a:lnTo>
                  <a:pt x="1311" y="261"/>
                </a:lnTo>
                <a:lnTo>
                  <a:pt x="1313" y="264"/>
                </a:lnTo>
                <a:lnTo>
                  <a:pt x="1313" y="269"/>
                </a:lnTo>
                <a:lnTo>
                  <a:pt x="1309" y="274"/>
                </a:lnTo>
                <a:lnTo>
                  <a:pt x="1310" y="274"/>
                </a:lnTo>
                <a:lnTo>
                  <a:pt x="1317" y="272"/>
                </a:lnTo>
                <a:lnTo>
                  <a:pt x="1321" y="278"/>
                </a:lnTo>
                <a:lnTo>
                  <a:pt x="1324" y="278"/>
                </a:lnTo>
                <a:lnTo>
                  <a:pt x="1321" y="270"/>
                </a:lnTo>
                <a:lnTo>
                  <a:pt x="1322" y="268"/>
                </a:lnTo>
                <a:lnTo>
                  <a:pt x="1329" y="271"/>
                </a:lnTo>
                <a:lnTo>
                  <a:pt x="1329" y="272"/>
                </a:lnTo>
                <a:lnTo>
                  <a:pt x="1337" y="271"/>
                </a:lnTo>
                <a:lnTo>
                  <a:pt x="1341" y="272"/>
                </a:lnTo>
                <a:lnTo>
                  <a:pt x="1341" y="271"/>
                </a:lnTo>
                <a:lnTo>
                  <a:pt x="1344" y="270"/>
                </a:lnTo>
                <a:lnTo>
                  <a:pt x="1346" y="270"/>
                </a:lnTo>
                <a:lnTo>
                  <a:pt x="1359" y="275"/>
                </a:lnTo>
                <a:lnTo>
                  <a:pt x="1355" y="278"/>
                </a:lnTo>
                <a:lnTo>
                  <a:pt x="1368" y="275"/>
                </a:lnTo>
                <a:lnTo>
                  <a:pt x="1362" y="272"/>
                </a:lnTo>
                <a:lnTo>
                  <a:pt x="1373" y="272"/>
                </a:lnTo>
                <a:lnTo>
                  <a:pt x="1377" y="268"/>
                </a:lnTo>
                <a:lnTo>
                  <a:pt x="1385" y="269"/>
                </a:lnTo>
                <a:lnTo>
                  <a:pt x="1382" y="268"/>
                </a:lnTo>
                <a:lnTo>
                  <a:pt x="1393" y="264"/>
                </a:lnTo>
                <a:lnTo>
                  <a:pt x="1403" y="268"/>
                </a:lnTo>
                <a:lnTo>
                  <a:pt x="1418" y="266"/>
                </a:lnTo>
                <a:lnTo>
                  <a:pt x="1429" y="266"/>
                </a:lnTo>
                <a:lnTo>
                  <a:pt x="1434" y="267"/>
                </a:lnTo>
                <a:lnTo>
                  <a:pt x="1433" y="270"/>
                </a:lnTo>
                <a:lnTo>
                  <a:pt x="1443" y="270"/>
                </a:lnTo>
                <a:lnTo>
                  <a:pt x="1452" y="274"/>
                </a:lnTo>
                <a:lnTo>
                  <a:pt x="1445" y="278"/>
                </a:lnTo>
                <a:lnTo>
                  <a:pt x="1456" y="278"/>
                </a:lnTo>
                <a:lnTo>
                  <a:pt x="1459" y="281"/>
                </a:lnTo>
                <a:lnTo>
                  <a:pt x="1456" y="282"/>
                </a:lnTo>
                <a:lnTo>
                  <a:pt x="1460" y="282"/>
                </a:lnTo>
                <a:lnTo>
                  <a:pt x="1459" y="284"/>
                </a:lnTo>
                <a:lnTo>
                  <a:pt x="1445" y="286"/>
                </a:lnTo>
                <a:lnTo>
                  <a:pt x="1448" y="287"/>
                </a:lnTo>
                <a:lnTo>
                  <a:pt x="1447" y="290"/>
                </a:lnTo>
                <a:lnTo>
                  <a:pt x="1456" y="287"/>
                </a:lnTo>
                <a:lnTo>
                  <a:pt x="1461" y="291"/>
                </a:lnTo>
                <a:lnTo>
                  <a:pt x="1452" y="294"/>
                </a:lnTo>
                <a:lnTo>
                  <a:pt x="1447" y="290"/>
                </a:lnTo>
                <a:lnTo>
                  <a:pt x="1447" y="290"/>
                </a:lnTo>
                <a:lnTo>
                  <a:pt x="1445" y="291"/>
                </a:lnTo>
                <a:lnTo>
                  <a:pt x="1449" y="292"/>
                </a:lnTo>
                <a:lnTo>
                  <a:pt x="1448" y="302"/>
                </a:lnTo>
                <a:lnTo>
                  <a:pt x="1434" y="302"/>
                </a:lnTo>
                <a:lnTo>
                  <a:pt x="1425" y="303"/>
                </a:lnTo>
                <a:lnTo>
                  <a:pt x="1408" y="301"/>
                </a:lnTo>
                <a:lnTo>
                  <a:pt x="1403" y="297"/>
                </a:lnTo>
                <a:lnTo>
                  <a:pt x="1405" y="294"/>
                </a:lnTo>
                <a:lnTo>
                  <a:pt x="1405" y="291"/>
                </a:lnTo>
                <a:lnTo>
                  <a:pt x="1397" y="291"/>
                </a:lnTo>
                <a:lnTo>
                  <a:pt x="1397" y="291"/>
                </a:lnTo>
                <a:lnTo>
                  <a:pt x="1401" y="294"/>
                </a:lnTo>
                <a:lnTo>
                  <a:pt x="1400" y="301"/>
                </a:lnTo>
                <a:lnTo>
                  <a:pt x="1388" y="302"/>
                </a:lnTo>
                <a:lnTo>
                  <a:pt x="1380" y="302"/>
                </a:lnTo>
                <a:lnTo>
                  <a:pt x="1373" y="297"/>
                </a:lnTo>
                <a:lnTo>
                  <a:pt x="1373" y="298"/>
                </a:lnTo>
                <a:lnTo>
                  <a:pt x="1373" y="302"/>
                </a:lnTo>
                <a:lnTo>
                  <a:pt x="1369" y="297"/>
                </a:lnTo>
                <a:lnTo>
                  <a:pt x="1370" y="301"/>
                </a:lnTo>
                <a:lnTo>
                  <a:pt x="1369" y="302"/>
                </a:lnTo>
                <a:lnTo>
                  <a:pt x="1361" y="303"/>
                </a:lnTo>
                <a:lnTo>
                  <a:pt x="1361" y="301"/>
                </a:lnTo>
                <a:lnTo>
                  <a:pt x="1359" y="298"/>
                </a:lnTo>
                <a:lnTo>
                  <a:pt x="1357" y="303"/>
                </a:lnTo>
                <a:lnTo>
                  <a:pt x="1352" y="298"/>
                </a:lnTo>
                <a:lnTo>
                  <a:pt x="1353" y="303"/>
                </a:lnTo>
                <a:lnTo>
                  <a:pt x="1325" y="302"/>
                </a:lnTo>
                <a:lnTo>
                  <a:pt x="1325" y="298"/>
                </a:lnTo>
                <a:lnTo>
                  <a:pt x="1328" y="294"/>
                </a:lnTo>
                <a:lnTo>
                  <a:pt x="1326" y="291"/>
                </a:lnTo>
                <a:lnTo>
                  <a:pt x="1321" y="297"/>
                </a:lnTo>
                <a:lnTo>
                  <a:pt x="1321" y="294"/>
                </a:lnTo>
                <a:lnTo>
                  <a:pt x="1318" y="292"/>
                </a:lnTo>
                <a:lnTo>
                  <a:pt x="1321" y="296"/>
                </a:lnTo>
                <a:lnTo>
                  <a:pt x="1319" y="298"/>
                </a:lnTo>
                <a:lnTo>
                  <a:pt x="1317" y="298"/>
                </a:lnTo>
                <a:lnTo>
                  <a:pt x="1317" y="298"/>
                </a:lnTo>
                <a:lnTo>
                  <a:pt x="1312" y="301"/>
                </a:lnTo>
                <a:lnTo>
                  <a:pt x="1306" y="302"/>
                </a:lnTo>
                <a:lnTo>
                  <a:pt x="1296" y="298"/>
                </a:lnTo>
                <a:lnTo>
                  <a:pt x="1295" y="295"/>
                </a:lnTo>
                <a:lnTo>
                  <a:pt x="1290" y="298"/>
                </a:lnTo>
                <a:close/>
                <a:moveTo>
                  <a:pt x="1290" y="262"/>
                </a:moveTo>
                <a:lnTo>
                  <a:pt x="1289" y="262"/>
                </a:lnTo>
                <a:lnTo>
                  <a:pt x="1289" y="263"/>
                </a:lnTo>
                <a:lnTo>
                  <a:pt x="1290" y="262"/>
                </a:lnTo>
                <a:close/>
                <a:moveTo>
                  <a:pt x="1373" y="302"/>
                </a:moveTo>
                <a:lnTo>
                  <a:pt x="1373" y="302"/>
                </a:lnTo>
                <a:lnTo>
                  <a:pt x="1373" y="302"/>
                </a:lnTo>
                <a:lnTo>
                  <a:pt x="1373" y="302"/>
                </a:lnTo>
                <a:close/>
                <a:moveTo>
                  <a:pt x="1303" y="447"/>
                </a:moveTo>
                <a:lnTo>
                  <a:pt x="1303" y="443"/>
                </a:lnTo>
                <a:lnTo>
                  <a:pt x="1298" y="446"/>
                </a:lnTo>
                <a:lnTo>
                  <a:pt x="1296" y="445"/>
                </a:lnTo>
                <a:lnTo>
                  <a:pt x="1295" y="447"/>
                </a:lnTo>
                <a:lnTo>
                  <a:pt x="1298" y="450"/>
                </a:lnTo>
                <a:lnTo>
                  <a:pt x="1300" y="448"/>
                </a:lnTo>
                <a:lnTo>
                  <a:pt x="1299" y="447"/>
                </a:lnTo>
                <a:lnTo>
                  <a:pt x="1302" y="448"/>
                </a:lnTo>
                <a:lnTo>
                  <a:pt x="1303" y="447"/>
                </a:lnTo>
                <a:close/>
                <a:moveTo>
                  <a:pt x="1497" y="474"/>
                </a:moveTo>
                <a:lnTo>
                  <a:pt x="1489" y="488"/>
                </a:lnTo>
                <a:lnTo>
                  <a:pt x="1492" y="493"/>
                </a:lnTo>
                <a:lnTo>
                  <a:pt x="1493" y="499"/>
                </a:lnTo>
                <a:lnTo>
                  <a:pt x="1500" y="500"/>
                </a:lnTo>
                <a:lnTo>
                  <a:pt x="1510" y="499"/>
                </a:lnTo>
                <a:lnTo>
                  <a:pt x="1522" y="493"/>
                </a:lnTo>
                <a:lnTo>
                  <a:pt x="1522" y="490"/>
                </a:lnTo>
                <a:lnTo>
                  <a:pt x="1522" y="482"/>
                </a:lnTo>
                <a:lnTo>
                  <a:pt x="1522" y="477"/>
                </a:lnTo>
                <a:lnTo>
                  <a:pt x="1522" y="474"/>
                </a:lnTo>
                <a:lnTo>
                  <a:pt x="1512" y="473"/>
                </a:lnTo>
                <a:lnTo>
                  <a:pt x="1497" y="474"/>
                </a:lnTo>
                <a:close/>
                <a:moveTo>
                  <a:pt x="1215" y="364"/>
                </a:moveTo>
                <a:lnTo>
                  <a:pt x="1206" y="365"/>
                </a:lnTo>
                <a:lnTo>
                  <a:pt x="1210" y="367"/>
                </a:lnTo>
                <a:lnTo>
                  <a:pt x="1213" y="372"/>
                </a:lnTo>
                <a:lnTo>
                  <a:pt x="1206" y="375"/>
                </a:lnTo>
                <a:lnTo>
                  <a:pt x="1213" y="375"/>
                </a:lnTo>
                <a:lnTo>
                  <a:pt x="1213" y="376"/>
                </a:lnTo>
                <a:lnTo>
                  <a:pt x="1210" y="383"/>
                </a:lnTo>
                <a:lnTo>
                  <a:pt x="1207" y="383"/>
                </a:lnTo>
                <a:lnTo>
                  <a:pt x="1198" y="387"/>
                </a:lnTo>
                <a:lnTo>
                  <a:pt x="1189" y="387"/>
                </a:lnTo>
                <a:lnTo>
                  <a:pt x="1190" y="388"/>
                </a:lnTo>
                <a:lnTo>
                  <a:pt x="1181" y="394"/>
                </a:lnTo>
                <a:lnTo>
                  <a:pt x="1176" y="390"/>
                </a:lnTo>
                <a:lnTo>
                  <a:pt x="1172" y="393"/>
                </a:lnTo>
                <a:lnTo>
                  <a:pt x="1166" y="382"/>
                </a:lnTo>
                <a:lnTo>
                  <a:pt x="1159" y="378"/>
                </a:lnTo>
                <a:lnTo>
                  <a:pt x="1151" y="371"/>
                </a:lnTo>
                <a:lnTo>
                  <a:pt x="1146" y="371"/>
                </a:lnTo>
                <a:lnTo>
                  <a:pt x="1143" y="365"/>
                </a:lnTo>
                <a:lnTo>
                  <a:pt x="1135" y="367"/>
                </a:lnTo>
                <a:lnTo>
                  <a:pt x="1131" y="361"/>
                </a:lnTo>
                <a:lnTo>
                  <a:pt x="1123" y="354"/>
                </a:lnTo>
                <a:lnTo>
                  <a:pt x="1121" y="351"/>
                </a:lnTo>
                <a:lnTo>
                  <a:pt x="1124" y="344"/>
                </a:lnTo>
                <a:lnTo>
                  <a:pt x="1128" y="343"/>
                </a:lnTo>
                <a:lnTo>
                  <a:pt x="1138" y="349"/>
                </a:lnTo>
                <a:lnTo>
                  <a:pt x="1142" y="354"/>
                </a:lnTo>
                <a:lnTo>
                  <a:pt x="1155" y="353"/>
                </a:lnTo>
                <a:lnTo>
                  <a:pt x="1157" y="352"/>
                </a:lnTo>
                <a:lnTo>
                  <a:pt x="1154" y="348"/>
                </a:lnTo>
                <a:lnTo>
                  <a:pt x="1155" y="346"/>
                </a:lnTo>
                <a:lnTo>
                  <a:pt x="1157" y="346"/>
                </a:lnTo>
                <a:lnTo>
                  <a:pt x="1155" y="349"/>
                </a:lnTo>
                <a:lnTo>
                  <a:pt x="1157" y="349"/>
                </a:lnTo>
                <a:lnTo>
                  <a:pt x="1162" y="348"/>
                </a:lnTo>
                <a:lnTo>
                  <a:pt x="1158" y="341"/>
                </a:lnTo>
                <a:lnTo>
                  <a:pt x="1155" y="343"/>
                </a:lnTo>
                <a:lnTo>
                  <a:pt x="1154" y="342"/>
                </a:lnTo>
                <a:lnTo>
                  <a:pt x="1155" y="339"/>
                </a:lnTo>
                <a:lnTo>
                  <a:pt x="1162" y="342"/>
                </a:lnTo>
                <a:lnTo>
                  <a:pt x="1165" y="342"/>
                </a:lnTo>
                <a:lnTo>
                  <a:pt x="1155" y="337"/>
                </a:lnTo>
                <a:lnTo>
                  <a:pt x="1154" y="338"/>
                </a:lnTo>
                <a:lnTo>
                  <a:pt x="1147" y="338"/>
                </a:lnTo>
                <a:lnTo>
                  <a:pt x="1136" y="332"/>
                </a:lnTo>
                <a:lnTo>
                  <a:pt x="1147" y="328"/>
                </a:lnTo>
                <a:lnTo>
                  <a:pt x="1152" y="330"/>
                </a:lnTo>
                <a:lnTo>
                  <a:pt x="1154" y="328"/>
                </a:lnTo>
                <a:lnTo>
                  <a:pt x="1145" y="325"/>
                </a:lnTo>
                <a:lnTo>
                  <a:pt x="1146" y="324"/>
                </a:lnTo>
                <a:lnTo>
                  <a:pt x="1154" y="321"/>
                </a:lnTo>
                <a:lnTo>
                  <a:pt x="1159" y="324"/>
                </a:lnTo>
                <a:lnTo>
                  <a:pt x="1163" y="320"/>
                </a:lnTo>
                <a:lnTo>
                  <a:pt x="1157" y="321"/>
                </a:lnTo>
                <a:lnTo>
                  <a:pt x="1162" y="318"/>
                </a:lnTo>
                <a:lnTo>
                  <a:pt x="1172" y="325"/>
                </a:lnTo>
                <a:lnTo>
                  <a:pt x="1187" y="324"/>
                </a:lnTo>
                <a:lnTo>
                  <a:pt x="1192" y="320"/>
                </a:lnTo>
                <a:lnTo>
                  <a:pt x="1202" y="321"/>
                </a:lnTo>
                <a:lnTo>
                  <a:pt x="1206" y="326"/>
                </a:lnTo>
                <a:lnTo>
                  <a:pt x="1202" y="330"/>
                </a:lnTo>
                <a:lnTo>
                  <a:pt x="1193" y="330"/>
                </a:lnTo>
                <a:lnTo>
                  <a:pt x="1193" y="332"/>
                </a:lnTo>
                <a:lnTo>
                  <a:pt x="1200" y="331"/>
                </a:lnTo>
                <a:lnTo>
                  <a:pt x="1202" y="335"/>
                </a:lnTo>
                <a:lnTo>
                  <a:pt x="1191" y="337"/>
                </a:lnTo>
                <a:lnTo>
                  <a:pt x="1181" y="344"/>
                </a:lnTo>
                <a:lnTo>
                  <a:pt x="1181" y="349"/>
                </a:lnTo>
                <a:lnTo>
                  <a:pt x="1189" y="344"/>
                </a:lnTo>
                <a:lnTo>
                  <a:pt x="1199" y="347"/>
                </a:lnTo>
                <a:lnTo>
                  <a:pt x="1201" y="348"/>
                </a:lnTo>
                <a:lnTo>
                  <a:pt x="1201" y="349"/>
                </a:lnTo>
                <a:lnTo>
                  <a:pt x="1203" y="352"/>
                </a:lnTo>
                <a:lnTo>
                  <a:pt x="1202" y="355"/>
                </a:lnTo>
                <a:lnTo>
                  <a:pt x="1210" y="352"/>
                </a:lnTo>
                <a:lnTo>
                  <a:pt x="1215" y="364"/>
                </a:lnTo>
                <a:close/>
                <a:moveTo>
                  <a:pt x="1185" y="385"/>
                </a:moveTo>
                <a:lnTo>
                  <a:pt x="1183" y="383"/>
                </a:lnTo>
                <a:lnTo>
                  <a:pt x="1185" y="378"/>
                </a:lnTo>
                <a:lnTo>
                  <a:pt x="1185" y="376"/>
                </a:lnTo>
                <a:lnTo>
                  <a:pt x="1182" y="383"/>
                </a:lnTo>
                <a:lnTo>
                  <a:pt x="1185" y="385"/>
                </a:lnTo>
                <a:close/>
                <a:moveTo>
                  <a:pt x="1254" y="297"/>
                </a:moveTo>
                <a:lnTo>
                  <a:pt x="1257" y="291"/>
                </a:lnTo>
                <a:lnTo>
                  <a:pt x="1255" y="279"/>
                </a:lnTo>
                <a:lnTo>
                  <a:pt x="1243" y="269"/>
                </a:lnTo>
                <a:lnTo>
                  <a:pt x="1235" y="268"/>
                </a:lnTo>
                <a:lnTo>
                  <a:pt x="1222" y="276"/>
                </a:lnTo>
                <a:lnTo>
                  <a:pt x="1224" y="278"/>
                </a:lnTo>
                <a:lnTo>
                  <a:pt x="1222" y="278"/>
                </a:lnTo>
                <a:lnTo>
                  <a:pt x="1218" y="279"/>
                </a:lnTo>
                <a:lnTo>
                  <a:pt x="1221" y="280"/>
                </a:lnTo>
                <a:lnTo>
                  <a:pt x="1212" y="283"/>
                </a:lnTo>
                <a:lnTo>
                  <a:pt x="1209" y="286"/>
                </a:lnTo>
                <a:lnTo>
                  <a:pt x="1209" y="290"/>
                </a:lnTo>
                <a:lnTo>
                  <a:pt x="1213" y="290"/>
                </a:lnTo>
                <a:lnTo>
                  <a:pt x="1213" y="291"/>
                </a:lnTo>
                <a:lnTo>
                  <a:pt x="1217" y="287"/>
                </a:lnTo>
                <a:lnTo>
                  <a:pt x="1217" y="290"/>
                </a:lnTo>
                <a:lnTo>
                  <a:pt x="1218" y="291"/>
                </a:lnTo>
                <a:lnTo>
                  <a:pt x="1240" y="298"/>
                </a:lnTo>
                <a:lnTo>
                  <a:pt x="1254" y="297"/>
                </a:lnTo>
                <a:close/>
                <a:moveTo>
                  <a:pt x="2510" y="745"/>
                </a:moveTo>
                <a:lnTo>
                  <a:pt x="2514" y="743"/>
                </a:lnTo>
                <a:lnTo>
                  <a:pt x="2508" y="745"/>
                </a:lnTo>
                <a:lnTo>
                  <a:pt x="2510" y="745"/>
                </a:lnTo>
                <a:close/>
                <a:moveTo>
                  <a:pt x="1229" y="302"/>
                </a:moveTo>
                <a:lnTo>
                  <a:pt x="1225" y="298"/>
                </a:lnTo>
                <a:lnTo>
                  <a:pt x="1221" y="301"/>
                </a:lnTo>
                <a:lnTo>
                  <a:pt x="1229" y="302"/>
                </a:lnTo>
                <a:close/>
                <a:moveTo>
                  <a:pt x="1349" y="486"/>
                </a:moveTo>
                <a:lnTo>
                  <a:pt x="1354" y="487"/>
                </a:lnTo>
                <a:lnTo>
                  <a:pt x="1357" y="485"/>
                </a:lnTo>
                <a:lnTo>
                  <a:pt x="1353" y="476"/>
                </a:lnTo>
                <a:lnTo>
                  <a:pt x="1353" y="474"/>
                </a:lnTo>
                <a:lnTo>
                  <a:pt x="1352" y="473"/>
                </a:lnTo>
                <a:lnTo>
                  <a:pt x="1347" y="479"/>
                </a:lnTo>
                <a:lnTo>
                  <a:pt x="1351" y="481"/>
                </a:lnTo>
                <a:lnTo>
                  <a:pt x="1349" y="482"/>
                </a:lnTo>
                <a:lnTo>
                  <a:pt x="1349" y="486"/>
                </a:lnTo>
                <a:close/>
                <a:moveTo>
                  <a:pt x="1498" y="443"/>
                </a:moveTo>
                <a:lnTo>
                  <a:pt x="1493" y="443"/>
                </a:lnTo>
                <a:lnTo>
                  <a:pt x="1489" y="445"/>
                </a:lnTo>
                <a:lnTo>
                  <a:pt x="1488" y="449"/>
                </a:lnTo>
                <a:lnTo>
                  <a:pt x="1489" y="455"/>
                </a:lnTo>
                <a:lnTo>
                  <a:pt x="1494" y="455"/>
                </a:lnTo>
                <a:lnTo>
                  <a:pt x="1498" y="447"/>
                </a:lnTo>
                <a:lnTo>
                  <a:pt x="1498" y="443"/>
                </a:lnTo>
                <a:close/>
                <a:moveTo>
                  <a:pt x="2520" y="701"/>
                </a:moveTo>
                <a:lnTo>
                  <a:pt x="2512" y="706"/>
                </a:lnTo>
                <a:lnTo>
                  <a:pt x="2513" y="707"/>
                </a:lnTo>
                <a:lnTo>
                  <a:pt x="2510" y="709"/>
                </a:lnTo>
                <a:lnTo>
                  <a:pt x="2510" y="708"/>
                </a:lnTo>
                <a:lnTo>
                  <a:pt x="2508" y="708"/>
                </a:lnTo>
                <a:lnTo>
                  <a:pt x="2508" y="712"/>
                </a:lnTo>
                <a:lnTo>
                  <a:pt x="2508" y="716"/>
                </a:lnTo>
                <a:lnTo>
                  <a:pt x="2508" y="716"/>
                </a:lnTo>
                <a:lnTo>
                  <a:pt x="2512" y="717"/>
                </a:lnTo>
                <a:lnTo>
                  <a:pt x="2508" y="717"/>
                </a:lnTo>
                <a:lnTo>
                  <a:pt x="2510" y="719"/>
                </a:lnTo>
                <a:lnTo>
                  <a:pt x="2514" y="716"/>
                </a:lnTo>
                <a:lnTo>
                  <a:pt x="2514" y="716"/>
                </a:lnTo>
                <a:lnTo>
                  <a:pt x="2516" y="716"/>
                </a:lnTo>
                <a:lnTo>
                  <a:pt x="2518" y="712"/>
                </a:lnTo>
                <a:lnTo>
                  <a:pt x="2518" y="712"/>
                </a:lnTo>
                <a:lnTo>
                  <a:pt x="2515" y="712"/>
                </a:lnTo>
                <a:lnTo>
                  <a:pt x="2514" y="712"/>
                </a:lnTo>
                <a:lnTo>
                  <a:pt x="2514" y="712"/>
                </a:lnTo>
                <a:lnTo>
                  <a:pt x="2515" y="712"/>
                </a:lnTo>
                <a:lnTo>
                  <a:pt x="2522" y="708"/>
                </a:lnTo>
                <a:lnTo>
                  <a:pt x="2519" y="708"/>
                </a:lnTo>
                <a:lnTo>
                  <a:pt x="2522" y="703"/>
                </a:lnTo>
                <a:lnTo>
                  <a:pt x="2520" y="701"/>
                </a:lnTo>
                <a:close/>
                <a:moveTo>
                  <a:pt x="2516" y="639"/>
                </a:moveTo>
                <a:lnTo>
                  <a:pt x="2516" y="637"/>
                </a:lnTo>
                <a:lnTo>
                  <a:pt x="2512" y="634"/>
                </a:lnTo>
                <a:lnTo>
                  <a:pt x="2516" y="639"/>
                </a:lnTo>
                <a:close/>
                <a:moveTo>
                  <a:pt x="1410" y="435"/>
                </a:moveTo>
                <a:lnTo>
                  <a:pt x="1415" y="436"/>
                </a:lnTo>
                <a:lnTo>
                  <a:pt x="1410" y="433"/>
                </a:lnTo>
                <a:lnTo>
                  <a:pt x="1410" y="435"/>
                </a:lnTo>
                <a:close/>
                <a:moveTo>
                  <a:pt x="1414" y="432"/>
                </a:moveTo>
                <a:lnTo>
                  <a:pt x="1414" y="431"/>
                </a:lnTo>
                <a:lnTo>
                  <a:pt x="1414" y="431"/>
                </a:lnTo>
                <a:lnTo>
                  <a:pt x="1412" y="431"/>
                </a:lnTo>
                <a:lnTo>
                  <a:pt x="1416" y="433"/>
                </a:lnTo>
                <a:lnTo>
                  <a:pt x="1414" y="432"/>
                </a:lnTo>
                <a:close/>
                <a:moveTo>
                  <a:pt x="1123" y="443"/>
                </a:moveTo>
                <a:lnTo>
                  <a:pt x="1120" y="442"/>
                </a:lnTo>
                <a:lnTo>
                  <a:pt x="1120" y="443"/>
                </a:lnTo>
                <a:lnTo>
                  <a:pt x="1123" y="443"/>
                </a:lnTo>
                <a:close/>
                <a:moveTo>
                  <a:pt x="1357" y="166"/>
                </a:moveTo>
                <a:lnTo>
                  <a:pt x="1376" y="162"/>
                </a:lnTo>
                <a:lnTo>
                  <a:pt x="1365" y="160"/>
                </a:lnTo>
                <a:lnTo>
                  <a:pt x="1357" y="166"/>
                </a:lnTo>
                <a:close/>
                <a:moveTo>
                  <a:pt x="1352" y="146"/>
                </a:moveTo>
                <a:lnTo>
                  <a:pt x="1353" y="146"/>
                </a:lnTo>
                <a:lnTo>
                  <a:pt x="1354" y="145"/>
                </a:lnTo>
                <a:lnTo>
                  <a:pt x="1352" y="146"/>
                </a:lnTo>
                <a:close/>
                <a:moveTo>
                  <a:pt x="1321" y="120"/>
                </a:moveTo>
                <a:lnTo>
                  <a:pt x="1330" y="123"/>
                </a:lnTo>
                <a:lnTo>
                  <a:pt x="1332" y="126"/>
                </a:lnTo>
                <a:lnTo>
                  <a:pt x="1340" y="124"/>
                </a:lnTo>
                <a:lnTo>
                  <a:pt x="1340" y="118"/>
                </a:lnTo>
                <a:lnTo>
                  <a:pt x="1321" y="118"/>
                </a:lnTo>
                <a:lnTo>
                  <a:pt x="1321" y="120"/>
                </a:lnTo>
                <a:close/>
                <a:moveTo>
                  <a:pt x="1207" y="126"/>
                </a:moveTo>
                <a:lnTo>
                  <a:pt x="1214" y="127"/>
                </a:lnTo>
                <a:lnTo>
                  <a:pt x="1209" y="130"/>
                </a:lnTo>
                <a:lnTo>
                  <a:pt x="1217" y="132"/>
                </a:lnTo>
                <a:lnTo>
                  <a:pt x="1210" y="134"/>
                </a:lnTo>
                <a:lnTo>
                  <a:pt x="1222" y="141"/>
                </a:lnTo>
                <a:lnTo>
                  <a:pt x="1244" y="137"/>
                </a:lnTo>
                <a:lnTo>
                  <a:pt x="1237" y="142"/>
                </a:lnTo>
                <a:lnTo>
                  <a:pt x="1224" y="146"/>
                </a:lnTo>
                <a:lnTo>
                  <a:pt x="1222" y="149"/>
                </a:lnTo>
                <a:lnTo>
                  <a:pt x="1229" y="151"/>
                </a:lnTo>
                <a:lnTo>
                  <a:pt x="1232" y="153"/>
                </a:lnTo>
                <a:lnTo>
                  <a:pt x="1241" y="153"/>
                </a:lnTo>
                <a:lnTo>
                  <a:pt x="1243" y="151"/>
                </a:lnTo>
                <a:lnTo>
                  <a:pt x="1241" y="150"/>
                </a:lnTo>
                <a:lnTo>
                  <a:pt x="1243" y="150"/>
                </a:lnTo>
                <a:lnTo>
                  <a:pt x="1247" y="152"/>
                </a:lnTo>
                <a:lnTo>
                  <a:pt x="1245" y="154"/>
                </a:lnTo>
                <a:lnTo>
                  <a:pt x="1250" y="154"/>
                </a:lnTo>
                <a:lnTo>
                  <a:pt x="1257" y="150"/>
                </a:lnTo>
                <a:lnTo>
                  <a:pt x="1257" y="150"/>
                </a:lnTo>
                <a:lnTo>
                  <a:pt x="1257" y="154"/>
                </a:lnTo>
                <a:lnTo>
                  <a:pt x="1262" y="154"/>
                </a:lnTo>
                <a:lnTo>
                  <a:pt x="1260" y="150"/>
                </a:lnTo>
                <a:lnTo>
                  <a:pt x="1262" y="150"/>
                </a:lnTo>
                <a:lnTo>
                  <a:pt x="1265" y="150"/>
                </a:lnTo>
                <a:lnTo>
                  <a:pt x="1273" y="150"/>
                </a:lnTo>
                <a:lnTo>
                  <a:pt x="1268" y="151"/>
                </a:lnTo>
                <a:lnTo>
                  <a:pt x="1274" y="153"/>
                </a:lnTo>
                <a:lnTo>
                  <a:pt x="1290" y="151"/>
                </a:lnTo>
                <a:lnTo>
                  <a:pt x="1266" y="155"/>
                </a:lnTo>
                <a:lnTo>
                  <a:pt x="1273" y="158"/>
                </a:lnTo>
                <a:lnTo>
                  <a:pt x="1300" y="158"/>
                </a:lnTo>
                <a:lnTo>
                  <a:pt x="1258" y="159"/>
                </a:lnTo>
                <a:lnTo>
                  <a:pt x="1244" y="165"/>
                </a:lnTo>
                <a:lnTo>
                  <a:pt x="1250" y="169"/>
                </a:lnTo>
                <a:lnTo>
                  <a:pt x="1262" y="170"/>
                </a:lnTo>
                <a:lnTo>
                  <a:pt x="1250" y="170"/>
                </a:lnTo>
                <a:lnTo>
                  <a:pt x="1258" y="176"/>
                </a:lnTo>
                <a:lnTo>
                  <a:pt x="1265" y="175"/>
                </a:lnTo>
                <a:lnTo>
                  <a:pt x="1282" y="177"/>
                </a:lnTo>
                <a:lnTo>
                  <a:pt x="1263" y="180"/>
                </a:lnTo>
                <a:lnTo>
                  <a:pt x="1269" y="184"/>
                </a:lnTo>
                <a:lnTo>
                  <a:pt x="1276" y="188"/>
                </a:lnTo>
                <a:lnTo>
                  <a:pt x="1300" y="192"/>
                </a:lnTo>
                <a:lnTo>
                  <a:pt x="1302" y="190"/>
                </a:lnTo>
                <a:lnTo>
                  <a:pt x="1295" y="186"/>
                </a:lnTo>
                <a:lnTo>
                  <a:pt x="1303" y="186"/>
                </a:lnTo>
                <a:lnTo>
                  <a:pt x="1314" y="190"/>
                </a:lnTo>
                <a:lnTo>
                  <a:pt x="1309" y="184"/>
                </a:lnTo>
                <a:lnTo>
                  <a:pt x="1306" y="181"/>
                </a:lnTo>
                <a:lnTo>
                  <a:pt x="1304" y="177"/>
                </a:lnTo>
                <a:lnTo>
                  <a:pt x="1306" y="175"/>
                </a:lnTo>
                <a:lnTo>
                  <a:pt x="1317" y="188"/>
                </a:lnTo>
                <a:lnTo>
                  <a:pt x="1322" y="192"/>
                </a:lnTo>
                <a:lnTo>
                  <a:pt x="1326" y="181"/>
                </a:lnTo>
                <a:lnTo>
                  <a:pt x="1324" y="175"/>
                </a:lnTo>
                <a:lnTo>
                  <a:pt x="1326" y="176"/>
                </a:lnTo>
                <a:lnTo>
                  <a:pt x="1332" y="181"/>
                </a:lnTo>
                <a:lnTo>
                  <a:pt x="1328" y="187"/>
                </a:lnTo>
                <a:lnTo>
                  <a:pt x="1332" y="188"/>
                </a:lnTo>
                <a:lnTo>
                  <a:pt x="1335" y="182"/>
                </a:lnTo>
                <a:lnTo>
                  <a:pt x="1332" y="182"/>
                </a:lnTo>
                <a:lnTo>
                  <a:pt x="1336" y="178"/>
                </a:lnTo>
                <a:lnTo>
                  <a:pt x="1332" y="170"/>
                </a:lnTo>
                <a:lnTo>
                  <a:pt x="1333" y="164"/>
                </a:lnTo>
                <a:lnTo>
                  <a:pt x="1333" y="169"/>
                </a:lnTo>
                <a:lnTo>
                  <a:pt x="1338" y="175"/>
                </a:lnTo>
                <a:lnTo>
                  <a:pt x="1345" y="165"/>
                </a:lnTo>
                <a:lnTo>
                  <a:pt x="1345" y="160"/>
                </a:lnTo>
                <a:lnTo>
                  <a:pt x="1352" y="164"/>
                </a:lnTo>
                <a:lnTo>
                  <a:pt x="1356" y="160"/>
                </a:lnTo>
                <a:lnTo>
                  <a:pt x="1379" y="155"/>
                </a:lnTo>
                <a:lnTo>
                  <a:pt x="1368" y="146"/>
                </a:lnTo>
                <a:lnTo>
                  <a:pt x="1366" y="146"/>
                </a:lnTo>
                <a:lnTo>
                  <a:pt x="1363" y="152"/>
                </a:lnTo>
                <a:lnTo>
                  <a:pt x="1362" y="150"/>
                </a:lnTo>
                <a:lnTo>
                  <a:pt x="1361" y="150"/>
                </a:lnTo>
                <a:lnTo>
                  <a:pt x="1361" y="143"/>
                </a:lnTo>
                <a:lnTo>
                  <a:pt x="1359" y="146"/>
                </a:lnTo>
                <a:lnTo>
                  <a:pt x="1353" y="146"/>
                </a:lnTo>
                <a:lnTo>
                  <a:pt x="1352" y="147"/>
                </a:lnTo>
                <a:lnTo>
                  <a:pt x="1348" y="143"/>
                </a:lnTo>
                <a:lnTo>
                  <a:pt x="1343" y="146"/>
                </a:lnTo>
                <a:lnTo>
                  <a:pt x="1347" y="142"/>
                </a:lnTo>
                <a:lnTo>
                  <a:pt x="1348" y="132"/>
                </a:lnTo>
                <a:lnTo>
                  <a:pt x="1343" y="135"/>
                </a:lnTo>
                <a:lnTo>
                  <a:pt x="1348" y="131"/>
                </a:lnTo>
                <a:lnTo>
                  <a:pt x="1346" y="127"/>
                </a:lnTo>
                <a:lnTo>
                  <a:pt x="1333" y="126"/>
                </a:lnTo>
                <a:lnTo>
                  <a:pt x="1324" y="126"/>
                </a:lnTo>
                <a:lnTo>
                  <a:pt x="1317" y="121"/>
                </a:lnTo>
                <a:lnTo>
                  <a:pt x="1319" y="118"/>
                </a:lnTo>
                <a:lnTo>
                  <a:pt x="1317" y="118"/>
                </a:lnTo>
                <a:lnTo>
                  <a:pt x="1319" y="117"/>
                </a:lnTo>
                <a:lnTo>
                  <a:pt x="1317" y="114"/>
                </a:lnTo>
                <a:lnTo>
                  <a:pt x="1309" y="114"/>
                </a:lnTo>
                <a:lnTo>
                  <a:pt x="1309" y="114"/>
                </a:lnTo>
                <a:lnTo>
                  <a:pt x="1295" y="108"/>
                </a:lnTo>
                <a:lnTo>
                  <a:pt x="1296" y="107"/>
                </a:lnTo>
                <a:lnTo>
                  <a:pt x="1290" y="102"/>
                </a:lnTo>
                <a:lnTo>
                  <a:pt x="1284" y="94"/>
                </a:lnTo>
                <a:lnTo>
                  <a:pt x="1277" y="93"/>
                </a:lnTo>
                <a:lnTo>
                  <a:pt x="1281" y="91"/>
                </a:lnTo>
                <a:lnTo>
                  <a:pt x="1279" y="88"/>
                </a:lnTo>
                <a:lnTo>
                  <a:pt x="1253" y="81"/>
                </a:lnTo>
                <a:lnTo>
                  <a:pt x="1253" y="83"/>
                </a:lnTo>
                <a:lnTo>
                  <a:pt x="1244" y="81"/>
                </a:lnTo>
                <a:lnTo>
                  <a:pt x="1242" y="84"/>
                </a:lnTo>
                <a:lnTo>
                  <a:pt x="1261" y="90"/>
                </a:lnTo>
                <a:lnTo>
                  <a:pt x="1258" y="93"/>
                </a:lnTo>
                <a:lnTo>
                  <a:pt x="1244" y="93"/>
                </a:lnTo>
                <a:lnTo>
                  <a:pt x="1248" y="94"/>
                </a:lnTo>
                <a:lnTo>
                  <a:pt x="1243" y="96"/>
                </a:lnTo>
                <a:lnTo>
                  <a:pt x="1237" y="93"/>
                </a:lnTo>
                <a:lnTo>
                  <a:pt x="1231" y="95"/>
                </a:lnTo>
                <a:lnTo>
                  <a:pt x="1226" y="96"/>
                </a:lnTo>
                <a:lnTo>
                  <a:pt x="1231" y="99"/>
                </a:lnTo>
                <a:lnTo>
                  <a:pt x="1225" y="100"/>
                </a:lnTo>
                <a:lnTo>
                  <a:pt x="1245" y="104"/>
                </a:lnTo>
                <a:lnTo>
                  <a:pt x="1237" y="106"/>
                </a:lnTo>
                <a:lnTo>
                  <a:pt x="1250" y="112"/>
                </a:lnTo>
                <a:lnTo>
                  <a:pt x="1232" y="109"/>
                </a:lnTo>
                <a:lnTo>
                  <a:pt x="1232" y="109"/>
                </a:lnTo>
                <a:lnTo>
                  <a:pt x="1232" y="109"/>
                </a:lnTo>
                <a:lnTo>
                  <a:pt x="1218" y="108"/>
                </a:lnTo>
                <a:lnTo>
                  <a:pt x="1218" y="109"/>
                </a:lnTo>
                <a:lnTo>
                  <a:pt x="1217" y="109"/>
                </a:lnTo>
                <a:lnTo>
                  <a:pt x="1219" y="109"/>
                </a:lnTo>
                <a:lnTo>
                  <a:pt x="1222" y="116"/>
                </a:lnTo>
                <a:lnTo>
                  <a:pt x="1226" y="122"/>
                </a:lnTo>
                <a:lnTo>
                  <a:pt x="1209" y="122"/>
                </a:lnTo>
                <a:lnTo>
                  <a:pt x="1221" y="125"/>
                </a:lnTo>
                <a:lnTo>
                  <a:pt x="1229" y="121"/>
                </a:lnTo>
                <a:lnTo>
                  <a:pt x="1224" y="124"/>
                </a:lnTo>
                <a:lnTo>
                  <a:pt x="1228" y="126"/>
                </a:lnTo>
                <a:lnTo>
                  <a:pt x="1247" y="124"/>
                </a:lnTo>
                <a:lnTo>
                  <a:pt x="1237" y="126"/>
                </a:lnTo>
                <a:lnTo>
                  <a:pt x="1243" y="131"/>
                </a:lnTo>
                <a:lnTo>
                  <a:pt x="1214" y="124"/>
                </a:lnTo>
                <a:lnTo>
                  <a:pt x="1207" y="126"/>
                </a:lnTo>
                <a:close/>
                <a:moveTo>
                  <a:pt x="1182" y="180"/>
                </a:moveTo>
                <a:lnTo>
                  <a:pt x="1189" y="183"/>
                </a:lnTo>
                <a:lnTo>
                  <a:pt x="1189" y="187"/>
                </a:lnTo>
                <a:lnTo>
                  <a:pt x="1207" y="192"/>
                </a:lnTo>
                <a:lnTo>
                  <a:pt x="1192" y="194"/>
                </a:lnTo>
                <a:lnTo>
                  <a:pt x="1203" y="198"/>
                </a:lnTo>
                <a:lnTo>
                  <a:pt x="1201" y="199"/>
                </a:lnTo>
                <a:lnTo>
                  <a:pt x="1201" y="200"/>
                </a:lnTo>
                <a:lnTo>
                  <a:pt x="1207" y="203"/>
                </a:lnTo>
                <a:lnTo>
                  <a:pt x="1213" y="202"/>
                </a:lnTo>
                <a:lnTo>
                  <a:pt x="1211" y="202"/>
                </a:lnTo>
                <a:lnTo>
                  <a:pt x="1231" y="197"/>
                </a:lnTo>
                <a:lnTo>
                  <a:pt x="1235" y="192"/>
                </a:lnTo>
                <a:lnTo>
                  <a:pt x="1228" y="188"/>
                </a:lnTo>
                <a:lnTo>
                  <a:pt x="1236" y="184"/>
                </a:lnTo>
                <a:lnTo>
                  <a:pt x="1226" y="178"/>
                </a:lnTo>
                <a:lnTo>
                  <a:pt x="1213" y="178"/>
                </a:lnTo>
                <a:lnTo>
                  <a:pt x="1213" y="175"/>
                </a:lnTo>
                <a:lnTo>
                  <a:pt x="1201" y="172"/>
                </a:lnTo>
                <a:lnTo>
                  <a:pt x="1189" y="169"/>
                </a:lnTo>
                <a:lnTo>
                  <a:pt x="1181" y="170"/>
                </a:lnTo>
                <a:lnTo>
                  <a:pt x="1181" y="175"/>
                </a:lnTo>
                <a:lnTo>
                  <a:pt x="1188" y="177"/>
                </a:lnTo>
                <a:lnTo>
                  <a:pt x="1182" y="180"/>
                </a:lnTo>
                <a:close/>
                <a:moveTo>
                  <a:pt x="1169" y="138"/>
                </a:moveTo>
                <a:lnTo>
                  <a:pt x="1169" y="137"/>
                </a:lnTo>
                <a:lnTo>
                  <a:pt x="1176" y="141"/>
                </a:lnTo>
                <a:lnTo>
                  <a:pt x="1177" y="135"/>
                </a:lnTo>
                <a:lnTo>
                  <a:pt x="1177" y="131"/>
                </a:lnTo>
                <a:lnTo>
                  <a:pt x="1175" y="127"/>
                </a:lnTo>
                <a:lnTo>
                  <a:pt x="1164" y="124"/>
                </a:lnTo>
                <a:lnTo>
                  <a:pt x="1157" y="129"/>
                </a:lnTo>
                <a:lnTo>
                  <a:pt x="1159" y="138"/>
                </a:lnTo>
                <a:lnTo>
                  <a:pt x="1169" y="138"/>
                </a:lnTo>
                <a:close/>
                <a:moveTo>
                  <a:pt x="1184" y="238"/>
                </a:moveTo>
                <a:lnTo>
                  <a:pt x="1181" y="237"/>
                </a:lnTo>
                <a:lnTo>
                  <a:pt x="1177" y="237"/>
                </a:lnTo>
                <a:lnTo>
                  <a:pt x="1184" y="238"/>
                </a:lnTo>
                <a:close/>
                <a:moveTo>
                  <a:pt x="1486" y="200"/>
                </a:moveTo>
                <a:lnTo>
                  <a:pt x="1485" y="199"/>
                </a:lnTo>
                <a:lnTo>
                  <a:pt x="1481" y="200"/>
                </a:lnTo>
                <a:lnTo>
                  <a:pt x="1486" y="200"/>
                </a:lnTo>
                <a:close/>
                <a:moveTo>
                  <a:pt x="1307" y="456"/>
                </a:moveTo>
                <a:lnTo>
                  <a:pt x="1307" y="454"/>
                </a:lnTo>
                <a:lnTo>
                  <a:pt x="1304" y="454"/>
                </a:lnTo>
                <a:lnTo>
                  <a:pt x="1307" y="456"/>
                </a:lnTo>
                <a:close/>
                <a:moveTo>
                  <a:pt x="1307" y="314"/>
                </a:moveTo>
                <a:lnTo>
                  <a:pt x="1302" y="317"/>
                </a:lnTo>
                <a:lnTo>
                  <a:pt x="1306" y="317"/>
                </a:lnTo>
                <a:lnTo>
                  <a:pt x="1307" y="314"/>
                </a:lnTo>
                <a:close/>
                <a:moveTo>
                  <a:pt x="1467" y="258"/>
                </a:moveTo>
                <a:lnTo>
                  <a:pt x="1455" y="262"/>
                </a:lnTo>
                <a:lnTo>
                  <a:pt x="1460" y="264"/>
                </a:lnTo>
                <a:lnTo>
                  <a:pt x="1461" y="261"/>
                </a:lnTo>
                <a:lnTo>
                  <a:pt x="1467" y="263"/>
                </a:lnTo>
                <a:lnTo>
                  <a:pt x="1463" y="261"/>
                </a:lnTo>
                <a:lnTo>
                  <a:pt x="1469" y="258"/>
                </a:lnTo>
                <a:lnTo>
                  <a:pt x="1467" y="258"/>
                </a:lnTo>
                <a:close/>
                <a:moveTo>
                  <a:pt x="1087" y="172"/>
                </a:moveTo>
                <a:lnTo>
                  <a:pt x="1101" y="165"/>
                </a:lnTo>
                <a:lnTo>
                  <a:pt x="1105" y="167"/>
                </a:lnTo>
                <a:lnTo>
                  <a:pt x="1101" y="170"/>
                </a:lnTo>
                <a:lnTo>
                  <a:pt x="1106" y="170"/>
                </a:lnTo>
                <a:lnTo>
                  <a:pt x="1105" y="174"/>
                </a:lnTo>
                <a:lnTo>
                  <a:pt x="1112" y="174"/>
                </a:lnTo>
                <a:lnTo>
                  <a:pt x="1102" y="178"/>
                </a:lnTo>
                <a:lnTo>
                  <a:pt x="1111" y="178"/>
                </a:lnTo>
                <a:lnTo>
                  <a:pt x="1109" y="181"/>
                </a:lnTo>
                <a:lnTo>
                  <a:pt x="1091" y="177"/>
                </a:lnTo>
                <a:lnTo>
                  <a:pt x="1087" y="180"/>
                </a:lnTo>
                <a:lnTo>
                  <a:pt x="1097" y="187"/>
                </a:lnTo>
                <a:lnTo>
                  <a:pt x="1103" y="189"/>
                </a:lnTo>
                <a:lnTo>
                  <a:pt x="1120" y="186"/>
                </a:lnTo>
                <a:lnTo>
                  <a:pt x="1123" y="186"/>
                </a:lnTo>
                <a:lnTo>
                  <a:pt x="1121" y="188"/>
                </a:lnTo>
                <a:lnTo>
                  <a:pt x="1120" y="187"/>
                </a:lnTo>
                <a:lnTo>
                  <a:pt x="1112" y="189"/>
                </a:lnTo>
                <a:lnTo>
                  <a:pt x="1116" y="192"/>
                </a:lnTo>
                <a:lnTo>
                  <a:pt x="1120" y="188"/>
                </a:lnTo>
                <a:lnTo>
                  <a:pt x="1123" y="188"/>
                </a:lnTo>
                <a:lnTo>
                  <a:pt x="1130" y="187"/>
                </a:lnTo>
                <a:lnTo>
                  <a:pt x="1136" y="188"/>
                </a:lnTo>
                <a:lnTo>
                  <a:pt x="1134" y="190"/>
                </a:lnTo>
                <a:lnTo>
                  <a:pt x="1136" y="190"/>
                </a:lnTo>
                <a:lnTo>
                  <a:pt x="1136" y="188"/>
                </a:lnTo>
                <a:lnTo>
                  <a:pt x="1146" y="189"/>
                </a:lnTo>
                <a:lnTo>
                  <a:pt x="1151" y="199"/>
                </a:lnTo>
                <a:lnTo>
                  <a:pt x="1163" y="203"/>
                </a:lnTo>
                <a:lnTo>
                  <a:pt x="1176" y="199"/>
                </a:lnTo>
                <a:lnTo>
                  <a:pt x="1174" y="195"/>
                </a:lnTo>
                <a:lnTo>
                  <a:pt x="1176" y="194"/>
                </a:lnTo>
                <a:lnTo>
                  <a:pt x="1168" y="190"/>
                </a:lnTo>
                <a:lnTo>
                  <a:pt x="1161" y="190"/>
                </a:lnTo>
                <a:lnTo>
                  <a:pt x="1161" y="183"/>
                </a:lnTo>
                <a:lnTo>
                  <a:pt x="1161" y="181"/>
                </a:lnTo>
                <a:lnTo>
                  <a:pt x="1167" y="176"/>
                </a:lnTo>
                <a:lnTo>
                  <a:pt x="1161" y="175"/>
                </a:lnTo>
                <a:lnTo>
                  <a:pt x="1162" y="173"/>
                </a:lnTo>
                <a:lnTo>
                  <a:pt x="1157" y="169"/>
                </a:lnTo>
                <a:lnTo>
                  <a:pt x="1143" y="170"/>
                </a:lnTo>
                <a:lnTo>
                  <a:pt x="1146" y="165"/>
                </a:lnTo>
                <a:lnTo>
                  <a:pt x="1136" y="160"/>
                </a:lnTo>
                <a:lnTo>
                  <a:pt x="1125" y="162"/>
                </a:lnTo>
                <a:lnTo>
                  <a:pt x="1124" y="166"/>
                </a:lnTo>
                <a:lnTo>
                  <a:pt x="1121" y="165"/>
                </a:lnTo>
                <a:lnTo>
                  <a:pt x="1123" y="160"/>
                </a:lnTo>
                <a:lnTo>
                  <a:pt x="1116" y="153"/>
                </a:lnTo>
                <a:lnTo>
                  <a:pt x="1103" y="151"/>
                </a:lnTo>
                <a:lnTo>
                  <a:pt x="1079" y="153"/>
                </a:lnTo>
                <a:lnTo>
                  <a:pt x="1076" y="157"/>
                </a:lnTo>
                <a:lnTo>
                  <a:pt x="1076" y="166"/>
                </a:lnTo>
                <a:lnTo>
                  <a:pt x="1091" y="166"/>
                </a:lnTo>
                <a:lnTo>
                  <a:pt x="1087" y="172"/>
                </a:lnTo>
                <a:close/>
                <a:moveTo>
                  <a:pt x="1527" y="174"/>
                </a:moveTo>
                <a:lnTo>
                  <a:pt x="1533" y="175"/>
                </a:lnTo>
                <a:lnTo>
                  <a:pt x="1536" y="174"/>
                </a:lnTo>
                <a:lnTo>
                  <a:pt x="1527" y="174"/>
                </a:lnTo>
                <a:close/>
                <a:moveTo>
                  <a:pt x="1552" y="386"/>
                </a:moveTo>
                <a:lnTo>
                  <a:pt x="1555" y="388"/>
                </a:lnTo>
                <a:lnTo>
                  <a:pt x="1556" y="386"/>
                </a:lnTo>
                <a:lnTo>
                  <a:pt x="1553" y="385"/>
                </a:lnTo>
                <a:lnTo>
                  <a:pt x="1552" y="386"/>
                </a:lnTo>
                <a:close/>
                <a:moveTo>
                  <a:pt x="1548" y="383"/>
                </a:moveTo>
                <a:lnTo>
                  <a:pt x="1545" y="386"/>
                </a:lnTo>
                <a:lnTo>
                  <a:pt x="1549" y="383"/>
                </a:lnTo>
                <a:lnTo>
                  <a:pt x="1548" y="383"/>
                </a:lnTo>
                <a:close/>
                <a:moveTo>
                  <a:pt x="1499" y="341"/>
                </a:moveTo>
                <a:lnTo>
                  <a:pt x="1499" y="336"/>
                </a:lnTo>
                <a:lnTo>
                  <a:pt x="1494" y="335"/>
                </a:lnTo>
                <a:lnTo>
                  <a:pt x="1492" y="331"/>
                </a:lnTo>
                <a:lnTo>
                  <a:pt x="1488" y="330"/>
                </a:lnTo>
                <a:lnTo>
                  <a:pt x="1477" y="326"/>
                </a:lnTo>
                <a:lnTo>
                  <a:pt x="1460" y="328"/>
                </a:lnTo>
                <a:lnTo>
                  <a:pt x="1441" y="326"/>
                </a:lnTo>
                <a:lnTo>
                  <a:pt x="1438" y="326"/>
                </a:lnTo>
                <a:lnTo>
                  <a:pt x="1438" y="336"/>
                </a:lnTo>
                <a:lnTo>
                  <a:pt x="1446" y="339"/>
                </a:lnTo>
                <a:lnTo>
                  <a:pt x="1446" y="344"/>
                </a:lnTo>
                <a:lnTo>
                  <a:pt x="1451" y="349"/>
                </a:lnTo>
                <a:lnTo>
                  <a:pt x="1458" y="352"/>
                </a:lnTo>
                <a:lnTo>
                  <a:pt x="1477" y="349"/>
                </a:lnTo>
                <a:lnTo>
                  <a:pt x="1500" y="351"/>
                </a:lnTo>
                <a:lnTo>
                  <a:pt x="1507" y="348"/>
                </a:lnTo>
                <a:lnTo>
                  <a:pt x="1502" y="347"/>
                </a:lnTo>
                <a:lnTo>
                  <a:pt x="1502" y="343"/>
                </a:lnTo>
                <a:lnTo>
                  <a:pt x="1499" y="341"/>
                </a:lnTo>
                <a:close/>
                <a:moveTo>
                  <a:pt x="1079" y="217"/>
                </a:moveTo>
                <a:lnTo>
                  <a:pt x="1084" y="221"/>
                </a:lnTo>
                <a:lnTo>
                  <a:pt x="1091" y="223"/>
                </a:lnTo>
                <a:lnTo>
                  <a:pt x="1097" y="223"/>
                </a:lnTo>
                <a:lnTo>
                  <a:pt x="1091" y="218"/>
                </a:lnTo>
                <a:lnTo>
                  <a:pt x="1087" y="218"/>
                </a:lnTo>
                <a:lnTo>
                  <a:pt x="1089" y="213"/>
                </a:lnTo>
                <a:lnTo>
                  <a:pt x="1087" y="211"/>
                </a:lnTo>
                <a:lnTo>
                  <a:pt x="1079" y="203"/>
                </a:lnTo>
                <a:lnTo>
                  <a:pt x="1072" y="204"/>
                </a:lnTo>
                <a:lnTo>
                  <a:pt x="1076" y="207"/>
                </a:lnTo>
                <a:lnTo>
                  <a:pt x="1079" y="217"/>
                </a:lnTo>
                <a:close/>
                <a:moveTo>
                  <a:pt x="964" y="200"/>
                </a:moveTo>
                <a:lnTo>
                  <a:pt x="953" y="193"/>
                </a:lnTo>
                <a:lnTo>
                  <a:pt x="942" y="195"/>
                </a:lnTo>
                <a:lnTo>
                  <a:pt x="955" y="204"/>
                </a:lnTo>
                <a:lnTo>
                  <a:pt x="964" y="200"/>
                </a:lnTo>
                <a:close/>
                <a:moveTo>
                  <a:pt x="2538" y="766"/>
                </a:moveTo>
                <a:lnTo>
                  <a:pt x="2536" y="762"/>
                </a:lnTo>
                <a:lnTo>
                  <a:pt x="2533" y="762"/>
                </a:lnTo>
                <a:lnTo>
                  <a:pt x="2533" y="766"/>
                </a:lnTo>
                <a:lnTo>
                  <a:pt x="2536" y="766"/>
                </a:lnTo>
                <a:lnTo>
                  <a:pt x="2538" y="766"/>
                </a:lnTo>
                <a:close/>
                <a:moveTo>
                  <a:pt x="2548" y="793"/>
                </a:moveTo>
                <a:lnTo>
                  <a:pt x="2547" y="788"/>
                </a:lnTo>
                <a:lnTo>
                  <a:pt x="2542" y="795"/>
                </a:lnTo>
                <a:lnTo>
                  <a:pt x="2542" y="800"/>
                </a:lnTo>
                <a:lnTo>
                  <a:pt x="2547" y="795"/>
                </a:lnTo>
                <a:lnTo>
                  <a:pt x="2548" y="793"/>
                </a:lnTo>
                <a:close/>
                <a:moveTo>
                  <a:pt x="833" y="254"/>
                </a:moveTo>
                <a:lnTo>
                  <a:pt x="830" y="258"/>
                </a:lnTo>
                <a:lnTo>
                  <a:pt x="835" y="258"/>
                </a:lnTo>
                <a:lnTo>
                  <a:pt x="830" y="259"/>
                </a:lnTo>
                <a:lnTo>
                  <a:pt x="833" y="261"/>
                </a:lnTo>
                <a:lnTo>
                  <a:pt x="839" y="257"/>
                </a:lnTo>
                <a:lnTo>
                  <a:pt x="855" y="260"/>
                </a:lnTo>
                <a:lnTo>
                  <a:pt x="855" y="263"/>
                </a:lnTo>
                <a:lnTo>
                  <a:pt x="851" y="264"/>
                </a:lnTo>
                <a:lnTo>
                  <a:pt x="856" y="268"/>
                </a:lnTo>
                <a:lnTo>
                  <a:pt x="857" y="262"/>
                </a:lnTo>
                <a:lnTo>
                  <a:pt x="856" y="262"/>
                </a:lnTo>
                <a:lnTo>
                  <a:pt x="857" y="258"/>
                </a:lnTo>
                <a:lnTo>
                  <a:pt x="856" y="253"/>
                </a:lnTo>
                <a:lnTo>
                  <a:pt x="857" y="252"/>
                </a:lnTo>
                <a:lnTo>
                  <a:pt x="859" y="253"/>
                </a:lnTo>
                <a:lnTo>
                  <a:pt x="860" y="258"/>
                </a:lnTo>
                <a:lnTo>
                  <a:pt x="863" y="258"/>
                </a:lnTo>
                <a:lnTo>
                  <a:pt x="863" y="266"/>
                </a:lnTo>
                <a:lnTo>
                  <a:pt x="865" y="266"/>
                </a:lnTo>
                <a:lnTo>
                  <a:pt x="875" y="257"/>
                </a:lnTo>
                <a:lnTo>
                  <a:pt x="875" y="256"/>
                </a:lnTo>
                <a:lnTo>
                  <a:pt x="872" y="255"/>
                </a:lnTo>
                <a:lnTo>
                  <a:pt x="875" y="253"/>
                </a:lnTo>
                <a:lnTo>
                  <a:pt x="875" y="250"/>
                </a:lnTo>
                <a:lnTo>
                  <a:pt x="876" y="250"/>
                </a:lnTo>
                <a:lnTo>
                  <a:pt x="882" y="256"/>
                </a:lnTo>
                <a:lnTo>
                  <a:pt x="885" y="253"/>
                </a:lnTo>
                <a:lnTo>
                  <a:pt x="886" y="250"/>
                </a:lnTo>
                <a:lnTo>
                  <a:pt x="890" y="246"/>
                </a:lnTo>
                <a:lnTo>
                  <a:pt x="885" y="241"/>
                </a:lnTo>
                <a:lnTo>
                  <a:pt x="893" y="240"/>
                </a:lnTo>
                <a:lnTo>
                  <a:pt x="892" y="235"/>
                </a:lnTo>
                <a:lnTo>
                  <a:pt x="893" y="234"/>
                </a:lnTo>
                <a:lnTo>
                  <a:pt x="905" y="234"/>
                </a:lnTo>
                <a:lnTo>
                  <a:pt x="901" y="238"/>
                </a:lnTo>
                <a:lnTo>
                  <a:pt x="899" y="245"/>
                </a:lnTo>
                <a:lnTo>
                  <a:pt x="908" y="250"/>
                </a:lnTo>
                <a:lnTo>
                  <a:pt x="916" y="246"/>
                </a:lnTo>
                <a:lnTo>
                  <a:pt x="913" y="241"/>
                </a:lnTo>
                <a:lnTo>
                  <a:pt x="925" y="240"/>
                </a:lnTo>
                <a:lnTo>
                  <a:pt x="930" y="237"/>
                </a:lnTo>
                <a:lnTo>
                  <a:pt x="928" y="234"/>
                </a:lnTo>
                <a:lnTo>
                  <a:pt x="924" y="230"/>
                </a:lnTo>
                <a:lnTo>
                  <a:pt x="932" y="230"/>
                </a:lnTo>
                <a:lnTo>
                  <a:pt x="924" y="226"/>
                </a:lnTo>
                <a:lnTo>
                  <a:pt x="924" y="223"/>
                </a:lnTo>
                <a:lnTo>
                  <a:pt x="924" y="221"/>
                </a:lnTo>
                <a:lnTo>
                  <a:pt x="938" y="217"/>
                </a:lnTo>
                <a:lnTo>
                  <a:pt x="922" y="210"/>
                </a:lnTo>
                <a:lnTo>
                  <a:pt x="912" y="212"/>
                </a:lnTo>
                <a:lnTo>
                  <a:pt x="920" y="214"/>
                </a:lnTo>
                <a:lnTo>
                  <a:pt x="917" y="217"/>
                </a:lnTo>
                <a:lnTo>
                  <a:pt x="912" y="215"/>
                </a:lnTo>
                <a:lnTo>
                  <a:pt x="913" y="217"/>
                </a:lnTo>
                <a:lnTo>
                  <a:pt x="901" y="214"/>
                </a:lnTo>
                <a:lnTo>
                  <a:pt x="883" y="217"/>
                </a:lnTo>
                <a:lnTo>
                  <a:pt x="879" y="221"/>
                </a:lnTo>
                <a:lnTo>
                  <a:pt x="868" y="227"/>
                </a:lnTo>
                <a:lnTo>
                  <a:pt x="864" y="233"/>
                </a:lnTo>
                <a:lnTo>
                  <a:pt x="852" y="238"/>
                </a:lnTo>
                <a:lnTo>
                  <a:pt x="848" y="245"/>
                </a:lnTo>
                <a:lnTo>
                  <a:pt x="831" y="246"/>
                </a:lnTo>
                <a:lnTo>
                  <a:pt x="826" y="255"/>
                </a:lnTo>
                <a:lnTo>
                  <a:pt x="831" y="252"/>
                </a:lnTo>
                <a:lnTo>
                  <a:pt x="833" y="254"/>
                </a:lnTo>
                <a:close/>
                <a:moveTo>
                  <a:pt x="829" y="256"/>
                </a:moveTo>
                <a:lnTo>
                  <a:pt x="829" y="257"/>
                </a:lnTo>
                <a:lnTo>
                  <a:pt x="831" y="256"/>
                </a:lnTo>
                <a:lnTo>
                  <a:pt x="829" y="256"/>
                </a:lnTo>
                <a:close/>
                <a:moveTo>
                  <a:pt x="2527" y="877"/>
                </a:moveTo>
                <a:lnTo>
                  <a:pt x="2531" y="875"/>
                </a:lnTo>
                <a:lnTo>
                  <a:pt x="2527" y="875"/>
                </a:lnTo>
                <a:lnTo>
                  <a:pt x="2527" y="877"/>
                </a:lnTo>
                <a:close/>
                <a:moveTo>
                  <a:pt x="964" y="222"/>
                </a:moveTo>
                <a:lnTo>
                  <a:pt x="958" y="222"/>
                </a:lnTo>
                <a:lnTo>
                  <a:pt x="962" y="223"/>
                </a:lnTo>
                <a:lnTo>
                  <a:pt x="964" y="222"/>
                </a:lnTo>
                <a:close/>
                <a:moveTo>
                  <a:pt x="890" y="261"/>
                </a:moveTo>
                <a:lnTo>
                  <a:pt x="878" y="269"/>
                </a:lnTo>
                <a:lnTo>
                  <a:pt x="890" y="273"/>
                </a:lnTo>
                <a:lnTo>
                  <a:pt x="893" y="273"/>
                </a:lnTo>
                <a:lnTo>
                  <a:pt x="908" y="258"/>
                </a:lnTo>
                <a:lnTo>
                  <a:pt x="906" y="258"/>
                </a:lnTo>
                <a:lnTo>
                  <a:pt x="890" y="261"/>
                </a:lnTo>
                <a:close/>
                <a:moveTo>
                  <a:pt x="1025" y="229"/>
                </a:moveTo>
                <a:lnTo>
                  <a:pt x="1028" y="230"/>
                </a:lnTo>
                <a:lnTo>
                  <a:pt x="1027" y="229"/>
                </a:lnTo>
                <a:lnTo>
                  <a:pt x="1025" y="229"/>
                </a:lnTo>
                <a:close/>
                <a:moveTo>
                  <a:pt x="1017" y="242"/>
                </a:moveTo>
                <a:lnTo>
                  <a:pt x="1021" y="242"/>
                </a:lnTo>
                <a:lnTo>
                  <a:pt x="1009" y="245"/>
                </a:lnTo>
                <a:lnTo>
                  <a:pt x="1011" y="249"/>
                </a:lnTo>
                <a:lnTo>
                  <a:pt x="1025" y="255"/>
                </a:lnTo>
                <a:lnTo>
                  <a:pt x="1021" y="260"/>
                </a:lnTo>
                <a:lnTo>
                  <a:pt x="1014" y="261"/>
                </a:lnTo>
                <a:lnTo>
                  <a:pt x="1034" y="268"/>
                </a:lnTo>
                <a:lnTo>
                  <a:pt x="1031" y="272"/>
                </a:lnTo>
                <a:lnTo>
                  <a:pt x="1009" y="271"/>
                </a:lnTo>
                <a:lnTo>
                  <a:pt x="998" y="272"/>
                </a:lnTo>
                <a:lnTo>
                  <a:pt x="995" y="269"/>
                </a:lnTo>
                <a:lnTo>
                  <a:pt x="997" y="268"/>
                </a:lnTo>
                <a:lnTo>
                  <a:pt x="995" y="266"/>
                </a:lnTo>
                <a:lnTo>
                  <a:pt x="984" y="266"/>
                </a:lnTo>
                <a:lnTo>
                  <a:pt x="990" y="262"/>
                </a:lnTo>
                <a:lnTo>
                  <a:pt x="980" y="257"/>
                </a:lnTo>
                <a:lnTo>
                  <a:pt x="979" y="256"/>
                </a:lnTo>
                <a:lnTo>
                  <a:pt x="980" y="252"/>
                </a:lnTo>
                <a:lnTo>
                  <a:pt x="972" y="250"/>
                </a:lnTo>
                <a:lnTo>
                  <a:pt x="956" y="252"/>
                </a:lnTo>
                <a:lnTo>
                  <a:pt x="952" y="249"/>
                </a:lnTo>
                <a:lnTo>
                  <a:pt x="952" y="244"/>
                </a:lnTo>
                <a:lnTo>
                  <a:pt x="942" y="241"/>
                </a:lnTo>
                <a:lnTo>
                  <a:pt x="935" y="244"/>
                </a:lnTo>
                <a:lnTo>
                  <a:pt x="930" y="249"/>
                </a:lnTo>
                <a:lnTo>
                  <a:pt x="949" y="252"/>
                </a:lnTo>
                <a:lnTo>
                  <a:pt x="925" y="251"/>
                </a:lnTo>
                <a:lnTo>
                  <a:pt x="920" y="255"/>
                </a:lnTo>
                <a:lnTo>
                  <a:pt x="919" y="256"/>
                </a:lnTo>
                <a:lnTo>
                  <a:pt x="922" y="257"/>
                </a:lnTo>
                <a:lnTo>
                  <a:pt x="919" y="260"/>
                </a:lnTo>
                <a:lnTo>
                  <a:pt x="946" y="261"/>
                </a:lnTo>
                <a:lnTo>
                  <a:pt x="917" y="264"/>
                </a:lnTo>
                <a:lnTo>
                  <a:pt x="910" y="269"/>
                </a:lnTo>
                <a:lnTo>
                  <a:pt x="924" y="271"/>
                </a:lnTo>
                <a:lnTo>
                  <a:pt x="944" y="268"/>
                </a:lnTo>
                <a:lnTo>
                  <a:pt x="928" y="274"/>
                </a:lnTo>
                <a:lnTo>
                  <a:pt x="910" y="274"/>
                </a:lnTo>
                <a:lnTo>
                  <a:pt x="905" y="281"/>
                </a:lnTo>
                <a:lnTo>
                  <a:pt x="919" y="284"/>
                </a:lnTo>
                <a:lnTo>
                  <a:pt x="924" y="280"/>
                </a:lnTo>
                <a:lnTo>
                  <a:pt x="924" y="284"/>
                </a:lnTo>
                <a:lnTo>
                  <a:pt x="926" y="286"/>
                </a:lnTo>
                <a:lnTo>
                  <a:pt x="932" y="290"/>
                </a:lnTo>
                <a:lnTo>
                  <a:pt x="936" y="288"/>
                </a:lnTo>
                <a:lnTo>
                  <a:pt x="935" y="286"/>
                </a:lnTo>
                <a:lnTo>
                  <a:pt x="938" y="286"/>
                </a:lnTo>
                <a:lnTo>
                  <a:pt x="938" y="284"/>
                </a:lnTo>
                <a:lnTo>
                  <a:pt x="940" y="284"/>
                </a:lnTo>
                <a:lnTo>
                  <a:pt x="940" y="287"/>
                </a:lnTo>
                <a:lnTo>
                  <a:pt x="942" y="290"/>
                </a:lnTo>
                <a:lnTo>
                  <a:pt x="952" y="286"/>
                </a:lnTo>
                <a:lnTo>
                  <a:pt x="953" y="283"/>
                </a:lnTo>
                <a:lnTo>
                  <a:pt x="949" y="279"/>
                </a:lnTo>
                <a:lnTo>
                  <a:pt x="955" y="280"/>
                </a:lnTo>
                <a:lnTo>
                  <a:pt x="956" y="278"/>
                </a:lnTo>
                <a:lnTo>
                  <a:pt x="956" y="274"/>
                </a:lnTo>
                <a:lnTo>
                  <a:pt x="958" y="278"/>
                </a:lnTo>
                <a:lnTo>
                  <a:pt x="968" y="278"/>
                </a:lnTo>
                <a:lnTo>
                  <a:pt x="959" y="279"/>
                </a:lnTo>
                <a:lnTo>
                  <a:pt x="956" y="284"/>
                </a:lnTo>
                <a:lnTo>
                  <a:pt x="956" y="286"/>
                </a:lnTo>
                <a:lnTo>
                  <a:pt x="975" y="286"/>
                </a:lnTo>
                <a:lnTo>
                  <a:pt x="976" y="286"/>
                </a:lnTo>
                <a:lnTo>
                  <a:pt x="976" y="283"/>
                </a:lnTo>
                <a:lnTo>
                  <a:pt x="982" y="280"/>
                </a:lnTo>
                <a:lnTo>
                  <a:pt x="980" y="284"/>
                </a:lnTo>
                <a:lnTo>
                  <a:pt x="1003" y="280"/>
                </a:lnTo>
                <a:lnTo>
                  <a:pt x="991" y="287"/>
                </a:lnTo>
                <a:lnTo>
                  <a:pt x="975" y="290"/>
                </a:lnTo>
                <a:lnTo>
                  <a:pt x="952" y="297"/>
                </a:lnTo>
                <a:lnTo>
                  <a:pt x="962" y="303"/>
                </a:lnTo>
                <a:lnTo>
                  <a:pt x="976" y="306"/>
                </a:lnTo>
                <a:lnTo>
                  <a:pt x="991" y="302"/>
                </a:lnTo>
                <a:lnTo>
                  <a:pt x="1005" y="298"/>
                </a:lnTo>
                <a:lnTo>
                  <a:pt x="1011" y="294"/>
                </a:lnTo>
                <a:lnTo>
                  <a:pt x="1023" y="294"/>
                </a:lnTo>
                <a:lnTo>
                  <a:pt x="1034" y="287"/>
                </a:lnTo>
                <a:lnTo>
                  <a:pt x="1038" y="290"/>
                </a:lnTo>
                <a:lnTo>
                  <a:pt x="1034" y="287"/>
                </a:lnTo>
                <a:lnTo>
                  <a:pt x="1039" y="291"/>
                </a:lnTo>
                <a:lnTo>
                  <a:pt x="1046" y="290"/>
                </a:lnTo>
                <a:lnTo>
                  <a:pt x="1047" y="284"/>
                </a:lnTo>
                <a:lnTo>
                  <a:pt x="1049" y="290"/>
                </a:lnTo>
                <a:lnTo>
                  <a:pt x="1061" y="291"/>
                </a:lnTo>
                <a:lnTo>
                  <a:pt x="1072" y="286"/>
                </a:lnTo>
                <a:lnTo>
                  <a:pt x="1072" y="284"/>
                </a:lnTo>
                <a:lnTo>
                  <a:pt x="1072" y="280"/>
                </a:lnTo>
                <a:lnTo>
                  <a:pt x="1076" y="278"/>
                </a:lnTo>
                <a:lnTo>
                  <a:pt x="1078" y="274"/>
                </a:lnTo>
                <a:lnTo>
                  <a:pt x="1078" y="272"/>
                </a:lnTo>
                <a:lnTo>
                  <a:pt x="1082" y="268"/>
                </a:lnTo>
                <a:lnTo>
                  <a:pt x="1081" y="263"/>
                </a:lnTo>
                <a:lnTo>
                  <a:pt x="1079" y="260"/>
                </a:lnTo>
                <a:lnTo>
                  <a:pt x="1068" y="256"/>
                </a:lnTo>
                <a:lnTo>
                  <a:pt x="1060" y="257"/>
                </a:lnTo>
                <a:lnTo>
                  <a:pt x="1060" y="263"/>
                </a:lnTo>
                <a:lnTo>
                  <a:pt x="1064" y="264"/>
                </a:lnTo>
                <a:lnTo>
                  <a:pt x="1061" y="267"/>
                </a:lnTo>
                <a:lnTo>
                  <a:pt x="1057" y="262"/>
                </a:lnTo>
                <a:lnTo>
                  <a:pt x="1049" y="262"/>
                </a:lnTo>
                <a:lnTo>
                  <a:pt x="1045" y="264"/>
                </a:lnTo>
                <a:lnTo>
                  <a:pt x="1050" y="258"/>
                </a:lnTo>
                <a:lnTo>
                  <a:pt x="1047" y="258"/>
                </a:lnTo>
                <a:lnTo>
                  <a:pt x="1039" y="258"/>
                </a:lnTo>
                <a:lnTo>
                  <a:pt x="1038" y="253"/>
                </a:lnTo>
                <a:lnTo>
                  <a:pt x="1043" y="249"/>
                </a:lnTo>
                <a:lnTo>
                  <a:pt x="1036" y="245"/>
                </a:lnTo>
                <a:lnTo>
                  <a:pt x="1035" y="238"/>
                </a:lnTo>
                <a:lnTo>
                  <a:pt x="1038" y="234"/>
                </a:lnTo>
                <a:lnTo>
                  <a:pt x="1034" y="232"/>
                </a:lnTo>
                <a:lnTo>
                  <a:pt x="1025" y="234"/>
                </a:lnTo>
                <a:lnTo>
                  <a:pt x="1017" y="242"/>
                </a:lnTo>
                <a:close/>
                <a:moveTo>
                  <a:pt x="968" y="211"/>
                </a:moveTo>
                <a:lnTo>
                  <a:pt x="985" y="217"/>
                </a:lnTo>
                <a:lnTo>
                  <a:pt x="1012" y="211"/>
                </a:lnTo>
                <a:lnTo>
                  <a:pt x="1016" y="208"/>
                </a:lnTo>
                <a:lnTo>
                  <a:pt x="1014" y="206"/>
                </a:lnTo>
                <a:lnTo>
                  <a:pt x="1006" y="206"/>
                </a:lnTo>
                <a:lnTo>
                  <a:pt x="1003" y="202"/>
                </a:lnTo>
                <a:lnTo>
                  <a:pt x="1019" y="197"/>
                </a:lnTo>
                <a:lnTo>
                  <a:pt x="1023" y="194"/>
                </a:lnTo>
                <a:lnTo>
                  <a:pt x="997" y="194"/>
                </a:lnTo>
                <a:lnTo>
                  <a:pt x="969" y="199"/>
                </a:lnTo>
                <a:lnTo>
                  <a:pt x="968" y="200"/>
                </a:lnTo>
                <a:lnTo>
                  <a:pt x="968" y="204"/>
                </a:lnTo>
                <a:lnTo>
                  <a:pt x="968" y="211"/>
                </a:lnTo>
                <a:close/>
                <a:moveTo>
                  <a:pt x="949" y="230"/>
                </a:moveTo>
                <a:lnTo>
                  <a:pt x="946" y="234"/>
                </a:lnTo>
                <a:lnTo>
                  <a:pt x="957" y="237"/>
                </a:lnTo>
                <a:lnTo>
                  <a:pt x="966" y="234"/>
                </a:lnTo>
                <a:lnTo>
                  <a:pt x="960" y="230"/>
                </a:lnTo>
                <a:lnTo>
                  <a:pt x="949" y="230"/>
                </a:lnTo>
                <a:close/>
                <a:moveTo>
                  <a:pt x="986" y="183"/>
                </a:moveTo>
                <a:lnTo>
                  <a:pt x="993" y="187"/>
                </a:lnTo>
                <a:lnTo>
                  <a:pt x="1001" y="185"/>
                </a:lnTo>
                <a:lnTo>
                  <a:pt x="1009" y="190"/>
                </a:lnTo>
                <a:lnTo>
                  <a:pt x="1024" y="190"/>
                </a:lnTo>
                <a:lnTo>
                  <a:pt x="1027" y="182"/>
                </a:lnTo>
                <a:lnTo>
                  <a:pt x="1009" y="170"/>
                </a:lnTo>
                <a:lnTo>
                  <a:pt x="971" y="181"/>
                </a:lnTo>
                <a:lnTo>
                  <a:pt x="968" y="184"/>
                </a:lnTo>
                <a:lnTo>
                  <a:pt x="969" y="187"/>
                </a:lnTo>
                <a:lnTo>
                  <a:pt x="986" y="183"/>
                </a:lnTo>
                <a:close/>
                <a:moveTo>
                  <a:pt x="1168" y="238"/>
                </a:moveTo>
                <a:lnTo>
                  <a:pt x="1159" y="238"/>
                </a:lnTo>
                <a:lnTo>
                  <a:pt x="1169" y="241"/>
                </a:lnTo>
                <a:lnTo>
                  <a:pt x="1168" y="238"/>
                </a:lnTo>
                <a:close/>
                <a:moveTo>
                  <a:pt x="2520" y="734"/>
                </a:moveTo>
                <a:lnTo>
                  <a:pt x="2516" y="734"/>
                </a:lnTo>
                <a:lnTo>
                  <a:pt x="2520" y="735"/>
                </a:lnTo>
                <a:lnTo>
                  <a:pt x="2520" y="734"/>
                </a:lnTo>
                <a:close/>
                <a:moveTo>
                  <a:pt x="1136" y="242"/>
                </a:moveTo>
                <a:lnTo>
                  <a:pt x="1142" y="242"/>
                </a:lnTo>
                <a:lnTo>
                  <a:pt x="1157" y="238"/>
                </a:lnTo>
                <a:lnTo>
                  <a:pt x="1149" y="238"/>
                </a:lnTo>
                <a:lnTo>
                  <a:pt x="1136" y="242"/>
                </a:lnTo>
                <a:close/>
                <a:moveTo>
                  <a:pt x="1124" y="200"/>
                </a:moveTo>
                <a:lnTo>
                  <a:pt x="1125" y="204"/>
                </a:lnTo>
                <a:lnTo>
                  <a:pt x="1130" y="206"/>
                </a:lnTo>
                <a:lnTo>
                  <a:pt x="1146" y="204"/>
                </a:lnTo>
                <a:lnTo>
                  <a:pt x="1136" y="199"/>
                </a:lnTo>
                <a:lnTo>
                  <a:pt x="1124" y="200"/>
                </a:lnTo>
                <a:close/>
                <a:moveTo>
                  <a:pt x="1098" y="251"/>
                </a:moveTo>
                <a:lnTo>
                  <a:pt x="1095" y="253"/>
                </a:lnTo>
                <a:lnTo>
                  <a:pt x="1105" y="258"/>
                </a:lnTo>
                <a:lnTo>
                  <a:pt x="1112" y="258"/>
                </a:lnTo>
                <a:lnTo>
                  <a:pt x="1123" y="253"/>
                </a:lnTo>
                <a:lnTo>
                  <a:pt x="1124" y="252"/>
                </a:lnTo>
                <a:lnTo>
                  <a:pt x="1123" y="249"/>
                </a:lnTo>
                <a:lnTo>
                  <a:pt x="1098" y="251"/>
                </a:lnTo>
                <a:close/>
                <a:moveTo>
                  <a:pt x="1090" y="284"/>
                </a:moveTo>
                <a:lnTo>
                  <a:pt x="1098" y="287"/>
                </a:lnTo>
                <a:lnTo>
                  <a:pt x="1108" y="283"/>
                </a:lnTo>
                <a:lnTo>
                  <a:pt x="1105" y="278"/>
                </a:lnTo>
                <a:lnTo>
                  <a:pt x="1101" y="274"/>
                </a:lnTo>
                <a:lnTo>
                  <a:pt x="1091" y="278"/>
                </a:lnTo>
                <a:lnTo>
                  <a:pt x="1090" y="284"/>
                </a:lnTo>
                <a:close/>
                <a:moveTo>
                  <a:pt x="1202" y="301"/>
                </a:moveTo>
                <a:lnTo>
                  <a:pt x="1200" y="298"/>
                </a:lnTo>
                <a:lnTo>
                  <a:pt x="1192" y="302"/>
                </a:lnTo>
                <a:lnTo>
                  <a:pt x="1196" y="303"/>
                </a:lnTo>
                <a:lnTo>
                  <a:pt x="1202" y="301"/>
                </a:lnTo>
                <a:close/>
                <a:moveTo>
                  <a:pt x="1112" y="262"/>
                </a:moveTo>
                <a:lnTo>
                  <a:pt x="1125" y="258"/>
                </a:lnTo>
                <a:lnTo>
                  <a:pt x="1127" y="257"/>
                </a:lnTo>
                <a:lnTo>
                  <a:pt x="1103" y="262"/>
                </a:lnTo>
                <a:lnTo>
                  <a:pt x="1112" y="262"/>
                </a:lnTo>
                <a:close/>
                <a:moveTo>
                  <a:pt x="1157" y="269"/>
                </a:moveTo>
                <a:lnTo>
                  <a:pt x="1157" y="269"/>
                </a:lnTo>
                <a:lnTo>
                  <a:pt x="1157" y="269"/>
                </a:lnTo>
                <a:lnTo>
                  <a:pt x="1157" y="269"/>
                </a:lnTo>
                <a:lnTo>
                  <a:pt x="1157" y="269"/>
                </a:lnTo>
                <a:close/>
                <a:moveTo>
                  <a:pt x="1202" y="226"/>
                </a:moveTo>
                <a:lnTo>
                  <a:pt x="1198" y="227"/>
                </a:lnTo>
                <a:lnTo>
                  <a:pt x="1203" y="227"/>
                </a:lnTo>
                <a:lnTo>
                  <a:pt x="1202" y="226"/>
                </a:lnTo>
                <a:close/>
                <a:moveTo>
                  <a:pt x="1081" y="326"/>
                </a:moveTo>
                <a:lnTo>
                  <a:pt x="1065" y="326"/>
                </a:lnTo>
                <a:lnTo>
                  <a:pt x="1058" y="332"/>
                </a:lnTo>
                <a:lnTo>
                  <a:pt x="1067" y="336"/>
                </a:lnTo>
                <a:lnTo>
                  <a:pt x="1083" y="350"/>
                </a:lnTo>
                <a:lnTo>
                  <a:pt x="1084" y="350"/>
                </a:lnTo>
                <a:lnTo>
                  <a:pt x="1094" y="337"/>
                </a:lnTo>
                <a:lnTo>
                  <a:pt x="1095" y="331"/>
                </a:lnTo>
                <a:lnTo>
                  <a:pt x="1086" y="326"/>
                </a:lnTo>
                <a:lnTo>
                  <a:pt x="1081" y="326"/>
                </a:lnTo>
                <a:close/>
                <a:moveTo>
                  <a:pt x="1157" y="242"/>
                </a:moveTo>
                <a:lnTo>
                  <a:pt x="1166" y="242"/>
                </a:lnTo>
                <a:lnTo>
                  <a:pt x="1173" y="245"/>
                </a:lnTo>
                <a:lnTo>
                  <a:pt x="1173" y="244"/>
                </a:lnTo>
                <a:lnTo>
                  <a:pt x="1175" y="245"/>
                </a:lnTo>
                <a:lnTo>
                  <a:pt x="1173" y="242"/>
                </a:lnTo>
                <a:lnTo>
                  <a:pt x="1185" y="242"/>
                </a:lnTo>
                <a:lnTo>
                  <a:pt x="1185" y="239"/>
                </a:lnTo>
                <a:lnTo>
                  <a:pt x="1185" y="238"/>
                </a:lnTo>
                <a:lnTo>
                  <a:pt x="1192" y="241"/>
                </a:lnTo>
                <a:lnTo>
                  <a:pt x="1195" y="245"/>
                </a:lnTo>
                <a:lnTo>
                  <a:pt x="1192" y="246"/>
                </a:lnTo>
                <a:lnTo>
                  <a:pt x="1195" y="250"/>
                </a:lnTo>
                <a:lnTo>
                  <a:pt x="1198" y="252"/>
                </a:lnTo>
                <a:lnTo>
                  <a:pt x="1195" y="257"/>
                </a:lnTo>
                <a:lnTo>
                  <a:pt x="1196" y="263"/>
                </a:lnTo>
                <a:lnTo>
                  <a:pt x="1191" y="267"/>
                </a:lnTo>
                <a:lnTo>
                  <a:pt x="1200" y="268"/>
                </a:lnTo>
                <a:lnTo>
                  <a:pt x="1198" y="273"/>
                </a:lnTo>
                <a:lnTo>
                  <a:pt x="1202" y="277"/>
                </a:lnTo>
                <a:lnTo>
                  <a:pt x="1195" y="274"/>
                </a:lnTo>
                <a:lnTo>
                  <a:pt x="1189" y="274"/>
                </a:lnTo>
                <a:lnTo>
                  <a:pt x="1189" y="274"/>
                </a:lnTo>
                <a:lnTo>
                  <a:pt x="1190" y="278"/>
                </a:lnTo>
                <a:lnTo>
                  <a:pt x="1185" y="278"/>
                </a:lnTo>
                <a:lnTo>
                  <a:pt x="1185" y="279"/>
                </a:lnTo>
                <a:lnTo>
                  <a:pt x="1188" y="280"/>
                </a:lnTo>
                <a:lnTo>
                  <a:pt x="1188" y="283"/>
                </a:lnTo>
                <a:lnTo>
                  <a:pt x="1189" y="284"/>
                </a:lnTo>
                <a:lnTo>
                  <a:pt x="1189" y="290"/>
                </a:lnTo>
                <a:lnTo>
                  <a:pt x="1169" y="290"/>
                </a:lnTo>
                <a:lnTo>
                  <a:pt x="1170" y="287"/>
                </a:lnTo>
                <a:lnTo>
                  <a:pt x="1168" y="290"/>
                </a:lnTo>
                <a:lnTo>
                  <a:pt x="1159" y="290"/>
                </a:lnTo>
                <a:lnTo>
                  <a:pt x="1153" y="290"/>
                </a:lnTo>
                <a:lnTo>
                  <a:pt x="1153" y="286"/>
                </a:lnTo>
                <a:lnTo>
                  <a:pt x="1154" y="286"/>
                </a:lnTo>
                <a:lnTo>
                  <a:pt x="1162" y="282"/>
                </a:lnTo>
                <a:lnTo>
                  <a:pt x="1149" y="279"/>
                </a:lnTo>
                <a:lnTo>
                  <a:pt x="1153" y="278"/>
                </a:lnTo>
                <a:lnTo>
                  <a:pt x="1162" y="278"/>
                </a:lnTo>
                <a:lnTo>
                  <a:pt x="1157" y="275"/>
                </a:lnTo>
                <a:lnTo>
                  <a:pt x="1166" y="270"/>
                </a:lnTo>
                <a:lnTo>
                  <a:pt x="1163" y="270"/>
                </a:lnTo>
                <a:lnTo>
                  <a:pt x="1164" y="269"/>
                </a:lnTo>
                <a:lnTo>
                  <a:pt x="1158" y="269"/>
                </a:lnTo>
                <a:lnTo>
                  <a:pt x="1155" y="271"/>
                </a:lnTo>
                <a:lnTo>
                  <a:pt x="1157" y="269"/>
                </a:lnTo>
                <a:lnTo>
                  <a:pt x="1155" y="270"/>
                </a:lnTo>
                <a:lnTo>
                  <a:pt x="1124" y="273"/>
                </a:lnTo>
                <a:lnTo>
                  <a:pt x="1120" y="270"/>
                </a:lnTo>
                <a:lnTo>
                  <a:pt x="1124" y="270"/>
                </a:lnTo>
                <a:lnTo>
                  <a:pt x="1131" y="270"/>
                </a:lnTo>
                <a:lnTo>
                  <a:pt x="1130" y="266"/>
                </a:lnTo>
                <a:lnTo>
                  <a:pt x="1125" y="266"/>
                </a:lnTo>
                <a:lnTo>
                  <a:pt x="1127" y="264"/>
                </a:lnTo>
                <a:lnTo>
                  <a:pt x="1123" y="266"/>
                </a:lnTo>
                <a:lnTo>
                  <a:pt x="1111" y="266"/>
                </a:lnTo>
                <a:lnTo>
                  <a:pt x="1121" y="262"/>
                </a:lnTo>
                <a:lnTo>
                  <a:pt x="1130" y="262"/>
                </a:lnTo>
                <a:lnTo>
                  <a:pt x="1132" y="262"/>
                </a:lnTo>
                <a:lnTo>
                  <a:pt x="1140" y="264"/>
                </a:lnTo>
                <a:lnTo>
                  <a:pt x="1140" y="263"/>
                </a:lnTo>
                <a:lnTo>
                  <a:pt x="1137" y="260"/>
                </a:lnTo>
                <a:lnTo>
                  <a:pt x="1142" y="256"/>
                </a:lnTo>
                <a:lnTo>
                  <a:pt x="1136" y="257"/>
                </a:lnTo>
                <a:lnTo>
                  <a:pt x="1134" y="256"/>
                </a:lnTo>
                <a:lnTo>
                  <a:pt x="1140" y="250"/>
                </a:lnTo>
                <a:lnTo>
                  <a:pt x="1128" y="250"/>
                </a:lnTo>
                <a:lnTo>
                  <a:pt x="1128" y="245"/>
                </a:lnTo>
                <a:lnTo>
                  <a:pt x="1133" y="244"/>
                </a:lnTo>
                <a:lnTo>
                  <a:pt x="1142" y="245"/>
                </a:lnTo>
                <a:lnTo>
                  <a:pt x="1162" y="261"/>
                </a:lnTo>
                <a:lnTo>
                  <a:pt x="1169" y="257"/>
                </a:lnTo>
                <a:lnTo>
                  <a:pt x="1163" y="260"/>
                </a:lnTo>
                <a:lnTo>
                  <a:pt x="1158" y="252"/>
                </a:lnTo>
                <a:lnTo>
                  <a:pt x="1166" y="255"/>
                </a:lnTo>
                <a:lnTo>
                  <a:pt x="1169" y="253"/>
                </a:lnTo>
                <a:lnTo>
                  <a:pt x="1155" y="252"/>
                </a:lnTo>
                <a:lnTo>
                  <a:pt x="1154" y="250"/>
                </a:lnTo>
                <a:lnTo>
                  <a:pt x="1163" y="249"/>
                </a:lnTo>
                <a:lnTo>
                  <a:pt x="1151" y="247"/>
                </a:lnTo>
                <a:lnTo>
                  <a:pt x="1146" y="243"/>
                </a:lnTo>
                <a:lnTo>
                  <a:pt x="1157" y="242"/>
                </a:lnTo>
                <a:close/>
                <a:moveTo>
                  <a:pt x="1157" y="269"/>
                </a:moveTo>
                <a:lnTo>
                  <a:pt x="1155" y="269"/>
                </a:lnTo>
                <a:lnTo>
                  <a:pt x="1156" y="269"/>
                </a:lnTo>
                <a:lnTo>
                  <a:pt x="1157" y="269"/>
                </a:lnTo>
                <a:lnTo>
                  <a:pt x="1157" y="269"/>
                </a:lnTo>
                <a:lnTo>
                  <a:pt x="1157" y="269"/>
                </a:lnTo>
                <a:lnTo>
                  <a:pt x="1157" y="269"/>
                </a:lnTo>
                <a:lnTo>
                  <a:pt x="1157" y="269"/>
                </a:lnTo>
                <a:lnTo>
                  <a:pt x="1157" y="269"/>
                </a:lnTo>
                <a:close/>
                <a:moveTo>
                  <a:pt x="1196" y="283"/>
                </a:moveTo>
                <a:lnTo>
                  <a:pt x="1190" y="280"/>
                </a:lnTo>
                <a:lnTo>
                  <a:pt x="1191" y="284"/>
                </a:lnTo>
                <a:lnTo>
                  <a:pt x="1196" y="283"/>
                </a:lnTo>
                <a:close/>
                <a:moveTo>
                  <a:pt x="1176" y="324"/>
                </a:moveTo>
                <a:lnTo>
                  <a:pt x="1185" y="321"/>
                </a:lnTo>
                <a:lnTo>
                  <a:pt x="1192" y="317"/>
                </a:lnTo>
                <a:lnTo>
                  <a:pt x="1195" y="313"/>
                </a:lnTo>
                <a:lnTo>
                  <a:pt x="1169" y="320"/>
                </a:lnTo>
                <a:lnTo>
                  <a:pt x="1176" y="324"/>
                </a:lnTo>
                <a:close/>
                <a:moveTo>
                  <a:pt x="1190" y="280"/>
                </a:moveTo>
                <a:lnTo>
                  <a:pt x="1190" y="280"/>
                </a:lnTo>
                <a:lnTo>
                  <a:pt x="1190" y="280"/>
                </a:lnTo>
                <a:lnTo>
                  <a:pt x="1190" y="280"/>
                </a:lnTo>
                <a:lnTo>
                  <a:pt x="1190" y="280"/>
                </a:lnTo>
                <a:close/>
                <a:moveTo>
                  <a:pt x="1390" y="241"/>
                </a:moveTo>
                <a:lnTo>
                  <a:pt x="1390" y="244"/>
                </a:lnTo>
                <a:lnTo>
                  <a:pt x="1393" y="244"/>
                </a:lnTo>
                <a:lnTo>
                  <a:pt x="1390" y="241"/>
                </a:lnTo>
                <a:close/>
                <a:moveTo>
                  <a:pt x="2522" y="753"/>
                </a:moveTo>
                <a:lnTo>
                  <a:pt x="2520" y="754"/>
                </a:lnTo>
                <a:lnTo>
                  <a:pt x="2522" y="755"/>
                </a:lnTo>
                <a:lnTo>
                  <a:pt x="2522" y="753"/>
                </a:lnTo>
                <a:close/>
                <a:moveTo>
                  <a:pt x="1229" y="221"/>
                </a:moveTo>
                <a:lnTo>
                  <a:pt x="1228" y="218"/>
                </a:lnTo>
                <a:lnTo>
                  <a:pt x="1225" y="218"/>
                </a:lnTo>
                <a:lnTo>
                  <a:pt x="1229" y="221"/>
                </a:lnTo>
                <a:close/>
                <a:moveTo>
                  <a:pt x="1237" y="187"/>
                </a:moveTo>
                <a:lnTo>
                  <a:pt x="1244" y="189"/>
                </a:lnTo>
                <a:lnTo>
                  <a:pt x="1241" y="187"/>
                </a:lnTo>
                <a:lnTo>
                  <a:pt x="1237" y="187"/>
                </a:lnTo>
                <a:close/>
                <a:moveTo>
                  <a:pt x="1226" y="200"/>
                </a:moveTo>
                <a:lnTo>
                  <a:pt x="1215" y="206"/>
                </a:lnTo>
                <a:lnTo>
                  <a:pt x="1214" y="208"/>
                </a:lnTo>
                <a:lnTo>
                  <a:pt x="1221" y="214"/>
                </a:lnTo>
                <a:lnTo>
                  <a:pt x="1254" y="214"/>
                </a:lnTo>
                <a:lnTo>
                  <a:pt x="1257" y="208"/>
                </a:lnTo>
                <a:lnTo>
                  <a:pt x="1262" y="206"/>
                </a:lnTo>
                <a:lnTo>
                  <a:pt x="1260" y="204"/>
                </a:lnTo>
                <a:lnTo>
                  <a:pt x="1254" y="203"/>
                </a:lnTo>
                <a:lnTo>
                  <a:pt x="1228" y="204"/>
                </a:lnTo>
                <a:lnTo>
                  <a:pt x="1226" y="200"/>
                </a:lnTo>
                <a:close/>
                <a:moveTo>
                  <a:pt x="1292" y="222"/>
                </a:moveTo>
                <a:lnTo>
                  <a:pt x="1295" y="221"/>
                </a:lnTo>
                <a:lnTo>
                  <a:pt x="1290" y="218"/>
                </a:lnTo>
                <a:lnTo>
                  <a:pt x="1287" y="221"/>
                </a:lnTo>
                <a:lnTo>
                  <a:pt x="1292" y="222"/>
                </a:lnTo>
                <a:close/>
                <a:moveTo>
                  <a:pt x="1303" y="207"/>
                </a:moveTo>
                <a:lnTo>
                  <a:pt x="1291" y="206"/>
                </a:lnTo>
                <a:lnTo>
                  <a:pt x="1285" y="210"/>
                </a:lnTo>
                <a:lnTo>
                  <a:pt x="1285" y="215"/>
                </a:lnTo>
                <a:lnTo>
                  <a:pt x="1298" y="221"/>
                </a:lnTo>
                <a:lnTo>
                  <a:pt x="1309" y="215"/>
                </a:lnTo>
                <a:lnTo>
                  <a:pt x="1309" y="212"/>
                </a:lnTo>
                <a:lnTo>
                  <a:pt x="1303" y="207"/>
                </a:lnTo>
                <a:close/>
                <a:moveTo>
                  <a:pt x="1306" y="232"/>
                </a:moveTo>
                <a:lnTo>
                  <a:pt x="1296" y="234"/>
                </a:lnTo>
                <a:lnTo>
                  <a:pt x="1306" y="244"/>
                </a:lnTo>
                <a:lnTo>
                  <a:pt x="1310" y="241"/>
                </a:lnTo>
                <a:lnTo>
                  <a:pt x="1307" y="238"/>
                </a:lnTo>
                <a:lnTo>
                  <a:pt x="1310" y="234"/>
                </a:lnTo>
                <a:lnTo>
                  <a:pt x="1306" y="232"/>
                </a:lnTo>
                <a:close/>
                <a:moveTo>
                  <a:pt x="1210" y="343"/>
                </a:moveTo>
                <a:lnTo>
                  <a:pt x="1207" y="339"/>
                </a:lnTo>
                <a:lnTo>
                  <a:pt x="1204" y="341"/>
                </a:lnTo>
                <a:lnTo>
                  <a:pt x="1203" y="344"/>
                </a:lnTo>
                <a:lnTo>
                  <a:pt x="1206" y="348"/>
                </a:lnTo>
                <a:lnTo>
                  <a:pt x="1209" y="347"/>
                </a:lnTo>
                <a:lnTo>
                  <a:pt x="1210" y="343"/>
                </a:lnTo>
                <a:close/>
                <a:moveTo>
                  <a:pt x="1204" y="337"/>
                </a:moveTo>
                <a:lnTo>
                  <a:pt x="1203" y="337"/>
                </a:lnTo>
                <a:lnTo>
                  <a:pt x="1206" y="339"/>
                </a:lnTo>
                <a:lnTo>
                  <a:pt x="1204" y="337"/>
                </a:lnTo>
                <a:close/>
                <a:moveTo>
                  <a:pt x="1209" y="352"/>
                </a:moveTo>
                <a:lnTo>
                  <a:pt x="1209" y="351"/>
                </a:lnTo>
                <a:lnTo>
                  <a:pt x="1209" y="349"/>
                </a:lnTo>
                <a:lnTo>
                  <a:pt x="1204" y="352"/>
                </a:lnTo>
                <a:lnTo>
                  <a:pt x="1209" y="352"/>
                </a:lnTo>
                <a:close/>
                <a:moveTo>
                  <a:pt x="1215" y="274"/>
                </a:moveTo>
                <a:lnTo>
                  <a:pt x="1221" y="271"/>
                </a:lnTo>
                <a:lnTo>
                  <a:pt x="1218" y="269"/>
                </a:lnTo>
                <a:lnTo>
                  <a:pt x="1214" y="268"/>
                </a:lnTo>
                <a:lnTo>
                  <a:pt x="1204" y="272"/>
                </a:lnTo>
                <a:lnTo>
                  <a:pt x="1207" y="278"/>
                </a:lnTo>
                <a:lnTo>
                  <a:pt x="1213" y="274"/>
                </a:lnTo>
                <a:lnTo>
                  <a:pt x="1210" y="272"/>
                </a:lnTo>
                <a:lnTo>
                  <a:pt x="1213" y="271"/>
                </a:lnTo>
                <a:lnTo>
                  <a:pt x="1215" y="274"/>
                </a:lnTo>
                <a:close/>
                <a:moveTo>
                  <a:pt x="1237" y="266"/>
                </a:moveTo>
                <a:lnTo>
                  <a:pt x="1244" y="266"/>
                </a:lnTo>
                <a:lnTo>
                  <a:pt x="1241" y="258"/>
                </a:lnTo>
                <a:lnTo>
                  <a:pt x="1235" y="262"/>
                </a:lnTo>
                <a:lnTo>
                  <a:pt x="1237" y="266"/>
                </a:lnTo>
                <a:close/>
                <a:moveTo>
                  <a:pt x="1235" y="256"/>
                </a:moveTo>
                <a:lnTo>
                  <a:pt x="1236" y="252"/>
                </a:lnTo>
                <a:lnTo>
                  <a:pt x="1231" y="255"/>
                </a:lnTo>
                <a:lnTo>
                  <a:pt x="1235" y="256"/>
                </a:lnTo>
                <a:close/>
                <a:moveTo>
                  <a:pt x="1224" y="257"/>
                </a:moveTo>
                <a:lnTo>
                  <a:pt x="1221" y="260"/>
                </a:lnTo>
                <a:lnTo>
                  <a:pt x="1222" y="261"/>
                </a:lnTo>
                <a:lnTo>
                  <a:pt x="1224" y="257"/>
                </a:lnTo>
                <a:close/>
                <a:moveTo>
                  <a:pt x="1354" y="427"/>
                </a:moveTo>
                <a:lnTo>
                  <a:pt x="1346" y="427"/>
                </a:lnTo>
                <a:lnTo>
                  <a:pt x="1344" y="427"/>
                </a:lnTo>
                <a:lnTo>
                  <a:pt x="1347" y="431"/>
                </a:lnTo>
                <a:lnTo>
                  <a:pt x="1357" y="431"/>
                </a:lnTo>
                <a:lnTo>
                  <a:pt x="1354" y="427"/>
                </a:lnTo>
                <a:close/>
                <a:moveTo>
                  <a:pt x="2464" y="843"/>
                </a:moveTo>
                <a:lnTo>
                  <a:pt x="2472" y="840"/>
                </a:lnTo>
                <a:lnTo>
                  <a:pt x="2465" y="847"/>
                </a:lnTo>
                <a:lnTo>
                  <a:pt x="2472" y="843"/>
                </a:lnTo>
                <a:lnTo>
                  <a:pt x="2475" y="846"/>
                </a:lnTo>
                <a:lnTo>
                  <a:pt x="2471" y="849"/>
                </a:lnTo>
                <a:lnTo>
                  <a:pt x="2472" y="849"/>
                </a:lnTo>
                <a:lnTo>
                  <a:pt x="2471" y="851"/>
                </a:lnTo>
                <a:lnTo>
                  <a:pt x="2475" y="849"/>
                </a:lnTo>
                <a:lnTo>
                  <a:pt x="2478" y="849"/>
                </a:lnTo>
                <a:lnTo>
                  <a:pt x="2486" y="848"/>
                </a:lnTo>
                <a:lnTo>
                  <a:pt x="2490" y="843"/>
                </a:lnTo>
                <a:lnTo>
                  <a:pt x="2490" y="844"/>
                </a:lnTo>
                <a:lnTo>
                  <a:pt x="2495" y="844"/>
                </a:lnTo>
                <a:lnTo>
                  <a:pt x="2498" y="842"/>
                </a:lnTo>
                <a:lnTo>
                  <a:pt x="2499" y="840"/>
                </a:lnTo>
                <a:lnTo>
                  <a:pt x="2502" y="840"/>
                </a:lnTo>
                <a:lnTo>
                  <a:pt x="2502" y="836"/>
                </a:lnTo>
                <a:lnTo>
                  <a:pt x="2510" y="835"/>
                </a:lnTo>
                <a:lnTo>
                  <a:pt x="2510" y="831"/>
                </a:lnTo>
                <a:lnTo>
                  <a:pt x="2513" y="836"/>
                </a:lnTo>
                <a:lnTo>
                  <a:pt x="2522" y="836"/>
                </a:lnTo>
                <a:lnTo>
                  <a:pt x="2523" y="835"/>
                </a:lnTo>
                <a:lnTo>
                  <a:pt x="2519" y="831"/>
                </a:lnTo>
                <a:lnTo>
                  <a:pt x="2525" y="828"/>
                </a:lnTo>
                <a:lnTo>
                  <a:pt x="2522" y="825"/>
                </a:lnTo>
                <a:lnTo>
                  <a:pt x="2526" y="820"/>
                </a:lnTo>
                <a:lnTo>
                  <a:pt x="2526" y="816"/>
                </a:lnTo>
                <a:lnTo>
                  <a:pt x="2522" y="812"/>
                </a:lnTo>
                <a:lnTo>
                  <a:pt x="2524" y="808"/>
                </a:lnTo>
                <a:lnTo>
                  <a:pt x="2518" y="801"/>
                </a:lnTo>
                <a:lnTo>
                  <a:pt x="2518" y="800"/>
                </a:lnTo>
                <a:lnTo>
                  <a:pt x="2526" y="800"/>
                </a:lnTo>
                <a:lnTo>
                  <a:pt x="2523" y="797"/>
                </a:lnTo>
                <a:lnTo>
                  <a:pt x="2518" y="799"/>
                </a:lnTo>
                <a:lnTo>
                  <a:pt x="2516" y="796"/>
                </a:lnTo>
                <a:lnTo>
                  <a:pt x="2520" y="795"/>
                </a:lnTo>
                <a:lnTo>
                  <a:pt x="2523" y="796"/>
                </a:lnTo>
                <a:lnTo>
                  <a:pt x="2526" y="797"/>
                </a:lnTo>
                <a:lnTo>
                  <a:pt x="2527" y="796"/>
                </a:lnTo>
                <a:lnTo>
                  <a:pt x="2529" y="796"/>
                </a:lnTo>
                <a:lnTo>
                  <a:pt x="2527" y="786"/>
                </a:lnTo>
                <a:lnTo>
                  <a:pt x="2529" y="788"/>
                </a:lnTo>
                <a:lnTo>
                  <a:pt x="2531" y="790"/>
                </a:lnTo>
                <a:lnTo>
                  <a:pt x="2533" y="787"/>
                </a:lnTo>
                <a:lnTo>
                  <a:pt x="2529" y="784"/>
                </a:lnTo>
                <a:lnTo>
                  <a:pt x="2526" y="784"/>
                </a:lnTo>
                <a:lnTo>
                  <a:pt x="2527" y="781"/>
                </a:lnTo>
                <a:lnTo>
                  <a:pt x="2522" y="776"/>
                </a:lnTo>
                <a:lnTo>
                  <a:pt x="2522" y="776"/>
                </a:lnTo>
                <a:lnTo>
                  <a:pt x="2516" y="776"/>
                </a:lnTo>
                <a:lnTo>
                  <a:pt x="2510" y="775"/>
                </a:lnTo>
                <a:lnTo>
                  <a:pt x="2510" y="775"/>
                </a:lnTo>
                <a:lnTo>
                  <a:pt x="2506" y="772"/>
                </a:lnTo>
                <a:lnTo>
                  <a:pt x="2506" y="773"/>
                </a:lnTo>
                <a:lnTo>
                  <a:pt x="2503" y="774"/>
                </a:lnTo>
                <a:lnTo>
                  <a:pt x="2502" y="774"/>
                </a:lnTo>
                <a:lnTo>
                  <a:pt x="2499" y="776"/>
                </a:lnTo>
                <a:lnTo>
                  <a:pt x="2498" y="776"/>
                </a:lnTo>
                <a:lnTo>
                  <a:pt x="2498" y="779"/>
                </a:lnTo>
                <a:lnTo>
                  <a:pt x="2497" y="775"/>
                </a:lnTo>
                <a:lnTo>
                  <a:pt x="2490" y="776"/>
                </a:lnTo>
                <a:lnTo>
                  <a:pt x="2490" y="780"/>
                </a:lnTo>
                <a:lnTo>
                  <a:pt x="2491" y="781"/>
                </a:lnTo>
                <a:lnTo>
                  <a:pt x="2485" y="786"/>
                </a:lnTo>
                <a:lnTo>
                  <a:pt x="2488" y="787"/>
                </a:lnTo>
                <a:lnTo>
                  <a:pt x="2495" y="786"/>
                </a:lnTo>
                <a:lnTo>
                  <a:pt x="2494" y="788"/>
                </a:lnTo>
                <a:lnTo>
                  <a:pt x="2493" y="788"/>
                </a:lnTo>
                <a:lnTo>
                  <a:pt x="2494" y="789"/>
                </a:lnTo>
                <a:lnTo>
                  <a:pt x="2493" y="789"/>
                </a:lnTo>
                <a:lnTo>
                  <a:pt x="2487" y="793"/>
                </a:lnTo>
                <a:lnTo>
                  <a:pt x="2490" y="796"/>
                </a:lnTo>
                <a:lnTo>
                  <a:pt x="2482" y="796"/>
                </a:lnTo>
                <a:lnTo>
                  <a:pt x="2480" y="798"/>
                </a:lnTo>
                <a:lnTo>
                  <a:pt x="2476" y="796"/>
                </a:lnTo>
                <a:lnTo>
                  <a:pt x="2471" y="796"/>
                </a:lnTo>
                <a:lnTo>
                  <a:pt x="2468" y="797"/>
                </a:lnTo>
                <a:lnTo>
                  <a:pt x="2465" y="793"/>
                </a:lnTo>
                <a:lnTo>
                  <a:pt x="2462" y="794"/>
                </a:lnTo>
                <a:lnTo>
                  <a:pt x="2462" y="797"/>
                </a:lnTo>
                <a:lnTo>
                  <a:pt x="2465" y="796"/>
                </a:lnTo>
                <a:lnTo>
                  <a:pt x="2471" y="804"/>
                </a:lnTo>
                <a:lnTo>
                  <a:pt x="2468" y="804"/>
                </a:lnTo>
                <a:lnTo>
                  <a:pt x="2466" y="804"/>
                </a:lnTo>
                <a:lnTo>
                  <a:pt x="2466" y="808"/>
                </a:lnTo>
                <a:lnTo>
                  <a:pt x="2472" y="808"/>
                </a:lnTo>
                <a:lnTo>
                  <a:pt x="2464" y="809"/>
                </a:lnTo>
                <a:lnTo>
                  <a:pt x="2465" y="813"/>
                </a:lnTo>
                <a:lnTo>
                  <a:pt x="2471" y="811"/>
                </a:lnTo>
                <a:lnTo>
                  <a:pt x="2468" y="816"/>
                </a:lnTo>
                <a:lnTo>
                  <a:pt x="2471" y="816"/>
                </a:lnTo>
                <a:lnTo>
                  <a:pt x="2470" y="814"/>
                </a:lnTo>
                <a:lnTo>
                  <a:pt x="2482" y="813"/>
                </a:lnTo>
                <a:lnTo>
                  <a:pt x="2482" y="816"/>
                </a:lnTo>
                <a:lnTo>
                  <a:pt x="2478" y="816"/>
                </a:lnTo>
                <a:lnTo>
                  <a:pt x="2475" y="820"/>
                </a:lnTo>
                <a:lnTo>
                  <a:pt x="2476" y="821"/>
                </a:lnTo>
                <a:lnTo>
                  <a:pt x="2475" y="823"/>
                </a:lnTo>
                <a:lnTo>
                  <a:pt x="2468" y="827"/>
                </a:lnTo>
                <a:lnTo>
                  <a:pt x="2480" y="825"/>
                </a:lnTo>
                <a:lnTo>
                  <a:pt x="2482" y="824"/>
                </a:lnTo>
                <a:lnTo>
                  <a:pt x="2485" y="825"/>
                </a:lnTo>
                <a:lnTo>
                  <a:pt x="2471" y="827"/>
                </a:lnTo>
                <a:lnTo>
                  <a:pt x="2470" y="830"/>
                </a:lnTo>
                <a:lnTo>
                  <a:pt x="2470" y="834"/>
                </a:lnTo>
                <a:lnTo>
                  <a:pt x="2464" y="831"/>
                </a:lnTo>
                <a:lnTo>
                  <a:pt x="2458" y="835"/>
                </a:lnTo>
                <a:lnTo>
                  <a:pt x="2458" y="836"/>
                </a:lnTo>
                <a:lnTo>
                  <a:pt x="2469" y="835"/>
                </a:lnTo>
                <a:lnTo>
                  <a:pt x="2462" y="839"/>
                </a:lnTo>
                <a:lnTo>
                  <a:pt x="2458" y="840"/>
                </a:lnTo>
                <a:lnTo>
                  <a:pt x="2458" y="843"/>
                </a:lnTo>
                <a:lnTo>
                  <a:pt x="2462" y="842"/>
                </a:lnTo>
                <a:lnTo>
                  <a:pt x="2464" y="843"/>
                </a:lnTo>
                <a:close/>
                <a:moveTo>
                  <a:pt x="1579" y="605"/>
                </a:moveTo>
                <a:lnTo>
                  <a:pt x="1578" y="605"/>
                </a:lnTo>
                <a:lnTo>
                  <a:pt x="1579" y="607"/>
                </a:lnTo>
                <a:lnTo>
                  <a:pt x="1582" y="608"/>
                </a:lnTo>
                <a:lnTo>
                  <a:pt x="1585" y="614"/>
                </a:lnTo>
                <a:lnTo>
                  <a:pt x="1593" y="612"/>
                </a:lnTo>
                <a:lnTo>
                  <a:pt x="1591" y="611"/>
                </a:lnTo>
                <a:lnTo>
                  <a:pt x="1579" y="605"/>
                </a:lnTo>
                <a:lnTo>
                  <a:pt x="1579" y="605"/>
                </a:lnTo>
                <a:close/>
                <a:moveTo>
                  <a:pt x="2488" y="402"/>
                </a:moveTo>
                <a:lnTo>
                  <a:pt x="2482" y="405"/>
                </a:lnTo>
                <a:lnTo>
                  <a:pt x="2484" y="406"/>
                </a:lnTo>
                <a:lnTo>
                  <a:pt x="2488" y="402"/>
                </a:lnTo>
                <a:close/>
                <a:moveTo>
                  <a:pt x="2499" y="399"/>
                </a:moveTo>
                <a:lnTo>
                  <a:pt x="2492" y="399"/>
                </a:lnTo>
                <a:lnTo>
                  <a:pt x="2491" y="400"/>
                </a:lnTo>
                <a:lnTo>
                  <a:pt x="2491" y="400"/>
                </a:lnTo>
                <a:lnTo>
                  <a:pt x="2496" y="400"/>
                </a:lnTo>
                <a:lnTo>
                  <a:pt x="2499" y="399"/>
                </a:lnTo>
                <a:close/>
                <a:moveTo>
                  <a:pt x="1566" y="407"/>
                </a:moveTo>
                <a:lnTo>
                  <a:pt x="1566" y="407"/>
                </a:lnTo>
                <a:lnTo>
                  <a:pt x="1564" y="406"/>
                </a:lnTo>
                <a:lnTo>
                  <a:pt x="1563" y="407"/>
                </a:lnTo>
                <a:lnTo>
                  <a:pt x="1564" y="407"/>
                </a:lnTo>
                <a:lnTo>
                  <a:pt x="1566" y="407"/>
                </a:lnTo>
                <a:close/>
                <a:moveTo>
                  <a:pt x="2504" y="734"/>
                </a:moveTo>
                <a:lnTo>
                  <a:pt x="2503" y="732"/>
                </a:lnTo>
                <a:lnTo>
                  <a:pt x="2501" y="735"/>
                </a:lnTo>
                <a:lnTo>
                  <a:pt x="2503" y="735"/>
                </a:lnTo>
                <a:lnTo>
                  <a:pt x="2504" y="734"/>
                </a:lnTo>
                <a:close/>
                <a:moveTo>
                  <a:pt x="2489" y="400"/>
                </a:moveTo>
                <a:lnTo>
                  <a:pt x="2488" y="402"/>
                </a:lnTo>
                <a:lnTo>
                  <a:pt x="2491" y="400"/>
                </a:lnTo>
                <a:lnTo>
                  <a:pt x="2489" y="400"/>
                </a:lnTo>
                <a:close/>
                <a:moveTo>
                  <a:pt x="2504" y="732"/>
                </a:moveTo>
                <a:lnTo>
                  <a:pt x="2506" y="732"/>
                </a:lnTo>
                <a:lnTo>
                  <a:pt x="2506" y="727"/>
                </a:lnTo>
                <a:lnTo>
                  <a:pt x="2504" y="726"/>
                </a:lnTo>
                <a:lnTo>
                  <a:pt x="2504" y="732"/>
                </a:lnTo>
                <a:close/>
                <a:moveTo>
                  <a:pt x="1450" y="362"/>
                </a:moveTo>
                <a:lnTo>
                  <a:pt x="1450" y="362"/>
                </a:lnTo>
                <a:lnTo>
                  <a:pt x="1450" y="362"/>
                </a:lnTo>
                <a:lnTo>
                  <a:pt x="1450" y="362"/>
                </a:lnTo>
                <a:close/>
                <a:moveTo>
                  <a:pt x="1448" y="360"/>
                </a:moveTo>
                <a:lnTo>
                  <a:pt x="1450" y="362"/>
                </a:lnTo>
                <a:lnTo>
                  <a:pt x="1450" y="361"/>
                </a:lnTo>
                <a:lnTo>
                  <a:pt x="1448" y="360"/>
                </a:lnTo>
                <a:close/>
                <a:moveTo>
                  <a:pt x="1516" y="570"/>
                </a:moveTo>
                <a:lnTo>
                  <a:pt x="1514" y="570"/>
                </a:lnTo>
                <a:lnTo>
                  <a:pt x="1514" y="571"/>
                </a:lnTo>
                <a:lnTo>
                  <a:pt x="1514" y="572"/>
                </a:lnTo>
                <a:lnTo>
                  <a:pt x="1516" y="570"/>
                </a:lnTo>
                <a:close/>
                <a:moveTo>
                  <a:pt x="1533" y="566"/>
                </a:moveTo>
                <a:lnTo>
                  <a:pt x="1532" y="565"/>
                </a:lnTo>
                <a:lnTo>
                  <a:pt x="1532" y="566"/>
                </a:lnTo>
                <a:lnTo>
                  <a:pt x="1534" y="567"/>
                </a:lnTo>
                <a:lnTo>
                  <a:pt x="1534" y="566"/>
                </a:lnTo>
                <a:lnTo>
                  <a:pt x="1533" y="566"/>
                </a:lnTo>
                <a:close/>
                <a:moveTo>
                  <a:pt x="1466" y="361"/>
                </a:moveTo>
                <a:lnTo>
                  <a:pt x="1463" y="364"/>
                </a:lnTo>
                <a:lnTo>
                  <a:pt x="1466" y="365"/>
                </a:lnTo>
                <a:lnTo>
                  <a:pt x="1468" y="365"/>
                </a:lnTo>
                <a:lnTo>
                  <a:pt x="1469" y="365"/>
                </a:lnTo>
                <a:lnTo>
                  <a:pt x="1466" y="361"/>
                </a:lnTo>
                <a:close/>
                <a:moveTo>
                  <a:pt x="1470" y="370"/>
                </a:moveTo>
                <a:lnTo>
                  <a:pt x="1470" y="370"/>
                </a:lnTo>
                <a:lnTo>
                  <a:pt x="1470" y="370"/>
                </a:lnTo>
                <a:lnTo>
                  <a:pt x="1470" y="370"/>
                </a:lnTo>
                <a:close/>
                <a:moveTo>
                  <a:pt x="1466" y="368"/>
                </a:moveTo>
                <a:lnTo>
                  <a:pt x="1470" y="370"/>
                </a:lnTo>
                <a:lnTo>
                  <a:pt x="1468" y="365"/>
                </a:lnTo>
                <a:lnTo>
                  <a:pt x="1466" y="368"/>
                </a:lnTo>
                <a:close/>
                <a:moveTo>
                  <a:pt x="1456" y="435"/>
                </a:moveTo>
                <a:lnTo>
                  <a:pt x="1455" y="435"/>
                </a:lnTo>
                <a:lnTo>
                  <a:pt x="1445" y="435"/>
                </a:lnTo>
                <a:lnTo>
                  <a:pt x="1439" y="439"/>
                </a:lnTo>
                <a:lnTo>
                  <a:pt x="1443" y="439"/>
                </a:lnTo>
                <a:lnTo>
                  <a:pt x="1452" y="443"/>
                </a:lnTo>
                <a:lnTo>
                  <a:pt x="1449" y="439"/>
                </a:lnTo>
                <a:lnTo>
                  <a:pt x="1456" y="439"/>
                </a:lnTo>
                <a:lnTo>
                  <a:pt x="1461" y="436"/>
                </a:lnTo>
                <a:lnTo>
                  <a:pt x="1460" y="435"/>
                </a:lnTo>
                <a:lnTo>
                  <a:pt x="1456" y="435"/>
                </a:lnTo>
                <a:lnTo>
                  <a:pt x="1456" y="435"/>
                </a:lnTo>
                <a:close/>
                <a:moveTo>
                  <a:pt x="1599" y="246"/>
                </a:moveTo>
                <a:lnTo>
                  <a:pt x="1598" y="245"/>
                </a:lnTo>
                <a:lnTo>
                  <a:pt x="1596" y="245"/>
                </a:lnTo>
                <a:lnTo>
                  <a:pt x="1599" y="246"/>
                </a:lnTo>
                <a:close/>
                <a:moveTo>
                  <a:pt x="1634" y="440"/>
                </a:moveTo>
                <a:lnTo>
                  <a:pt x="1628" y="442"/>
                </a:lnTo>
                <a:lnTo>
                  <a:pt x="1631" y="442"/>
                </a:lnTo>
                <a:lnTo>
                  <a:pt x="1634" y="440"/>
                </a:lnTo>
                <a:close/>
                <a:moveTo>
                  <a:pt x="1603" y="240"/>
                </a:moveTo>
                <a:lnTo>
                  <a:pt x="1597" y="242"/>
                </a:lnTo>
                <a:lnTo>
                  <a:pt x="1606" y="242"/>
                </a:lnTo>
                <a:lnTo>
                  <a:pt x="1603" y="240"/>
                </a:lnTo>
                <a:close/>
                <a:moveTo>
                  <a:pt x="1651" y="474"/>
                </a:moveTo>
                <a:lnTo>
                  <a:pt x="1644" y="476"/>
                </a:lnTo>
                <a:lnTo>
                  <a:pt x="1648" y="477"/>
                </a:lnTo>
                <a:lnTo>
                  <a:pt x="1651" y="474"/>
                </a:lnTo>
                <a:close/>
                <a:moveTo>
                  <a:pt x="1686" y="492"/>
                </a:moveTo>
                <a:lnTo>
                  <a:pt x="1685" y="490"/>
                </a:lnTo>
                <a:lnTo>
                  <a:pt x="1682" y="492"/>
                </a:lnTo>
                <a:lnTo>
                  <a:pt x="1686" y="492"/>
                </a:lnTo>
                <a:close/>
                <a:moveTo>
                  <a:pt x="1626" y="458"/>
                </a:moveTo>
                <a:lnTo>
                  <a:pt x="1626" y="456"/>
                </a:lnTo>
                <a:lnTo>
                  <a:pt x="1625" y="456"/>
                </a:lnTo>
                <a:lnTo>
                  <a:pt x="1626" y="458"/>
                </a:lnTo>
                <a:close/>
                <a:moveTo>
                  <a:pt x="1659" y="476"/>
                </a:moveTo>
                <a:lnTo>
                  <a:pt x="1659" y="477"/>
                </a:lnTo>
                <a:lnTo>
                  <a:pt x="1661" y="477"/>
                </a:lnTo>
                <a:lnTo>
                  <a:pt x="1659" y="476"/>
                </a:lnTo>
                <a:close/>
                <a:moveTo>
                  <a:pt x="2509" y="626"/>
                </a:moveTo>
                <a:lnTo>
                  <a:pt x="2509" y="623"/>
                </a:lnTo>
                <a:lnTo>
                  <a:pt x="2516" y="627"/>
                </a:lnTo>
                <a:lnTo>
                  <a:pt x="2513" y="623"/>
                </a:lnTo>
                <a:lnTo>
                  <a:pt x="2509" y="620"/>
                </a:lnTo>
                <a:lnTo>
                  <a:pt x="2506" y="620"/>
                </a:lnTo>
                <a:lnTo>
                  <a:pt x="2506" y="621"/>
                </a:lnTo>
                <a:lnTo>
                  <a:pt x="2508" y="624"/>
                </a:lnTo>
                <a:lnTo>
                  <a:pt x="2504" y="624"/>
                </a:lnTo>
                <a:lnTo>
                  <a:pt x="2509" y="626"/>
                </a:lnTo>
                <a:close/>
                <a:moveTo>
                  <a:pt x="2506" y="723"/>
                </a:moveTo>
                <a:lnTo>
                  <a:pt x="2504" y="723"/>
                </a:lnTo>
                <a:lnTo>
                  <a:pt x="2506" y="726"/>
                </a:lnTo>
                <a:lnTo>
                  <a:pt x="2506" y="723"/>
                </a:lnTo>
                <a:close/>
                <a:moveTo>
                  <a:pt x="2508" y="721"/>
                </a:moveTo>
                <a:lnTo>
                  <a:pt x="2508" y="719"/>
                </a:lnTo>
                <a:lnTo>
                  <a:pt x="2501" y="721"/>
                </a:lnTo>
                <a:lnTo>
                  <a:pt x="2506" y="723"/>
                </a:lnTo>
                <a:lnTo>
                  <a:pt x="2508" y="721"/>
                </a:lnTo>
                <a:close/>
                <a:moveTo>
                  <a:pt x="2517" y="621"/>
                </a:moveTo>
                <a:lnTo>
                  <a:pt x="2509" y="617"/>
                </a:lnTo>
                <a:lnTo>
                  <a:pt x="2516" y="625"/>
                </a:lnTo>
                <a:lnTo>
                  <a:pt x="2517" y="621"/>
                </a:lnTo>
                <a:close/>
                <a:moveTo>
                  <a:pt x="1570" y="419"/>
                </a:moveTo>
                <a:lnTo>
                  <a:pt x="1570" y="419"/>
                </a:lnTo>
                <a:lnTo>
                  <a:pt x="1570" y="419"/>
                </a:lnTo>
                <a:lnTo>
                  <a:pt x="1570" y="419"/>
                </a:lnTo>
                <a:close/>
                <a:moveTo>
                  <a:pt x="1560" y="385"/>
                </a:moveTo>
                <a:lnTo>
                  <a:pt x="1572" y="388"/>
                </a:lnTo>
                <a:lnTo>
                  <a:pt x="1579" y="394"/>
                </a:lnTo>
                <a:lnTo>
                  <a:pt x="1574" y="401"/>
                </a:lnTo>
                <a:lnTo>
                  <a:pt x="1567" y="400"/>
                </a:lnTo>
                <a:lnTo>
                  <a:pt x="1561" y="407"/>
                </a:lnTo>
                <a:lnTo>
                  <a:pt x="1562" y="407"/>
                </a:lnTo>
                <a:lnTo>
                  <a:pt x="1563" y="407"/>
                </a:lnTo>
                <a:lnTo>
                  <a:pt x="1561" y="410"/>
                </a:lnTo>
                <a:lnTo>
                  <a:pt x="1559" y="412"/>
                </a:lnTo>
                <a:lnTo>
                  <a:pt x="1564" y="408"/>
                </a:lnTo>
                <a:lnTo>
                  <a:pt x="1567" y="407"/>
                </a:lnTo>
                <a:lnTo>
                  <a:pt x="1566" y="407"/>
                </a:lnTo>
                <a:lnTo>
                  <a:pt x="1566" y="403"/>
                </a:lnTo>
                <a:lnTo>
                  <a:pt x="1569" y="403"/>
                </a:lnTo>
                <a:lnTo>
                  <a:pt x="1574" y="402"/>
                </a:lnTo>
                <a:lnTo>
                  <a:pt x="1574" y="405"/>
                </a:lnTo>
                <a:lnTo>
                  <a:pt x="1569" y="407"/>
                </a:lnTo>
                <a:lnTo>
                  <a:pt x="1575" y="406"/>
                </a:lnTo>
                <a:lnTo>
                  <a:pt x="1579" y="401"/>
                </a:lnTo>
                <a:lnTo>
                  <a:pt x="1582" y="399"/>
                </a:lnTo>
                <a:lnTo>
                  <a:pt x="1586" y="401"/>
                </a:lnTo>
                <a:lnTo>
                  <a:pt x="1588" y="405"/>
                </a:lnTo>
                <a:lnTo>
                  <a:pt x="1585" y="410"/>
                </a:lnTo>
                <a:lnTo>
                  <a:pt x="1579" y="415"/>
                </a:lnTo>
                <a:lnTo>
                  <a:pt x="1574" y="420"/>
                </a:lnTo>
                <a:lnTo>
                  <a:pt x="1574" y="422"/>
                </a:lnTo>
                <a:lnTo>
                  <a:pt x="1572" y="429"/>
                </a:lnTo>
                <a:lnTo>
                  <a:pt x="1579" y="422"/>
                </a:lnTo>
                <a:lnTo>
                  <a:pt x="1582" y="413"/>
                </a:lnTo>
                <a:lnTo>
                  <a:pt x="1598" y="407"/>
                </a:lnTo>
                <a:lnTo>
                  <a:pt x="1600" y="407"/>
                </a:lnTo>
                <a:lnTo>
                  <a:pt x="1594" y="411"/>
                </a:lnTo>
                <a:lnTo>
                  <a:pt x="1588" y="413"/>
                </a:lnTo>
                <a:lnTo>
                  <a:pt x="1589" y="415"/>
                </a:lnTo>
                <a:lnTo>
                  <a:pt x="1588" y="419"/>
                </a:lnTo>
                <a:lnTo>
                  <a:pt x="1590" y="419"/>
                </a:lnTo>
                <a:lnTo>
                  <a:pt x="1590" y="415"/>
                </a:lnTo>
                <a:lnTo>
                  <a:pt x="1594" y="415"/>
                </a:lnTo>
                <a:lnTo>
                  <a:pt x="1604" y="409"/>
                </a:lnTo>
                <a:lnTo>
                  <a:pt x="1618" y="413"/>
                </a:lnTo>
                <a:lnTo>
                  <a:pt x="1618" y="416"/>
                </a:lnTo>
                <a:lnTo>
                  <a:pt x="1617" y="419"/>
                </a:lnTo>
                <a:lnTo>
                  <a:pt x="1614" y="416"/>
                </a:lnTo>
                <a:lnTo>
                  <a:pt x="1614" y="420"/>
                </a:lnTo>
                <a:lnTo>
                  <a:pt x="1600" y="425"/>
                </a:lnTo>
                <a:lnTo>
                  <a:pt x="1612" y="424"/>
                </a:lnTo>
                <a:lnTo>
                  <a:pt x="1615" y="426"/>
                </a:lnTo>
                <a:lnTo>
                  <a:pt x="1610" y="429"/>
                </a:lnTo>
                <a:lnTo>
                  <a:pt x="1621" y="425"/>
                </a:lnTo>
                <a:lnTo>
                  <a:pt x="1620" y="424"/>
                </a:lnTo>
                <a:lnTo>
                  <a:pt x="1621" y="420"/>
                </a:lnTo>
                <a:lnTo>
                  <a:pt x="1628" y="423"/>
                </a:lnTo>
                <a:lnTo>
                  <a:pt x="1637" y="432"/>
                </a:lnTo>
                <a:lnTo>
                  <a:pt x="1638" y="439"/>
                </a:lnTo>
                <a:lnTo>
                  <a:pt x="1626" y="439"/>
                </a:lnTo>
                <a:lnTo>
                  <a:pt x="1626" y="442"/>
                </a:lnTo>
                <a:lnTo>
                  <a:pt x="1622" y="440"/>
                </a:lnTo>
                <a:lnTo>
                  <a:pt x="1625" y="439"/>
                </a:lnTo>
                <a:lnTo>
                  <a:pt x="1626" y="439"/>
                </a:lnTo>
                <a:lnTo>
                  <a:pt x="1626" y="439"/>
                </a:lnTo>
                <a:lnTo>
                  <a:pt x="1626" y="436"/>
                </a:lnTo>
                <a:lnTo>
                  <a:pt x="1621" y="440"/>
                </a:lnTo>
                <a:lnTo>
                  <a:pt x="1622" y="440"/>
                </a:lnTo>
                <a:lnTo>
                  <a:pt x="1620" y="441"/>
                </a:lnTo>
                <a:lnTo>
                  <a:pt x="1619" y="442"/>
                </a:lnTo>
                <a:lnTo>
                  <a:pt x="1625" y="443"/>
                </a:lnTo>
                <a:lnTo>
                  <a:pt x="1637" y="443"/>
                </a:lnTo>
                <a:lnTo>
                  <a:pt x="1641" y="447"/>
                </a:lnTo>
                <a:lnTo>
                  <a:pt x="1644" y="450"/>
                </a:lnTo>
                <a:lnTo>
                  <a:pt x="1641" y="451"/>
                </a:lnTo>
                <a:lnTo>
                  <a:pt x="1611" y="445"/>
                </a:lnTo>
                <a:lnTo>
                  <a:pt x="1605" y="448"/>
                </a:lnTo>
                <a:lnTo>
                  <a:pt x="1611" y="447"/>
                </a:lnTo>
                <a:lnTo>
                  <a:pt x="1623" y="451"/>
                </a:lnTo>
                <a:lnTo>
                  <a:pt x="1616" y="451"/>
                </a:lnTo>
                <a:lnTo>
                  <a:pt x="1610" y="453"/>
                </a:lnTo>
                <a:lnTo>
                  <a:pt x="1610" y="456"/>
                </a:lnTo>
                <a:lnTo>
                  <a:pt x="1611" y="454"/>
                </a:lnTo>
                <a:lnTo>
                  <a:pt x="1621" y="452"/>
                </a:lnTo>
                <a:lnTo>
                  <a:pt x="1628" y="456"/>
                </a:lnTo>
                <a:lnTo>
                  <a:pt x="1626" y="456"/>
                </a:lnTo>
                <a:lnTo>
                  <a:pt x="1626" y="455"/>
                </a:lnTo>
                <a:lnTo>
                  <a:pt x="1625" y="455"/>
                </a:lnTo>
                <a:lnTo>
                  <a:pt x="1625" y="456"/>
                </a:lnTo>
                <a:lnTo>
                  <a:pt x="1616" y="459"/>
                </a:lnTo>
                <a:lnTo>
                  <a:pt x="1628" y="463"/>
                </a:lnTo>
                <a:lnTo>
                  <a:pt x="1604" y="459"/>
                </a:lnTo>
                <a:lnTo>
                  <a:pt x="1623" y="464"/>
                </a:lnTo>
                <a:lnTo>
                  <a:pt x="1612" y="467"/>
                </a:lnTo>
                <a:lnTo>
                  <a:pt x="1614" y="467"/>
                </a:lnTo>
                <a:lnTo>
                  <a:pt x="1619" y="467"/>
                </a:lnTo>
                <a:lnTo>
                  <a:pt x="1631" y="467"/>
                </a:lnTo>
                <a:lnTo>
                  <a:pt x="1630" y="468"/>
                </a:lnTo>
                <a:lnTo>
                  <a:pt x="1630" y="470"/>
                </a:lnTo>
                <a:lnTo>
                  <a:pt x="1633" y="468"/>
                </a:lnTo>
                <a:lnTo>
                  <a:pt x="1634" y="469"/>
                </a:lnTo>
                <a:lnTo>
                  <a:pt x="1634" y="468"/>
                </a:lnTo>
                <a:lnTo>
                  <a:pt x="1642" y="470"/>
                </a:lnTo>
                <a:lnTo>
                  <a:pt x="1640" y="471"/>
                </a:lnTo>
                <a:lnTo>
                  <a:pt x="1637" y="472"/>
                </a:lnTo>
                <a:lnTo>
                  <a:pt x="1639" y="474"/>
                </a:lnTo>
                <a:lnTo>
                  <a:pt x="1639" y="473"/>
                </a:lnTo>
                <a:lnTo>
                  <a:pt x="1641" y="474"/>
                </a:lnTo>
                <a:lnTo>
                  <a:pt x="1638" y="481"/>
                </a:lnTo>
                <a:lnTo>
                  <a:pt x="1642" y="477"/>
                </a:lnTo>
                <a:lnTo>
                  <a:pt x="1642" y="481"/>
                </a:lnTo>
                <a:lnTo>
                  <a:pt x="1645" y="479"/>
                </a:lnTo>
                <a:lnTo>
                  <a:pt x="1648" y="479"/>
                </a:lnTo>
                <a:lnTo>
                  <a:pt x="1647" y="480"/>
                </a:lnTo>
                <a:lnTo>
                  <a:pt x="1650" y="481"/>
                </a:lnTo>
                <a:lnTo>
                  <a:pt x="1653" y="479"/>
                </a:lnTo>
                <a:lnTo>
                  <a:pt x="1650" y="482"/>
                </a:lnTo>
                <a:lnTo>
                  <a:pt x="1650" y="485"/>
                </a:lnTo>
                <a:lnTo>
                  <a:pt x="1650" y="486"/>
                </a:lnTo>
                <a:lnTo>
                  <a:pt x="1654" y="482"/>
                </a:lnTo>
                <a:lnTo>
                  <a:pt x="1654" y="483"/>
                </a:lnTo>
                <a:lnTo>
                  <a:pt x="1661" y="483"/>
                </a:lnTo>
                <a:lnTo>
                  <a:pt x="1661" y="482"/>
                </a:lnTo>
                <a:lnTo>
                  <a:pt x="1668" y="479"/>
                </a:lnTo>
                <a:lnTo>
                  <a:pt x="1673" y="481"/>
                </a:lnTo>
                <a:lnTo>
                  <a:pt x="1667" y="485"/>
                </a:lnTo>
                <a:lnTo>
                  <a:pt x="1667" y="486"/>
                </a:lnTo>
                <a:lnTo>
                  <a:pt x="1665" y="489"/>
                </a:lnTo>
                <a:lnTo>
                  <a:pt x="1671" y="487"/>
                </a:lnTo>
                <a:lnTo>
                  <a:pt x="1672" y="487"/>
                </a:lnTo>
                <a:lnTo>
                  <a:pt x="1676" y="487"/>
                </a:lnTo>
                <a:lnTo>
                  <a:pt x="1679" y="489"/>
                </a:lnTo>
                <a:lnTo>
                  <a:pt x="1682" y="493"/>
                </a:lnTo>
                <a:lnTo>
                  <a:pt x="1676" y="495"/>
                </a:lnTo>
                <a:lnTo>
                  <a:pt x="1682" y="495"/>
                </a:lnTo>
                <a:lnTo>
                  <a:pt x="1685" y="500"/>
                </a:lnTo>
                <a:lnTo>
                  <a:pt x="1682" y="499"/>
                </a:lnTo>
                <a:lnTo>
                  <a:pt x="1675" y="502"/>
                </a:lnTo>
                <a:lnTo>
                  <a:pt x="1674" y="505"/>
                </a:lnTo>
                <a:lnTo>
                  <a:pt x="1676" y="502"/>
                </a:lnTo>
                <a:lnTo>
                  <a:pt x="1691" y="500"/>
                </a:lnTo>
                <a:lnTo>
                  <a:pt x="1685" y="507"/>
                </a:lnTo>
                <a:lnTo>
                  <a:pt x="1691" y="502"/>
                </a:lnTo>
                <a:lnTo>
                  <a:pt x="1691" y="499"/>
                </a:lnTo>
                <a:lnTo>
                  <a:pt x="1691" y="499"/>
                </a:lnTo>
                <a:lnTo>
                  <a:pt x="1693" y="499"/>
                </a:lnTo>
                <a:lnTo>
                  <a:pt x="1692" y="498"/>
                </a:lnTo>
                <a:lnTo>
                  <a:pt x="1694" y="497"/>
                </a:lnTo>
                <a:lnTo>
                  <a:pt x="1697" y="500"/>
                </a:lnTo>
                <a:lnTo>
                  <a:pt x="1691" y="504"/>
                </a:lnTo>
                <a:lnTo>
                  <a:pt x="1691" y="507"/>
                </a:lnTo>
                <a:lnTo>
                  <a:pt x="1686" y="511"/>
                </a:lnTo>
                <a:lnTo>
                  <a:pt x="1691" y="511"/>
                </a:lnTo>
                <a:lnTo>
                  <a:pt x="1691" y="513"/>
                </a:lnTo>
                <a:lnTo>
                  <a:pt x="1694" y="508"/>
                </a:lnTo>
                <a:lnTo>
                  <a:pt x="1700" y="507"/>
                </a:lnTo>
                <a:lnTo>
                  <a:pt x="1697" y="515"/>
                </a:lnTo>
                <a:lnTo>
                  <a:pt x="1699" y="511"/>
                </a:lnTo>
                <a:lnTo>
                  <a:pt x="1699" y="511"/>
                </a:lnTo>
                <a:lnTo>
                  <a:pt x="1704" y="511"/>
                </a:lnTo>
                <a:lnTo>
                  <a:pt x="1708" y="516"/>
                </a:lnTo>
                <a:lnTo>
                  <a:pt x="1705" y="510"/>
                </a:lnTo>
                <a:lnTo>
                  <a:pt x="1710" y="507"/>
                </a:lnTo>
                <a:lnTo>
                  <a:pt x="1712" y="507"/>
                </a:lnTo>
                <a:lnTo>
                  <a:pt x="1710" y="510"/>
                </a:lnTo>
                <a:lnTo>
                  <a:pt x="1716" y="508"/>
                </a:lnTo>
                <a:lnTo>
                  <a:pt x="1723" y="516"/>
                </a:lnTo>
                <a:lnTo>
                  <a:pt x="1720" y="517"/>
                </a:lnTo>
                <a:lnTo>
                  <a:pt x="1713" y="515"/>
                </a:lnTo>
                <a:lnTo>
                  <a:pt x="1710" y="519"/>
                </a:lnTo>
                <a:lnTo>
                  <a:pt x="1715" y="519"/>
                </a:lnTo>
                <a:lnTo>
                  <a:pt x="1719" y="521"/>
                </a:lnTo>
                <a:lnTo>
                  <a:pt x="1713" y="520"/>
                </a:lnTo>
                <a:lnTo>
                  <a:pt x="1720" y="523"/>
                </a:lnTo>
                <a:lnTo>
                  <a:pt x="1713" y="524"/>
                </a:lnTo>
                <a:lnTo>
                  <a:pt x="1705" y="523"/>
                </a:lnTo>
                <a:lnTo>
                  <a:pt x="1701" y="523"/>
                </a:lnTo>
                <a:lnTo>
                  <a:pt x="1707" y="524"/>
                </a:lnTo>
                <a:lnTo>
                  <a:pt x="1701" y="525"/>
                </a:lnTo>
                <a:lnTo>
                  <a:pt x="1699" y="523"/>
                </a:lnTo>
                <a:lnTo>
                  <a:pt x="1701" y="527"/>
                </a:lnTo>
                <a:lnTo>
                  <a:pt x="1710" y="527"/>
                </a:lnTo>
                <a:lnTo>
                  <a:pt x="1713" y="531"/>
                </a:lnTo>
                <a:lnTo>
                  <a:pt x="1705" y="531"/>
                </a:lnTo>
                <a:lnTo>
                  <a:pt x="1707" y="531"/>
                </a:lnTo>
                <a:lnTo>
                  <a:pt x="1707" y="535"/>
                </a:lnTo>
                <a:lnTo>
                  <a:pt x="1704" y="535"/>
                </a:lnTo>
                <a:lnTo>
                  <a:pt x="1699" y="536"/>
                </a:lnTo>
                <a:lnTo>
                  <a:pt x="1704" y="539"/>
                </a:lnTo>
                <a:lnTo>
                  <a:pt x="1701" y="539"/>
                </a:lnTo>
                <a:lnTo>
                  <a:pt x="1704" y="541"/>
                </a:lnTo>
                <a:lnTo>
                  <a:pt x="1701" y="543"/>
                </a:lnTo>
                <a:lnTo>
                  <a:pt x="1701" y="543"/>
                </a:lnTo>
                <a:lnTo>
                  <a:pt x="1699" y="543"/>
                </a:lnTo>
                <a:lnTo>
                  <a:pt x="1698" y="540"/>
                </a:lnTo>
                <a:lnTo>
                  <a:pt x="1695" y="535"/>
                </a:lnTo>
                <a:lnTo>
                  <a:pt x="1695" y="539"/>
                </a:lnTo>
                <a:lnTo>
                  <a:pt x="1695" y="541"/>
                </a:lnTo>
                <a:lnTo>
                  <a:pt x="1693" y="539"/>
                </a:lnTo>
                <a:lnTo>
                  <a:pt x="1687" y="539"/>
                </a:lnTo>
                <a:lnTo>
                  <a:pt x="1693" y="543"/>
                </a:lnTo>
                <a:lnTo>
                  <a:pt x="1689" y="543"/>
                </a:lnTo>
                <a:lnTo>
                  <a:pt x="1694" y="546"/>
                </a:lnTo>
                <a:lnTo>
                  <a:pt x="1687" y="543"/>
                </a:lnTo>
                <a:lnTo>
                  <a:pt x="1693" y="546"/>
                </a:lnTo>
                <a:lnTo>
                  <a:pt x="1691" y="550"/>
                </a:lnTo>
                <a:lnTo>
                  <a:pt x="1693" y="552"/>
                </a:lnTo>
                <a:lnTo>
                  <a:pt x="1689" y="557"/>
                </a:lnTo>
                <a:lnTo>
                  <a:pt x="1686" y="556"/>
                </a:lnTo>
                <a:lnTo>
                  <a:pt x="1687" y="554"/>
                </a:lnTo>
                <a:lnTo>
                  <a:pt x="1685" y="552"/>
                </a:lnTo>
                <a:lnTo>
                  <a:pt x="1681" y="554"/>
                </a:lnTo>
                <a:lnTo>
                  <a:pt x="1680" y="553"/>
                </a:lnTo>
                <a:lnTo>
                  <a:pt x="1681" y="551"/>
                </a:lnTo>
                <a:lnTo>
                  <a:pt x="1675" y="551"/>
                </a:lnTo>
                <a:lnTo>
                  <a:pt x="1675" y="553"/>
                </a:lnTo>
                <a:lnTo>
                  <a:pt x="1671" y="547"/>
                </a:lnTo>
                <a:lnTo>
                  <a:pt x="1674" y="547"/>
                </a:lnTo>
                <a:lnTo>
                  <a:pt x="1671" y="547"/>
                </a:lnTo>
                <a:lnTo>
                  <a:pt x="1676" y="544"/>
                </a:lnTo>
                <a:lnTo>
                  <a:pt x="1668" y="546"/>
                </a:lnTo>
                <a:lnTo>
                  <a:pt x="1667" y="545"/>
                </a:lnTo>
                <a:lnTo>
                  <a:pt x="1674" y="540"/>
                </a:lnTo>
                <a:lnTo>
                  <a:pt x="1668" y="543"/>
                </a:lnTo>
                <a:lnTo>
                  <a:pt x="1664" y="543"/>
                </a:lnTo>
                <a:lnTo>
                  <a:pt x="1672" y="539"/>
                </a:lnTo>
                <a:lnTo>
                  <a:pt x="1667" y="539"/>
                </a:lnTo>
                <a:lnTo>
                  <a:pt x="1660" y="535"/>
                </a:lnTo>
                <a:lnTo>
                  <a:pt x="1664" y="533"/>
                </a:lnTo>
                <a:lnTo>
                  <a:pt x="1674" y="531"/>
                </a:lnTo>
                <a:lnTo>
                  <a:pt x="1672" y="530"/>
                </a:lnTo>
                <a:lnTo>
                  <a:pt x="1674" y="525"/>
                </a:lnTo>
                <a:lnTo>
                  <a:pt x="1679" y="522"/>
                </a:lnTo>
                <a:lnTo>
                  <a:pt x="1674" y="523"/>
                </a:lnTo>
                <a:lnTo>
                  <a:pt x="1671" y="528"/>
                </a:lnTo>
                <a:lnTo>
                  <a:pt x="1655" y="531"/>
                </a:lnTo>
                <a:lnTo>
                  <a:pt x="1653" y="531"/>
                </a:lnTo>
                <a:lnTo>
                  <a:pt x="1659" y="527"/>
                </a:lnTo>
                <a:lnTo>
                  <a:pt x="1652" y="529"/>
                </a:lnTo>
                <a:lnTo>
                  <a:pt x="1651" y="527"/>
                </a:lnTo>
                <a:lnTo>
                  <a:pt x="1642" y="527"/>
                </a:lnTo>
                <a:lnTo>
                  <a:pt x="1642" y="523"/>
                </a:lnTo>
                <a:lnTo>
                  <a:pt x="1642" y="522"/>
                </a:lnTo>
                <a:lnTo>
                  <a:pt x="1641" y="522"/>
                </a:lnTo>
                <a:lnTo>
                  <a:pt x="1643" y="521"/>
                </a:lnTo>
                <a:lnTo>
                  <a:pt x="1641" y="521"/>
                </a:lnTo>
                <a:lnTo>
                  <a:pt x="1641" y="522"/>
                </a:lnTo>
                <a:lnTo>
                  <a:pt x="1640" y="520"/>
                </a:lnTo>
                <a:lnTo>
                  <a:pt x="1641" y="521"/>
                </a:lnTo>
                <a:lnTo>
                  <a:pt x="1641" y="517"/>
                </a:lnTo>
                <a:lnTo>
                  <a:pt x="1638" y="520"/>
                </a:lnTo>
                <a:lnTo>
                  <a:pt x="1634" y="519"/>
                </a:lnTo>
                <a:lnTo>
                  <a:pt x="1628" y="519"/>
                </a:lnTo>
                <a:lnTo>
                  <a:pt x="1633" y="520"/>
                </a:lnTo>
                <a:lnTo>
                  <a:pt x="1638" y="523"/>
                </a:lnTo>
                <a:lnTo>
                  <a:pt x="1634" y="523"/>
                </a:lnTo>
                <a:lnTo>
                  <a:pt x="1625" y="519"/>
                </a:lnTo>
                <a:lnTo>
                  <a:pt x="1629" y="525"/>
                </a:lnTo>
                <a:lnTo>
                  <a:pt x="1634" y="530"/>
                </a:lnTo>
                <a:lnTo>
                  <a:pt x="1634" y="531"/>
                </a:lnTo>
                <a:lnTo>
                  <a:pt x="1634" y="535"/>
                </a:lnTo>
                <a:lnTo>
                  <a:pt x="1626" y="535"/>
                </a:lnTo>
                <a:lnTo>
                  <a:pt x="1621" y="527"/>
                </a:lnTo>
                <a:lnTo>
                  <a:pt x="1612" y="527"/>
                </a:lnTo>
                <a:lnTo>
                  <a:pt x="1622" y="530"/>
                </a:lnTo>
                <a:lnTo>
                  <a:pt x="1622" y="531"/>
                </a:lnTo>
                <a:lnTo>
                  <a:pt x="1618" y="530"/>
                </a:lnTo>
                <a:lnTo>
                  <a:pt x="1618" y="535"/>
                </a:lnTo>
                <a:lnTo>
                  <a:pt x="1623" y="535"/>
                </a:lnTo>
                <a:lnTo>
                  <a:pt x="1621" y="539"/>
                </a:lnTo>
                <a:lnTo>
                  <a:pt x="1626" y="539"/>
                </a:lnTo>
                <a:lnTo>
                  <a:pt x="1625" y="541"/>
                </a:lnTo>
                <a:lnTo>
                  <a:pt x="1628" y="539"/>
                </a:lnTo>
                <a:lnTo>
                  <a:pt x="1634" y="539"/>
                </a:lnTo>
                <a:lnTo>
                  <a:pt x="1633" y="543"/>
                </a:lnTo>
                <a:lnTo>
                  <a:pt x="1637" y="545"/>
                </a:lnTo>
                <a:lnTo>
                  <a:pt x="1632" y="546"/>
                </a:lnTo>
                <a:lnTo>
                  <a:pt x="1640" y="549"/>
                </a:lnTo>
                <a:lnTo>
                  <a:pt x="1638" y="552"/>
                </a:lnTo>
                <a:lnTo>
                  <a:pt x="1638" y="554"/>
                </a:lnTo>
                <a:lnTo>
                  <a:pt x="1642" y="561"/>
                </a:lnTo>
                <a:lnTo>
                  <a:pt x="1642" y="554"/>
                </a:lnTo>
                <a:lnTo>
                  <a:pt x="1650" y="557"/>
                </a:lnTo>
                <a:lnTo>
                  <a:pt x="1650" y="562"/>
                </a:lnTo>
                <a:lnTo>
                  <a:pt x="1650" y="558"/>
                </a:lnTo>
                <a:lnTo>
                  <a:pt x="1650" y="563"/>
                </a:lnTo>
                <a:lnTo>
                  <a:pt x="1655" y="563"/>
                </a:lnTo>
                <a:lnTo>
                  <a:pt x="1653" y="558"/>
                </a:lnTo>
                <a:lnTo>
                  <a:pt x="1658" y="558"/>
                </a:lnTo>
                <a:lnTo>
                  <a:pt x="1658" y="561"/>
                </a:lnTo>
                <a:lnTo>
                  <a:pt x="1659" y="562"/>
                </a:lnTo>
                <a:lnTo>
                  <a:pt x="1659" y="568"/>
                </a:lnTo>
                <a:lnTo>
                  <a:pt x="1661" y="563"/>
                </a:lnTo>
                <a:lnTo>
                  <a:pt x="1663" y="563"/>
                </a:lnTo>
                <a:lnTo>
                  <a:pt x="1663" y="564"/>
                </a:lnTo>
                <a:lnTo>
                  <a:pt x="1661" y="566"/>
                </a:lnTo>
                <a:lnTo>
                  <a:pt x="1665" y="566"/>
                </a:lnTo>
                <a:lnTo>
                  <a:pt x="1667" y="570"/>
                </a:lnTo>
                <a:lnTo>
                  <a:pt x="1665" y="575"/>
                </a:lnTo>
                <a:lnTo>
                  <a:pt x="1661" y="575"/>
                </a:lnTo>
                <a:lnTo>
                  <a:pt x="1668" y="578"/>
                </a:lnTo>
                <a:lnTo>
                  <a:pt x="1665" y="579"/>
                </a:lnTo>
                <a:lnTo>
                  <a:pt x="1674" y="579"/>
                </a:lnTo>
                <a:lnTo>
                  <a:pt x="1668" y="584"/>
                </a:lnTo>
                <a:lnTo>
                  <a:pt x="1675" y="587"/>
                </a:lnTo>
                <a:lnTo>
                  <a:pt x="1675" y="589"/>
                </a:lnTo>
                <a:lnTo>
                  <a:pt x="1675" y="591"/>
                </a:lnTo>
                <a:lnTo>
                  <a:pt x="1675" y="591"/>
                </a:lnTo>
                <a:lnTo>
                  <a:pt x="1676" y="595"/>
                </a:lnTo>
                <a:lnTo>
                  <a:pt x="1675" y="596"/>
                </a:lnTo>
                <a:lnTo>
                  <a:pt x="1672" y="595"/>
                </a:lnTo>
                <a:lnTo>
                  <a:pt x="1671" y="587"/>
                </a:lnTo>
                <a:lnTo>
                  <a:pt x="1664" y="584"/>
                </a:lnTo>
                <a:lnTo>
                  <a:pt x="1668" y="587"/>
                </a:lnTo>
                <a:lnTo>
                  <a:pt x="1667" y="590"/>
                </a:lnTo>
                <a:lnTo>
                  <a:pt x="1671" y="596"/>
                </a:lnTo>
                <a:lnTo>
                  <a:pt x="1667" y="595"/>
                </a:lnTo>
                <a:lnTo>
                  <a:pt x="1668" y="598"/>
                </a:lnTo>
                <a:lnTo>
                  <a:pt x="1671" y="600"/>
                </a:lnTo>
                <a:lnTo>
                  <a:pt x="1671" y="604"/>
                </a:lnTo>
                <a:lnTo>
                  <a:pt x="1674" y="608"/>
                </a:lnTo>
                <a:lnTo>
                  <a:pt x="1671" y="608"/>
                </a:lnTo>
                <a:lnTo>
                  <a:pt x="1665" y="605"/>
                </a:lnTo>
                <a:lnTo>
                  <a:pt x="1670" y="610"/>
                </a:lnTo>
                <a:lnTo>
                  <a:pt x="1663" y="614"/>
                </a:lnTo>
                <a:lnTo>
                  <a:pt x="1663" y="610"/>
                </a:lnTo>
                <a:lnTo>
                  <a:pt x="1663" y="608"/>
                </a:lnTo>
                <a:lnTo>
                  <a:pt x="1660" y="608"/>
                </a:lnTo>
                <a:lnTo>
                  <a:pt x="1654" y="605"/>
                </a:lnTo>
                <a:lnTo>
                  <a:pt x="1654" y="603"/>
                </a:lnTo>
                <a:lnTo>
                  <a:pt x="1652" y="604"/>
                </a:lnTo>
                <a:lnTo>
                  <a:pt x="1648" y="600"/>
                </a:lnTo>
                <a:lnTo>
                  <a:pt x="1652" y="604"/>
                </a:lnTo>
                <a:lnTo>
                  <a:pt x="1647" y="603"/>
                </a:lnTo>
                <a:lnTo>
                  <a:pt x="1644" y="592"/>
                </a:lnTo>
                <a:lnTo>
                  <a:pt x="1640" y="595"/>
                </a:lnTo>
                <a:lnTo>
                  <a:pt x="1642" y="598"/>
                </a:lnTo>
                <a:lnTo>
                  <a:pt x="1642" y="604"/>
                </a:lnTo>
                <a:lnTo>
                  <a:pt x="1640" y="602"/>
                </a:lnTo>
                <a:lnTo>
                  <a:pt x="1640" y="599"/>
                </a:lnTo>
                <a:lnTo>
                  <a:pt x="1638" y="599"/>
                </a:lnTo>
                <a:lnTo>
                  <a:pt x="1638" y="598"/>
                </a:lnTo>
                <a:lnTo>
                  <a:pt x="1638" y="596"/>
                </a:lnTo>
                <a:lnTo>
                  <a:pt x="1638" y="595"/>
                </a:lnTo>
                <a:lnTo>
                  <a:pt x="1636" y="596"/>
                </a:lnTo>
                <a:lnTo>
                  <a:pt x="1626" y="585"/>
                </a:lnTo>
                <a:lnTo>
                  <a:pt x="1630" y="593"/>
                </a:lnTo>
                <a:lnTo>
                  <a:pt x="1616" y="587"/>
                </a:lnTo>
                <a:lnTo>
                  <a:pt x="1611" y="587"/>
                </a:lnTo>
                <a:lnTo>
                  <a:pt x="1621" y="599"/>
                </a:lnTo>
                <a:lnTo>
                  <a:pt x="1629" y="600"/>
                </a:lnTo>
                <a:lnTo>
                  <a:pt x="1626" y="603"/>
                </a:lnTo>
                <a:lnTo>
                  <a:pt x="1626" y="604"/>
                </a:lnTo>
                <a:lnTo>
                  <a:pt x="1630" y="603"/>
                </a:lnTo>
                <a:lnTo>
                  <a:pt x="1630" y="605"/>
                </a:lnTo>
                <a:lnTo>
                  <a:pt x="1633" y="604"/>
                </a:lnTo>
                <a:lnTo>
                  <a:pt x="1640" y="612"/>
                </a:lnTo>
                <a:lnTo>
                  <a:pt x="1638" y="612"/>
                </a:lnTo>
                <a:lnTo>
                  <a:pt x="1638" y="612"/>
                </a:lnTo>
                <a:lnTo>
                  <a:pt x="1646" y="615"/>
                </a:lnTo>
                <a:lnTo>
                  <a:pt x="1646" y="616"/>
                </a:lnTo>
                <a:lnTo>
                  <a:pt x="1645" y="619"/>
                </a:lnTo>
                <a:lnTo>
                  <a:pt x="1646" y="620"/>
                </a:lnTo>
                <a:lnTo>
                  <a:pt x="1646" y="620"/>
                </a:lnTo>
                <a:lnTo>
                  <a:pt x="1650" y="620"/>
                </a:lnTo>
                <a:lnTo>
                  <a:pt x="1650" y="620"/>
                </a:lnTo>
                <a:lnTo>
                  <a:pt x="1654" y="622"/>
                </a:lnTo>
                <a:lnTo>
                  <a:pt x="1652" y="624"/>
                </a:lnTo>
                <a:lnTo>
                  <a:pt x="1653" y="628"/>
                </a:lnTo>
                <a:lnTo>
                  <a:pt x="1647" y="628"/>
                </a:lnTo>
                <a:lnTo>
                  <a:pt x="1641" y="626"/>
                </a:lnTo>
                <a:lnTo>
                  <a:pt x="1608" y="617"/>
                </a:lnTo>
                <a:lnTo>
                  <a:pt x="1601" y="612"/>
                </a:lnTo>
                <a:lnTo>
                  <a:pt x="1602" y="612"/>
                </a:lnTo>
                <a:lnTo>
                  <a:pt x="1593" y="612"/>
                </a:lnTo>
                <a:lnTo>
                  <a:pt x="1591" y="611"/>
                </a:lnTo>
                <a:lnTo>
                  <a:pt x="1586" y="608"/>
                </a:lnTo>
                <a:lnTo>
                  <a:pt x="1579" y="605"/>
                </a:lnTo>
                <a:lnTo>
                  <a:pt x="1582" y="600"/>
                </a:lnTo>
                <a:lnTo>
                  <a:pt x="1582" y="598"/>
                </a:lnTo>
                <a:lnTo>
                  <a:pt x="1578" y="603"/>
                </a:lnTo>
                <a:lnTo>
                  <a:pt x="1572" y="599"/>
                </a:lnTo>
                <a:lnTo>
                  <a:pt x="1570" y="595"/>
                </a:lnTo>
                <a:lnTo>
                  <a:pt x="1572" y="595"/>
                </a:lnTo>
                <a:lnTo>
                  <a:pt x="1578" y="591"/>
                </a:lnTo>
                <a:lnTo>
                  <a:pt x="1570" y="591"/>
                </a:lnTo>
                <a:lnTo>
                  <a:pt x="1570" y="585"/>
                </a:lnTo>
                <a:lnTo>
                  <a:pt x="1566" y="585"/>
                </a:lnTo>
                <a:lnTo>
                  <a:pt x="1566" y="587"/>
                </a:lnTo>
                <a:lnTo>
                  <a:pt x="1569" y="587"/>
                </a:lnTo>
                <a:lnTo>
                  <a:pt x="1567" y="589"/>
                </a:lnTo>
                <a:lnTo>
                  <a:pt x="1563" y="585"/>
                </a:lnTo>
                <a:lnTo>
                  <a:pt x="1561" y="586"/>
                </a:lnTo>
                <a:lnTo>
                  <a:pt x="1561" y="587"/>
                </a:lnTo>
                <a:lnTo>
                  <a:pt x="1560" y="587"/>
                </a:lnTo>
                <a:lnTo>
                  <a:pt x="1559" y="587"/>
                </a:lnTo>
                <a:lnTo>
                  <a:pt x="1558" y="587"/>
                </a:lnTo>
                <a:lnTo>
                  <a:pt x="1558" y="585"/>
                </a:lnTo>
                <a:lnTo>
                  <a:pt x="1559" y="584"/>
                </a:lnTo>
                <a:lnTo>
                  <a:pt x="1558" y="582"/>
                </a:lnTo>
                <a:lnTo>
                  <a:pt x="1558" y="579"/>
                </a:lnTo>
                <a:lnTo>
                  <a:pt x="1554" y="577"/>
                </a:lnTo>
                <a:lnTo>
                  <a:pt x="1554" y="579"/>
                </a:lnTo>
                <a:lnTo>
                  <a:pt x="1553" y="578"/>
                </a:lnTo>
                <a:lnTo>
                  <a:pt x="1548" y="575"/>
                </a:lnTo>
                <a:lnTo>
                  <a:pt x="1546" y="575"/>
                </a:lnTo>
                <a:lnTo>
                  <a:pt x="1546" y="568"/>
                </a:lnTo>
                <a:lnTo>
                  <a:pt x="1547" y="566"/>
                </a:lnTo>
                <a:lnTo>
                  <a:pt x="1546" y="562"/>
                </a:lnTo>
                <a:lnTo>
                  <a:pt x="1546" y="566"/>
                </a:lnTo>
                <a:lnTo>
                  <a:pt x="1545" y="567"/>
                </a:lnTo>
                <a:lnTo>
                  <a:pt x="1545" y="567"/>
                </a:lnTo>
                <a:lnTo>
                  <a:pt x="1545" y="567"/>
                </a:lnTo>
                <a:lnTo>
                  <a:pt x="1545" y="566"/>
                </a:lnTo>
                <a:lnTo>
                  <a:pt x="1543" y="567"/>
                </a:lnTo>
                <a:lnTo>
                  <a:pt x="1544" y="567"/>
                </a:lnTo>
                <a:lnTo>
                  <a:pt x="1542" y="567"/>
                </a:lnTo>
                <a:lnTo>
                  <a:pt x="1542" y="567"/>
                </a:lnTo>
                <a:lnTo>
                  <a:pt x="1542" y="567"/>
                </a:lnTo>
                <a:lnTo>
                  <a:pt x="1540" y="567"/>
                </a:lnTo>
                <a:lnTo>
                  <a:pt x="1541" y="568"/>
                </a:lnTo>
                <a:lnTo>
                  <a:pt x="1538" y="571"/>
                </a:lnTo>
                <a:lnTo>
                  <a:pt x="1536" y="567"/>
                </a:lnTo>
                <a:lnTo>
                  <a:pt x="1535" y="567"/>
                </a:lnTo>
                <a:lnTo>
                  <a:pt x="1534" y="566"/>
                </a:lnTo>
                <a:lnTo>
                  <a:pt x="1534" y="561"/>
                </a:lnTo>
                <a:lnTo>
                  <a:pt x="1532" y="565"/>
                </a:lnTo>
                <a:lnTo>
                  <a:pt x="1527" y="561"/>
                </a:lnTo>
                <a:lnTo>
                  <a:pt x="1530" y="558"/>
                </a:lnTo>
                <a:lnTo>
                  <a:pt x="1526" y="557"/>
                </a:lnTo>
                <a:lnTo>
                  <a:pt x="1526" y="561"/>
                </a:lnTo>
                <a:lnTo>
                  <a:pt x="1522" y="558"/>
                </a:lnTo>
                <a:lnTo>
                  <a:pt x="1531" y="566"/>
                </a:lnTo>
                <a:lnTo>
                  <a:pt x="1526" y="570"/>
                </a:lnTo>
                <a:lnTo>
                  <a:pt x="1510" y="564"/>
                </a:lnTo>
                <a:lnTo>
                  <a:pt x="1510" y="566"/>
                </a:lnTo>
                <a:lnTo>
                  <a:pt x="1514" y="571"/>
                </a:lnTo>
                <a:lnTo>
                  <a:pt x="1510" y="571"/>
                </a:lnTo>
                <a:lnTo>
                  <a:pt x="1514" y="572"/>
                </a:lnTo>
                <a:lnTo>
                  <a:pt x="1497" y="572"/>
                </a:lnTo>
                <a:lnTo>
                  <a:pt x="1500" y="573"/>
                </a:lnTo>
                <a:lnTo>
                  <a:pt x="1493" y="572"/>
                </a:lnTo>
                <a:lnTo>
                  <a:pt x="1489" y="573"/>
                </a:lnTo>
                <a:lnTo>
                  <a:pt x="1485" y="568"/>
                </a:lnTo>
                <a:lnTo>
                  <a:pt x="1481" y="570"/>
                </a:lnTo>
                <a:lnTo>
                  <a:pt x="1474" y="566"/>
                </a:lnTo>
                <a:lnTo>
                  <a:pt x="1474" y="561"/>
                </a:lnTo>
                <a:lnTo>
                  <a:pt x="1478" y="558"/>
                </a:lnTo>
                <a:lnTo>
                  <a:pt x="1478" y="556"/>
                </a:lnTo>
                <a:lnTo>
                  <a:pt x="1489" y="550"/>
                </a:lnTo>
                <a:lnTo>
                  <a:pt x="1486" y="546"/>
                </a:lnTo>
                <a:lnTo>
                  <a:pt x="1489" y="546"/>
                </a:lnTo>
                <a:lnTo>
                  <a:pt x="1488" y="545"/>
                </a:lnTo>
                <a:lnTo>
                  <a:pt x="1511" y="549"/>
                </a:lnTo>
                <a:lnTo>
                  <a:pt x="1514" y="554"/>
                </a:lnTo>
                <a:lnTo>
                  <a:pt x="1514" y="559"/>
                </a:lnTo>
                <a:lnTo>
                  <a:pt x="1514" y="559"/>
                </a:lnTo>
                <a:lnTo>
                  <a:pt x="1519" y="564"/>
                </a:lnTo>
                <a:lnTo>
                  <a:pt x="1520" y="562"/>
                </a:lnTo>
                <a:lnTo>
                  <a:pt x="1519" y="559"/>
                </a:lnTo>
                <a:lnTo>
                  <a:pt x="1515" y="559"/>
                </a:lnTo>
                <a:lnTo>
                  <a:pt x="1518" y="556"/>
                </a:lnTo>
                <a:lnTo>
                  <a:pt x="1518" y="552"/>
                </a:lnTo>
                <a:lnTo>
                  <a:pt x="1517" y="554"/>
                </a:lnTo>
                <a:lnTo>
                  <a:pt x="1509" y="546"/>
                </a:lnTo>
                <a:lnTo>
                  <a:pt x="1518" y="549"/>
                </a:lnTo>
                <a:lnTo>
                  <a:pt x="1518" y="546"/>
                </a:lnTo>
                <a:lnTo>
                  <a:pt x="1518" y="546"/>
                </a:lnTo>
                <a:lnTo>
                  <a:pt x="1529" y="547"/>
                </a:lnTo>
                <a:lnTo>
                  <a:pt x="1536" y="543"/>
                </a:lnTo>
                <a:lnTo>
                  <a:pt x="1545" y="543"/>
                </a:lnTo>
                <a:lnTo>
                  <a:pt x="1542" y="535"/>
                </a:lnTo>
                <a:lnTo>
                  <a:pt x="1538" y="533"/>
                </a:lnTo>
                <a:lnTo>
                  <a:pt x="1531" y="527"/>
                </a:lnTo>
                <a:lnTo>
                  <a:pt x="1545" y="516"/>
                </a:lnTo>
                <a:lnTo>
                  <a:pt x="1549" y="513"/>
                </a:lnTo>
                <a:lnTo>
                  <a:pt x="1555" y="505"/>
                </a:lnTo>
                <a:lnTo>
                  <a:pt x="1560" y="504"/>
                </a:lnTo>
                <a:lnTo>
                  <a:pt x="1562" y="500"/>
                </a:lnTo>
                <a:lnTo>
                  <a:pt x="1559" y="490"/>
                </a:lnTo>
                <a:lnTo>
                  <a:pt x="1555" y="488"/>
                </a:lnTo>
                <a:lnTo>
                  <a:pt x="1557" y="486"/>
                </a:lnTo>
                <a:lnTo>
                  <a:pt x="1550" y="482"/>
                </a:lnTo>
                <a:lnTo>
                  <a:pt x="1550" y="481"/>
                </a:lnTo>
                <a:lnTo>
                  <a:pt x="1551" y="476"/>
                </a:lnTo>
                <a:lnTo>
                  <a:pt x="1545" y="474"/>
                </a:lnTo>
                <a:lnTo>
                  <a:pt x="1548" y="471"/>
                </a:lnTo>
                <a:lnTo>
                  <a:pt x="1544" y="475"/>
                </a:lnTo>
                <a:lnTo>
                  <a:pt x="1541" y="475"/>
                </a:lnTo>
                <a:lnTo>
                  <a:pt x="1539" y="471"/>
                </a:lnTo>
                <a:lnTo>
                  <a:pt x="1538" y="471"/>
                </a:lnTo>
                <a:lnTo>
                  <a:pt x="1538" y="467"/>
                </a:lnTo>
                <a:lnTo>
                  <a:pt x="1538" y="468"/>
                </a:lnTo>
                <a:lnTo>
                  <a:pt x="1533" y="466"/>
                </a:lnTo>
                <a:lnTo>
                  <a:pt x="1527" y="462"/>
                </a:lnTo>
                <a:lnTo>
                  <a:pt x="1529" y="459"/>
                </a:lnTo>
                <a:lnTo>
                  <a:pt x="1527" y="459"/>
                </a:lnTo>
                <a:lnTo>
                  <a:pt x="1525" y="459"/>
                </a:lnTo>
                <a:lnTo>
                  <a:pt x="1522" y="459"/>
                </a:lnTo>
                <a:lnTo>
                  <a:pt x="1527" y="456"/>
                </a:lnTo>
                <a:lnTo>
                  <a:pt x="1526" y="453"/>
                </a:lnTo>
                <a:lnTo>
                  <a:pt x="1522" y="454"/>
                </a:lnTo>
                <a:lnTo>
                  <a:pt x="1521" y="458"/>
                </a:lnTo>
                <a:lnTo>
                  <a:pt x="1515" y="454"/>
                </a:lnTo>
                <a:lnTo>
                  <a:pt x="1514" y="458"/>
                </a:lnTo>
                <a:lnTo>
                  <a:pt x="1498" y="463"/>
                </a:lnTo>
                <a:lnTo>
                  <a:pt x="1498" y="462"/>
                </a:lnTo>
                <a:lnTo>
                  <a:pt x="1499" y="458"/>
                </a:lnTo>
                <a:lnTo>
                  <a:pt x="1498" y="456"/>
                </a:lnTo>
                <a:lnTo>
                  <a:pt x="1498" y="455"/>
                </a:lnTo>
                <a:lnTo>
                  <a:pt x="1508" y="455"/>
                </a:lnTo>
                <a:lnTo>
                  <a:pt x="1514" y="453"/>
                </a:lnTo>
                <a:lnTo>
                  <a:pt x="1514" y="450"/>
                </a:lnTo>
                <a:lnTo>
                  <a:pt x="1499" y="441"/>
                </a:lnTo>
                <a:lnTo>
                  <a:pt x="1503" y="440"/>
                </a:lnTo>
                <a:lnTo>
                  <a:pt x="1505" y="439"/>
                </a:lnTo>
                <a:lnTo>
                  <a:pt x="1500" y="439"/>
                </a:lnTo>
                <a:lnTo>
                  <a:pt x="1501" y="441"/>
                </a:lnTo>
                <a:lnTo>
                  <a:pt x="1500" y="440"/>
                </a:lnTo>
                <a:lnTo>
                  <a:pt x="1492" y="439"/>
                </a:lnTo>
                <a:lnTo>
                  <a:pt x="1497" y="437"/>
                </a:lnTo>
                <a:lnTo>
                  <a:pt x="1496" y="435"/>
                </a:lnTo>
                <a:lnTo>
                  <a:pt x="1489" y="435"/>
                </a:lnTo>
                <a:lnTo>
                  <a:pt x="1492" y="431"/>
                </a:lnTo>
                <a:lnTo>
                  <a:pt x="1482" y="435"/>
                </a:lnTo>
                <a:lnTo>
                  <a:pt x="1482" y="424"/>
                </a:lnTo>
                <a:lnTo>
                  <a:pt x="1478" y="422"/>
                </a:lnTo>
                <a:lnTo>
                  <a:pt x="1470" y="424"/>
                </a:lnTo>
                <a:lnTo>
                  <a:pt x="1470" y="420"/>
                </a:lnTo>
                <a:lnTo>
                  <a:pt x="1470" y="419"/>
                </a:lnTo>
                <a:lnTo>
                  <a:pt x="1470" y="420"/>
                </a:lnTo>
                <a:lnTo>
                  <a:pt x="1468" y="417"/>
                </a:lnTo>
                <a:lnTo>
                  <a:pt x="1463" y="416"/>
                </a:lnTo>
                <a:lnTo>
                  <a:pt x="1463" y="419"/>
                </a:lnTo>
                <a:lnTo>
                  <a:pt x="1460" y="416"/>
                </a:lnTo>
                <a:lnTo>
                  <a:pt x="1456" y="419"/>
                </a:lnTo>
                <a:lnTo>
                  <a:pt x="1467" y="421"/>
                </a:lnTo>
                <a:lnTo>
                  <a:pt x="1470" y="430"/>
                </a:lnTo>
                <a:lnTo>
                  <a:pt x="1469" y="435"/>
                </a:lnTo>
                <a:lnTo>
                  <a:pt x="1460" y="435"/>
                </a:lnTo>
                <a:lnTo>
                  <a:pt x="1459" y="433"/>
                </a:lnTo>
                <a:lnTo>
                  <a:pt x="1456" y="435"/>
                </a:lnTo>
                <a:lnTo>
                  <a:pt x="1449" y="430"/>
                </a:lnTo>
                <a:lnTo>
                  <a:pt x="1426" y="425"/>
                </a:lnTo>
                <a:lnTo>
                  <a:pt x="1434" y="429"/>
                </a:lnTo>
                <a:lnTo>
                  <a:pt x="1441" y="435"/>
                </a:lnTo>
                <a:lnTo>
                  <a:pt x="1437" y="436"/>
                </a:lnTo>
                <a:lnTo>
                  <a:pt x="1422" y="425"/>
                </a:lnTo>
                <a:lnTo>
                  <a:pt x="1407" y="420"/>
                </a:lnTo>
                <a:lnTo>
                  <a:pt x="1426" y="430"/>
                </a:lnTo>
                <a:lnTo>
                  <a:pt x="1420" y="435"/>
                </a:lnTo>
                <a:lnTo>
                  <a:pt x="1414" y="431"/>
                </a:lnTo>
                <a:lnTo>
                  <a:pt x="1414" y="431"/>
                </a:lnTo>
                <a:lnTo>
                  <a:pt x="1414" y="431"/>
                </a:lnTo>
                <a:lnTo>
                  <a:pt x="1407" y="428"/>
                </a:lnTo>
                <a:lnTo>
                  <a:pt x="1396" y="431"/>
                </a:lnTo>
                <a:lnTo>
                  <a:pt x="1373" y="425"/>
                </a:lnTo>
                <a:lnTo>
                  <a:pt x="1365" y="429"/>
                </a:lnTo>
                <a:lnTo>
                  <a:pt x="1374" y="431"/>
                </a:lnTo>
                <a:lnTo>
                  <a:pt x="1366" y="431"/>
                </a:lnTo>
                <a:lnTo>
                  <a:pt x="1354" y="423"/>
                </a:lnTo>
                <a:lnTo>
                  <a:pt x="1354" y="423"/>
                </a:lnTo>
                <a:lnTo>
                  <a:pt x="1350" y="423"/>
                </a:lnTo>
                <a:lnTo>
                  <a:pt x="1348" y="418"/>
                </a:lnTo>
                <a:lnTo>
                  <a:pt x="1346" y="419"/>
                </a:lnTo>
                <a:lnTo>
                  <a:pt x="1345" y="419"/>
                </a:lnTo>
                <a:lnTo>
                  <a:pt x="1345" y="423"/>
                </a:lnTo>
                <a:lnTo>
                  <a:pt x="1341" y="423"/>
                </a:lnTo>
                <a:lnTo>
                  <a:pt x="1337" y="425"/>
                </a:lnTo>
                <a:lnTo>
                  <a:pt x="1332" y="423"/>
                </a:lnTo>
                <a:lnTo>
                  <a:pt x="1336" y="423"/>
                </a:lnTo>
                <a:lnTo>
                  <a:pt x="1333" y="421"/>
                </a:lnTo>
                <a:lnTo>
                  <a:pt x="1324" y="416"/>
                </a:lnTo>
                <a:lnTo>
                  <a:pt x="1314" y="405"/>
                </a:lnTo>
                <a:lnTo>
                  <a:pt x="1317" y="402"/>
                </a:lnTo>
                <a:lnTo>
                  <a:pt x="1313" y="399"/>
                </a:lnTo>
                <a:lnTo>
                  <a:pt x="1335" y="405"/>
                </a:lnTo>
                <a:lnTo>
                  <a:pt x="1348" y="403"/>
                </a:lnTo>
                <a:lnTo>
                  <a:pt x="1340" y="399"/>
                </a:lnTo>
                <a:lnTo>
                  <a:pt x="1333" y="399"/>
                </a:lnTo>
                <a:lnTo>
                  <a:pt x="1333" y="394"/>
                </a:lnTo>
                <a:lnTo>
                  <a:pt x="1325" y="396"/>
                </a:lnTo>
                <a:lnTo>
                  <a:pt x="1307" y="393"/>
                </a:lnTo>
                <a:lnTo>
                  <a:pt x="1306" y="386"/>
                </a:lnTo>
                <a:lnTo>
                  <a:pt x="1309" y="382"/>
                </a:lnTo>
                <a:lnTo>
                  <a:pt x="1304" y="376"/>
                </a:lnTo>
                <a:lnTo>
                  <a:pt x="1306" y="374"/>
                </a:lnTo>
                <a:lnTo>
                  <a:pt x="1313" y="371"/>
                </a:lnTo>
                <a:lnTo>
                  <a:pt x="1307" y="371"/>
                </a:lnTo>
                <a:lnTo>
                  <a:pt x="1306" y="366"/>
                </a:lnTo>
                <a:lnTo>
                  <a:pt x="1309" y="358"/>
                </a:lnTo>
                <a:lnTo>
                  <a:pt x="1313" y="359"/>
                </a:lnTo>
                <a:lnTo>
                  <a:pt x="1313" y="352"/>
                </a:lnTo>
                <a:lnTo>
                  <a:pt x="1313" y="351"/>
                </a:lnTo>
                <a:lnTo>
                  <a:pt x="1313" y="347"/>
                </a:lnTo>
                <a:lnTo>
                  <a:pt x="1316" y="341"/>
                </a:lnTo>
                <a:lnTo>
                  <a:pt x="1324" y="332"/>
                </a:lnTo>
                <a:lnTo>
                  <a:pt x="1341" y="325"/>
                </a:lnTo>
                <a:lnTo>
                  <a:pt x="1360" y="321"/>
                </a:lnTo>
                <a:lnTo>
                  <a:pt x="1381" y="325"/>
                </a:lnTo>
                <a:lnTo>
                  <a:pt x="1365" y="336"/>
                </a:lnTo>
                <a:lnTo>
                  <a:pt x="1353" y="349"/>
                </a:lnTo>
                <a:lnTo>
                  <a:pt x="1351" y="354"/>
                </a:lnTo>
                <a:lnTo>
                  <a:pt x="1358" y="364"/>
                </a:lnTo>
                <a:lnTo>
                  <a:pt x="1353" y="367"/>
                </a:lnTo>
                <a:lnTo>
                  <a:pt x="1353" y="375"/>
                </a:lnTo>
                <a:lnTo>
                  <a:pt x="1368" y="388"/>
                </a:lnTo>
                <a:lnTo>
                  <a:pt x="1379" y="390"/>
                </a:lnTo>
                <a:lnTo>
                  <a:pt x="1384" y="390"/>
                </a:lnTo>
                <a:lnTo>
                  <a:pt x="1382" y="386"/>
                </a:lnTo>
                <a:lnTo>
                  <a:pt x="1384" y="383"/>
                </a:lnTo>
                <a:lnTo>
                  <a:pt x="1374" y="383"/>
                </a:lnTo>
                <a:lnTo>
                  <a:pt x="1369" y="382"/>
                </a:lnTo>
                <a:lnTo>
                  <a:pt x="1370" y="379"/>
                </a:lnTo>
                <a:lnTo>
                  <a:pt x="1369" y="376"/>
                </a:lnTo>
                <a:lnTo>
                  <a:pt x="1362" y="375"/>
                </a:lnTo>
                <a:lnTo>
                  <a:pt x="1369" y="373"/>
                </a:lnTo>
                <a:lnTo>
                  <a:pt x="1369" y="371"/>
                </a:lnTo>
                <a:lnTo>
                  <a:pt x="1369" y="367"/>
                </a:lnTo>
                <a:lnTo>
                  <a:pt x="1379" y="368"/>
                </a:lnTo>
                <a:lnTo>
                  <a:pt x="1389" y="376"/>
                </a:lnTo>
                <a:lnTo>
                  <a:pt x="1389" y="375"/>
                </a:lnTo>
                <a:lnTo>
                  <a:pt x="1379" y="367"/>
                </a:lnTo>
                <a:lnTo>
                  <a:pt x="1385" y="364"/>
                </a:lnTo>
                <a:lnTo>
                  <a:pt x="1380" y="365"/>
                </a:lnTo>
                <a:lnTo>
                  <a:pt x="1381" y="361"/>
                </a:lnTo>
                <a:lnTo>
                  <a:pt x="1376" y="365"/>
                </a:lnTo>
                <a:lnTo>
                  <a:pt x="1369" y="361"/>
                </a:lnTo>
                <a:lnTo>
                  <a:pt x="1369" y="360"/>
                </a:lnTo>
                <a:lnTo>
                  <a:pt x="1368" y="359"/>
                </a:lnTo>
                <a:lnTo>
                  <a:pt x="1365" y="355"/>
                </a:lnTo>
                <a:lnTo>
                  <a:pt x="1365" y="349"/>
                </a:lnTo>
                <a:lnTo>
                  <a:pt x="1372" y="347"/>
                </a:lnTo>
                <a:lnTo>
                  <a:pt x="1393" y="352"/>
                </a:lnTo>
                <a:lnTo>
                  <a:pt x="1369" y="344"/>
                </a:lnTo>
                <a:lnTo>
                  <a:pt x="1373" y="341"/>
                </a:lnTo>
                <a:lnTo>
                  <a:pt x="1374" y="342"/>
                </a:lnTo>
                <a:lnTo>
                  <a:pt x="1376" y="341"/>
                </a:lnTo>
                <a:lnTo>
                  <a:pt x="1399" y="347"/>
                </a:lnTo>
                <a:lnTo>
                  <a:pt x="1376" y="339"/>
                </a:lnTo>
                <a:lnTo>
                  <a:pt x="1381" y="335"/>
                </a:lnTo>
                <a:lnTo>
                  <a:pt x="1387" y="339"/>
                </a:lnTo>
                <a:lnTo>
                  <a:pt x="1381" y="335"/>
                </a:lnTo>
                <a:lnTo>
                  <a:pt x="1390" y="331"/>
                </a:lnTo>
                <a:lnTo>
                  <a:pt x="1392" y="332"/>
                </a:lnTo>
                <a:lnTo>
                  <a:pt x="1410" y="326"/>
                </a:lnTo>
                <a:lnTo>
                  <a:pt x="1429" y="326"/>
                </a:lnTo>
                <a:lnTo>
                  <a:pt x="1430" y="331"/>
                </a:lnTo>
                <a:lnTo>
                  <a:pt x="1430" y="337"/>
                </a:lnTo>
                <a:lnTo>
                  <a:pt x="1441" y="343"/>
                </a:lnTo>
                <a:lnTo>
                  <a:pt x="1441" y="348"/>
                </a:lnTo>
                <a:lnTo>
                  <a:pt x="1447" y="352"/>
                </a:lnTo>
                <a:lnTo>
                  <a:pt x="1429" y="368"/>
                </a:lnTo>
                <a:lnTo>
                  <a:pt x="1442" y="360"/>
                </a:lnTo>
                <a:lnTo>
                  <a:pt x="1442" y="364"/>
                </a:lnTo>
                <a:lnTo>
                  <a:pt x="1436" y="371"/>
                </a:lnTo>
                <a:lnTo>
                  <a:pt x="1443" y="375"/>
                </a:lnTo>
                <a:lnTo>
                  <a:pt x="1445" y="373"/>
                </a:lnTo>
                <a:lnTo>
                  <a:pt x="1443" y="370"/>
                </a:lnTo>
                <a:lnTo>
                  <a:pt x="1448" y="368"/>
                </a:lnTo>
                <a:lnTo>
                  <a:pt x="1447" y="367"/>
                </a:lnTo>
                <a:lnTo>
                  <a:pt x="1456" y="371"/>
                </a:lnTo>
                <a:lnTo>
                  <a:pt x="1448" y="365"/>
                </a:lnTo>
                <a:lnTo>
                  <a:pt x="1451" y="363"/>
                </a:lnTo>
                <a:lnTo>
                  <a:pt x="1450" y="362"/>
                </a:lnTo>
                <a:lnTo>
                  <a:pt x="1454" y="360"/>
                </a:lnTo>
                <a:lnTo>
                  <a:pt x="1456" y="365"/>
                </a:lnTo>
                <a:lnTo>
                  <a:pt x="1455" y="368"/>
                </a:lnTo>
                <a:lnTo>
                  <a:pt x="1459" y="366"/>
                </a:lnTo>
                <a:lnTo>
                  <a:pt x="1456" y="363"/>
                </a:lnTo>
                <a:lnTo>
                  <a:pt x="1459" y="363"/>
                </a:lnTo>
                <a:lnTo>
                  <a:pt x="1460" y="366"/>
                </a:lnTo>
                <a:lnTo>
                  <a:pt x="1460" y="364"/>
                </a:lnTo>
                <a:lnTo>
                  <a:pt x="1466" y="367"/>
                </a:lnTo>
                <a:lnTo>
                  <a:pt x="1466" y="370"/>
                </a:lnTo>
                <a:lnTo>
                  <a:pt x="1462" y="375"/>
                </a:lnTo>
                <a:lnTo>
                  <a:pt x="1471" y="378"/>
                </a:lnTo>
                <a:lnTo>
                  <a:pt x="1466" y="375"/>
                </a:lnTo>
                <a:lnTo>
                  <a:pt x="1466" y="370"/>
                </a:lnTo>
                <a:lnTo>
                  <a:pt x="1473" y="371"/>
                </a:lnTo>
                <a:lnTo>
                  <a:pt x="1470" y="370"/>
                </a:lnTo>
                <a:lnTo>
                  <a:pt x="1470" y="365"/>
                </a:lnTo>
                <a:lnTo>
                  <a:pt x="1492" y="372"/>
                </a:lnTo>
                <a:lnTo>
                  <a:pt x="1472" y="361"/>
                </a:lnTo>
                <a:lnTo>
                  <a:pt x="1474" y="360"/>
                </a:lnTo>
                <a:lnTo>
                  <a:pt x="1485" y="354"/>
                </a:lnTo>
                <a:lnTo>
                  <a:pt x="1497" y="354"/>
                </a:lnTo>
                <a:lnTo>
                  <a:pt x="1499" y="357"/>
                </a:lnTo>
                <a:lnTo>
                  <a:pt x="1506" y="359"/>
                </a:lnTo>
                <a:lnTo>
                  <a:pt x="1506" y="361"/>
                </a:lnTo>
                <a:lnTo>
                  <a:pt x="1509" y="359"/>
                </a:lnTo>
                <a:lnTo>
                  <a:pt x="1520" y="361"/>
                </a:lnTo>
                <a:lnTo>
                  <a:pt x="1525" y="369"/>
                </a:lnTo>
                <a:lnTo>
                  <a:pt x="1523" y="372"/>
                </a:lnTo>
                <a:lnTo>
                  <a:pt x="1534" y="373"/>
                </a:lnTo>
                <a:lnTo>
                  <a:pt x="1536" y="375"/>
                </a:lnTo>
                <a:lnTo>
                  <a:pt x="1534" y="379"/>
                </a:lnTo>
                <a:lnTo>
                  <a:pt x="1519" y="383"/>
                </a:lnTo>
                <a:lnTo>
                  <a:pt x="1525" y="385"/>
                </a:lnTo>
                <a:lnTo>
                  <a:pt x="1516" y="388"/>
                </a:lnTo>
                <a:lnTo>
                  <a:pt x="1528" y="385"/>
                </a:lnTo>
                <a:lnTo>
                  <a:pt x="1529" y="385"/>
                </a:lnTo>
                <a:lnTo>
                  <a:pt x="1536" y="382"/>
                </a:lnTo>
                <a:lnTo>
                  <a:pt x="1534" y="385"/>
                </a:lnTo>
                <a:lnTo>
                  <a:pt x="1536" y="388"/>
                </a:lnTo>
                <a:lnTo>
                  <a:pt x="1538" y="383"/>
                </a:lnTo>
                <a:lnTo>
                  <a:pt x="1542" y="383"/>
                </a:lnTo>
                <a:lnTo>
                  <a:pt x="1544" y="383"/>
                </a:lnTo>
                <a:lnTo>
                  <a:pt x="1538" y="388"/>
                </a:lnTo>
                <a:lnTo>
                  <a:pt x="1533" y="390"/>
                </a:lnTo>
                <a:lnTo>
                  <a:pt x="1538" y="389"/>
                </a:lnTo>
                <a:lnTo>
                  <a:pt x="1536" y="394"/>
                </a:lnTo>
                <a:lnTo>
                  <a:pt x="1534" y="396"/>
                </a:lnTo>
                <a:lnTo>
                  <a:pt x="1537" y="394"/>
                </a:lnTo>
                <a:lnTo>
                  <a:pt x="1539" y="388"/>
                </a:lnTo>
                <a:lnTo>
                  <a:pt x="1542" y="386"/>
                </a:lnTo>
                <a:lnTo>
                  <a:pt x="1542" y="393"/>
                </a:lnTo>
                <a:lnTo>
                  <a:pt x="1544" y="389"/>
                </a:lnTo>
                <a:lnTo>
                  <a:pt x="1547" y="390"/>
                </a:lnTo>
                <a:lnTo>
                  <a:pt x="1545" y="393"/>
                </a:lnTo>
                <a:lnTo>
                  <a:pt x="1551" y="394"/>
                </a:lnTo>
                <a:lnTo>
                  <a:pt x="1546" y="396"/>
                </a:lnTo>
                <a:lnTo>
                  <a:pt x="1546" y="399"/>
                </a:lnTo>
                <a:lnTo>
                  <a:pt x="1548" y="396"/>
                </a:lnTo>
                <a:lnTo>
                  <a:pt x="1552" y="394"/>
                </a:lnTo>
                <a:lnTo>
                  <a:pt x="1548" y="393"/>
                </a:lnTo>
                <a:lnTo>
                  <a:pt x="1547" y="388"/>
                </a:lnTo>
                <a:lnTo>
                  <a:pt x="1549" y="386"/>
                </a:lnTo>
                <a:lnTo>
                  <a:pt x="1552" y="388"/>
                </a:lnTo>
                <a:lnTo>
                  <a:pt x="1549" y="390"/>
                </a:lnTo>
                <a:lnTo>
                  <a:pt x="1553" y="388"/>
                </a:lnTo>
                <a:lnTo>
                  <a:pt x="1555" y="390"/>
                </a:lnTo>
                <a:lnTo>
                  <a:pt x="1552" y="391"/>
                </a:lnTo>
                <a:lnTo>
                  <a:pt x="1556" y="391"/>
                </a:lnTo>
                <a:lnTo>
                  <a:pt x="1560" y="385"/>
                </a:lnTo>
                <a:close/>
                <a:moveTo>
                  <a:pt x="1397" y="332"/>
                </a:moveTo>
                <a:lnTo>
                  <a:pt x="1394" y="332"/>
                </a:lnTo>
                <a:lnTo>
                  <a:pt x="1395" y="332"/>
                </a:lnTo>
                <a:lnTo>
                  <a:pt x="1397" y="336"/>
                </a:lnTo>
                <a:lnTo>
                  <a:pt x="1397" y="332"/>
                </a:lnTo>
                <a:close/>
                <a:moveTo>
                  <a:pt x="1359" y="415"/>
                </a:moveTo>
                <a:lnTo>
                  <a:pt x="1357" y="417"/>
                </a:lnTo>
                <a:lnTo>
                  <a:pt x="1359" y="417"/>
                </a:lnTo>
                <a:lnTo>
                  <a:pt x="1359" y="415"/>
                </a:lnTo>
                <a:close/>
                <a:moveTo>
                  <a:pt x="1377" y="395"/>
                </a:moveTo>
                <a:lnTo>
                  <a:pt x="1365" y="397"/>
                </a:lnTo>
                <a:lnTo>
                  <a:pt x="1352" y="402"/>
                </a:lnTo>
                <a:lnTo>
                  <a:pt x="1377" y="397"/>
                </a:lnTo>
                <a:lnTo>
                  <a:pt x="1377" y="395"/>
                </a:lnTo>
                <a:close/>
                <a:moveTo>
                  <a:pt x="1443" y="375"/>
                </a:moveTo>
                <a:lnTo>
                  <a:pt x="1441" y="375"/>
                </a:lnTo>
                <a:lnTo>
                  <a:pt x="1437" y="379"/>
                </a:lnTo>
                <a:lnTo>
                  <a:pt x="1443" y="375"/>
                </a:lnTo>
                <a:close/>
                <a:moveTo>
                  <a:pt x="1469" y="414"/>
                </a:moveTo>
                <a:lnTo>
                  <a:pt x="1466" y="412"/>
                </a:lnTo>
                <a:lnTo>
                  <a:pt x="1465" y="413"/>
                </a:lnTo>
                <a:lnTo>
                  <a:pt x="1467" y="413"/>
                </a:lnTo>
                <a:lnTo>
                  <a:pt x="1469" y="414"/>
                </a:lnTo>
                <a:close/>
                <a:moveTo>
                  <a:pt x="1476" y="376"/>
                </a:moveTo>
                <a:lnTo>
                  <a:pt x="1479" y="375"/>
                </a:lnTo>
                <a:lnTo>
                  <a:pt x="1475" y="375"/>
                </a:lnTo>
                <a:lnTo>
                  <a:pt x="1475" y="375"/>
                </a:lnTo>
                <a:lnTo>
                  <a:pt x="1476" y="376"/>
                </a:lnTo>
                <a:close/>
                <a:moveTo>
                  <a:pt x="1482" y="382"/>
                </a:moveTo>
                <a:lnTo>
                  <a:pt x="1476" y="377"/>
                </a:lnTo>
                <a:lnTo>
                  <a:pt x="1477" y="379"/>
                </a:lnTo>
                <a:lnTo>
                  <a:pt x="1482" y="382"/>
                </a:lnTo>
                <a:close/>
                <a:moveTo>
                  <a:pt x="1509" y="375"/>
                </a:moveTo>
                <a:lnTo>
                  <a:pt x="1508" y="375"/>
                </a:lnTo>
                <a:lnTo>
                  <a:pt x="1504" y="380"/>
                </a:lnTo>
                <a:lnTo>
                  <a:pt x="1509" y="375"/>
                </a:lnTo>
                <a:close/>
                <a:moveTo>
                  <a:pt x="1528" y="385"/>
                </a:moveTo>
                <a:lnTo>
                  <a:pt x="1521" y="389"/>
                </a:lnTo>
                <a:lnTo>
                  <a:pt x="1526" y="388"/>
                </a:lnTo>
                <a:lnTo>
                  <a:pt x="1526" y="390"/>
                </a:lnTo>
                <a:lnTo>
                  <a:pt x="1526" y="388"/>
                </a:lnTo>
                <a:lnTo>
                  <a:pt x="1528" y="385"/>
                </a:lnTo>
                <a:close/>
                <a:moveTo>
                  <a:pt x="1538" y="463"/>
                </a:moveTo>
                <a:lnTo>
                  <a:pt x="1536" y="463"/>
                </a:lnTo>
                <a:lnTo>
                  <a:pt x="1538" y="465"/>
                </a:lnTo>
                <a:lnTo>
                  <a:pt x="1538" y="463"/>
                </a:lnTo>
                <a:close/>
                <a:moveTo>
                  <a:pt x="1545" y="394"/>
                </a:moveTo>
                <a:lnTo>
                  <a:pt x="1544" y="394"/>
                </a:lnTo>
                <a:lnTo>
                  <a:pt x="1541" y="399"/>
                </a:lnTo>
                <a:lnTo>
                  <a:pt x="1544" y="396"/>
                </a:lnTo>
                <a:lnTo>
                  <a:pt x="1545" y="394"/>
                </a:lnTo>
                <a:close/>
                <a:moveTo>
                  <a:pt x="1548" y="399"/>
                </a:moveTo>
                <a:lnTo>
                  <a:pt x="1545" y="401"/>
                </a:lnTo>
                <a:lnTo>
                  <a:pt x="1547" y="402"/>
                </a:lnTo>
                <a:lnTo>
                  <a:pt x="1548" y="399"/>
                </a:lnTo>
                <a:close/>
                <a:moveTo>
                  <a:pt x="1562" y="580"/>
                </a:moveTo>
                <a:lnTo>
                  <a:pt x="1562" y="582"/>
                </a:lnTo>
                <a:lnTo>
                  <a:pt x="1562" y="582"/>
                </a:lnTo>
                <a:lnTo>
                  <a:pt x="1562" y="580"/>
                </a:lnTo>
                <a:close/>
                <a:moveTo>
                  <a:pt x="1698" y="527"/>
                </a:moveTo>
                <a:lnTo>
                  <a:pt x="1699" y="528"/>
                </a:lnTo>
                <a:lnTo>
                  <a:pt x="1699" y="527"/>
                </a:lnTo>
                <a:lnTo>
                  <a:pt x="1698" y="527"/>
                </a:lnTo>
                <a:close/>
                <a:moveTo>
                  <a:pt x="1680" y="499"/>
                </a:moveTo>
                <a:lnTo>
                  <a:pt x="1672" y="500"/>
                </a:lnTo>
                <a:lnTo>
                  <a:pt x="1681" y="499"/>
                </a:lnTo>
                <a:lnTo>
                  <a:pt x="1672" y="497"/>
                </a:lnTo>
                <a:lnTo>
                  <a:pt x="1680" y="499"/>
                </a:lnTo>
                <a:close/>
                <a:moveTo>
                  <a:pt x="1658" y="487"/>
                </a:moveTo>
                <a:lnTo>
                  <a:pt x="1663" y="490"/>
                </a:lnTo>
                <a:lnTo>
                  <a:pt x="1663" y="488"/>
                </a:lnTo>
                <a:lnTo>
                  <a:pt x="1659" y="486"/>
                </a:lnTo>
                <a:lnTo>
                  <a:pt x="1658" y="487"/>
                </a:lnTo>
                <a:close/>
                <a:moveTo>
                  <a:pt x="1646" y="520"/>
                </a:moveTo>
                <a:lnTo>
                  <a:pt x="1643" y="521"/>
                </a:lnTo>
                <a:lnTo>
                  <a:pt x="1643" y="521"/>
                </a:lnTo>
                <a:lnTo>
                  <a:pt x="1646" y="520"/>
                </a:lnTo>
                <a:close/>
                <a:moveTo>
                  <a:pt x="1641" y="485"/>
                </a:moveTo>
                <a:lnTo>
                  <a:pt x="1648" y="486"/>
                </a:lnTo>
                <a:lnTo>
                  <a:pt x="1648" y="484"/>
                </a:lnTo>
                <a:lnTo>
                  <a:pt x="1647" y="485"/>
                </a:lnTo>
                <a:lnTo>
                  <a:pt x="1641" y="485"/>
                </a:lnTo>
                <a:close/>
                <a:moveTo>
                  <a:pt x="1626" y="474"/>
                </a:moveTo>
                <a:lnTo>
                  <a:pt x="1630" y="473"/>
                </a:lnTo>
                <a:lnTo>
                  <a:pt x="1631" y="474"/>
                </a:lnTo>
                <a:lnTo>
                  <a:pt x="1635" y="472"/>
                </a:lnTo>
                <a:lnTo>
                  <a:pt x="1628" y="473"/>
                </a:lnTo>
                <a:lnTo>
                  <a:pt x="1626" y="474"/>
                </a:lnTo>
                <a:close/>
                <a:moveTo>
                  <a:pt x="1604" y="435"/>
                </a:moveTo>
                <a:lnTo>
                  <a:pt x="1604" y="435"/>
                </a:lnTo>
                <a:lnTo>
                  <a:pt x="1605" y="434"/>
                </a:lnTo>
                <a:lnTo>
                  <a:pt x="1604" y="435"/>
                </a:lnTo>
                <a:lnTo>
                  <a:pt x="1604" y="435"/>
                </a:lnTo>
                <a:close/>
                <a:moveTo>
                  <a:pt x="1594" y="443"/>
                </a:moveTo>
                <a:lnTo>
                  <a:pt x="1605" y="443"/>
                </a:lnTo>
                <a:lnTo>
                  <a:pt x="1609" y="442"/>
                </a:lnTo>
                <a:lnTo>
                  <a:pt x="1594" y="443"/>
                </a:lnTo>
                <a:close/>
                <a:moveTo>
                  <a:pt x="1599" y="435"/>
                </a:moveTo>
                <a:lnTo>
                  <a:pt x="1598" y="435"/>
                </a:lnTo>
                <a:lnTo>
                  <a:pt x="1596" y="440"/>
                </a:lnTo>
                <a:lnTo>
                  <a:pt x="1599" y="435"/>
                </a:lnTo>
                <a:close/>
                <a:moveTo>
                  <a:pt x="1593" y="431"/>
                </a:moveTo>
                <a:lnTo>
                  <a:pt x="1594" y="431"/>
                </a:lnTo>
                <a:lnTo>
                  <a:pt x="1598" y="429"/>
                </a:lnTo>
                <a:lnTo>
                  <a:pt x="1598" y="428"/>
                </a:lnTo>
                <a:lnTo>
                  <a:pt x="1599" y="426"/>
                </a:lnTo>
                <a:lnTo>
                  <a:pt x="1593" y="431"/>
                </a:lnTo>
                <a:close/>
                <a:moveTo>
                  <a:pt x="1570" y="419"/>
                </a:moveTo>
                <a:lnTo>
                  <a:pt x="1569" y="423"/>
                </a:lnTo>
                <a:lnTo>
                  <a:pt x="1571" y="423"/>
                </a:lnTo>
                <a:lnTo>
                  <a:pt x="1574" y="415"/>
                </a:lnTo>
                <a:lnTo>
                  <a:pt x="1572" y="415"/>
                </a:lnTo>
                <a:lnTo>
                  <a:pt x="1569" y="419"/>
                </a:lnTo>
                <a:lnTo>
                  <a:pt x="1570" y="419"/>
                </a:lnTo>
                <a:close/>
                <a:moveTo>
                  <a:pt x="1565" y="212"/>
                </a:moveTo>
                <a:lnTo>
                  <a:pt x="1561" y="215"/>
                </a:lnTo>
                <a:lnTo>
                  <a:pt x="1569" y="218"/>
                </a:lnTo>
                <a:lnTo>
                  <a:pt x="1578" y="216"/>
                </a:lnTo>
                <a:lnTo>
                  <a:pt x="1565" y="212"/>
                </a:lnTo>
                <a:close/>
                <a:moveTo>
                  <a:pt x="1564" y="595"/>
                </a:moveTo>
                <a:lnTo>
                  <a:pt x="1570" y="595"/>
                </a:lnTo>
                <a:lnTo>
                  <a:pt x="1569" y="594"/>
                </a:lnTo>
                <a:lnTo>
                  <a:pt x="1564" y="595"/>
                </a:lnTo>
                <a:close/>
                <a:moveTo>
                  <a:pt x="1314" y="65"/>
                </a:moveTo>
                <a:lnTo>
                  <a:pt x="1316" y="65"/>
                </a:lnTo>
                <a:lnTo>
                  <a:pt x="1317" y="64"/>
                </a:lnTo>
                <a:lnTo>
                  <a:pt x="1314" y="65"/>
                </a:lnTo>
                <a:close/>
                <a:moveTo>
                  <a:pt x="1871" y="61"/>
                </a:moveTo>
                <a:lnTo>
                  <a:pt x="1848" y="50"/>
                </a:lnTo>
                <a:lnTo>
                  <a:pt x="1843" y="47"/>
                </a:lnTo>
                <a:lnTo>
                  <a:pt x="1840" y="51"/>
                </a:lnTo>
                <a:lnTo>
                  <a:pt x="1845" y="55"/>
                </a:lnTo>
                <a:lnTo>
                  <a:pt x="1871" y="61"/>
                </a:lnTo>
                <a:close/>
                <a:moveTo>
                  <a:pt x="1862" y="52"/>
                </a:moveTo>
                <a:lnTo>
                  <a:pt x="1855" y="50"/>
                </a:lnTo>
                <a:lnTo>
                  <a:pt x="1856" y="52"/>
                </a:lnTo>
                <a:lnTo>
                  <a:pt x="1862" y="52"/>
                </a:lnTo>
                <a:close/>
                <a:moveTo>
                  <a:pt x="1506" y="158"/>
                </a:moveTo>
                <a:lnTo>
                  <a:pt x="1489" y="155"/>
                </a:lnTo>
                <a:lnTo>
                  <a:pt x="1488" y="158"/>
                </a:lnTo>
                <a:lnTo>
                  <a:pt x="1506" y="158"/>
                </a:lnTo>
                <a:close/>
                <a:moveTo>
                  <a:pt x="1393" y="166"/>
                </a:moveTo>
                <a:lnTo>
                  <a:pt x="1402" y="166"/>
                </a:lnTo>
                <a:lnTo>
                  <a:pt x="1399" y="165"/>
                </a:lnTo>
                <a:lnTo>
                  <a:pt x="1390" y="163"/>
                </a:lnTo>
                <a:lnTo>
                  <a:pt x="1393" y="166"/>
                </a:lnTo>
                <a:close/>
                <a:moveTo>
                  <a:pt x="2339" y="58"/>
                </a:moveTo>
                <a:lnTo>
                  <a:pt x="2333" y="52"/>
                </a:lnTo>
                <a:lnTo>
                  <a:pt x="2341" y="61"/>
                </a:lnTo>
                <a:lnTo>
                  <a:pt x="2339" y="58"/>
                </a:lnTo>
                <a:close/>
                <a:moveTo>
                  <a:pt x="1514" y="162"/>
                </a:moveTo>
                <a:lnTo>
                  <a:pt x="1531" y="162"/>
                </a:lnTo>
                <a:lnTo>
                  <a:pt x="1526" y="160"/>
                </a:lnTo>
                <a:lnTo>
                  <a:pt x="1531" y="158"/>
                </a:lnTo>
                <a:lnTo>
                  <a:pt x="1506" y="158"/>
                </a:lnTo>
                <a:lnTo>
                  <a:pt x="1507" y="158"/>
                </a:lnTo>
                <a:lnTo>
                  <a:pt x="1514" y="162"/>
                </a:lnTo>
                <a:close/>
                <a:moveTo>
                  <a:pt x="1915" y="42"/>
                </a:moveTo>
                <a:lnTo>
                  <a:pt x="1905" y="40"/>
                </a:lnTo>
                <a:lnTo>
                  <a:pt x="1913" y="44"/>
                </a:lnTo>
                <a:lnTo>
                  <a:pt x="1915" y="42"/>
                </a:lnTo>
                <a:close/>
                <a:moveTo>
                  <a:pt x="1927" y="33"/>
                </a:moveTo>
                <a:lnTo>
                  <a:pt x="1912" y="30"/>
                </a:lnTo>
                <a:lnTo>
                  <a:pt x="1913" y="33"/>
                </a:lnTo>
                <a:lnTo>
                  <a:pt x="1927" y="33"/>
                </a:lnTo>
                <a:close/>
                <a:moveTo>
                  <a:pt x="2023" y="17"/>
                </a:moveTo>
                <a:lnTo>
                  <a:pt x="2013" y="17"/>
                </a:lnTo>
                <a:lnTo>
                  <a:pt x="2035" y="25"/>
                </a:lnTo>
                <a:lnTo>
                  <a:pt x="2023" y="17"/>
                </a:lnTo>
                <a:close/>
                <a:moveTo>
                  <a:pt x="1935" y="29"/>
                </a:moveTo>
                <a:lnTo>
                  <a:pt x="1941" y="29"/>
                </a:lnTo>
                <a:lnTo>
                  <a:pt x="1928" y="25"/>
                </a:lnTo>
                <a:lnTo>
                  <a:pt x="1935" y="29"/>
                </a:lnTo>
                <a:close/>
                <a:moveTo>
                  <a:pt x="1534" y="567"/>
                </a:moveTo>
                <a:lnTo>
                  <a:pt x="1535" y="567"/>
                </a:lnTo>
                <a:lnTo>
                  <a:pt x="1534" y="567"/>
                </a:lnTo>
                <a:lnTo>
                  <a:pt x="1534" y="567"/>
                </a:lnTo>
                <a:close/>
                <a:moveTo>
                  <a:pt x="2311" y="73"/>
                </a:moveTo>
                <a:lnTo>
                  <a:pt x="2322" y="70"/>
                </a:lnTo>
                <a:lnTo>
                  <a:pt x="2311" y="69"/>
                </a:lnTo>
                <a:lnTo>
                  <a:pt x="2310" y="70"/>
                </a:lnTo>
                <a:lnTo>
                  <a:pt x="2313" y="72"/>
                </a:lnTo>
                <a:lnTo>
                  <a:pt x="2311" y="73"/>
                </a:lnTo>
                <a:close/>
                <a:moveTo>
                  <a:pt x="1381" y="161"/>
                </a:moveTo>
                <a:lnTo>
                  <a:pt x="1382" y="163"/>
                </a:lnTo>
                <a:lnTo>
                  <a:pt x="1390" y="163"/>
                </a:lnTo>
                <a:lnTo>
                  <a:pt x="1385" y="160"/>
                </a:lnTo>
                <a:lnTo>
                  <a:pt x="1381" y="161"/>
                </a:lnTo>
                <a:close/>
                <a:moveTo>
                  <a:pt x="2329" y="65"/>
                </a:moveTo>
                <a:lnTo>
                  <a:pt x="2319" y="57"/>
                </a:lnTo>
                <a:lnTo>
                  <a:pt x="2313" y="57"/>
                </a:lnTo>
                <a:lnTo>
                  <a:pt x="2321" y="65"/>
                </a:lnTo>
                <a:lnTo>
                  <a:pt x="2329" y="65"/>
                </a:lnTo>
                <a:close/>
                <a:moveTo>
                  <a:pt x="1684" y="256"/>
                </a:moveTo>
                <a:lnTo>
                  <a:pt x="1685" y="257"/>
                </a:lnTo>
                <a:lnTo>
                  <a:pt x="1685" y="254"/>
                </a:lnTo>
                <a:lnTo>
                  <a:pt x="1684" y="256"/>
                </a:lnTo>
                <a:close/>
                <a:moveTo>
                  <a:pt x="1554" y="580"/>
                </a:moveTo>
                <a:lnTo>
                  <a:pt x="1554" y="579"/>
                </a:lnTo>
                <a:lnTo>
                  <a:pt x="1553" y="579"/>
                </a:lnTo>
                <a:lnTo>
                  <a:pt x="1554" y="580"/>
                </a:lnTo>
                <a:close/>
                <a:moveTo>
                  <a:pt x="1555" y="579"/>
                </a:moveTo>
                <a:lnTo>
                  <a:pt x="1554" y="579"/>
                </a:lnTo>
                <a:lnTo>
                  <a:pt x="1554" y="579"/>
                </a:lnTo>
                <a:lnTo>
                  <a:pt x="1555" y="579"/>
                </a:lnTo>
                <a:close/>
                <a:moveTo>
                  <a:pt x="1541" y="570"/>
                </a:moveTo>
                <a:lnTo>
                  <a:pt x="1542" y="572"/>
                </a:lnTo>
                <a:lnTo>
                  <a:pt x="1542" y="570"/>
                </a:lnTo>
                <a:lnTo>
                  <a:pt x="1542" y="568"/>
                </a:lnTo>
                <a:lnTo>
                  <a:pt x="1541" y="570"/>
                </a:lnTo>
                <a:close/>
                <a:moveTo>
                  <a:pt x="1544" y="567"/>
                </a:moveTo>
                <a:lnTo>
                  <a:pt x="1542" y="570"/>
                </a:lnTo>
                <a:lnTo>
                  <a:pt x="1544" y="570"/>
                </a:lnTo>
                <a:lnTo>
                  <a:pt x="1545" y="567"/>
                </a:lnTo>
                <a:lnTo>
                  <a:pt x="1544" y="567"/>
                </a:lnTo>
                <a:lnTo>
                  <a:pt x="1544" y="567"/>
                </a:lnTo>
                <a:close/>
                <a:moveTo>
                  <a:pt x="1536" y="567"/>
                </a:moveTo>
                <a:lnTo>
                  <a:pt x="1535" y="567"/>
                </a:lnTo>
                <a:lnTo>
                  <a:pt x="1535" y="567"/>
                </a:lnTo>
                <a:lnTo>
                  <a:pt x="1536" y="567"/>
                </a:lnTo>
                <a:close/>
                <a:moveTo>
                  <a:pt x="2344" y="73"/>
                </a:moveTo>
                <a:lnTo>
                  <a:pt x="2350" y="73"/>
                </a:lnTo>
                <a:lnTo>
                  <a:pt x="2343" y="69"/>
                </a:lnTo>
                <a:lnTo>
                  <a:pt x="2335" y="69"/>
                </a:lnTo>
                <a:lnTo>
                  <a:pt x="2344" y="73"/>
                </a:lnTo>
                <a:close/>
                <a:moveTo>
                  <a:pt x="1543" y="567"/>
                </a:moveTo>
                <a:lnTo>
                  <a:pt x="1542" y="567"/>
                </a:lnTo>
                <a:lnTo>
                  <a:pt x="1542" y="567"/>
                </a:lnTo>
                <a:lnTo>
                  <a:pt x="1543" y="567"/>
                </a:lnTo>
                <a:close/>
                <a:moveTo>
                  <a:pt x="1682" y="596"/>
                </a:moveTo>
                <a:lnTo>
                  <a:pt x="1680" y="591"/>
                </a:lnTo>
                <a:lnTo>
                  <a:pt x="1678" y="587"/>
                </a:lnTo>
                <a:lnTo>
                  <a:pt x="1675" y="588"/>
                </a:lnTo>
                <a:lnTo>
                  <a:pt x="1675" y="589"/>
                </a:lnTo>
                <a:lnTo>
                  <a:pt x="1675" y="591"/>
                </a:lnTo>
                <a:lnTo>
                  <a:pt x="1682" y="596"/>
                </a:lnTo>
                <a:close/>
                <a:moveTo>
                  <a:pt x="1278" y="72"/>
                </a:moveTo>
                <a:lnTo>
                  <a:pt x="1275" y="72"/>
                </a:lnTo>
                <a:lnTo>
                  <a:pt x="1300" y="62"/>
                </a:lnTo>
                <a:lnTo>
                  <a:pt x="1310" y="62"/>
                </a:lnTo>
                <a:lnTo>
                  <a:pt x="1315" y="67"/>
                </a:lnTo>
                <a:lnTo>
                  <a:pt x="1316" y="65"/>
                </a:lnTo>
                <a:lnTo>
                  <a:pt x="1321" y="65"/>
                </a:lnTo>
                <a:lnTo>
                  <a:pt x="1319" y="62"/>
                </a:lnTo>
                <a:lnTo>
                  <a:pt x="1333" y="55"/>
                </a:lnTo>
                <a:lnTo>
                  <a:pt x="1344" y="56"/>
                </a:lnTo>
                <a:lnTo>
                  <a:pt x="1346" y="58"/>
                </a:lnTo>
                <a:lnTo>
                  <a:pt x="1344" y="60"/>
                </a:lnTo>
                <a:lnTo>
                  <a:pt x="1352" y="62"/>
                </a:lnTo>
                <a:lnTo>
                  <a:pt x="1347" y="61"/>
                </a:lnTo>
                <a:lnTo>
                  <a:pt x="1350" y="57"/>
                </a:lnTo>
                <a:lnTo>
                  <a:pt x="1359" y="57"/>
                </a:lnTo>
                <a:lnTo>
                  <a:pt x="1370" y="66"/>
                </a:lnTo>
                <a:lnTo>
                  <a:pt x="1368" y="61"/>
                </a:lnTo>
                <a:lnTo>
                  <a:pt x="1376" y="61"/>
                </a:lnTo>
                <a:lnTo>
                  <a:pt x="1381" y="63"/>
                </a:lnTo>
                <a:lnTo>
                  <a:pt x="1377" y="61"/>
                </a:lnTo>
                <a:lnTo>
                  <a:pt x="1380" y="61"/>
                </a:lnTo>
                <a:lnTo>
                  <a:pt x="1384" y="63"/>
                </a:lnTo>
                <a:lnTo>
                  <a:pt x="1380" y="58"/>
                </a:lnTo>
                <a:lnTo>
                  <a:pt x="1354" y="54"/>
                </a:lnTo>
                <a:lnTo>
                  <a:pt x="1350" y="51"/>
                </a:lnTo>
                <a:lnTo>
                  <a:pt x="1373" y="49"/>
                </a:lnTo>
                <a:lnTo>
                  <a:pt x="1370" y="45"/>
                </a:lnTo>
                <a:lnTo>
                  <a:pt x="1365" y="43"/>
                </a:lnTo>
                <a:lnTo>
                  <a:pt x="1377" y="42"/>
                </a:lnTo>
                <a:lnTo>
                  <a:pt x="1400" y="47"/>
                </a:lnTo>
                <a:lnTo>
                  <a:pt x="1408" y="54"/>
                </a:lnTo>
                <a:lnTo>
                  <a:pt x="1403" y="56"/>
                </a:lnTo>
                <a:lnTo>
                  <a:pt x="1425" y="58"/>
                </a:lnTo>
                <a:lnTo>
                  <a:pt x="1414" y="54"/>
                </a:lnTo>
                <a:lnTo>
                  <a:pt x="1407" y="50"/>
                </a:lnTo>
                <a:lnTo>
                  <a:pt x="1414" y="49"/>
                </a:lnTo>
                <a:lnTo>
                  <a:pt x="1463" y="65"/>
                </a:lnTo>
                <a:lnTo>
                  <a:pt x="1453" y="58"/>
                </a:lnTo>
                <a:lnTo>
                  <a:pt x="1441" y="56"/>
                </a:lnTo>
                <a:lnTo>
                  <a:pt x="1437" y="55"/>
                </a:lnTo>
                <a:lnTo>
                  <a:pt x="1439" y="54"/>
                </a:lnTo>
                <a:lnTo>
                  <a:pt x="1425" y="50"/>
                </a:lnTo>
                <a:lnTo>
                  <a:pt x="1412" y="46"/>
                </a:lnTo>
                <a:lnTo>
                  <a:pt x="1415" y="41"/>
                </a:lnTo>
                <a:lnTo>
                  <a:pt x="1429" y="41"/>
                </a:lnTo>
                <a:lnTo>
                  <a:pt x="1416" y="37"/>
                </a:lnTo>
                <a:lnTo>
                  <a:pt x="1420" y="36"/>
                </a:lnTo>
                <a:lnTo>
                  <a:pt x="1442" y="38"/>
                </a:lnTo>
                <a:lnTo>
                  <a:pt x="1427" y="31"/>
                </a:lnTo>
                <a:lnTo>
                  <a:pt x="1429" y="28"/>
                </a:lnTo>
                <a:lnTo>
                  <a:pt x="1445" y="31"/>
                </a:lnTo>
                <a:lnTo>
                  <a:pt x="1453" y="37"/>
                </a:lnTo>
                <a:lnTo>
                  <a:pt x="1455" y="37"/>
                </a:lnTo>
                <a:lnTo>
                  <a:pt x="1472" y="37"/>
                </a:lnTo>
                <a:lnTo>
                  <a:pt x="1453" y="33"/>
                </a:lnTo>
                <a:lnTo>
                  <a:pt x="1452" y="31"/>
                </a:lnTo>
                <a:lnTo>
                  <a:pt x="1456" y="28"/>
                </a:lnTo>
                <a:lnTo>
                  <a:pt x="1445" y="27"/>
                </a:lnTo>
                <a:lnTo>
                  <a:pt x="1453" y="25"/>
                </a:lnTo>
                <a:lnTo>
                  <a:pt x="1460" y="25"/>
                </a:lnTo>
                <a:lnTo>
                  <a:pt x="1463" y="27"/>
                </a:lnTo>
                <a:lnTo>
                  <a:pt x="1469" y="24"/>
                </a:lnTo>
                <a:lnTo>
                  <a:pt x="1470" y="25"/>
                </a:lnTo>
                <a:lnTo>
                  <a:pt x="1470" y="29"/>
                </a:lnTo>
                <a:lnTo>
                  <a:pt x="1479" y="29"/>
                </a:lnTo>
                <a:lnTo>
                  <a:pt x="1477" y="27"/>
                </a:lnTo>
                <a:lnTo>
                  <a:pt x="1483" y="25"/>
                </a:lnTo>
                <a:lnTo>
                  <a:pt x="1510" y="36"/>
                </a:lnTo>
                <a:lnTo>
                  <a:pt x="1505" y="43"/>
                </a:lnTo>
                <a:lnTo>
                  <a:pt x="1519" y="36"/>
                </a:lnTo>
                <a:lnTo>
                  <a:pt x="1504" y="32"/>
                </a:lnTo>
                <a:lnTo>
                  <a:pt x="1508" y="31"/>
                </a:lnTo>
                <a:lnTo>
                  <a:pt x="1488" y="23"/>
                </a:lnTo>
                <a:lnTo>
                  <a:pt x="1492" y="21"/>
                </a:lnTo>
                <a:lnTo>
                  <a:pt x="1531" y="21"/>
                </a:lnTo>
                <a:lnTo>
                  <a:pt x="1541" y="27"/>
                </a:lnTo>
                <a:lnTo>
                  <a:pt x="1559" y="34"/>
                </a:lnTo>
                <a:lnTo>
                  <a:pt x="1560" y="32"/>
                </a:lnTo>
                <a:lnTo>
                  <a:pt x="1542" y="26"/>
                </a:lnTo>
                <a:lnTo>
                  <a:pt x="1559" y="21"/>
                </a:lnTo>
                <a:lnTo>
                  <a:pt x="1571" y="21"/>
                </a:lnTo>
                <a:lnTo>
                  <a:pt x="1572" y="21"/>
                </a:lnTo>
                <a:lnTo>
                  <a:pt x="1569" y="23"/>
                </a:lnTo>
                <a:lnTo>
                  <a:pt x="1582" y="27"/>
                </a:lnTo>
                <a:lnTo>
                  <a:pt x="1574" y="22"/>
                </a:lnTo>
                <a:lnTo>
                  <a:pt x="1592" y="16"/>
                </a:lnTo>
                <a:lnTo>
                  <a:pt x="1604" y="20"/>
                </a:lnTo>
                <a:lnTo>
                  <a:pt x="1602" y="22"/>
                </a:lnTo>
                <a:lnTo>
                  <a:pt x="1609" y="20"/>
                </a:lnTo>
                <a:lnTo>
                  <a:pt x="1618" y="22"/>
                </a:lnTo>
                <a:lnTo>
                  <a:pt x="1618" y="29"/>
                </a:lnTo>
                <a:lnTo>
                  <a:pt x="1648" y="29"/>
                </a:lnTo>
                <a:lnTo>
                  <a:pt x="1615" y="38"/>
                </a:lnTo>
                <a:lnTo>
                  <a:pt x="1633" y="35"/>
                </a:lnTo>
                <a:lnTo>
                  <a:pt x="1657" y="28"/>
                </a:lnTo>
                <a:lnTo>
                  <a:pt x="1665" y="30"/>
                </a:lnTo>
                <a:lnTo>
                  <a:pt x="1667" y="28"/>
                </a:lnTo>
                <a:lnTo>
                  <a:pt x="1664" y="27"/>
                </a:lnTo>
                <a:lnTo>
                  <a:pt x="1674" y="25"/>
                </a:lnTo>
                <a:lnTo>
                  <a:pt x="1671" y="27"/>
                </a:lnTo>
                <a:lnTo>
                  <a:pt x="1676" y="31"/>
                </a:lnTo>
                <a:lnTo>
                  <a:pt x="1691" y="28"/>
                </a:lnTo>
                <a:lnTo>
                  <a:pt x="1693" y="31"/>
                </a:lnTo>
                <a:lnTo>
                  <a:pt x="1686" y="34"/>
                </a:lnTo>
                <a:lnTo>
                  <a:pt x="1699" y="39"/>
                </a:lnTo>
                <a:lnTo>
                  <a:pt x="1696" y="42"/>
                </a:lnTo>
                <a:lnTo>
                  <a:pt x="1693" y="44"/>
                </a:lnTo>
                <a:lnTo>
                  <a:pt x="1710" y="41"/>
                </a:lnTo>
                <a:lnTo>
                  <a:pt x="1707" y="45"/>
                </a:lnTo>
                <a:lnTo>
                  <a:pt x="1720" y="45"/>
                </a:lnTo>
                <a:lnTo>
                  <a:pt x="1726" y="48"/>
                </a:lnTo>
                <a:lnTo>
                  <a:pt x="1724" y="50"/>
                </a:lnTo>
                <a:lnTo>
                  <a:pt x="1708" y="58"/>
                </a:lnTo>
                <a:lnTo>
                  <a:pt x="1686" y="66"/>
                </a:lnTo>
                <a:lnTo>
                  <a:pt x="1679" y="66"/>
                </a:lnTo>
                <a:lnTo>
                  <a:pt x="1681" y="69"/>
                </a:lnTo>
                <a:lnTo>
                  <a:pt x="1679" y="69"/>
                </a:lnTo>
                <a:lnTo>
                  <a:pt x="1665" y="69"/>
                </a:lnTo>
                <a:lnTo>
                  <a:pt x="1653" y="73"/>
                </a:lnTo>
                <a:lnTo>
                  <a:pt x="1664" y="73"/>
                </a:lnTo>
                <a:lnTo>
                  <a:pt x="1657" y="75"/>
                </a:lnTo>
                <a:lnTo>
                  <a:pt x="1621" y="74"/>
                </a:lnTo>
                <a:lnTo>
                  <a:pt x="1605" y="71"/>
                </a:lnTo>
                <a:lnTo>
                  <a:pt x="1620" y="77"/>
                </a:lnTo>
                <a:lnTo>
                  <a:pt x="1644" y="77"/>
                </a:lnTo>
                <a:lnTo>
                  <a:pt x="1593" y="89"/>
                </a:lnTo>
                <a:lnTo>
                  <a:pt x="1601" y="89"/>
                </a:lnTo>
                <a:lnTo>
                  <a:pt x="1594" y="93"/>
                </a:lnTo>
                <a:lnTo>
                  <a:pt x="1596" y="93"/>
                </a:lnTo>
                <a:lnTo>
                  <a:pt x="1659" y="78"/>
                </a:lnTo>
                <a:lnTo>
                  <a:pt x="1675" y="74"/>
                </a:lnTo>
                <a:lnTo>
                  <a:pt x="1676" y="77"/>
                </a:lnTo>
                <a:lnTo>
                  <a:pt x="1637" y="96"/>
                </a:lnTo>
                <a:lnTo>
                  <a:pt x="1630" y="97"/>
                </a:lnTo>
                <a:lnTo>
                  <a:pt x="1631" y="97"/>
                </a:lnTo>
                <a:lnTo>
                  <a:pt x="1611" y="109"/>
                </a:lnTo>
                <a:lnTo>
                  <a:pt x="1604" y="116"/>
                </a:lnTo>
                <a:lnTo>
                  <a:pt x="1594" y="120"/>
                </a:lnTo>
                <a:lnTo>
                  <a:pt x="1596" y="120"/>
                </a:lnTo>
                <a:lnTo>
                  <a:pt x="1593" y="123"/>
                </a:lnTo>
                <a:lnTo>
                  <a:pt x="1571" y="126"/>
                </a:lnTo>
                <a:lnTo>
                  <a:pt x="1561" y="123"/>
                </a:lnTo>
                <a:lnTo>
                  <a:pt x="1567" y="126"/>
                </a:lnTo>
                <a:lnTo>
                  <a:pt x="1558" y="126"/>
                </a:lnTo>
                <a:lnTo>
                  <a:pt x="1558" y="127"/>
                </a:lnTo>
                <a:lnTo>
                  <a:pt x="1587" y="126"/>
                </a:lnTo>
                <a:lnTo>
                  <a:pt x="1574" y="132"/>
                </a:lnTo>
                <a:lnTo>
                  <a:pt x="1582" y="135"/>
                </a:lnTo>
                <a:lnTo>
                  <a:pt x="1579" y="138"/>
                </a:lnTo>
                <a:lnTo>
                  <a:pt x="1562" y="142"/>
                </a:lnTo>
                <a:lnTo>
                  <a:pt x="1553" y="141"/>
                </a:lnTo>
                <a:lnTo>
                  <a:pt x="1552" y="138"/>
                </a:lnTo>
                <a:lnTo>
                  <a:pt x="1534" y="138"/>
                </a:lnTo>
                <a:lnTo>
                  <a:pt x="1526" y="138"/>
                </a:lnTo>
                <a:lnTo>
                  <a:pt x="1547" y="139"/>
                </a:lnTo>
                <a:lnTo>
                  <a:pt x="1549" y="143"/>
                </a:lnTo>
                <a:lnTo>
                  <a:pt x="1542" y="147"/>
                </a:lnTo>
                <a:lnTo>
                  <a:pt x="1538" y="143"/>
                </a:lnTo>
                <a:lnTo>
                  <a:pt x="1539" y="147"/>
                </a:lnTo>
                <a:lnTo>
                  <a:pt x="1536" y="149"/>
                </a:lnTo>
                <a:lnTo>
                  <a:pt x="1525" y="146"/>
                </a:lnTo>
                <a:lnTo>
                  <a:pt x="1522" y="147"/>
                </a:lnTo>
                <a:lnTo>
                  <a:pt x="1525" y="149"/>
                </a:lnTo>
                <a:lnTo>
                  <a:pt x="1522" y="151"/>
                </a:lnTo>
                <a:lnTo>
                  <a:pt x="1493" y="143"/>
                </a:lnTo>
                <a:lnTo>
                  <a:pt x="1492" y="147"/>
                </a:lnTo>
                <a:lnTo>
                  <a:pt x="1505" y="149"/>
                </a:lnTo>
                <a:lnTo>
                  <a:pt x="1507" y="154"/>
                </a:lnTo>
                <a:lnTo>
                  <a:pt x="1496" y="154"/>
                </a:lnTo>
                <a:lnTo>
                  <a:pt x="1489" y="149"/>
                </a:lnTo>
                <a:lnTo>
                  <a:pt x="1493" y="153"/>
                </a:lnTo>
                <a:lnTo>
                  <a:pt x="1479" y="152"/>
                </a:lnTo>
                <a:lnTo>
                  <a:pt x="1489" y="155"/>
                </a:lnTo>
                <a:lnTo>
                  <a:pt x="1489" y="155"/>
                </a:lnTo>
                <a:lnTo>
                  <a:pt x="1483" y="154"/>
                </a:lnTo>
                <a:lnTo>
                  <a:pt x="1477" y="157"/>
                </a:lnTo>
                <a:lnTo>
                  <a:pt x="1507" y="160"/>
                </a:lnTo>
                <a:lnTo>
                  <a:pt x="1486" y="162"/>
                </a:lnTo>
                <a:lnTo>
                  <a:pt x="1467" y="160"/>
                </a:lnTo>
                <a:lnTo>
                  <a:pt x="1485" y="162"/>
                </a:lnTo>
                <a:lnTo>
                  <a:pt x="1483" y="164"/>
                </a:lnTo>
                <a:lnTo>
                  <a:pt x="1500" y="162"/>
                </a:lnTo>
                <a:lnTo>
                  <a:pt x="1514" y="164"/>
                </a:lnTo>
                <a:lnTo>
                  <a:pt x="1503" y="169"/>
                </a:lnTo>
                <a:lnTo>
                  <a:pt x="1519" y="166"/>
                </a:lnTo>
                <a:lnTo>
                  <a:pt x="1526" y="169"/>
                </a:lnTo>
                <a:lnTo>
                  <a:pt x="1527" y="172"/>
                </a:lnTo>
                <a:lnTo>
                  <a:pt x="1525" y="173"/>
                </a:lnTo>
                <a:lnTo>
                  <a:pt x="1526" y="177"/>
                </a:lnTo>
                <a:lnTo>
                  <a:pt x="1522" y="178"/>
                </a:lnTo>
                <a:lnTo>
                  <a:pt x="1500" y="178"/>
                </a:lnTo>
                <a:lnTo>
                  <a:pt x="1516" y="182"/>
                </a:lnTo>
                <a:lnTo>
                  <a:pt x="1522" y="185"/>
                </a:lnTo>
                <a:lnTo>
                  <a:pt x="1515" y="190"/>
                </a:lnTo>
                <a:lnTo>
                  <a:pt x="1496" y="190"/>
                </a:lnTo>
                <a:lnTo>
                  <a:pt x="1515" y="192"/>
                </a:lnTo>
                <a:lnTo>
                  <a:pt x="1510" y="195"/>
                </a:lnTo>
                <a:lnTo>
                  <a:pt x="1505" y="194"/>
                </a:lnTo>
                <a:lnTo>
                  <a:pt x="1496" y="198"/>
                </a:lnTo>
                <a:lnTo>
                  <a:pt x="1476" y="195"/>
                </a:lnTo>
                <a:lnTo>
                  <a:pt x="1473" y="198"/>
                </a:lnTo>
                <a:lnTo>
                  <a:pt x="1478" y="200"/>
                </a:lnTo>
                <a:lnTo>
                  <a:pt x="1478" y="204"/>
                </a:lnTo>
                <a:lnTo>
                  <a:pt x="1481" y="207"/>
                </a:lnTo>
                <a:lnTo>
                  <a:pt x="1477" y="216"/>
                </a:lnTo>
                <a:lnTo>
                  <a:pt x="1463" y="218"/>
                </a:lnTo>
                <a:lnTo>
                  <a:pt x="1445" y="218"/>
                </a:lnTo>
                <a:lnTo>
                  <a:pt x="1433" y="215"/>
                </a:lnTo>
                <a:lnTo>
                  <a:pt x="1422" y="206"/>
                </a:lnTo>
                <a:lnTo>
                  <a:pt x="1422" y="207"/>
                </a:lnTo>
                <a:lnTo>
                  <a:pt x="1427" y="211"/>
                </a:lnTo>
                <a:lnTo>
                  <a:pt x="1426" y="215"/>
                </a:lnTo>
                <a:lnTo>
                  <a:pt x="1434" y="218"/>
                </a:lnTo>
                <a:lnTo>
                  <a:pt x="1420" y="218"/>
                </a:lnTo>
                <a:lnTo>
                  <a:pt x="1425" y="222"/>
                </a:lnTo>
                <a:lnTo>
                  <a:pt x="1434" y="218"/>
                </a:lnTo>
                <a:lnTo>
                  <a:pt x="1449" y="221"/>
                </a:lnTo>
                <a:lnTo>
                  <a:pt x="1455" y="218"/>
                </a:lnTo>
                <a:lnTo>
                  <a:pt x="1463" y="221"/>
                </a:lnTo>
                <a:lnTo>
                  <a:pt x="1466" y="224"/>
                </a:lnTo>
                <a:lnTo>
                  <a:pt x="1460" y="230"/>
                </a:lnTo>
                <a:lnTo>
                  <a:pt x="1466" y="230"/>
                </a:lnTo>
                <a:lnTo>
                  <a:pt x="1466" y="234"/>
                </a:lnTo>
                <a:lnTo>
                  <a:pt x="1469" y="234"/>
                </a:lnTo>
                <a:lnTo>
                  <a:pt x="1475" y="228"/>
                </a:lnTo>
                <a:lnTo>
                  <a:pt x="1482" y="229"/>
                </a:lnTo>
                <a:lnTo>
                  <a:pt x="1482" y="237"/>
                </a:lnTo>
                <a:lnTo>
                  <a:pt x="1474" y="244"/>
                </a:lnTo>
                <a:lnTo>
                  <a:pt x="1469" y="240"/>
                </a:lnTo>
                <a:lnTo>
                  <a:pt x="1460" y="249"/>
                </a:lnTo>
                <a:lnTo>
                  <a:pt x="1434" y="252"/>
                </a:lnTo>
                <a:lnTo>
                  <a:pt x="1434" y="251"/>
                </a:lnTo>
                <a:lnTo>
                  <a:pt x="1440" y="245"/>
                </a:lnTo>
                <a:lnTo>
                  <a:pt x="1433" y="241"/>
                </a:lnTo>
                <a:lnTo>
                  <a:pt x="1429" y="244"/>
                </a:lnTo>
                <a:lnTo>
                  <a:pt x="1422" y="241"/>
                </a:lnTo>
                <a:lnTo>
                  <a:pt x="1423" y="240"/>
                </a:lnTo>
                <a:lnTo>
                  <a:pt x="1422" y="238"/>
                </a:lnTo>
                <a:lnTo>
                  <a:pt x="1426" y="237"/>
                </a:lnTo>
                <a:lnTo>
                  <a:pt x="1418" y="238"/>
                </a:lnTo>
                <a:lnTo>
                  <a:pt x="1412" y="232"/>
                </a:lnTo>
                <a:lnTo>
                  <a:pt x="1415" y="238"/>
                </a:lnTo>
                <a:lnTo>
                  <a:pt x="1422" y="240"/>
                </a:lnTo>
                <a:lnTo>
                  <a:pt x="1418" y="241"/>
                </a:lnTo>
                <a:lnTo>
                  <a:pt x="1420" y="244"/>
                </a:lnTo>
                <a:lnTo>
                  <a:pt x="1407" y="245"/>
                </a:lnTo>
                <a:lnTo>
                  <a:pt x="1402" y="234"/>
                </a:lnTo>
                <a:lnTo>
                  <a:pt x="1400" y="238"/>
                </a:lnTo>
                <a:lnTo>
                  <a:pt x="1403" y="241"/>
                </a:lnTo>
                <a:lnTo>
                  <a:pt x="1403" y="246"/>
                </a:lnTo>
                <a:lnTo>
                  <a:pt x="1396" y="246"/>
                </a:lnTo>
                <a:lnTo>
                  <a:pt x="1390" y="239"/>
                </a:lnTo>
                <a:lnTo>
                  <a:pt x="1388" y="241"/>
                </a:lnTo>
                <a:lnTo>
                  <a:pt x="1390" y="244"/>
                </a:lnTo>
                <a:lnTo>
                  <a:pt x="1384" y="245"/>
                </a:lnTo>
                <a:lnTo>
                  <a:pt x="1377" y="240"/>
                </a:lnTo>
                <a:lnTo>
                  <a:pt x="1380" y="246"/>
                </a:lnTo>
                <a:lnTo>
                  <a:pt x="1387" y="250"/>
                </a:lnTo>
                <a:lnTo>
                  <a:pt x="1380" y="250"/>
                </a:lnTo>
                <a:lnTo>
                  <a:pt x="1359" y="246"/>
                </a:lnTo>
                <a:lnTo>
                  <a:pt x="1357" y="244"/>
                </a:lnTo>
                <a:lnTo>
                  <a:pt x="1360" y="241"/>
                </a:lnTo>
                <a:lnTo>
                  <a:pt x="1355" y="238"/>
                </a:lnTo>
                <a:lnTo>
                  <a:pt x="1358" y="241"/>
                </a:lnTo>
                <a:lnTo>
                  <a:pt x="1353" y="244"/>
                </a:lnTo>
                <a:lnTo>
                  <a:pt x="1353" y="246"/>
                </a:lnTo>
                <a:lnTo>
                  <a:pt x="1340" y="244"/>
                </a:lnTo>
                <a:lnTo>
                  <a:pt x="1337" y="238"/>
                </a:lnTo>
                <a:lnTo>
                  <a:pt x="1337" y="244"/>
                </a:lnTo>
                <a:lnTo>
                  <a:pt x="1341" y="246"/>
                </a:lnTo>
                <a:lnTo>
                  <a:pt x="1328" y="245"/>
                </a:lnTo>
                <a:lnTo>
                  <a:pt x="1329" y="241"/>
                </a:lnTo>
                <a:lnTo>
                  <a:pt x="1326" y="238"/>
                </a:lnTo>
                <a:lnTo>
                  <a:pt x="1328" y="232"/>
                </a:lnTo>
                <a:lnTo>
                  <a:pt x="1324" y="234"/>
                </a:lnTo>
                <a:lnTo>
                  <a:pt x="1325" y="240"/>
                </a:lnTo>
                <a:lnTo>
                  <a:pt x="1321" y="245"/>
                </a:lnTo>
                <a:lnTo>
                  <a:pt x="1321" y="240"/>
                </a:lnTo>
                <a:lnTo>
                  <a:pt x="1320" y="245"/>
                </a:lnTo>
                <a:lnTo>
                  <a:pt x="1310" y="240"/>
                </a:lnTo>
                <a:lnTo>
                  <a:pt x="1314" y="238"/>
                </a:lnTo>
                <a:lnTo>
                  <a:pt x="1313" y="234"/>
                </a:lnTo>
                <a:lnTo>
                  <a:pt x="1328" y="226"/>
                </a:lnTo>
                <a:lnTo>
                  <a:pt x="1326" y="226"/>
                </a:lnTo>
                <a:lnTo>
                  <a:pt x="1352" y="222"/>
                </a:lnTo>
                <a:lnTo>
                  <a:pt x="1346" y="222"/>
                </a:lnTo>
                <a:lnTo>
                  <a:pt x="1350" y="219"/>
                </a:lnTo>
                <a:lnTo>
                  <a:pt x="1346" y="219"/>
                </a:lnTo>
                <a:lnTo>
                  <a:pt x="1350" y="218"/>
                </a:lnTo>
                <a:lnTo>
                  <a:pt x="1340" y="218"/>
                </a:lnTo>
                <a:lnTo>
                  <a:pt x="1335" y="216"/>
                </a:lnTo>
                <a:lnTo>
                  <a:pt x="1337" y="212"/>
                </a:lnTo>
                <a:lnTo>
                  <a:pt x="1337" y="210"/>
                </a:lnTo>
                <a:lnTo>
                  <a:pt x="1331" y="206"/>
                </a:lnTo>
                <a:lnTo>
                  <a:pt x="1333" y="200"/>
                </a:lnTo>
                <a:lnTo>
                  <a:pt x="1346" y="199"/>
                </a:lnTo>
                <a:lnTo>
                  <a:pt x="1357" y="200"/>
                </a:lnTo>
                <a:lnTo>
                  <a:pt x="1363" y="204"/>
                </a:lnTo>
                <a:lnTo>
                  <a:pt x="1368" y="212"/>
                </a:lnTo>
                <a:lnTo>
                  <a:pt x="1366" y="214"/>
                </a:lnTo>
                <a:lnTo>
                  <a:pt x="1369" y="212"/>
                </a:lnTo>
                <a:lnTo>
                  <a:pt x="1385" y="217"/>
                </a:lnTo>
                <a:lnTo>
                  <a:pt x="1384" y="214"/>
                </a:lnTo>
                <a:lnTo>
                  <a:pt x="1400" y="215"/>
                </a:lnTo>
                <a:lnTo>
                  <a:pt x="1396" y="212"/>
                </a:lnTo>
                <a:lnTo>
                  <a:pt x="1393" y="214"/>
                </a:lnTo>
                <a:lnTo>
                  <a:pt x="1381" y="214"/>
                </a:lnTo>
                <a:lnTo>
                  <a:pt x="1380" y="211"/>
                </a:lnTo>
                <a:lnTo>
                  <a:pt x="1380" y="211"/>
                </a:lnTo>
                <a:lnTo>
                  <a:pt x="1376" y="212"/>
                </a:lnTo>
                <a:lnTo>
                  <a:pt x="1369" y="210"/>
                </a:lnTo>
                <a:lnTo>
                  <a:pt x="1374" y="210"/>
                </a:lnTo>
                <a:lnTo>
                  <a:pt x="1380" y="211"/>
                </a:lnTo>
                <a:lnTo>
                  <a:pt x="1385" y="204"/>
                </a:lnTo>
                <a:lnTo>
                  <a:pt x="1380" y="207"/>
                </a:lnTo>
                <a:lnTo>
                  <a:pt x="1373" y="205"/>
                </a:lnTo>
                <a:lnTo>
                  <a:pt x="1377" y="202"/>
                </a:lnTo>
                <a:lnTo>
                  <a:pt x="1373" y="202"/>
                </a:lnTo>
                <a:lnTo>
                  <a:pt x="1370" y="202"/>
                </a:lnTo>
                <a:lnTo>
                  <a:pt x="1368" y="200"/>
                </a:lnTo>
                <a:lnTo>
                  <a:pt x="1377" y="194"/>
                </a:lnTo>
                <a:lnTo>
                  <a:pt x="1376" y="194"/>
                </a:lnTo>
                <a:lnTo>
                  <a:pt x="1377" y="190"/>
                </a:lnTo>
                <a:lnTo>
                  <a:pt x="1390" y="190"/>
                </a:lnTo>
                <a:lnTo>
                  <a:pt x="1380" y="189"/>
                </a:lnTo>
                <a:lnTo>
                  <a:pt x="1381" y="186"/>
                </a:lnTo>
                <a:lnTo>
                  <a:pt x="1384" y="186"/>
                </a:lnTo>
                <a:lnTo>
                  <a:pt x="1380" y="184"/>
                </a:lnTo>
                <a:lnTo>
                  <a:pt x="1384" y="176"/>
                </a:lnTo>
                <a:lnTo>
                  <a:pt x="1376" y="181"/>
                </a:lnTo>
                <a:lnTo>
                  <a:pt x="1379" y="184"/>
                </a:lnTo>
                <a:lnTo>
                  <a:pt x="1369" y="192"/>
                </a:lnTo>
                <a:lnTo>
                  <a:pt x="1357" y="193"/>
                </a:lnTo>
                <a:lnTo>
                  <a:pt x="1357" y="191"/>
                </a:lnTo>
                <a:lnTo>
                  <a:pt x="1352" y="194"/>
                </a:lnTo>
                <a:lnTo>
                  <a:pt x="1341" y="194"/>
                </a:lnTo>
                <a:lnTo>
                  <a:pt x="1347" y="190"/>
                </a:lnTo>
                <a:lnTo>
                  <a:pt x="1337" y="190"/>
                </a:lnTo>
                <a:lnTo>
                  <a:pt x="1337" y="181"/>
                </a:lnTo>
                <a:lnTo>
                  <a:pt x="1347" y="178"/>
                </a:lnTo>
                <a:lnTo>
                  <a:pt x="1350" y="178"/>
                </a:lnTo>
                <a:lnTo>
                  <a:pt x="1347" y="177"/>
                </a:lnTo>
                <a:lnTo>
                  <a:pt x="1350" y="172"/>
                </a:lnTo>
                <a:lnTo>
                  <a:pt x="1377" y="165"/>
                </a:lnTo>
                <a:lnTo>
                  <a:pt x="1396" y="170"/>
                </a:lnTo>
                <a:lnTo>
                  <a:pt x="1416" y="178"/>
                </a:lnTo>
                <a:lnTo>
                  <a:pt x="1418" y="178"/>
                </a:lnTo>
                <a:lnTo>
                  <a:pt x="1414" y="175"/>
                </a:lnTo>
                <a:lnTo>
                  <a:pt x="1420" y="174"/>
                </a:lnTo>
                <a:lnTo>
                  <a:pt x="1410" y="174"/>
                </a:lnTo>
                <a:lnTo>
                  <a:pt x="1403" y="170"/>
                </a:lnTo>
                <a:lnTo>
                  <a:pt x="1426" y="170"/>
                </a:lnTo>
                <a:lnTo>
                  <a:pt x="1426" y="164"/>
                </a:lnTo>
                <a:lnTo>
                  <a:pt x="1429" y="162"/>
                </a:lnTo>
                <a:lnTo>
                  <a:pt x="1415" y="166"/>
                </a:lnTo>
                <a:lnTo>
                  <a:pt x="1399" y="165"/>
                </a:lnTo>
                <a:lnTo>
                  <a:pt x="1392" y="159"/>
                </a:lnTo>
                <a:lnTo>
                  <a:pt x="1393" y="154"/>
                </a:lnTo>
                <a:lnTo>
                  <a:pt x="1387" y="157"/>
                </a:lnTo>
                <a:lnTo>
                  <a:pt x="1385" y="149"/>
                </a:lnTo>
                <a:lnTo>
                  <a:pt x="1379" y="147"/>
                </a:lnTo>
                <a:lnTo>
                  <a:pt x="1375" y="142"/>
                </a:lnTo>
                <a:lnTo>
                  <a:pt x="1353" y="137"/>
                </a:lnTo>
                <a:lnTo>
                  <a:pt x="1353" y="132"/>
                </a:lnTo>
                <a:lnTo>
                  <a:pt x="1357" y="131"/>
                </a:lnTo>
                <a:lnTo>
                  <a:pt x="1374" y="132"/>
                </a:lnTo>
                <a:lnTo>
                  <a:pt x="1357" y="130"/>
                </a:lnTo>
                <a:lnTo>
                  <a:pt x="1354" y="126"/>
                </a:lnTo>
                <a:lnTo>
                  <a:pt x="1355" y="119"/>
                </a:lnTo>
                <a:lnTo>
                  <a:pt x="1395" y="121"/>
                </a:lnTo>
                <a:lnTo>
                  <a:pt x="1420" y="135"/>
                </a:lnTo>
                <a:lnTo>
                  <a:pt x="1423" y="141"/>
                </a:lnTo>
                <a:lnTo>
                  <a:pt x="1426" y="145"/>
                </a:lnTo>
                <a:lnTo>
                  <a:pt x="1426" y="145"/>
                </a:lnTo>
                <a:lnTo>
                  <a:pt x="1430" y="142"/>
                </a:lnTo>
                <a:lnTo>
                  <a:pt x="1442" y="143"/>
                </a:lnTo>
                <a:lnTo>
                  <a:pt x="1453" y="141"/>
                </a:lnTo>
                <a:lnTo>
                  <a:pt x="1455" y="139"/>
                </a:lnTo>
                <a:lnTo>
                  <a:pt x="1439" y="141"/>
                </a:lnTo>
                <a:lnTo>
                  <a:pt x="1429" y="139"/>
                </a:lnTo>
                <a:lnTo>
                  <a:pt x="1427" y="132"/>
                </a:lnTo>
                <a:lnTo>
                  <a:pt x="1430" y="131"/>
                </a:lnTo>
                <a:lnTo>
                  <a:pt x="1420" y="130"/>
                </a:lnTo>
                <a:lnTo>
                  <a:pt x="1403" y="119"/>
                </a:lnTo>
                <a:lnTo>
                  <a:pt x="1448" y="112"/>
                </a:lnTo>
                <a:lnTo>
                  <a:pt x="1481" y="108"/>
                </a:lnTo>
                <a:lnTo>
                  <a:pt x="1452" y="107"/>
                </a:lnTo>
                <a:lnTo>
                  <a:pt x="1472" y="103"/>
                </a:lnTo>
                <a:lnTo>
                  <a:pt x="1503" y="101"/>
                </a:lnTo>
                <a:lnTo>
                  <a:pt x="1466" y="101"/>
                </a:lnTo>
                <a:lnTo>
                  <a:pt x="1466" y="94"/>
                </a:lnTo>
                <a:lnTo>
                  <a:pt x="1474" y="89"/>
                </a:lnTo>
                <a:lnTo>
                  <a:pt x="1497" y="79"/>
                </a:lnTo>
                <a:lnTo>
                  <a:pt x="1477" y="84"/>
                </a:lnTo>
                <a:lnTo>
                  <a:pt x="1467" y="91"/>
                </a:lnTo>
                <a:lnTo>
                  <a:pt x="1459" y="88"/>
                </a:lnTo>
                <a:lnTo>
                  <a:pt x="1463" y="91"/>
                </a:lnTo>
                <a:lnTo>
                  <a:pt x="1461" y="94"/>
                </a:lnTo>
                <a:lnTo>
                  <a:pt x="1463" y="95"/>
                </a:lnTo>
                <a:lnTo>
                  <a:pt x="1456" y="100"/>
                </a:lnTo>
                <a:lnTo>
                  <a:pt x="1437" y="106"/>
                </a:lnTo>
                <a:lnTo>
                  <a:pt x="1407" y="112"/>
                </a:lnTo>
                <a:lnTo>
                  <a:pt x="1403" y="108"/>
                </a:lnTo>
                <a:lnTo>
                  <a:pt x="1426" y="100"/>
                </a:lnTo>
                <a:lnTo>
                  <a:pt x="1402" y="106"/>
                </a:lnTo>
                <a:lnTo>
                  <a:pt x="1399" y="104"/>
                </a:lnTo>
                <a:lnTo>
                  <a:pt x="1403" y="101"/>
                </a:lnTo>
                <a:lnTo>
                  <a:pt x="1403" y="101"/>
                </a:lnTo>
                <a:lnTo>
                  <a:pt x="1395" y="102"/>
                </a:lnTo>
                <a:lnTo>
                  <a:pt x="1396" y="107"/>
                </a:lnTo>
                <a:lnTo>
                  <a:pt x="1395" y="112"/>
                </a:lnTo>
                <a:lnTo>
                  <a:pt x="1377" y="113"/>
                </a:lnTo>
                <a:lnTo>
                  <a:pt x="1365" y="112"/>
                </a:lnTo>
                <a:lnTo>
                  <a:pt x="1369" y="107"/>
                </a:lnTo>
                <a:lnTo>
                  <a:pt x="1362" y="112"/>
                </a:lnTo>
                <a:lnTo>
                  <a:pt x="1352" y="108"/>
                </a:lnTo>
                <a:lnTo>
                  <a:pt x="1369" y="96"/>
                </a:lnTo>
                <a:lnTo>
                  <a:pt x="1416" y="88"/>
                </a:lnTo>
                <a:lnTo>
                  <a:pt x="1368" y="93"/>
                </a:lnTo>
                <a:lnTo>
                  <a:pt x="1359" y="97"/>
                </a:lnTo>
                <a:lnTo>
                  <a:pt x="1346" y="109"/>
                </a:lnTo>
                <a:lnTo>
                  <a:pt x="1341" y="109"/>
                </a:lnTo>
                <a:lnTo>
                  <a:pt x="1314" y="97"/>
                </a:lnTo>
                <a:lnTo>
                  <a:pt x="1354" y="94"/>
                </a:lnTo>
                <a:lnTo>
                  <a:pt x="1382" y="84"/>
                </a:lnTo>
                <a:lnTo>
                  <a:pt x="1344" y="91"/>
                </a:lnTo>
                <a:lnTo>
                  <a:pt x="1307" y="94"/>
                </a:lnTo>
                <a:lnTo>
                  <a:pt x="1302" y="89"/>
                </a:lnTo>
                <a:lnTo>
                  <a:pt x="1306" y="85"/>
                </a:lnTo>
                <a:lnTo>
                  <a:pt x="1321" y="85"/>
                </a:lnTo>
                <a:lnTo>
                  <a:pt x="1306" y="83"/>
                </a:lnTo>
                <a:lnTo>
                  <a:pt x="1322" y="76"/>
                </a:lnTo>
                <a:lnTo>
                  <a:pt x="1346" y="77"/>
                </a:lnTo>
                <a:lnTo>
                  <a:pt x="1329" y="74"/>
                </a:lnTo>
                <a:lnTo>
                  <a:pt x="1300" y="81"/>
                </a:lnTo>
                <a:lnTo>
                  <a:pt x="1293" y="79"/>
                </a:lnTo>
                <a:lnTo>
                  <a:pt x="1312" y="73"/>
                </a:lnTo>
                <a:lnTo>
                  <a:pt x="1300" y="70"/>
                </a:lnTo>
                <a:lnTo>
                  <a:pt x="1281" y="76"/>
                </a:lnTo>
                <a:lnTo>
                  <a:pt x="1281" y="73"/>
                </a:lnTo>
                <a:lnTo>
                  <a:pt x="1281" y="73"/>
                </a:lnTo>
                <a:lnTo>
                  <a:pt x="1278" y="72"/>
                </a:lnTo>
                <a:close/>
                <a:moveTo>
                  <a:pt x="1366" y="184"/>
                </a:moveTo>
                <a:lnTo>
                  <a:pt x="1362" y="188"/>
                </a:lnTo>
                <a:lnTo>
                  <a:pt x="1364" y="188"/>
                </a:lnTo>
                <a:lnTo>
                  <a:pt x="1366" y="184"/>
                </a:lnTo>
                <a:close/>
                <a:moveTo>
                  <a:pt x="1418" y="193"/>
                </a:moveTo>
                <a:lnTo>
                  <a:pt x="1410" y="195"/>
                </a:lnTo>
                <a:lnTo>
                  <a:pt x="1412" y="199"/>
                </a:lnTo>
                <a:lnTo>
                  <a:pt x="1402" y="208"/>
                </a:lnTo>
                <a:lnTo>
                  <a:pt x="1398" y="211"/>
                </a:lnTo>
                <a:lnTo>
                  <a:pt x="1403" y="210"/>
                </a:lnTo>
                <a:lnTo>
                  <a:pt x="1415" y="198"/>
                </a:lnTo>
                <a:lnTo>
                  <a:pt x="1414" y="195"/>
                </a:lnTo>
                <a:lnTo>
                  <a:pt x="1418" y="193"/>
                </a:lnTo>
                <a:close/>
                <a:moveTo>
                  <a:pt x="1588" y="115"/>
                </a:moveTo>
                <a:lnTo>
                  <a:pt x="1589" y="118"/>
                </a:lnTo>
                <a:lnTo>
                  <a:pt x="1592" y="119"/>
                </a:lnTo>
                <a:lnTo>
                  <a:pt x="1593" y="118"/>
                </a:lnTo>
                <a:lnTo>
                  <a:pt x="1592" y="118"/>
                </a:lnTo>
                <a:lnTo>
                  <a:pt x="1588" y="115"/>
                </a:lnTo>
                <a:close/>
                <a:moveTo>
                  <a:pt x="2467" y="799"/>
                </a:moveTo>
                <a:lnTo>
                  <a:pt x="2465" y="799"/>
                </a:lnTo>
                <a:lnTo>
                  <a:pt x="2464" y="801"/>
                </a:lnTo>
                <a:lnTo>
                  <a:pt x="2468" y="802"/>
                </a:lnTo>
                <a:lnTo>
                  <a:pt x="2467" y="799"/>
                </a:lnTo>
                <a:close/>
                <a:moveTo>
                  <a:pt x="1280" y="73"/>
                </a:moveTo>
                <a:lnTo>
                  <a:pt x="1278" y="72"/>
                </a:lnTo>
                <a:lnTo>
                  <a:pt x="1277" y="72"/>
                </a:lnTo>
                <a:lnTo>
                  <a:pt x="1280" y="73"/>
                </a:lnTo>
                <a:close/>
                <a:moveTo>
                  <a:pt x="1638" y="521"/>
                </a:moveTo>
                <a:lnTo>
                  <a:pt x="1634" y="520"/>
                </a:lnTo>
                <a:lnTo>
                  <a:pt x="1637" y="522"/>
                </a:lnTo>
                <a:lnTo>
                  <a:pt x="1638" y="521"/>
                </a:lnTo>
                <a:close/>
                <a:moveTo>
                  <a:pt x="1633" y="520"/>
                </a:moveTo>
                <a:lnTo>
                  <a:pt x="1633" y="520"/>
                </a:lnTo>
                <a:lnTo>
                  <a:pt x="1634" y="520"/>
                </a:lnTo>
                <a:lnTo>
                  <a:pt x="1633" y="520"/>
                </a:lnTo>
                <a:close/>
                <a:moveTo>
                  <a:pt x="1667" y="570"/>
                </a:moveTo>
                <a:lnTo>
                  <a:pt x="1668" y="573"/>
                </a:lnTo>
                <a:lnTo>
                  <a:pt x="1671" y="572"/>
                </a:lnTo>
                <a:lnTo>
                  <a:pt x="1668" y="570"/>
                </a:lnTo>
                <a:lnTo>
                  <a:pt x="1667" y="570"/>
                </a:lnTo>
                <a:close/>
                <a:moveTo>
                  <a:pt x="1531" y="567"/>
                </a:moveTo>
                <a:lnTo>
                  <a:pt x="1536" y="568"/>
                </a:lnTo>
                <a:lnTo>
                  <a:pt x="1533" y="567"/>
                </a:lnTo>
                <a:lnTo>
                  <a:pt x="1531" y="567"/>
                </a:lnTo>
                <a:close/>
                <a:moveTo>
                  <a:pt x="1494" y="595"/>
                </a:moveTo>
                <a:lnTo>
                  <a:pt x="1498" y="595"/>
                </a:lnTo>
                <a:lnTo>
                  <a:pt x="1498" y="588"/>
                </a:lnTo>
                <a:lnTo>
                  <a:pt x="1493" y="591"/>
                </a:lnTo>
                <a:lnTo>
                  <a:pt x="1488" y="591"/>
                </a:lnTo>
                <a:lnTo>
                  <a:pt x="1494" y="595"/>
                </a:lnTo>
                <a:close/>
                <a:moveTo>
                  <a:pt x="1527" y="612"/>
                </a:moveTo>
                <a:lnTo>
                  <a:pt x="1539" y="616"/>
                </a:lnTo>
                <a:lnTo>
                  <a:pt x="1531" y="612"/>
                </a:lnTo>
                <a:lnTo>
                  <a:pt x="1527" y="612"/>
                </a:lnTo>
                <a:close/>
                <a:moveTo>
                  <a:pt x="1562" y="590"/>
                </a:moveTo>
                <a:lnTo>
                  <a:pt x="1564" y="590"/>
                </a:lnTo>
                <a:lnTo>
                  <a:pt x="1562" y="588"/>
                </a:lnTo>
                <a:lnTo>
                  <a:pt x="1562" y="590"/>
                </a:lnTo>
                <a:close/>
                <a:moveTo>
                  <a:pt x="1479" y="614"/>
                </a:moveTo>
                <a:lnTo>
                  <a:pt x="1482" y="614"/>
                </a:lnTo>
                <a:lnTo>
                  <a:pt x="1481" y="612"/>
                </a:lnTo>
                <a:lnTo>
                  <a:pt x="1479" y="614"/>
                </a:lnTo>
                <a:close/>
                <a:moveTo>
                  <a:pt x="1485" y="591"/>
                </a:moveTo>
                <a:lnTo>
                  <a:pt x="1477" y="590"/>
                </a:lnTo>
                <a:lnTo>
                  <a:pt x="1472" y="591"/>
                </a:lnTo>
                <a:lnTo>
                  <a:pt x="1481" y="600"/>
                </a:lnTo>
                <a:lnTo>
                  <a:pt x="1486" y="596"/>
                </a:lnTo>
                <a:lnTo>
                  <a:pt x="1485" y="591"/>
                </a:lnTo>
                <a:close/>
                <a:moveTo>
                  <a:pt x="1485" y="612"/>
                </a:moveTo>
                <a:lnTo>
                  <a:pt x="1483" y="612"/>
                </a:lnTo>
                <a:lnTo>
                  <a:pt x="1483" y="614"/>
                </a:lnTo>
                <a:lnTo>
                  <a:pt x="1485" y="612"/>
                </a:lnTo>
                <a:close/>
                <a:moveTo>
                  <a:pt x="1625" y="660"/>
                </a:moveTo>
                <a:lnTo>
                  <a:pt x="1623" y="658"/>
                </a:lnTo>
                <a:lnTo>
                  <a:pt x="1619" y="665"/>
                </a:lnTo>
                <a:lnTo>
                  <a:pt x="1626" y="662"/>
                </a:lnTo>
                <a:lnTo>
                  <a:pt x="1628" y="661"/>
                </a:lnTo>
                <a:lnTo>
                  <a:pt x="1625" y="660"/>
                </a:lnTo>
                <a:close/>
                <a:moveTo>
                  <a:pt x="1630" y="705"/>
                </a:moveTo>
                <a:lnTo>
                  <a:pt x="1628" y="705"/>
                </a:lnTo>
                <a:lnTo>
                  <a:pt x="1626" y="705"/>
                </a:lnTo>
                <a:lnTo>
                  <a:pt x="1628" y="709"/>
                </a:lnTo>
                <a:lnTo>
                  <a:pt x="1630" y="705"/>
                </a:lnTo>
                <a:close/>
                <a:moveTo>
                  <a:pt x="1638" y="600"/>
                </a:moveTo>
                <a:lnTo>
                  <a:pt x="1638" y="600"/>
                </a:lnTo>
                <a:lnTo>
                  <a:pt x="1641" y="604"/>
                </a:lnTo>
                <a:lnTo>
                  <a:pt x="1640" y="602"/>
                </a:lnTo>
                <a:lnTo>
                  <a:pt x="1638" y="600"/>
                </a:lnTo>
                <a:close/>
                <a:moveTo>
                  <a:pt x="1465" y="750"/>
                </a:moveTo>
                <a:lnTo>
                  <a:pt x="1466" y="747"/>
                </a:lnTo>
                <a:lnTo>
                  <a:pt x="1461" y="745"/>
                </a:lnTo>
                <a:lnTo>
                  <a:pt x="1460" y="752"/>
                </a:lnTo>
                <a:lnTo>
                  <a:pt x="1459" y="754"/>
                </a:lnTo>
                <a:lnTo>
                  <a:pt x="1455" y="763"/>
                </a:lnTo>
                <a:lnTo>
                  <a:pt x="1460" y="760"/>
                </a:lnTo>
                <a:lnTo>
                  <a:pt x="1463" y="752"/>
                </a:lnTo>
                <a:lnTo>
                  <a:pt x="1461" y="760"/>
                </a:lnTo>
                <a:lnTo>
                  <a:pt x="1465" y="750"/>
                </a:lnTo>
                <a:lnTo>
                  <a:pt x="1463" y="759"/>
                </a:lnTo>
                <a:lnTo>
                  <a:pt x="1466" y="748"/>
                </a:lnTo>
                <a:lnTo>
                  <a:pt x="1465" y="750"/>
                </a:lnTo>
                <a:close/>
                <a:moveTo>
                  <a:pt x="1631" y="706"/>
                </a:moveTo>
                <a:lnTo>
                  <a:pt x="1630" y="709"/>
                </a:lnTo>
                <a:lnTo>
                  <a:pt x="1631" y="709"/>
                </a:lnTo>
                <a:lnTo>
                  <a:pt x="1631" y="706"/>
                </a:lnTo>
                <a:close/>
                <a:moveTo>
                  <a:pt x="1596" y="648"/>
                </a:moveTo>
                <a:lnTo>
                  <a:pt x="1594" y="648"/>
                </a:lnTo>
                <a:lnTo>
                  <a:pt x="1596" y="649"/>
                </a:lnTo>
                <a:lnTo>
                  <a:pt x="1596" y="648"/>
                </a:lnTo>
                <a:close/>
                <a:moveTo>
                  <a:pt x="2517" y="630"/>
                </a:moveTo>
                <a:lnTo>
                  <a:pt x="2512" y="627"/>
                </a:lnTo>
                <a:lnTo>
                  <a:pt x="2517" y="630"/>
                </a:lnTo>
                <a:lnTo>
                  <a:pt x="2517" y="630"/>
                </a:lnTo>
                <a:close/>
                <a:moveTo>
                  <a:pt x="1453" y="724"/>
                </a:moveTo>
                <a:lnTo>
                  <a:pt x="1453" y="728"/>
                </a:lnTo>
                <a:lnTo>
                  <a:pt x="1455" y="723"/>
                </a:lnTo>
                <a:lnTo>
                  <a:pt x="1453" y="724"/>
                </a:lnTo>
                <a:close/>
                <a:moveTo>
                  <a:pt x="1453" y="740"/>
                </a:moveTo>
                <a:lnTo>
                  <a:pt x="1452" y="741"/>
                </a:lnTo>
                <a:lnTo>
                  <a:pt x="1453" y="741"/>
                </a:lnTo>
                <a:lnTo>
                  <a:pt x="1453" y="740"/>
                </a:lnTo>
                <a:close/>
                <a:moveTo>
                  <a:pt x="1455" y="738"/>
                </a:moveTo>
                <a:lnTo>
                  <a:pt x="1453" y="740"/>
                </a:lnTo>
                <a:lnTo>
                  <a:pt x="1455" y="741"/>
                </a:lnTo>
                <a:lnTo>
                  <a:pt x="1455" y="738"/>
                </a:lnTo>
                <a:close/>
                <a:moveTo>
                  <a:pt x="1448" y="679"/>
                </a:moveTo>
                <a:lnTo>
                  <a:pt x="1448" y="677"/>
                </a:lnTo>
                <a:lnTo>
                  <a:pt x="1447" y="679"/>
                </a:lnTo>
                <a:lnTo>
                  <a:pt x="1448" y="679"/>
                </a:lnTo>
                <a:close/>
                <a:moveTo>
                  <a:pt x="1457" y="630"/>
                </a:moveTo>
                <a:lnTo>
                  <a:pt x="1458" y="622"/>
                </a:lnTo>
                <a:lnTo>
                  <a:pt x="1458" y="620"/>
                </a:lnTo>
                <a:lnTo>
                  <a:pt x="1460" y="616"/>
                </a:lnTo>
                <a:lnTo>
                  <a:pt x="1452" y="616"/>
                </a:lnTo>
                <a:lnTo>
                  <a:pt x="1446" y="624"/>
                </a:lnTo>
                <a:lnTo>
                  <a:pt x="1446" y="630"/>
                </a:lnTo>
                <a:lnTo>
                  <a:pt x="1452" y="637"/>
                </a:lnTo>
                <a:lnTo>
                  <a:pt x="1456" y="635"/>
                </a:lnTo>
                <a:lnTo>
                  <a:pt x="1457" y="630"/>
                </a:lnTo>
                <a:close/>
                <a:moveTo>
                  <a:pt x="1408" y="525"/>
                </a:moveTo>
                <a:lnTo>
                  <a:pt x="1403" y="523"/>
                </a:lnTo>
                <a:lnTo>
                  <a:pt x="1407" y="527"/>
                </a:lnTo>
                <a:lnTo>
                  <a:pt x="1408" y="525"/>
                </a:lnTo>
                <a:close/>
                <a:moveTo>
                  <a:pt x="1466" y="756"/>
                </a:moveTo>
                <a:lnTo>
                  <a:pt x="1463" y="763"/>
                </a:lnTo>
                <a:lnTo>
                  <a:pt x="1466" y="757"/>
                </a:lnTo>
                <a:lnTo>
                  <a:pt x="1466" y="756"/>
                </a:lnTo>
                <a:close/>
                <a:moveTo>
                  <a:pt x="1653" y="624"/>
                </a:moveTo>
                <a:lnTo>
                  <a:pt x="1655" y="624"/>
                </a:lnTo>
                <a:lnTo>
                  <a:pt x="1655" y="622"/>
                </a:lnTo>
                <a:lnTo>
                  <a:pt x="1653" y="624"/>
                </a:lnTo>
                <a:close/>
                <a:moveTo>
                  <a:pt x="1448" y="677"/>
                </a:moveTo>
                <a:lnTo>
                  <a:pt x="1452" y="676"/>
                </a:lnTo>
                <a:lnTo>
                  <a:pt x="1452" y="673"/>
                </a:lnTo>
                <a:lnTo>
                  <a:pt x="1448" y="677"/>
                </a:lnTo>
                <a:close/>
                <a:moveTo>
                  <a:pt x="1692" y="498"/>
                </a:moveTo>
                <a:lnTo>
                  <a:pt x="1689" y="497"/>
                </a:lnTo>
                <a:lnTo>
                  <a:pt x="1686" y="499"/>
                </a:lnTo>
                <a:lnTo>
                  <a:pt x="1691" y="499"/>
                </a:lnTo>
                <a:lnTo>
                  <a:pt x="1692" y="498"/>
                </a:lnTo>
                <a:close/>
                <a:moveTo>
                  <a:pt x="1395" y="539"/>
                </a:moveTo>
                <a:lnTo>
                  <a:pt x="1402" y="539"/>
                </a:lnTo>
                <a:lnTo>
                  <a:pt x="1403" y="538"/>
                </a:lnTo>
                <a:lnTo>
                  <a:pt x="1396" y="535"/>
                </a:lnTo>
                <a:lnTo>
                  <a:pt x="1395" y="539"/>
                </a:lnTo>
                <a:close/>
                <a:moveTo>
                  <a:pt x="1400" y="620"/>
                </a:moveTo>
                <a:lnTo>
                  <a:pt x="1407" y="622"/>
                </a:lnTo>
                <a:lnTo>
                  <a:pt x="1422" y="610"/>
                </a:lnTo>
                <a:lnTo>
                  <a:pt x="1425" y="605"/>
                </a:lnTo>
                <a:lnTo>
                  <a:pt x="1420" y="604"/>
                </a:lnTo>
                <a:lnTo>
                  <a:pt x="1407" y="607"/>
                </a:lnTo>
                <a:lnTo>
                  <a:pt x="1402" y="605"/>
                </a:lnTo>
                <a:lnTo>
                  <a:pt x="1392" y="616"/>
                </a:lnTo>
                <a:lnTo>
                  <a:pt x="1393" y="619"/>
                </a:lnTo>
                <a:lnTo>
                  <a:pt x="1393" y="624"/>
                </a:lnTo>
                <a:lnTo>
                  <a:pt x="1400" y="620"/>
                </a:lnTo>
                <a:close/>
                <a:moveTo>
                  <a:pt x="1442" y="582"/>
                </a:moveTo>
                <a:lnTo>
                  <a:pt x="1442" y="580"/>
                </a:lnTo>
                <a:lnTo>
                  <a:pt x="1442" y="579"/>
                </a:lnTo>
                <a:lnTo>
                  <a:pt x="1437" y="576"/>
                </a:lnTo>
                <a:lnTo>
                  <a:pt x="1434" y="577"/>
                </a:lnTo>
                <a:lnTo>
                  <a:pt x="1434" y="579"/>
                </a:lnTo>
                <a:lnTo>
                  <a:pt x="1429" y="577"/>
                </a:lnTo>
                <a:lnTo>
                  <a:pt x="1422" y="579"/>
                </a:lnTo>
                <a:lnTo>
                  <a:pt x="1427" y="576"/>
                </a:lnTo>
                <a:lnTo>
                  <a:pt x="1426" y="572"/>
                </a:lnTo>
                <a:lnTo>
                  <a:pt x="1426" y="567"/>
                </a:lnTo>
                <a:lnTo>
                  <a:pt x="1420" y="562"/>
                </a:lnTo>
                <a:lnTo>
                  <a:pt x="1403" y="556"/>
                </a:lnTo>
                <a:lnTo>
                  <a:pt x="1402" y="550"/>
                </a:lnTo>
                <a:lnTo>
                  <a:pt x="1390" y="549"/>
                </a:lnTo>
                <a:lnTo>
                  <a:pt x="1388" y="546"/>
                </a:lnTo>
                <a:lnTo>
                  <a:pt x="1390" y="546"/>
                </a:lnTo>
                <a:lnTo>
                  <a:pt x="1385" y="545"/>
                </a:lnTo>
                <a:lnTo>
                  <a:pt x="1384" y="544"/>
                </a:lnTo>
                <a:lnTo>
                  <a:pt x="1381" y="551"/>
                </a:lnTo>
                <a:lnTo>
                  <a:pt x="1380" y="551"/>
                </a:lnTo>
                <a:lnTo>
                  <a:pt x="1377" y="545"/>
                </a:lnTo>
                <a:lnTo>
                  <a:pt x="1373" y="541"/>
                </a:lnTo>
                <a:lnTo>
                  <a:pt x="1377" y="541"/>
                </a:lnTo>
                <a:lnTo>
                  <a:pt x="1376" y="539"/>
                </a:lnTo>
                <a:lnTo>
                  <a:pt x="1369" y="539"/>
                </a:lnTo>
                <a:lnTo>
                  <a:pt x="1369" y="533"/>
                </a:lnTo>
                <a:lnTo>
                  <a:pt x="1362" y="535"/>
                </a:lnTo>
                <a:lnTo>
                  <a:pt x="1361" y="546"/>
                </a:lnTo>
                <a:lnTo>
                  <a:pt x="1361" y="552"/>
                </a:lnTo>
                <a:lnTo>
                  <a:pt x="1359" y="556"/>
                </a:lnTo>
                <a:lnTo>
                  <a:pt x="1361" y="558"/>
                </a:lnTo>
                <a:lnTo>
                  <a:pt x="1357" y="564"/>
                </a:lnTo>
                <a:lnTo>
                  <a:pt x="1357" y="568"/>
                </a:lnTo>
                <a:lnTo>
                  <a:pt x="1359" y="577"/>
                </a:lnTo>
                <a:lnTo>
                  <a:pt x="1350" y="580"/>
                </a:lnTo>
                <a:lnTo>
                  <a:pt x="1346" y="587"/>
                </a:lnTo>
                <a:lnTo>
                  <a:pt x="1350" y="590"/>
                </a:lnTo>
                <a:lnTo>
                  <a:pt x="1355" y="587"/>
                </a:lnTo>
                <a:lnTo>
                  <a:pt x="1368" y="585"/>
                </a:lnTo>
                <a:lnTo>
                  <a:pt x="1369" y="587"/>
                </a:lnTo>
                <a:lnTo>
                  <a:pt x="1368" y="592"/>
                </a:lnTo>
                <a:lnTo>
                  <a:pt x="1369" y="598"/>
                </a:lnTo>
                <a:lnTo>
                  <a:pt x="1374" y="600"/>
                </a:lnTo>
                <a:lnTo>
                  <a:pt x="1384" y="595"/>
                </a:lnTo>
                <a:lnTo>
                  <a:pt x="1387" y="588"/>
                </a:lnTo>
                <a:lnTo>
                  <a:pt x="1397" y="584"/>
                </a:lnTo>
                <a:lnTo>
                  <a:pt x="1397" y="580"/>
                </a:lnTo>
                <a:lnTo>
                  <a:pt x="1395" y="579"/>
                </a:lnTo>
                <a:lnTo>
                  <a:pt x="1398" y="577"/>
                </a:lnTo>
                <a:lnTo>
                  <a:pt x="1407" y="573"/>
                </a:lnTo>
                <a:lnTo>
                  <a:pt x="1408" y="576"/>
                </a:lnTo>
                <a:lnTo>
                  <a:pt x="1403" y="580"/>
                </a:lnTo>
                <a:lnTo>
                  <a:pt x="1407" y="583"/>
                </a:lnTo>
                <a:lnTo>
                  <a:pt x="1414" y="583"/>
                </a:lnTo>
                <a:lnTo>
                  <a:pt x="1414" y="584"/>
                </a:lnTo>
                <a:lnTo>
                  <a:pt x="1414" y="585"/>
                </a:lnTo>
                <a:lnTo>
                  <a:pt x="1414" y="591"/>
                </a:lnTo>
                <a:lnTo>
                  <a:pt x="1422" y="591"/>
                </a:lnTo>
                <a:lnTo>
                  <a:pt x="1436" y="593"/>
                </a:lnTo>
                <a:lnTo>
                  <a:pt x="1448" y="584"/>
                </a:lnTo>
                <a:lnTo>
                  <a:pt x="1442" y="582"/>
                </a:lnTo>
                <a:close/>
                <a:moveTo>
                  <a:pt x="1384" y="540"/>
                </a:moveTo>
                <a:lnTo>
                  <a:pt x="1380" y="535"/>
                </a:lnTo>
                <a:lnTo>
                  <a:pt x="1373" y="535"/>
                </a:lnTo>
                <a:lnTo>
                  <a:pt x="1373" y="535"/>
                </a:lnTo>
                <a:lnTo>
                  <a:pt x="1380" y="542"/>
                </a:lnTo>
                <a:lnTo>
                  <a:pt x="1384" y="540"/>
                </a:lnTo>
                <a:close/>
                <a:moveTo>
                  <a:pt x="1393" y="539"/>
                </a:moveTo>
                <a:lnTo>
                  <a:pt x="1393" y="533"/>
                </a:lnTo>
                <a:lnTo>
                  <a:pt x="1392" y="530"/>
                </a:lnTo>
                <a:lnTo>
                  <a:pt x="1385" y="527"/>
                </a:lnTo>
                <a:lnTo>
                  <a:pt x="1386" y="530"/>
                </a:lnTo>
                <a:lnTo>
                  <a:pt x="1389" y="533"/>
                </a:lnTo>
                <a:lnTo>
                  <a:pt x="1389" y="539"/>
                </a:lnTo>
                <a:lnTo>
                  <a:pt x="1393" y="539"/>
                </a:lnTo>
                <a:close/>
                <a:moveTo>
                  <a:pt x="1438" y="821"/>
                </a:moveTo>
                <a:lnTo>
                  <a:pt x="1436" y="816"/>
                </a:lnTo>
                <a:lnTo>
                  <a:pt x="1425" y="816"/>
                </a:lnTo>
                <a:lnTo>
                  <a:pt x="1420" y="818"/>
                </a:lnTo>
                <a:lnTo>
                  <a:pt x="1438" y="824"/>
                </a:lnTo>
                <a:lnTo>
                  <a:pt x="1438" y="821"/>
                </a:lnTo>
                <a:close/>
                <a:moveTo>
                  <a:pt x="1721" y="741"/>
                </a:moveTo>
                <a:lnTo>
                  <a:pt x="1719" y="741"/>
                </a:lnTo>
                <a:lnTo>
                  <a:pt x="1721" y="744"/>
                </a:lnTo>
                <a:lnTo>
                  <a:pt x="1721" y="741"/>
                </a:lnTo>
                <a:close/>
                <a:moveTo>
                  <a:pt x="1720" y="738"/>
                </a:moveTo>
                <a:lnTo>
                  <a:pt x="1719" y="741"/>
                </a:lnTo>
                <a:lnTo>
                  <a:pt x="1721" y="738"/>
                </a:lnTo>
                <a:lnTo>
                  <a:pt x="1720" y="738"/>
                </a:lnTo>
                <a:close/>
                <a:moveTo>
                  <a:pt x="1715" y="748"/>
                </a:moveTo>
                <a:lnTo>
                  <a:pt x="1721" y="751"/>
                </a:lnTo>
                <a:lnTo>
                  <a:pt x="1719" y="748"/>
                </a:lnTo>
                <a:lnTo>
                  <a:pt x="1715" y="748"/>
                </a:lnTo>
                <a:close/>
                <a:moveTo>
                  <a:pt x="1716" y="722"/>
                </a:moveTo>
                <a:lnTo>
                  <a:pt x="1719" y="721"/>
                </a:lnTo>
                <a:lnTo>
                  <a:pt x="1715" y="718"/>
                </a:lnTo>
                <a:lnTo>
                  <a:pt x="1713" y="721"/>
                </a:lnTo>
                <a:lnTo>
                  <a:pt x="1716" y="722"/>
                </a:lnTo>
                <a:close/>
                <a:moveTo>
                  <a:pt x="1691" y="556"/>
                </a:moveTo>
                <a:lnTo>
                  <a:pt x="1694" y="557"/>
                </a:lnTo>
                <a:lnTo>
                  <a:pt x="1693" y="556"/>
                </a:lnTo>
                <a:lnTo>
                  <a:pt x="1691" y="556"/>
                </a:lnTo>
                <a:close/>
                <a:moveTo>
                  <a:pt x="1721" y="747"/>
                </a:moveTo>
                <a:lnTo>
                  <a:pt x="1724" y="747"/>
                </a:lnTo>
                <a:lnTo>
                  <a:pt x="1719" y="745"/>
                </a:lnTo>
                <a:lnTo>
                  <a:pt x="1721" y="747"/>
                </a:lnTo>
                <a:close/>
                <a:moveTo>
                  <a:pt x="1710" y="533"/>
                </a:moveTo>
                <a:lnTo>
                  <a:pt x="1708" y="531"/>
                </a:lnTo>
                <a:lnTo>
                  <a:pt x="1710" y="534"/>
                </a:lnTo>
                <a:lnTo>
                  <a:pt x="1710" y="533"/>
                </a:lnTo>
                <a:close/>
                <a:moveTo>
                  <a:pt x="1705" y="538"/>
                </a:moveTo>
                <a:lnTo>
                  <a:pt x="1708" y="539"/>
                </a:lnTo>
                <a:lnTo>
                  <a:pt x="1710" y="539"/>
                </a:lnTo>
                <a:lnTo>
                  <a:pt x="1708" y="538"/>
                </a:lnTo>
                <a:lnTo>
                  <a:pt x="1705" y="538"/>
                </a:lnTo>
                <a:close/>
                <a:moveTo>
                  <a:pt x="2521" y="618"/>
                </a:moveTo>
                <a:lnTo>
                  <a:pt x="2518" y="617"/>
                </a:lnTo>
                <a:lnTo>
                  <a:pt x="2517" y="618"/>
                </a:lnTo>
                <a:lnTo>
                  <a:pt x="2518" y="621"/>
                </a:lnTo>
                <a:lnTo>
                  <a:pt x="2521" y="618"/>
                </a:lnTo>
                <a:close/>
                <a:moveTo>
                  <a:pt x="1726" y="760"/>
                </a:moveTo>
                <a:lnTo>
                  <a:pt x="1727" y="759"/>
                </a:lnTo>
                <a:lnTo>
                  <a:pt x="1726" y="759"/>
                </a:lnTo>
                <a:lnTo>
                  <a:pt x="1726" y="760"/>
                </a:lnTo>
                <a:close/>
                <a:moveTo>
                  <a:pt x="1727" y="757"/>
                </a:moveTo>
                <a:lnTo>
                  <a:pt x="1726" y="754"/>
                </a:lnTo>
                <a:lnTo>
                  <a:pt x="1723" y="756"/>
                </a:lnTo>
                <a:lnTo>
                  <a:pt x="1727" y="757"/>
                </a:lnTo>
                <a:close/>
                <a:moveTo>
                  <a:pt x="1707" y="503"/>
                </a:moveTo>
                <a:lnTo>
                  <a:pt x="1704" y="503"/>
                </a:lnTo>
                <a:lnTo>
                  <a:pt x="1699" y="504"/>
                </a:lnTo>
                <a:lnTo>
                  <a:pt x="1701" y="506"/>
                </a:lnTo>
                <a:lnTo>
                  <a:pt x="1707" y="503"/>
                </a:lnTo>
                <a:close/>
                <a:moveTo>
                  <a:pt x="1729" y="759"/>
                </a:moveTo>
                <a:lnTo>
                  <a:pt x="1727" y="760"/>
                </a:lnTo>
                <a:lnTo>
                  <a:pt x="1731" y="759"/>
                </a:lnTo>
                <a:lnTo>
                  <a:pt x="1729" y="759"/>
                </a:lnTo>
                <a:close/>
                <a:moveTo>
                  <a:pt x="1724" y="743"/>
                </a:moveTo>
                <a:lnTo>
                  <a:pt x="1724" y="744"/>
                </a:lnTo>
                <a:lnTo>
                  <a:pt x="1726" y="743"/>
                </a:lnTo>
                <a:lnTo>
                  <a:pt x="1724" y="743"/>
                </a:lnTo>
                <a:close/>
                <a:moveTo>
                  <a:pt x="1681" y="587"/>
                </a:moveTo>
                <a:lnTo>
                  <a:pt x="1680" y="588"/>
                </a:lnTo>
                <a:lnTo>
                  <a:pt x="1681" y="591"/>
                </a:lnTo>
                <a:lnTo>
                  <a:pt x="1681" y="587"/>
                </a:lnTo>
                <a:close/>
                <a:moveTo>
                  <a:pt x="1672" y="631"/>
                </a:moveTo>
                <a:lnTo>
                  <a:pt x="1667" y="627"/>
                </a:lnTo>
                <a:lnTo>
                  <a:pt x="1665" y="626"/>
                </a:lnTo>
                <a:lnTo>
                  <a:pt x="1665" y="627"/>
                </a:lnTo>
                <a:lnTo>
                  <a:pt x="1671" y="631"/>
                </a:lnTo>
                <a:lnTo>
                  <a:pt x="1672" y="631"/>
                </a:lnTo>
                <a:close/>
                <a:moveTo>
                  <a:pt x="1640" y="520"/>
                </a:moveTo>
                <a:lnTo>
                  <a:pt x="1641" y="520"/>
                </a:lnTo>
                <a:lnTo>
                  <a:pt x="1640" y="519"/>
                </a:lnTo>
                <a:lnTo>
                  <a:pt x="1640" y="520"/>
                </a:lnTo>
                <a:close/>
                <a:moveTo>
                  <a:pt x="1680" y="676"/>
                </a:moveTo>
                <a:lnTo>
                  <a:pt x="1680" y="676"/>
                </a:lnTo>
                <a:lnTo>
                  <a:pt x="1680" y="676"/>
                </a:lnTo>
                <a:lnTo>
                  <a:pt x="1680" y="676"/>
                </a:lnTo>
                <a:close/>
                <a:moveTo>
                  <a:pt x="1670" y="642"/>
                </a:moveTo>
                <a:lnTo>
                  <a:pt x="1671" y="638"/>
                </a:lnTo>
                <a:lnTo>
                  <a:pt x="1671" y="637"/>
                </a:lnTo>
                <a:lnTo>
                  <a:pt x="1671" y="635"/>
                </a:lnTo>
                <a:lnTo>
                  <a:pt x="1667" y="633"/>
                </a:lnTo>
                <a:lnTo>
                  <a:pt x="1660" y="635"/>
                </a:lnTo>
                <a:lnTo>
                  <a:pt x="1670" y="642"/>
                </a:lnTo>
                <a:close/>
                <a:moveTo>
                  <a:pt x="1671" y="592"/>
                </a:moveTo>
                <a:lnTo>
                  <a:pt x="1671" y="590"/>
                </a:lnTo>
                <a:lnTo>
                  <a:pt x="1668" y="590"/>
                </a:lnTo>
                <a:lnTo>
                  <a:pt x="1671" y="592"/>
                </a:lnTo>
                <a:close/>
                <a:moveTo>
                  <a:pt x="1676" y="662"/>
                </a:moveTo>
                <a:lnTo>
                  <a:pt x="1674" y="661"/>
                </a:lnTo>
                <a:lnTo>
                  <a:pt x="1671" y="661"/>
                </a:lnTo>
                <a:lnTo>
                  <a:pt x="1676" y="665"/>
                </a:lnTo>
                <a:lnTo>
                  <a:pt x="1676" y="662"/>
                </a:lnTo>
                <a:close/>
                <a:moveTo>
                  <a:pt x="1679" y="584"/>
                </a:moveTo>
                <a:lnTo>
                  <a:pt x="1679" y="585"/>
                </a:lnTo>
                <a:lnTo>
                  <a:pt x="1680" y="585"/>
                </a:lnTo>
                <a:lnTo>
                  <a:pt x="1679" y="584"/>
                </a:lnTo>
                <a:close/>
                <a:moveTo>
                  <a:pt x="1672" y="616"/>
                </a:moveTo>
                <a:lnTo>
                  <a:pt x="1668" y="616"/>
                </a:lnTo>
                <a:lnTo>
                  <a:pt x="1675" y="617"/>
                </a:lnTo>
                <a:lnTo>
                  <a:pt x="1679" y="616"/>
                </a:lnTo>
                <a:lnTo>
                  <a:pt x="1672" y="616"/>
                </a:lnTo>
                <a:close/>
                <a:moveTo>
                  <a:pt x="1675" y="572"/>
                </a:moveTo>
                <a:lnTo>
                  <a:pt x="1674" y="572"/>
                </a:lnTo>
                <a:lnTo>
                  <a:pt x="1676" y="573"/>
                </a:lnTo>
                <a:lnTo>
                  <a:pt x="1675" y="572"/>
                </a:lnTo>
                <a:close/>
                <a:moveTo>
                  <a:pt x="1679" y="585"/>
                </a:moveTo>
                <a:lnTo>
                  <a:pt x="1676" y="584"/>
                </a:lnTo>
                <a:lnTo>
                  <a:pt x="1675" y="584"/>
                </a:lnTo>
                <a:lnTo>
                  <a:pt x="1675" y="582"/>
                </a:lnTo>
                <a:lnTo>
                  <a:pt x="1671" y="584"/>
                </a:lnTo>
                <a:lnTo>
                  <a:pt x="1679" y="585"/>
                </a:lnTo>
                <a:close/>
                <a:moveTo>
                  <a:pt x="1659" y="631"/>
                </a:moveTo>
                <a:lnTo>
                  <a:pt x="1659" y="630"/>
                </a:lnTo>
                <a:lnTo>
                  <a:pt x="1653" y="631"/>
                </a:lnTo>
                <a:lnTo>
                  <a:pt x="1659" y="631"/>
                </a:lnTo>
                <a:close/>
                <a:moveTo>
                  <a:pt x="1671" y="568"/>
                </a:moveTo>
                <a:lnTo>
                  <a:pt x="1668" y="568"/>
                </a:lnTo>
                <a:lnTo>
                  <a:pt x="1671" y="572"/>
                </a:lnTo>
                <a:lnTo>
                  <a:pt x="1672" y="570"/>
                </a:lnTo>
                <a:lnTo>
                  <a:pt x="1671" y="568"/>
                </a:lnTo>
                <a:close/>
                <a:moveTo>
                  <a:pt x="1681" y="582"/>
                </a:moveTo>
                <a:lnTo>
                  <a:pt x="1679" y="582"/>
                </a:lnTo>
                <a:lnTo>
                  <a:pt x="1681" y="584"/>
                </a:lnTo>
                <a:lnTo>
                  <a:pt x="1681" y="582"/>
                </a:lnTo>
                <a:close/>
                <a:moveTo>
                  <a:pt x="1458" y="745"/>
                </a:moveTo>
                <a:lnTo>
                  <a:pt x="1453" y="748"/>
                </a:lnTo>
                <a:lnTo>
                  <a:pt x="1446" y="751"/>
                </a:lnTo>
                <a:lnTo>
                  <a:pt x="1446" y="754"/>
                </a:lnTo>
                <a:lnTo>
                  <a:pt x="1454" y="751"/>
                </a:lnTo>
                <a:lnTo>
                  <a:pt x="1458" y="745"/>
                </a:lnTo>
                <a:close/>
                <a:moveTo>
                  <a:pt x="672" y="759"/>
                </a:moveTo>
                <a:lnTo>
                  <a:pt x="672" y="758"/>
                </a:lnTo>
                <a:lnTo>
                  <a:pt x="670" y="759"/>
                </a:lnTo>
                <a:lnTo>
                  <a:pt x="672" y="759"/>
                </a:lnTo>
                <a:close/>
                <a:moveTo>
                  <a:pt x="751" y="834"/>
                </a:moveTo>
                <a:lnTo>
                  <a:pt x="750" y="834"/>
                </a:lnTo>
                <a:lnTo>
                  <a:pt x="751" y="836"/>
                </a:lnTo>
                <a:lnTo>
                  <a:pt x="751" y="834"/>
                </a:lnTo>
                <a:lnTo>
                  <a:pt x="751" y="834"/>
                </a:lnTo>
                <a:lnTo>
                  <a:pt x="751" y="834"/>
                </a:lnTo>
                <a:lnTo>
                  <a:pt x="751" y="834"/>
                </a:lnTo>
                <a:lnTo>
                  <a:pt x="751" y="834"/>
                </a:lnTo>
                <a:close/>
                <a:moveTo>
                  <a:pt x="731" y="816"/>
                </a:moveTo>
                <a:lnTo>
                  <a:pt x="731" y="815"/>
                </a:lnTo>
                <a:lnTo>
                  <a:pt x="731" y="816"/>
                </a:lnTo>
                <a:lnTo>
                  <a:pt x="731" y="816"/>
                </a:lnTo>
                <a:close/>
                <a:moveTo>
                  <a:pt x="752" y="836"/>
                </a:moveTo>
                <a:lnTo>
                  <a:pt x="751" y="836"/>
                </a:lnTo>
                <a:lnTo>
                  <a:pt x="751" y="839"/>
                </a:lnTo>
                <a:lnTo>
                  <a:pt x="752" y="836"/>
                </a:lnTo>
                <a:close/>
                <a:moveTo>
                  <a:pt x="722" y="795"/>
                </a:moveTo>
                <a:lnTo>
                  <a:pt x="722" y="797"/>
                </a:lnTo>
                <a:lnTo>
                  <a:pt x="723" y="796"/>
                </a:lnTo>
                <a:lnTo>
                  <a:pt x="723" y="795"/>
                </a:lnTo>
                <a:lnTo>
                  <a:pt x="722" y="795"/>
                </a:lnTo>
                <a:close/>
                <a:moveTo>
                  <a:pt x="724" y="802"/>
                </a:moveTo>
                <a:lnTo>
                  <a:pt x="725" y="803"/>
                </a:lnTo>
                <a:lnTo>
                  <a:pt x="731" y="811"/>
                </a:lnTo>
                <a:lnTo>
                  <a:pt x="731" y="815"/>
                </a:lnTo>
                <a:lnTo>
                  <a:pt x="730" y="814"/>
                </a:lnTo>
                <a:lnTo>
                  <a:pt x="727" y="816"/>
                </a:lnTo>
                <a:lnTo>
                  <a:pt x="718" y="810"/>
                </a:lnTo>
                <a:lnTo>
                  <a:pt x="719" y="808"/>
                </a:lnTo>
                <a:lnTo>
                  <a:pt x="720" y="808"/>
                </a:lnTo>
                <a:lnTo>
                  <a:pt x="722" y="808"/>
                </a:lnTo>
                <a:lnTo>
                  <a:pt x="720" y="804"/>
                </a:lnTo>
                <a:lnTo>
                  <a:pt x="722" y="803"/>
                </a:lnTo>
                <a:lnTo>
                  <a:pt x="721" y="802"/>
                </a:lnTo>
                <a:lnTo>
                  <a:pt x="724" y="802"/>
                </a:lnTo>
                <a:close/>
                <a:moveTo>
                  <a:pt x="729" y="812"/>
                </a:moveTo>
                <a:lnTo>
                  <a:pt x="730" y="814"/>
                </a:lnTo>
                <a:lnTo>
                  <a:pt x="730" y="813"/>
                </a:lnTo>
                <a:lnTo>
                  <a:pt x="729" y="812"/>
                </a:lnTo>
                <a:close/>
                <a:moveTo>
                  <a:pt x="724" y="806"/>
                </a:moveTo>
                <a:lnTo>
                  <a:pt x="722" y="803"/>
                </a:lnTo>
                <a:lnTo>
                  <a:pt x="724" y="807"/>
                </a:lnTo>
                <a:lnTo>
                  <a:pt x="726" y="809"/>
                </a:lnTo>
                <a:lnTo>
                  <a:pt x="726" y="808"/>
                </a:lnTo>
                <a:lnTo>
                  <a:pt x="727" y="808"/>
                </a:lnTo>
                <a:lnTo>
                  <a:pt x="724" y="806"/>
                </a:lnTo>
                <a:close/>
                <a:moveTo>
                  <a:pt x="714" y="782"/>
                </a:moveTo>
                <a:lnTo>
                  <a:pt x="715" y="781"/>
                </a:lnTo>
                <a:lnTo>
                  <a:pt x="715" y="777"/>
                </a:lnTo>
                <a:lnTo>
                  <a:pt x="713" y="778"/>
                </a:lnTo>
                <a:lnTo>
                  <a:pt x="714" y="782"/>
                </a:lnTo>
                <a:close/>
                <a:moveTo>
                  <a:pt x="752" y="837"/>
                </a:moveTo>
                <a:lnTo>
                  <a:pt x="751" y="842"/>
                </a:lnTo>
                <a:lnTo>
                  <a:pt x="752" y="843"/>
                </a:lnTo>
                <a:lnTo>
                  <a:pt x="753" y="843"/>
                </a:lnTo>
                <a:lnTo>
                  <a:pt x="756" y="837"/>
                </a:lnTo>
                <a:lnTo>
                  <a:pt x="756" y="836"/>
                </a:lnTo>
                <a:lnTo>
                  <a:pt x="753" y="836"/>
                </a:lnTo>
                <a:lnTo>
                  <a:pt x="752" y="837"/>
                </a:lnTo>
                <a:close/>
                <a:moveTo>
                  <a:pt x="792" y="871"/>
                </a:moveTo>
                <a:lnTo>
                  <a:pt x="791" y="870"/>
                </a:lnTo>
                <a:lnTo>
                  <a:pt x="791" y="872"/>
                </a:lnTo>
                <a:lnTo>
                  <a:pt x="792" y="871"/>
                </a:lnTo>
                <a:close/>
                <a:moveTo>
                  <a:pt x="779" y="862"/>
                </a:moveTo>
                <a:lnTo>
                  <a:pt x="778" y="864"/>
                </a:lnTo>
                <a:lnTo>
                  <a:pt x="780" y="863"/>
                </a:lnTo>
                <a:lnTo>
                  <a:pt x="779" y="862"/>
                </a:lnTo>
                <a:close/>
                <a:moveTo>
                  <a:pt x="778" y="867"/>
                </a:moveTo>
                <a:lnTo>
                  <a:pt x="776" y="866"/>
                </a:lnTo>
                <a:lnTo>
                  <a:pt x="774" y="867"/>
                </a:lnTo>
                <a:lnTo>
                  <a:pt x="778" y="867"/>
                </a:lnTo>
                <a:close/>
                <a:moveTo>
                  <a:pt x="819" y="901"/>
                </a:moveTo>
                <a:lnTo>
                  <a:pt x="819" y="903"/>
                </a:lnTo>
                <a:lnTo>
                  <a:pt x="820" y="903"/>
                </a:lnTo>
                <a:lnTo>
                  <a:pt x="820" y="903"/>
                </a:lnTo>
                <a:lnTo>
                  <a:pt x="819" y="901"/>
                </a:lnTo>
                <a:close/>
                <a:moveTo>
                  <a:pt x="731" y="816"/>
                </a:moveTo>
                <a:lnTo>
                  <a:pt x="737" y="820"/>
                </a:lnTo>
                <a:lnTo>
                  <a:pt x="735" y="816"/>
                </a:lnTo>
                <a:lnTo>
                  <a:pt x="738" y="816"/>
                </a:lnTo>
                <a:lnTo>
                  <a:pt x="737" y="813"/>
                </a:lnTo>
                <a:lnTo>
                  <a:pt x="734" y="816"/>
                </a:lnTo>
                <a:lnTo>
                  <a:pt x="733" y="814"/>
                </a:lnTo>
                <a:lnTo>
                  <a:pt x="731" y="816"/>
                </a:lnTo>
                <a:close/>
                <a:moveTo>
                  <a:pt x="756" y="851"/>
                </a:moveTo>
                <a:lnTo>
                  <a:pt x="753" y="843"/>
                </a:lnTo>
                <a:lnTo>
                  <a:pt x="752" y="848"/>
                </a:lnTo>
                <a:lnTo>
                  <a:pt x="756" y="851"/>
                </a:lnTo>
                <a:close/>
                <a:moveTo>
                  <a:pt x="715" y="777"/>
                </a:moveTo>
                <a:lnTo>
                  <a:pt x="715" y="777"/>
                </a:lnTo>
                <a:lnTo>
                  <a:pt x="715" y="777"/>
                </a:lnTo>
                <a:lnTo>
                  <a:pt x="715" y="777"/>
                </a:lnTo>
                <a:close/>
                <a:moveTo>
                  <a:pt x="774" y="865"/>
                </a:moveTo>
                <a:lnTo>
                  <a:pt x="775" y="864"/>
                </a:lnTo>
                <a:lnTo>
                  <a:pt x="776" y="863"/>
                </a:lnTo>
                <a:lnTo>
                  <a:pt x="773" y="863"/>
                </a:lnTo>
                <a:lnTo>
                  <a:pt x="774" y="866"/>
                </a:lnTo>
                <a:lnTo>
                  <a:pt x="775" y="865"/>
                </a:lnTo>
                <a:lnTo>
                  <a:pt x="774" y="865"/>
                </a:lnTo>
                <a:close/>
                <a:moveTo>
                  <a:pt x="776" y="865"/>
                </a:moveTo>
                <a:lnTo>
                  <a:pt x="778" y="864"/>
                </a:lnTo>
                <a:lnTo>
                  <a:pt x="775" y="864"/>
                </a:lnTo>
                <a:lnTo>
                  <a:pt x="775" y="865"/>
                </a:lnTo>
                <a:lnTo>
                  <a:pt x="776" y="865"/>
                </a:lnTo>
                <a:close/>
                <a:moveTo>
                  <a:pt x="320" y="751"/>
                </a:moveTo>
                <a:lnTo>
                  <a:pt x="318" y="752"/>
                </a:lnTo>
                <a:lnTo>
                  <a:pt x="316" y="754"/>
                </a:lnTo>
                <a:lnTo>
                  <a:pt x="320" y="751"/>
                </a:lnTo>
                <a:close/>
                <a:moveTo>
                  <a:pt x="345" y="731"/>
                </a:moveTo>
                <a:lnTo>
                  <a:pt x="344" y="732"/>
                </a:lnTo>
                <a:lnTo>
                  <a:pt x="345" y="732"/>
                </a:lnTo>
                <a:lnTo>
                  <a:pt x="345" y="731"/>
                </a:lnTo>
                <a:close/>
                <a:moveTo>
                  <a:pt x="241" y="779"/>
                </a:moveTo>
                <a:lnTo>
                  <a:pt x="242" y="778"/>
                </a:lnTo>
                <a:lnTo>
                  <a:pt x="240" y="776"/>
                </a:lnTo>
                <a:lnTo>
                  <a:pt x="237" y="776"/>
                </a:lnTo>
                <a:lnTo>
                  <a:pt x="230" y="780"/>
                </a:lnTo>
                <a:lnTo>
                  <a:pt x="226" y="780"/>
                </a:lnTo>
                <a:lnTo>
                  <a:pt x="225" y="785"/>
                </a:lnTo>
                <a:lnTo>
                  <a:pt x="219" y="787"/>
                </a:lnTo>
                <a:lnTo>
                  <a:pt x="222" y="792"/>
                </a:lnTo>
                <a:lnTo>
                  <a:pt x="225" y="792"/>
                </a:lnTo>
                <a:lnTo>
                  <a:pt x="229" y="792"/>
                </a:lnTo>
                <a:lnTo>
                  <a:pt x="230" y="788"/>
                </a:lnTo>
                <a:lnTo>
                  <a:pt x="240" y="788"/>
                </a:lnTo>
                <a:lnTo>
                  <a:pt x="244" y="783"/>
                </a:lnTo>
                <a:lnTo>
                  <a:pt x="248" y="785"/>
                </a:lnTo>
                <a:lnTo>
                  <a:pt x="247" y="782"/>
                </a:lnTo>
                <a:lnTo>
                  <a:pt x="244" y="781"/>
                </a:lnTo>
                <a:lnTo>
                  <a:pt x="243" y="780"/>
                </a:lnTo>
                <a:lnTo>
                  <a:pt x="241" y="781"/>
                </a:lnTo>
                <a:lnTo>
                  <a:pt x="241" y="779"/>
                </a:lnTo>
                <a:close/>
                <a:moveTo>
                  <a:pt x="323" y="746"/>
                </a:moveTo>
                <a:lnTo>
                  <a:pt x="323" y="743"/>
                </a:lnTo>
                <a:lnTo>
                  <a:pt x="320" y="743"/>
                </a:lnTo>
                <a:lnTo>
                  <a:pt x="319" y="744"/>
                </a:lnTo>
                <a:lnTo>
                  <a:pt x="323" y="746"/>
                </a:lnTo>
                <a:close/>
                <a:moveTo>
                  <a:pt x="241" y="776"/>
                </a:moveTo>
                <a:lnTo>
                  <a:pt x="241" y="776"/>
                </a:lnTo>
                <a:lnTo>
                  <a:pt x="241" y="776"/>
                </a:lnTo>
                <a:lnTo>
                  <a:pt x="241" y="776"/>
                </a:lnTo>
                <a:close/>
                <a:moveTo>
                  <a:pt x="248" y="776"/>
                </a:moveTo>
                <a:lnTo>
                  <a:pt x="245" y="776"/>
                </a:lnTo>
                <a:lnTo>
                  <a:pt x="245" y="777"/>
                </a:lnTo>
                <a:lnTo>
                  <a:pt x="243" y="777"/>
                </a:lnTo>
                <a:lnTo>
                  <a:pt x="243" y="778"/>
                </a:lnTo>
                <a:lnTo>
                  <a:pt x="242" y="778"/>
                </a:lnTo>
                <a:lnTo>
                  <a:pt x="243" y="780"/>
                </a:lnTo>
                <a:lnTo>
                  <a:pt x="247" y="777"/>
                </a:lnTo>
                <a:lnTo>
                  <a:pt x="249" y="780"/>
                </a:lnTo>
                <a:lnTo>
                  <a:pt x="252" y="780"/>
                </a:lnTo>
                <a:lnTo>
                  <a:pt x="253" y="780"/>
                </a:lnTo>
                <a:lnTo>
                  <a:pt x="253" y="774"/>
                </a:lnTo>
                <a:lnTo>
                  <a:pt x="251" y="773"/>
                </a:lnTo>
                <a:lnTo>
                  <a:pt x="252" y="772"/>
                </a:lnTo>
                <a:lnTo>
                  <a:pt x="249" y="773"/>
                </a:lnTo>
                <a:lnTo>
                  <a:pt x="248" y="776"/>
                </a:lnTo>
                <a:close/>
                <a:moveTo>
                  <a:pt x="241" y="776"/>
                </a:moveTo>
                <a:lnTo>
                  <a:pt x="243" y="777"/>
                </a:lnTo>
                <a:lnTo>
                  <a:pt x="244" y="776"/>
                </a:lnTo>
                <a:lnTo>
                  <a:pt x="241" y="776"/>
                </a:lnTo>
                <a:close/>
                <a:moveTo>
                  <a:pt x="651" y="712"/>
                </a:moveTo>
                <a:lnTo>
                  <a:pt x="650" y="711"/>
                </a:lnTo>
                <a:lnTo>
                  <a:pt x="650" y="711"/>
                </a:lnTo>
                <a:lnTo>
                  <a:pt x="647" y="715"/>
                </a:lnTo>
                <a:lnTo>
                  <a:pt x="653" y="719"/>
                </a:lnTo>
                <a:lnTo>
                  <a:pt x="655" y="716"/>
                </a:lnTo>
                <a:lnTo>
                  <a:pt x="655" y="713"/>
                </a:lnTo>
                <a:lnTo>
                  <a:pt x="651" y="711"/>
                </a:lnTo>
                <a:lnTo>
                  <a:pt x="651" y="712"/>
                </a:lnTo>
                <a:lnTo>
                  <a:pt x="651" y="712"/>
                </a:lnTo>
                <a:close/>
                <a:moveTo>
                  <a:pt x="485" y="652"/>
                </a:moveTo>
                <a:lnTo>
                  <a:pt x="486" y="654"/>
                </a:lnTo>
                <a:lnTo>
                  <a:pt x="494" y="651"/>
                </a:lnTo>
                <a:lnTo>
                  <a:pt x="494" y="651"/>
                </a:lnTo>
                <a:lnTo>
                  <a:pt x="485" y="652"/>
                </a:lnTo>
                <a:close/>
                <a:moveTo>
                  <a:pt x="646" y="716"/>
                </a:moveTo>
                <a:lnTo>
                  <a:pt x="646" y="716"/>
                </a:lnTo>
                <a:lnTo>
                  <a:pt x="647" y="715"/>
                </a:lnTo>
                <a:lnTo>
                  <a:pt x="646" y="715"/>
                </a:lnTo>
                <a:lnTo>
                  <a:pt x="646" y="716"/>
                </a:lnTo>
                <a:close/>
                <a:moveTo>
                  <a:pt x="692" y="746"/>
                </a:moveTo>
                <a:lnTo>
                  <a:pt x="691" y="747"/>
                </a:lnTo>
                <a:lnTo>
                  <a:pt x="691" y="747"/>
                </a:lnTo>
                <a:lnTo>
                  <a:pt x="692" y="747"/>
                </a:lnTo>
                <a:lnTo>
                  <a:pt x="692" y="746"/>
                </a:lnTo>
                <a:close/>
                <a:moveTo>
                  <a:pt x="646" y="716"/>
                </a:moveTo>
                <a:lnTo>
                  <a:pt x="646" y="716"/>
                </a:lnTo>
                <a:lnTo>
                  <a:pt x="650" y="720"/>
                </a:lnTo>
                <a:lnTo>
                  <a:pt x="654" y="719"/>
                </a:lnTo>
                <a:lnTo>
                  <a:pt x="655" y="721"/>
                </a:lnTo>
                <a:lnTo>
                  <a:pt x="655" y="726"/>
                </a:lnTo>
                <a:lnTo>
                  <a:pt x="656" y="727"/>
                </a:lnTo>
                <a:lnTo>
                  <a:pt x="658" y="731"/>
                </a:lnTo>
                <a:lnTo>
                  <a:pt x="659" y="743"/>
                </a:lnTo>
                <a:lnTo>
                  <a:pt x="659" y="753"/>
                </a:lnTo>
                <a:lnTo>
                  <a:pt x="653" y="744"/>
                </a:lnTo>
                <a:lnTo>
                  <a:pt x="658" y="742"/>
                </a:lnTo>
                <a:lnTo>
                  <a:pt x="654" y="743"/>
                </a:lnTo>
                <a:lnTo>
                  <a:pt x="653" y="743"/>
                </a:lnTo>
                <a:lnTo>
                  <a:pt x="654" y="740"/>
                </a:lnTo>
                <a:lnTo>
                  <a:pt x="647" y="740"/>
                </a:lnTo>
                <a:lnTo>
                  <a:pt x="647" y="732"/>
                </a:lnTo>
                <a:lnTo>
                  <a:pt x="647" y="732"/>
                </a:lnTo>
                <a:lnTo>
                  <a:pt x="646" y="736"/>
                </a:lnTo>
                <a:lnTo>
                  <a:pt x="643" y="736"/>
                </a:lnTo>
                <a:lnTo>
                  <a:pt x="644" y="732"/>
                </a:lnTo>
                <a:lnTo>
                  <a:pt x="643" y="732"/>
                </a:lnTo>
                <a:lnTo>
                  <a:pt x="643" y="728"/>
                </a:lnTo>
                <a:lnTo>
                  <a:pt x="643" y="728"/>
                </a:lnTo>
                <a:lnTo>
                  <a:pt x="641" y="725"/>
                </a:lnTo>
                <a:lnTo>
                  <a:pt x="644" y="726"/>
                </a:lnTo>
                <a:lnTo>
                  <a:pt x="639" y="724"/>
                </a:lnTo>
                <a:lnTo>
                  <a:pt x="641" y="724"/>
                </a:lnTo>
                <a:lnTo>
                  <a:pt x="634" y="718"/>
                </a:lnTo>
                <a:lnTo>
                  <a:pt x="630" y="713"/>
                </a:lnTo>
                <a:lnTo>
                  <a:pt x="630" y="712"/>
                </a:lnTo>
                <a:lnTo>
                  <a:pt x="635" y="713"/>
                </a:lnTo>
                <a:lnTo>
                  <a:pt x="639" y="716"/>
                </a:lnTo>
                <a:lnTo>
                  <a:pt x="634" y="709"/>
                </a:lnTo>
                <a:lnTo>
                  <a:pt x="634" y="708"/>
                </a:lnTo>
                <a:lnTo>
                  <a:pt x="642" y="708"/>
                </a:lnTo>
                <a:lnTo>
                  <a:pt x="647" y="711"/>
                </a:lnTo>
                <a:lnTo>
                  <a:pt x="646" y="715"/>
                </a:lnTo>
                <a:lnTo>
                  <a:pt x="643" y="713"/>
                </a:lnTo>
                <a:lnTo>
                  <a:pt x="646" y="716"/>
                </a:lnTo>
                <a:lnTo>
                  <a:pt x="646" y="716"/>
                </a:lnTo>
                <a:close/>
                <a:moveTo>
                  <a:pt x="647" y="724"/>
                </a:moveTo>
                <a:lnTo>
                  <a:pt x="650" y="724"/>
                </a:lnTo>
                <a:lnTo>
                  <a:pt x="650" y="724"/>
                </a:lnTo>
                <a:lnTo>
                  <a:pt x="647" y="721"/>
                </a:lnTo>
                <a:lnTo>
                  <a:pt x="647" y="724"/>
                </a:lnTo>
                <a:close/>
                <a:moveTo>
                  <a:pt x="644" y="728"/>
                </a:moveTo>
                <a:lnTo>
                  <a:pt x="647" y="730"/>
                </a:lnTo>
                <a:lnTo>
                  <a:pt x="646" y="728"/>
                </a:lnTo>
                <a:lnTo>
                  <a:pt x="647" y="728"/>
                </a:lnTo>
                <a:lnTo>
                  <a:pt x="647" y="724"/>
                </a:lnTo>
                <a:lnTo>
                  <a:pt x="644" y="728"/>
                </a:lnTo>
                <a:close/>
                <a:moveTo>
                  <a:pt x="703" y="769"/>
                </a:moveTo>
                <a:lnTo>
                  <a:pt x="703" y="768"/>
                </a:lnTo>
                <a:lnTo>
                  <a:pt x="702" y="768"/>
                </a:lnTo>
                <a:lnTo>
                  <a:pt x="702" y="773"/>
                </a:lnTo>
                <a:lnTo>
                  <a:pt x="702" y="774"/>
                </a:lnTo>
                <a:lnTo>
                  <a:pt x="703" y="770"/>
                </a:lnTo>
                <a:lnTo>
                  <a:pt x="703" y="770"/>
                </a:lnTo>
                <a:lnTo>
                  <a:pt x="703" y="770"/>
                </a:lnTo>
                <a:lnTo>
                  <a:pt x="703" y="769"/>
                </a:lnTo>
                <a:close/>
                <a:moveTo>
                  <a:pt x="631" y="705"/>
                </a:moveTo>
                <a:lnTo>
                  <a:pt x="631" y="705"/>
                </a:lnTo>
                <a:lnTo>
                  <a:pt x="634" y="707"/>
                </a:lnTo>
                <a:lnTo>
                  <a:pt x="631" y="705"/>
                </a:lnTo>
                <a:close/>
                <a:moveTo>
                  <a:pt x="870" y="1169"/>
                </a:moveTo>
                <a:lnTo>
                  <a:pt x="873" y="1166"/>
                </a:lnTo>
                <a:lnTo>
                  <a:pt x="869" y="1166"/>
                </a:lnTo>
                <a:lnTo>
                  <a:pt x="870" y="1169"/>
                </a:lnTo>
                <a:close/>
                <a:moveTo>
                  <a:pt x="893" y="1175"/>
                </a:moveTo>
                <a:lnTo>
                  <a:pt x="896" y="1177"/>
                </a:lnTo>
                <a:lnTo>
                  <a:pt x="899" y="1177"/>
                </a:lnTo>
                <a:lnTo>
                  <a:pt x="896" y="1176"/>
                </a:lnTo>
                <a:lnTo>
                  <a:pt x="893" y="1175"/>
                </a:lnTo>
                <a:close/>
                <a:moveTo>
                  <a:pt x="896" y="1186"/>
                </a:moveTo>
                <a:lnTo>
                  <a:pt x="896" y="1186"/>
                </a:lnTo>
                <a:lnTo>
                  <a:pt x="893" y="1183"/>
                </a:lnTo>
                <a:lnTo>
                  <a:pt x="896" y="1186"/>
                </a:lnTo>
                <a:close/>
                <a:moveTo>
                  <a:pt x="893" y="1250"/>
                </a:moveTo>
                <a:lnTo>
                  <a:pt x="896" y="1248"/>
                </a:lnTo>
                <a:lnTo>
                  <a:pt x="893" y="1246"/>
                </a:lnTo>
                <a:lnTo>
                  <a:pt x="893" y="1250"/>
                </a:lnTo>
                <a:close/>
                <a:moveTo>
                  <a:pt x="939" y="1263"/>
                </a:moveTo>
                <a:lnTo>
                  <a:pt x="941" y="1264"/>
                </a:lnTo>
                <a:lnTo>
                  <a:pt x="941" y="1263"/>
                </a:lnTo>
                <a:lnTo>
                  <a:pt x="939" y="1259"/>
                </a:lnTo>
                <a:lnTo>
                  <a:pt x="939" y="1263"/>
                </a:lnTo>
                <a:close/>
                <a:moveTo>
                  <a:pt x="1022" y="2107"/>
                </a:moveTo>
                <a:lnTo>
                  <a:pt x="1025" y="2106"/>
                </a:lnTo>
                <a:lnTo>
                  <a:pt x="1022" y="2106"/>
                </a:lnTo>
                <a:lnTo>
                  <a:pt x="1022" y="2107"/>
                </a:lnTo>
                <a:close/>
                <a:moveTo>
                  <a:pt x="1001" y="1408"/>
                </a:moveTo>
                <a:lnTo>
                  <a:pt x="1002" y="1408"/>
                </a:lnTo>
                <a:lnTo>
                  <a:pt x="1003" y="1408"/>
                </a:lnTo>
                <a:lnTo>
                  <a:pt x="1002" y="1407"/>
                </a:lnTo>
                <a:lnTo>
                  <a:pt x="1001" y="1408"/>
                </a:lnTo>
                <a:close/>
                <a:moveTo>
                  <a:pt x="987" y="1319"/>
                </a:moveTo>
                <a:lnTo>
                  <a:pt x="989" y="1320"/>
                </a:lnTo>
                <a:lnTo>
                  <a:pt x="988" y="1319"/>
                </a:lnTo>
                <a:lnTo>
                  <a:pt x="987" y="1319"/>
                </a:lnTo>
                <a:close/>
                <a:moveTo>
                  <a:pt x="733" y="811"/>
                </a:moveTo>
                <a:lnTo>
                  <a:pt x="734" y="813"/>
                </a:lnTo>
                <a:lnTo>
                  <a:pt x="734" y="811"/>
                </a:lnTo>
                <a:lnTo>
                  <a:pt x="733" y="811"/>
                </a:lnTo>
                <a:close/>
                <a:moveTo>
                  <a:pt x="737" y="824"/>
                </a:moveTo>
                <a:lnTo>
                  <a:pt x="741" y="828"/>
                </a:lnTo>
                <a:lnTo>
                  <a:pt x="741" y="825"/>
                </a:lnTo>
                <a:lnTo>
                  <a:pt x="737" y="822"/>
                </a:lnTo>
                <a:lnTo>
                  <a:pt x="737" y="824"/>
                </a:lnTo>
                <a:close/>
                <a:moveTo>
                  <a:pt x="743" y="826"/>
                </a:moveTo>
                <a:lnTo>
                  <a:pt x="742" y="829"/>
                </a:lnTo>
                <a:lnTo>
                  <a:pt x="744" y="832"/>
                </a:lnTo>
                <a:lnTo>
                  <a:pt x="743" y="832"/>
                </a:lnTo>
                <a:lnTo>
                  <a:pt x="745" y="836"/>
                </a:lnTo>
                <a:lnTo>
                  <a:pt x="745" y="830"/>
                </a:lnTo>
                <a:lnTo>
                  <a:pt x="746" y="831"/>
                </a:lnTo>
                <a:lnTo>
                  <a:pt x="743" y="825"/>
                </a:lnTo>
                <a:lnTo>
                  <a:pt x="743" y="826"/>
                </a:lnTo>
                <a:close/>
                <a:moveTo>
                  <a:pt x="1067" y="1363"/>
                </a:moveTo>
                <a:lnTo>
                  <a:pt x="1065" y="1363"/>
                </a:lnTo>
                <a:lnTo>
                  <a:pt x="1066" y="1367"/>
                </a:lnTo>
                <a:lnTo>
                  <a:pt x="1067" y="1367"/>
                </a:lnTo>
                <a:lnTo>
                  <a:pt x="1067" y="1363"/>
                </a:lnTo>
                <a:close/>
                <a:moveTo>
                  <a:pt x="786" y="895"/>
                </a:moveTo>
                <a:lnTo>
                  <a:pt x="786" y="894"/>
                </a:lnTo>
                <a:lnTo>
                  <a:pt x="785" y="894"/>
                </a:lnTo>
                <a:lnTo>
                  <a:pt x="786" y="895"/>
                </a:lnTo>
                <a:close/>
                <a:moveTo>
                  <a:pt x="874" y="1166"/>
                </a:moveTo>
                <a:lnTo>
                  <a:pt x="875" y="1169"/>
                </a:lnTo>
                <a:lnTo>
                  <a:pt x="880" y="1166"/>
                </a:lnTo>
                <a:lnTo>
                  <a:pt x="874" y="1165"/>
                </a:lnTo>
                <a:lnTo>
                  <a:pt x="874" y="1166"/>
                </a:lnTo>
                <a:close/>
                <a:moveTo>
                  <a:pt x="252" y="772"/>
                </a:moveTo>
                <a:lnTo>
                  <a:pt x="255" y="772"/>
                </a:lnTo>
                <a:lnTo>
                  <a:pt x="254" y="770"/>
                </a:lnTo>
                <a:lnTo>
                  <a:pt x="252" y="772"/>
                </a:lnTo>
                <a:close/>
                <a:moveTo>
                  <a:pt x="1289" y="1695"/>
                </a:moveTo>
                <a:lnTo>
                  <a:pt x="1289" y="1693"/>
                </a:lnTo>
                <a:lnTo>
                  <a:pt x="1285" y="1691"/>
                </a:lnTo>
                <a:lnTo>
                  <a:pt x="1283" y="1696"/>
                </a:lnTo>
                <a:lnTo>
                  <a:pt x="1284" y="1696"/>
                </a:lnTo>
                <a:lnTo>
                  <a:pt x="1283" y="1698"/>
                </a:lnTo>
                <a:lnTo>
                  <a:pt x="1284" y="1700"/>
                </a:lnTo>
                <a:lnTo>
                  <a:pt x="1285" y="1700"/>
                </a:lnTo>
                <a:lnTo>
                  <a:pt x="1285" y="1696"/>
                </a:lnTo>
                <a:lnTo>
                  <a:pt x="1285" y="1696"/>
                </a:lnTo>
                <a:lnTo>
                  <a:pt x="1285" y="1695"/>
                </a:lnTo>
                <a:lnTo>
                  <a:pt x="1289" y="1700"/>
                </a:lnTo>
                <a:lnTo>
                  <a:pt x="1289" y="1697"/>
                </a:lnTo>
                <a:lnTo>
                  <a:pt x="1289" y="1695"/>
                </a:lnTo>
                <a:close/>
                <a:moveTo>
                  <a:pt x="1030" y="1306"/>
                </a:moveTo>
                <a:lnTo>
                  <a:pt x="1031" y="1305"/>
                </a:lnTo>
                <a:lnTo>
                  <a:pt x="1028" y="1306"/>
                </a:lnTo>
                <a:lnTo>
                  <a:pt x="1030" y="1306"/>
                </a:lnTo>
                <a:close/>
                <a:moveTo>
                  <a:pt x="831" y="923"/>
                </a:moveTo>
                <a:lnTo>
                  <a:pt x="831" y="924"/>
                </a:lnTo>
                <a:lnTo>
                  <a:pt x="832" y="923"/>
                </a:lnTo>
                <a:lnTo>
                  <a:pt x="831" y="923"/>
                </a:lnTo>
                <a:close/>
                <a:moveTo>
                  <a:pt x="1314" y="1706"/>
                </a:moveTo>
                <a:lnTo>
                  <a:pt x="1315" y="1706"/>
                </a:lnTo>
                <a:lnTo>
                  <a:pt x="1318" y="1702"/>
                </a:lnTo>
                <a:lnTo>
                  <a:pt x="1311" y="1706"/>
                </a:lnTo>
                <a:lnTo>
                  <a:pt x="1314" y="1706"/>
                </a:lnTo>
                <a:close/>
                <a:moveTo>
                  <a:pt x="795" y="873"/>
                </a:moveTo>
                <a:lnTo>
                  <a:pt x="795" y="873"/>
                </a:lnTo>
                <a:lnTo>
                  <a:pt x="795" y="873"/>
                </a:lnTo>
                <a:lnTo>
                  <a:pt x="795" y="873"/>
                </a:lnTo>
                <a:close/>
                <a:moveTo>
                  <a:pt x="1299" y="1688"/>
                </a:moveTo>
                <a:lnTo>
                  <a:pt x="1300" y="1688"/>
                </a:lnTo>
                <a:lnTo>
                  <a:pt x="1299" y="1687"/>
                </a:lnTo>
                <a:lnTo>
                  <a:pt x="1299" y="1688"/>
                </a:lnTo>
                <a:close/>
                <a:moveTo>
                  <a:pt x="796" y="874"/>
                </a:moveTo>
                <a:lnTo>
                  <a:pt x="795" y="873"/>
                </a:lnTo>
                <a:lnTo>
                  <a:pt x="795" y="875"/>
                </a:lnTo>
                <a:lnTo>
                  <a:pt x="796" y="874"/>
                </a:lnTo>
                <a:close/>
                <a:moveTo>
                  <a:pt x="835" y="918"/>
                </a:moveTo>
                <a:lnTo>
                  <a:pt x="832" y="923"/>
                </a:lnTo>
                <a:lnTo>
                  <a:pt x="835" y="920"/>
                </a:lnTo>
                <a:lnTo>
                  <a:pt x="835" y="918"/>
                </a:lnTo>
                <a:close/>
                <a:moveTo>
                  <a:pt x="1289" y="1701"/>
                </a:moveTo>
                <a:lnTo>
                  <a:pt x="1291" y="1702"/>
                </a:lnTo>
                <a:lnTo>
                  <a:pt x="1289" y="1700"/>
                </a:lnTo>
                <a:lnTo>
                  <a:pt x="1289" y="1701"/>
                </a:lnTo>
                <a:close/>
                <a:moveTo>
                  <a:pt x="792" y="873"/>
                </a:moveTo>
                <a:lnTo>
                  <a:pt x="795" y="873"/>
                </a:lnTo>
                <a:lnTo>
                  <a:pt x="793" y="872"/>
                </a:lnTo>
                <a:lnTo>
                  <a:pt x="792" y="873"/>
                </a:lnTo>
                <a:close/>
                <a:moveTo>
                  <a:pt x="1068" y="1369"/>
                </a:moveTo>
                <a:lnTo>
                  <a:pt x="1068" y="1367"/>
                </a:lnTo>
                <a:lnTo>
                  <a:pt x="1067" y="1369"/>
                </a:lnTo>
                <a:lnTo>
                  <a:pt x="1068" y="1369"/>
                </a:lnTo>
                <a:close/>
                <a:moveTo>
                  <a:pt x="1291" y="1702"/>
                </a:moveTo>
                <a:lnTo>
                  <a:pt x="1291" y="1702"/>
                </a:lnTo>
                <a:lnTo>
                  <a:pt x="1289" y="1704"/>
                </a:lnTo>
                <a:lnTo>
                  <a:pt x="1288" y="1704"/>
                </a:lnTo>
                <a:lnTo>
                  <a:pt x="1284" y="1707"/>
                </a:lnTo>
                <a:lnTo>
                  <a:pt x="1285" y="1708"/>
                </a:lnTo>
                <a:lnTo>
                  <a:pt x="1289" y="1708"/>
                </a:lnTo>
                <a:lnTo>
                  <a:pt x="1292" y="1706"/>
                </a:lnTo>
                <a:lnTo>
                  <a:pt x="1291" y="1702"/>
                </a:lnTo>
                <a:lnTo>
                  <a:pt x="1291" y="1702"/>
                </a:lnTo>
                <a:close/>
                <a:moveTo>
                  <a:pt x="1297" y="1695"/>
                </a:moveTo>
                <a:lnTo>
                  <a:pt x="1293" y="1694"/>
                </a:lnTo>
                <a:lnTo>
                  <a:pt x="1293" y="1697"/>
                </a:lnTo>
                <a:lnTo>
                  <a:pt x="1297" y="1697"/>
                </a:lnTo>
                <a:lnTo>
                  <a:pt x="1299" y="1695"/>
                </a:lnTo>
                <a:lnTo>
                  <a:pt x="1297" y="1695"/>
                </a:lnTo>
                <a:close/>
                <a:moveTo>
                  <a:pt x="1299" y="1702"/>
                </a:moveTo>
                <a:lnTo>
                  <a:pt x="1303" y="1705"/>
                </a:lnTo>
                <a:lnTo>
                  <a:pt x="1303" y="1702"/>
                </a:lnTo>
                <a:lnTo>
                  <a:pt x="1303" y="1701"/>
                </a:lnTo>
                <a:lnTo>
                  <a:pt x="1299" y="1699"/>
                </a:lnTo>
                <a:lnTo>
                  <a:pt x="1299" y="1702"/>
                </a:lnTo>
                <a:close/>
                <a:moveTo>
                  <a:pt x="1300" y="1712"/>
                </a:moveTo>
                <a:lnTo>
                  <a:pt x="1300" y="1709"/>
                </a:lnTo>
                <a:lnTo>
                  <a:pt x="1299" y="1709"/>
                </a:lnTo>
                <a:lnTo>
                  <a:pt x="1300" y="1712"/>
                </a:lnTo>
                <a:close/>
                <a:moveTo>
                  <a:pt x="776" y="865"/>
                </a:moveTo>
                <a:lnTo>
                  <a:pt x="774" y="866"/>
                </a:lnTo>
                <a:lnTo>
                  <a:pt x="776" y="866"/>
                </a:lnTo>
                <a:lnTo>
                  <a:pt x="779" y="866"/>
                </a:lnTo>
                <a:lnTo>
                  <a:pt x="780" y="865"/>
                </a:lnTo>
                <a:lnTo>
                  <a:pt x="779" y="865"/>
                </a:lnTo>
                <a:lnTo>
                  <a:pt x="776" y="865"/>
                </a:lnTo>
                <a:close/>
                <a:moveTo>
                  <a:pt x="1438" y="1310"/>
                </a:moveTo>
                <a:lnTo>
                  <a:pt x="1438" y="1310"/>
                </a:lnTo>
                <a:lnTo>
                  <a:pt x="1438" y="1310"/>
                </a:lnTo>
                <a:lnTo>
                  <a:pt x="1438" y="1310"/>
                </a:lnTo>
                <a:close/>
                <a:moveTo>
                  <a:pt x="1712" y="748"/>
                </a:moveTo>
                <a:lnTo>
                  <a:pt x="1716" y="747"/>
                </a:lnTo>
                <a:lnTo>
                  <a:pt x="1711" y="747"/>
                </a:lnTo>
                <a:lnTo>
                  <a:pt x="1711" y="748"/>
                </a:lnTo>
                <a:lnTo>
                  <a:pt x="1712" y="748"/>
                </a:lnTo>
                <a:close/>
                <a:moveTo>
                  <a:pt x="1438" y="1310"/>
                </a:moveTo>
                <a:lnTo>
                  <a:pt x="1438" y="1311"/>
                </a:lnTo>
                <a:lnTo>
                  <a:pt x="1438" y="1310"/>
                </a:lnTo>
                <a:lnTo>
                  <a:pt x="1438" y="1310"/>
                </a:lnTo>
                <a:close/>
                <a:moveTo>
                  <a:pt x="1438" y="1310"/>
                </a:moveTo>
                <a:lnTo>
                  <a:pt x="1439" y="1310"/>
                </a:lnTo>
                <a:lnTo>
                  <a:pt x="1439" y="1310"/>
                </a:lnTo>
                <a:lnTo>
                  <a:pt x="1438" y="1310"/>
                </a:lnTo>
                <a:lnTo>
                  <a:pt x="1438" y="1310"/>
                </a:lnTo>
                <a:close/>
                <a:moveTo>
                  <a:pt x="1260" y="628"/>
                </a:moveTo>
                <a:lnTo>
                  <a:pt x="1262" y="630"/>
                </a:lnTo>
                <a:lnTo>
                  <a:pt x="1263" y="627"/>
                </a:lnTo>
                <a:lnTo>
                  <a:pt x="1261" y="627"/>
                </a:lnTo>
                <a:lnTo>
                  <a:pt x="1261" y="628"/>
                </a:lnTo>
                <a:lnTo>
                  <a:pt x="1260" y="628"/>
                </a:lnTo>
                <a:close/>
                <a:moveTo>
                  <a:pt x="2526" y="732"/>
                </a:moveTo>
                <a:lnTo>
                  <a:pt x="2527" y="732"/>
                </a:lnTo>
                <a:lnTo>
                  <a:pt x="2526" y="731"/>
                </a:lnTo>
                <a:lnTo>
                  <a:pt x="2526" y="732"/>
                </a:lnTo>
                <a:close/>
                <a:moveTo>
                  <a:pt x="1309" y="462"/>
                </a:moveTo>
                <a:lnTo>
                  <a:pt x="1306" y="459"/>
                </a:lnTo>
                <a:lnTo>
                  <a:pt x="1306" y="462"/>
                </a:lnTo>
                <a:lnTo>
                  <a:pt x="1306" y="463"/>
                </a:lnTo>
                <a:lnTo>
                  <a:pt x="1309" y="462"/>
                </a:lnTo>
                <a:lnTo>
                  <a:pt x="1309" y="462"/>
                </a:lnTo>
                <a:lnTo>
                  <a:pt x="1309" y="462"/>
                </a:lnTo>
                <a:close/>
                <a:moveTo>
                  <a:pt x="1309" y="1232"/>
                </a:moveTo>
                <a:lnTo>
                  <a:pt x="1310" y="1233"/>
                </a:lnTo>
                <a:lnTo>
                  <a:pt x="1313" y="1232"/>
                </a:lnTo>
                <a:lnTo>
                  <a:pt x="1309" y="1232"/>
                </a:lnTo>
                <a:close/>
                <a:moveTo>
                  <a:pt x="1304" y="1246"/>
                </a:moveTo>
                <a:lnTo>
                  <a:pt x="1304" y="1245"/>
                </a:lnTo>
                <a:lnTo>
                  <a:pt x="1302" y="1243"/>
                </a:lnTo>
                <a:lnTo>
                  <a:pt x="1301" y="1244"/>
                </a:lnTo>
                <a:lnTo>
                  <a:pt x="1301" y="1246"/>
                </a:lnTo>
                <a:lnTo>
                  <a:pt x="1304" y="1246"/>
                </a:lnTo>
                <a:close/>
                <a:moveTo>
                  <a:pt x="1307" y="1249"/>
                </a:moveTo>
                <a:lnTo>
                  <a:pt x="1309" y="1246"/>
                </a:lnTo>
                <a:lnTo>
                  <a:pt x="1304" y="1246"/>
                </a:lnTo>
                <a:lnTo>
                  <a:pt x="1305" y="1249"/>
                </a:lnTo>
                <a:lnTo>
                  <a:pt x="1307" y="1249"/>
                </a:lnTo>
                <a:close/>
                <a:moveTo>
                  <a:pt x="1204" y="1295"/>
                </a:moveTo>
                <a:lnTo>
                  <a:pt x="1201" y="1277"/>
                </a:lnTo>
                <a:lnTo>
                  <a:pt x="1201" y="1287"/>
                </a:lnTo>
                <a:lnTo>
                  <a:pt x="1204" y="1295"/>
                </a:lnTo>
                <a:close/>
                <a:moveTo>
                  <a:pt x="1333" y="1418"/>
                </a:moveTo>
                <a:lnTo>
                  <a:pt x="1333" y="1419"/>
                </a:lnTo>
                <a:lnTo>
                  <a:pt x="1333" y="1419"/>
                </a:lnTo>
                <a:lnTo>
                  <a:pt x="1333" y="1418"/>
                </a:lnTo>
                <a:close/>
                <a:moveTo>
                  <a:pt x="1203" y="1296"/>
                </a:moveTo>
                <a:lnTo>
                  <a:pt x="1202" y="1296"/>
                </a:lnTo>
                <a:lnTo>
                  <a:pt x="1202" y="1297"/>
                </a:lnTo>
                <a:lnTo>
                  <a:pt x="1203" y="1296"/>
                </a:lnTo>
                <a:close/>
                <a:moveTo>
                  <a:pt x="1399" y="1503"/>
                </a:moveTo>
                <a:lnTo>
                  <a:pt x="1399" y="1507"/>
                </a:lnTo>
                <a:lnTo>
                  <a:pt x="1400" y="1507"/>
                </a:lnTo>
                <a:lnTo>
                  <a:pt x="1399" y="1503"/>
                </a:lnTo>
                <a:lnTo>
                  <a:pt x="1399" y="1503"/>
                </a:lnTo>
                <a:lnTo>
                  <a:pt x="1399" y="1503"/>
                </a:lnTo>
                <a:lnTo>
                  <a:pt x="1399" y="1503"/>
                </a:lnTo>
                <a:lnTo>
                  <a:pt x="1399" y="1503"/>
                </a:lnTo>
                <a:lnTo>
                  <a:pt x="1399" y="1503"/>
                </a:lnTo>
                <a:close/>
                <a:moveTo>
                  <a:pt x="590" y="677"/>
                </a:moveTo>
                <a:lnTo>
                  <a:pt x="590" y="677"/>
                </a:lnTo>
                <a:lnTo>
                  <a:pt x="590" y="677"/>
                </a:lnTo>
                <a:lnTo>
                  <a:pt x="590" y="677"/>
                </a:lnTo>
                <a:close/>
                <a:moveTo>
                  <a:pt x="2569" y="695"/>
                </a:moveTo>
                <a:lnTo>
                  <a:pt x="2566" y="695"/>
                </a:lnTo>
                <a:lnTo>
                  <a:pt x="2567" y="696"/>
                </a:lnTo>
                <a:lnTo>
                  <a:pt x="2569" y="695"/>
                </a:lnTo>
                <a:close/>
                <a:moveTo>
                  <a:pt x="2565" y="695"/>
                </a:moveTo>
                <a:lnTo>
                  <a:pt x="2561" y="693"/>
                </a:lnTo>
                <a:lnTo>
                  <a:pt x="2565" y="696"/>
                </a:lnTo>
                <a:lnTo>
                  <a:pt x="2565" y="695"/>
                </a:lnTo>
                <a:close/>
                <a:moveTo>
                  <a:pt x="2623" y="850"/>
                </a:moveTo>
                <a:lnTo>
                  <a:pt x="2623" y="849"/>
                </a:lnTo>
                <a:lnTo>
                  <a:pt x="2622" y="849"/>
                </a:lnTo>
                <a:lnTo>
                  <a:pt x="2622" y="851"/>
                </a:lnTo>
                <a:lnTo>
                  <a:pt x="2623" y="851"/>
                </a:lnTo>
                <a:lnTo>
                  <a:pt x="2623" y="850"/>
                </a:lnTo>
                <a:close/>
                <a:moveTo>
                  <a:pt x="2571" y="693"/>
                </a:moveTo>
                <a:lnTo>
                  <a:pt x="2566" y="688"/>
                </a:lnTo>
                <a:lnTo>
                  <a:pt x="2564" y="688"/>
                </a:lnTo>
                <a:lnTo>
                  <a:pt x="2564" y="691"/>
                </a:lnTo>
                <a:lnTo>
                  <a:pt x="2569" y="693"/>
                </a:lnTo>
                <a:lnTo>
                  <a:pt x="2571" y="693"/>
                </a:lnTo>
                <a:close/>
                <a:moveTo>
                  <a:pt x="2542" y="812"/>
                </a:moveTo>
                <a:lnTo>
                  <a:pt x="2543" y="812"/>
                </a:lnTo>
                <a:lnTo>
                  <a:pt x="2542" y="811"/>
                </a:lnTo>
                <a:lnTo>
                  <a:pt x="2542" y="812"/>
                </a:lnTo>
                <a:close/>
                <a:moveTo>
                  <a:pt x="751" y="828"/>
                </a:moveTo>
                <a:lnTo>
                  <a:pt x="750" y="825"/>
                </a:lnTo>
                <a:lnTo>
                  <a:pt x="750" y="824"/>
                </a:lnTo>
                <a:lnTo>
                  <a:pt x="750" y="824"/>
                </a:lnTo>
                <a:lnTo>
                  <a:pt x="749" y="823"/>
                </a:lnTo>
                <a:lnTo>
                  <a:pt x="749" y="823"/>
                </a:lnTo>
                <a:lnTo>
                  <a:pt x="747" y="824"/>
                </a:lnTo>
                <a:lnTo>
                  <a:pt x="747" y="831"/>
                </a:lnTo>
                <a:lnTo>
                  <a:pt x="751" y="828"/>
                </a:lnTo>
                <a:lnTo>
                  <a:pt x="751" y="828"/>
                </a:lnTo>
                <a:lnTo>
                  <a:pt x="751" y="828"/>
                </a:lnTo>
                <a:close/>
                <a:moveTo>
                  <a:pt x="2572" y="684"/>
                </a:moveTo>
                <a:lnTo>
                  <a:pt x="2572" y="685"/>
                </a:lnTo>
                <a:lnTo>
                  <a:pt x="2575" y="684"/>
                </a:lnTo>
                <a:lnTo>
                  <a:pt x="2572" y="684"/>
                </a:lnTo>
                <a:close/>
                <a:moveTo>
                  <a:pt x="679" y="721"/>
                </a:moveTo>
                <a:lnTo>
                  <a:pt x="679" y="721"/>
                </a:lnTo>
                <a:lnTo>
                  <a:pt x="679" y="721"/>
                </a:lnTo>
                <a:lnTo>
                  <a:pt x="679" y="721"/>
                </a:lnTo>
                <a:lnTo>
                  <a:pt x="679" y="721"/>
                </a:lnTo>
                <a:close/>
                <a:moveTo>
                  <a:pt x="2526" y="731"/>
                </a:moveTo>
                <a:lnTo>
                  <a:pt x="2526" y="731"/>
                </a:lnTo>
                <a:lnTo>
                  <a:pt x="2527" y="729"/>
                </a:lnTo>
                <a:lnTo>
                  <a:pt x="2518" y="727"/>
                </a:lnTo>
                <a:lnTo>
                  <a:pt x="2518" y="723"/>
                </a:lnTo>
                <a:lnTo>
                  <a:pt x="2515" y="721"/>
                </a:lnTo>
                <a:lnTo>
                  <a:pt x="2512" y="723"/>
                </a:lnTo>
                <a:lnTo>
                  <a:pt x="2514" y="726"/>
                </a:lnTo>
                <a:lnTo>
                  <a:pt x="2515" y="727"/>
                </a:lnTo>
                <a:lnTo>
                  <a:pt x="2516" y="727"/>
                </a:lnTo>
                <a:lnTo>
                  <a:pt x="2520" y="728"/>
                </a:lnTo>
                <a:lnTo>
                  <a:pt x="2516" y="728"/>
                </a:lnTo>
                <a:lnTo>
                  <a:pt x="2520" y="732"/>
                </a:lnTo>
                <a:lnTo>
                  <a:pt x="2522" y="732"/>
                </a:lnTo>
                <a:lnTo>
                  <a:pt x="2522" y="734"/>
                </a:lnTo>
                <a:lnTo>
                  <a:pt x="2526" y="732"/>
                </a:lnTo>
                <a:lnTo>
                  <a:pt x="2526" y="732"/>
                </a:lnTo>
                <a:lnTo>
                  <a:pt x="2526" y="732"/>
                </a:lnTo>
                <a:lnTo>
                  <a:pt x="2526" y="731"/>
                </a:lnTo>
                <a:close/>
                <a:moveTo>
                  <a:pt x="679" y="721"/>
                </a:moveTo>
                <a:lnTo>
                  <a:pt x="679" y="721"/>
                </a:lnTo>
                <a:lnTo>
                  <a:pt x="679" y="721"/>
                </a:lnTo>
                <a:lnTo>
                  <a:pt x="679" y="721"/>
                </a:lnTo>
                <a:lnTo>
                  <a:pt x="679" y="721"/>
                </a:lnTo>
                <a:close/>
                <a:moveTo>
                  <a:pt x="2522" y="758"/>
                </a:moveTo>
                <a:lnTo>
                  <a:pt x="2522" y="757"/>
                </a:lnTo>
                <a:lnTo>
                  <a:pt x="2516" y="759"/>
                </a:lnTo>
                <a:lnTo>
                  <a:pt x="2516" y="762"/>
                </a:lnTo>
                <a:lnTo>
                  <a:pt x="2520" y="761"/>
                </a:lnTo>
                <a:lnTo>
                  <a:pt x="2520" y="764"/>
                </a:lnTo>
                <a:lnTo>
                  <a:pt x="2523" y="762"/>
                </a:lnTo>
                <a:lnTo>
                  <a:pt x="2522" y="759"/>
                </a:lnTo>
                <a:lnTo>
                  <a:pt x="2522" y="759"/>
                </a:lnTo>
                <a:lnTo>
                  <a:pt x="2522" y="758"/>
                </a:lnTo>
                <a:close/>
                <a:moveTo>
                  <a:pt x="679" y="721"/>
                </a:moveTo>
                <a:lnTo>
                  <a:pt x="676" y="720"/>
                </a:lnTo>
                <a:lnTo>
                  <a:pt x="677" y="723"/>
                </a:lnTo>
                <a:lnTo>
                  <a:pt x="679" y="721"/>
                </a:lnTo>
                <a:lnTo>
                  <a:pt x="679" y="721"/>
                </a:lnTo>
                <a:lnTo>
                  <a:pt x="679" y="721"/>
                </a:lnTo>
                <a:close/>
                <a:moveTo>
                  <a:pt x="719" y="782"/>
                </a:moveTo>
                <a:lnTo>
                  <a:pt x="719" y="782"/>
                </a:lnTo>
                <a:lnTo>
                  <a:pt x="718" y="782"/>
                </a:lnTo>
                <a:lnTo>
                  <a:pt x="719" y="782"/>
                </a:lnTo>
                <a:lnTo>
                  <a:pt x="719" y="782"/>
                </a:lnTo>
                <a:lnTo>
                  <a:pt x="719" y="782"/>
                </a:lnTo>
                <a:lnTo>
                  <a:pt x="719" y="782"/>
                </a:lnTo>
                <a:close/>
                <a:moveTo>
                  <a:pt x="2518" y="719"/>
                </a:moveTo>
                <a:lnTo>
                  <a:pt x="2518" y="723"/>
                </a:lnTo>
                <a:lnTo>
                  <a:pt x="2518" y="721"/>
                </a:lnTo>
                <a:lnTo>
                  <a:pt x="2518" y="719"/>
                </a:lnTo>
                <a:close/>
                <a:moveTo>
                  <a:pt x="1719" y="724"/>
                </a:moveTo>
                <a:lnTo>
                  <a:pt x="1713" y="726"/>
                </a:lnTo>
                <a:lnTo>
                  <a:pt x="1719" y="728"/>
                </a:lnTo>
                <a:lnTo>
                  <a:pt x="1719" y="724"/>
                </a:lnTo>
                <a:close/>
                <a:moveTo>
                  <a:pt x="1472" y="702"/>
                </a:moveTo>
                <a:lnTo>
                  <a:pt x="1472" y="702"/>
                </a:lnTo>
                <a:lnTo>
                  <a:pt x="1470" y="700"/>
                </a:lnTo>
                <a:lnTo>
                  <a:pt x="1470" y="702"/>
                </a:lnTo>
                <a:lnTo>
                  <a:pt x="1474" y="704"/>
                </a:lnTo>
                <a:lnTo>
                  <a:pt x="1472" y="702"/>
                </a:lnTo>
                <a:lnTo>
                  <a:pt x="1472" y="702"/>
                </a:lnTo>
                <a:lnTo>
                  <a:pt x="1472" y="702"/>
                </a:lnTo>
                <a:close/>
                <a:moveTo>
                  <a:pt x="1641" y="977"/>
                </a:moveTo>
                <a:lnTo>
                  <a:pt x="1641" y="977"/>
                </a:lnTo>
                <a:lnTo>
                  <a:pt x="1641" y="977"/>
                </a:lnTo>
                <a:lnTo>
                  <a:pt x="1641" y="977"/>
                </a:lnTo>
                <a:close/>
                <a:moveTo>
                  <a:pt x="1266" y="620"/>
                </a:moveTo>
                <a:lnTo>
                  <a:pt x="1266" y="620"/>
                </a:lnTo>
                <a:lnTo>
                  <a:pt x="1269" y="624"/>
                </a:lnTo>
                <a:lnTo>
                  <a:pt x="1266" y="620"/>
                </a:lnTo>
                <a:close/>
                <a:moveTo>
                  <a:pt x="277" y="702"/>
                </a:moveTo>
                <a:lnTo>
                  <a:pt x="278" y="701"/>
                </a:lnTo>
                <a:lnTo>
                  <a:pt x="282" y="696"/>
                </a:lnTo>
                <a:lnTo>
                  <a:pt x="276" y="698"/>
                </a:lnTo>
                <a:lnTo>
                  <a:pt x="275" y="698"/>
                </a:lnTo>
                <a:lnTo>
                  <a:pt x="277" y="702"/>
                </a:lnTo>
                <a:close/>
                <a:moveTo>
                  <a:pt x="1680" y="981"/>
                </a:moveTo>
                <a:lnTo>
                  <a:pt x="1679" y="982"/>
                </a:lnTo>
                <a:lnTo>
                  <a:pt x="1680" y="983"/>
                </a:lnTo>
                <a:lnTo>
                  <a:pt x="1680" y="981"/>
                </a:lnTo>
                <a:close/>
                <a:moveTo>
                  <a:pt x="1712" y="724"/>
                </a:moveTo>
                <a:lnTo>
                  <a:pt x="1712" y="724"/>
                </a:lnTo>
                <a:lnTo>
                  <a:pt x="1713" y="726"/>
                </a:lnTo>
                <a:lnTo>
                  <a:pt x="1715" y="724"/>
                </a:lnTo>
                <a:lnTo>
                  <a:pt x="1713" y="723"/>
                </a:lnTo>
                <a:lnTo>
                  <a:pt x="1713" y="723"/>
                </a:lnTo>
                <a:lnTo>
                  <a:pt x="1713" y="723"/>
                </a:lnTo>
                <a:lnTo>
                  <a:pt x="1712" y="724"/>
                </a:lnTo>
                <a:close/>
                <a:moveTo>
                  <a:pt x="1731" y="937"/>
                </a:moveTo>
                <a:lnTo>
                  <a:pt x="1731" y="938"/>
                </a:lnTo>
                <a:lnTo>
                  <a:pt x="1731" y="938"/>
                </a:lnTo>
                <a:lnTo>
                  <a:pt x="1732" y="937"/>
                </a:lnTo>
                <a:lnTo>
                  <a:pt x="1731" y="937"/>
                </a:lnTo>
                <a:close/>
                <a:moveTo>
                  <a:pt x="1374" y="459"/>
                </a:moveTo>
                <a:lnTo>
                  <a:pt x="1376" y="459"/>
                </a:lnTo>
                <a:lnTo>
                  <a:pt x="1377" y="459"/>
                </a:lnTo>
                <a:lnTo>
                  <a:pt x="1377" y="459"/>
                </a:lnTo>
                <a:lnTo>
                  <a:pt x="1377" y="459"/>
                </a:lnTo>
                <a:lnTo>
                  <a:pt x="1374" y="459"/>
                </a:lnTo>
                <a:close/>
                <a:moveTo>
                  <a:pt x="709" y="445"/>
                </a:moveTo>
                <a:lnTo>
                  <a:pt x="709" y="442"/>
                </a:lnTo>
                <a:lnTo>
                  <a:pt x="708" y="440"/>
                </a:lnTo>
                <a:lnTo>
                  <a:pt x="708" y="440"/>
                </a:lnTo>
                <a:lnTo>
                  <a:pt x="709" y="445"/>
                </a:lnTo>
                <a:close/>
                <a:moveTo>
                  <a:pt x="1045" y="508"/>
                </a:moveTo>
                <a:lnTo>
                  <a:pt x="1046" y="507"/>
                </a:lnTo>
                <a:lnTo>
                  <a:pt x="1045" y="507"/>
                </a:lnTo>
                <a:lnTo>
                  <a:pt x="1044" y="507"/>
                </a:lnTo>
                <a:lnTo>
                  <a:pt x="1045" y="508"/>
                </a:lnTo>
                <a:close/>
                <a:moveTo>
                  <a:pt x="300" y="404"/>
                </a:moveTo>
                <a:lnTo>
                  <a:pt x="301" y="405"/>
                </a:lnTo>
                <a:lnTo>
                  <a:pt x="303" y="403"/>
                </a:lnTo>
                <a:lnTo>
                  <a:pt x="300" y="404"/>
                </a:lnTo>
                <a:close/>
                <a:moveTo>
                  <a:pt x="1241" y="379"/>
                </a:moveTo>
                <a:lnTo>
                  <a:pt x="1247" y="379"/>
                </a:lnTo>
                <a:lnTo>
                  <a:pt x="1245" y="375"/>
                </a:lnTo>
                <a:lnTo>
                  <a:pt x="1255" y="362"/>
                </a:lnTo>
                <a:lnTo>
                  <a:pt x="1253" y="360"/>
                </a:lnTo>
                <a:lnTo>
                  <a:pt x="1249" y="355"/>
                </a:lnTo>
                <a:lnTo>
                  <a:pt x="1249" y="359"/>
                </a:lnTo>
                <a:lnTo>
                  <a:pt x="1241" y="359"/>
                </a:lnTo>
                <a:lnTo>
                  <a:pt x="1241" y="352"/>
                </a:lnTo>
                <a:lnTo>
                  <a:pt x="1256" y="351"/>
                </a:lnTo>
                <a:lnTo>
                  <a:pt x="1273" y="354"/>
                </a:lnTo>
                <a:lnTo>
                  <a:pt x="1279" y="349"/>
                </a:lnTo>
                <a:lnTo>
                  <a:pt x="1288" y="336"/>
                </a:lnTo>
                <a:lnTo>
                  <a:pt x="1303" y="320"/>
                </a:lnTo>
                <a:lnTo>
                  <a:pt x="1283" y="317"/>
                </a:lnTo>
                <a:lnTo>
                  <a:pt x="1273" y="318"/>
                </a:lnTo>
                <a:lnTo>
                  <a:pt x="1273" y="317"/>
                </a:lnTo>
                <a:lnTo>
                  <a:pt x="1268" y="313"/>
                </a:lnTo>
                <a:lnTo>
                  <a:pt x="1258" y="312"/>
                </a:lnTo>
                <a:lnTo>
                  <a:pt x="1243" y="313"/>
                </a:lnTo>
                <a:lnTo>
                  <a:pt x="1228" y="319"/>
                </a:lnTo>
                <a:lnTo>
                  <a:pt x="1231" y="322"/>
                </a:lnTo>
                <a:lnTo>
                  <a:pt x="1235" y="322"/>
                </a:lnTo>
                <a:lnTo>
                  <a:pt x="1232" y="324"/>
                </a:lnTo>
                <a:lnTo>
                  <a:pt x="1240" y="326"/>
                </a:lnTo>
                <a:lnTo>
                  <a:pt x="1226" y="324"/>
                </a:lnTo>
                <a:lnTo>
                  <a:pt x="1224" y="325"/>
                </a:lnTo>
                <a:lnTo>
                  <a:pt x="1225" y="328"/>
                </a:lnTo>
                <a:lnTo>
                  <a:pt x="1224" y="330"/>
                </a:lnTo>
                <a:lnTo>
                  <a:pt x="1225" y="341"/>
                </a:lnTo>
                <a:lnTo>
                  <a:pt x="1224" y="343"/>
                </a:lnTo>
                <a:lnTo>
                  <a:pt x="1225" y="354"/>
                </a:lnTo>
                <a:lnTo>
                  <a:pt x="1227" y="355"/>
                </a:lnTo>
                <a:lnTo>
                  <a:pt x="1229" y="361"/>
                </a:lnTo>
                <a:lnTo>
                  <a:pt x="1229" y="371"/>
                </a:lnTo>
                <a:lnTo>
                  <a:pt x="1237" y="371"/>
                </a:lnTo>
                <a:lnTo>
                  <a:pt x="1229" y="371"/>
                </a:lnTo>
                <a:lnTo>
                  <a:pt x="1229" y="379"/>
                </a:lnTo>
                <a:lnTo>
                  <a:pt x="1229" y="379"/>
                </a:lnTo>
                <a:lnTo>
                  <a:pt x="1231" y="377"/>
                </a:lnTo>
                <a:lnTo>
                  <a:pt x="1240" y="375"/>
                </a:lnTo>
                <a:lnTo>
                  <a:pt x="1241" y="376"/>
                </a:lnTo>
                <a:lnTo>
                  <a:pt x="1237" y="379"/>
                </a:lnTo>
                <a:lnTo>
                  <a:pt x="1237" y="379"/>
                </a:lnTo>
                <a:lnTo>
                  <a:pt x="1240" y="379"/>
                </a:lnTo>
                <a:lnTo>
                  <a:pt x="1241" y="379"/>
                </a:lnTo>
                <a:close/>
                <a:moveTo>
                  <a:pt x="1224" y="341"/>
                </a:moveTo>
                <a:lnTo>
                  <a:pt x="1221" y="343"/>
                </a:lnTo>
                <a:lnTo>
                  <a:pt x="1224" y="344"/>
                </a:lnTo>
                <a:lnTo>
                  <a:pt x="1224" y="343"/>
                </a:lnTo>
                <a:lnTo>
                  <a:pt x="1224" y="343"/>
                </a:lnTo>
                <a:lnTo>
                  <a:pt x="1224" y="341"/>
                </a:lnTo>
                <a:close/>
                <a:moveTo>
                  <a:pt x="1181" y="470"/>
                </a:moveTo>
                <a:lnTo>
                  <a:pt x="1181" y="472"/>
                </a:lnTo>
                <a:lnTo>
                  <a:pt x="1181" y="471"/>
                </a:lnTo>
                <a:lnTo>
                  <a:pt x="1181" y="470"/>
                </a:lnTo>
                <a:close/>
                <a:moveTo>
                  <a:pt x="1438" y="1311"/>
                </a:moveTo>
                <a:lnTo>
                  <a:pt x="1438" y="1310"/>
                </a:lnTo>
                <a:lnTo>
                  <a:pt x="1438" y="1311"/>
                </a:lnTo>
                <a:lnTo>
                  <a:pt x="1438" y="1311"/>
                </a:lnTo>
                <a:close/>
                <a:moveTo>
                  <a:pt x="1439" y="1311"/>
                </a:moveTo>
                <a:lnTo>
                  <a:pt x="1440" y="1311"/>
                </a:lnTo>
                <a:lnTo>
                  <a:pt x="1439" y="1310"/>
                </a:lnTo>
                <a:lnTo>
                  <a:pt x="1438" y="1310"/>
                </a:lnTo>
                <a:lnTo>
                  <a:pt x="1439" y="1311"/>
                </a:lnTo>
                <a:close/>
                <a:moveTo>
                  <a:pt x="1513" y="1121"/>
                </a:moveTo>
                <a:lnTo>
                  <a:pt x="1513" y="1121"/>
                </a:lnTo>
                <a:lnTo>
                  <a:pt x="1513" y="1121"/>
                </a:lnTo>
                <a:lnTo>
                  <a:pt x="1513" y="1122"/>
                </a:lnTo>
                <a:lnTo>
                  <a:pt x="1513" y="1121"/>
                </a:lnTo>
                <a:close/>
                <a:moveTo>
                  <a:pt x="1641" y="980"/>
                </a:moveTo>
                <a:lnTo>
                  <a:pt x="1641" y="978"/>
                </a:lnTo>
                <a:lnTo>
                  <a:pt x="1641" y="979"/>
                </a:lnTo>
                <a:lnTo>
                  <a:pt x="1641" y="980"/>
                </a:lnTo>
                <a:close/>
                <a:moveTo>
                  <a:pt x="1447" y="1311"/>
                </a:moveTo>
                <a:lnTo>
                  <a:pt x="1447" y="1310"/>
                </a:lnTo>
                <a:lnTo>
                  <a:pt x="1445" y="1314"/>
                </a:lnTo>
                <a:lnTo>
                  <a:pt x="1447" y="1311"/>
                </a:lnTo>
                <a:lnTo>
                  <a:pt x="1447" y="1311"/>
                </a:lnTo>
                <a:lnTo>
                  <a:pt x="1447" y="1311"/>
                </a:lnTo>
                <a:lnTo>
                  <a:pt x="1447" y="1311"/>
                </a:lnTo>
                <a:close/>
                <a:moveTo>
                  <a:pt x="1414" y="1272"/>
                </a:moveTo>
                <a:lnTo>
                  <a:pt x="1416" y="1269"/>
                </a:lnTo>
                <a:lnTo>
                  <a:pt x="1414" y="1266"/>
                </a:lnTo>
                <a:lnTo>
                  <a:pt x="1414" y="1265"/>
                </a:lnTo>
                <a:lnTo>
                  <a:pt x="1413" y="1269"/>
                </a:lnTo>
                <a:lnTo>
                  <a:pt x="1414" y="1272"/>
                </a:lnTo>
                <a:close/>
                <a:moveTo>
                  <a:pt x="1436" y="1310"/>
                </a:moveTo>
                <a:lnTo>
                  <a:pt x="1438" y="1310"/>
                </a:lnTo>
                <a:lnTo>
                  <a:pt x="1438" y="1310"/>
                </a:lnTo>
                <a:lnTo>
                  <a:pt x="1436" y="1310"/>
                </a:lnTo>
                <a:close/>
                <a:moveTo>
                  <a:pt x="1414" y="1265"/>
                </a:moveTo>
                <a:lnTo>
                  <a:pt x="1414" y="1265"/>
                </a:lnTo>
                <a:lnTo>
                  <a:pt x="1414" y="1265"/>
                </a:lnTo>
                <a:lnTo>
                  <a:pt x="1414" y="1265"/>
                </a:lnTo>
                <a:close/>
                <a:moveTo>
                  <a:pt x="1433" y="1218"/>
                </a:moveTo>
                <a:lnTo>
                  <a:pt x="1433" y="1218"/>
                </a:lnTo>
                <a:lnTo>
                  <a:pt x="1433" y="1216"/>
                </a:lnTo>
                <a:lnTo>
                  <a:pt x="1433" y="1218"/>
                </a:lnTo>
                <a:close/>
                <a:moveTo>
                  <a:pt x="1614" y="989"/>
                </a:moveTo>
                <a:lnTo>
                  <a:pt x="1617" y="989"/>
                </a:lnTo>
                <a:lnTo>
                  <a:pt x="1617" y="989"/>
                </a:lnTo>
                <a:lnTo>
                  <a:pt x="1614" y="989"/>
                </a:lnTo>
                <a:lnTo>
                  <a:pt x="1614" y="989"/>
                </a:lnTo>
                <a:close/>
                <a:moveTo>
                  <a:pt x="1641" y="978"/>
                </a:moveTo>
                <a:lnTo>
                  <a:pt x="1643" y="977"/>
                </a:lnTo>
                <a:lnTo>
                  <a:pt x="1641" y="977"/>
                </a:lnTo>
                <a:lnTo>
                  <a:pt x="1641" y="978"/>
                </a:lnTo>
                <a:lnTo>
                  <a:pt x="1641" y="978"/>
                </a:lnTo>
                <a:close/>
                <a:moveTo>
                  <a:pt x="1614" y="988"/>
                </a:moveTo>
                <a:lnTo>
                  <a:pt x="1614" y="989"/>
                </a:lnTo>
                <a:lnTo>
                  <a:pt x="1614" y="988"/>
                </a:lnTo>
                <a:lnTo>
                  <a:pt x="1614" y="988"/>
                </a:lnTo>
                <a:close/>
                <a:moveTo>
                  <a:pt x="1540" y="1053"/>
                </a:moveTo>
                <a:lnTo>
                  <a:pt x="1539" y="1053"/>
                </a:lnTo>
                <a:lnTo>
                  <a:pt x="1537" y="1054"/>
                </a:lnTo>
                <a:lnTo>
                  <a:pt x="1537" y="1054"/>
                </a:lnTo>
                <a:lnTo>
                  <a:pt x="1540" y="1053"/>
                </a:lnTo>
                <a:close/>
                <a:moveTo>
                  <a:pt x="1506" y="1083"/>
                </a:moveTo>
                <a:lnTo>
                  <a:pt x="1507" y="1081"/>
                </a:lnTo>
                <a:lnTo>
                  <a:pt x="1507" y="1081"/>
                </a:lnTo>
                <a:lnTo>
                  <a:pt x="1506" y="1081"/>
                </a:lnTo>
                <a:lnTo>
                  <a:pt x="1506" y="1083"/>
                </a:lnTo>
                <a:close/>
                <a:moveTo>
                  <a:pt x="1517" y="1132"/>
                </a:moveTo>
                <a:lnTo>
                  <a:pt x="1513" y="1120"/>
                </a:lnTo>
                <a:lnTo>
                  <a:pt x="1513" y="1121"/>
                </a:lnTo>
                <a:lnTo>
                  <a:pt x="1518" y="1137"/>
                </a:lnTo>
                <a:lnTo>
                  <a:pt x="1517" y="1132"/>
                </a:lnTo>
                <a:close/>
                <a:moveTo>
                  <a:pt x="751" y="410"/>
                </a:moveTo>
                <a:lnTo>
                  <a:pt x="750" y="413"/>
                </a:lnTo>
                <a:lnTo>
                  <a:pt x="752" y="412"/>
                </a:lnTo>
                <a:lnTo>
                  <a:pt x="751" y="410"/>
                </a:lnTo>
                <a:close/>
                <a:moveTo>
                  <a:pt x="720" y="802"/>
                </a:moveTo>
                <a:lnTo>
                  <a:pt x="722" y="801"/>
                </a:lnTo>
                <a:lnTo>
                  <a:pt x="720" y="797"/>
                </a:lnTo>
                <a:lnTo>
                  <a:pt x="716" y="798"/>
                </a:lnTo>
                <a:lnTo>
                  <a:pt x="716" y="801"/>
                </a:lnTo>
                <a:lnTo>
                  <a:pt x="718" y="801"/>
                </a:lnTo>
                <a:lnTo>
                  <a:pt x="720" y="798"/>
                </a:lnTo>
                <a:lnTo>
                  <a:pt x="719" y="802"/>
                </a:lnTo>
                <a:lnTo>
                  <a:pt x="720" y="802"/>
                </a:lnTo>
                <a:close/>
                <a:moveTo>
                  <a:pt x="210" y="792"/>
                </a:moveTo>
                <a:lnTo>
                  <a:pt x="211" y="796"/>
                </a:lnTo>
                <a:lnTo>
                  <a:pt x="213" y="792"/>
                </a:lnTo>
                <a:lnTo>
                  <a:pt x="210" y="792"/>
                </a:lnTo>
                <a:close/>
                <a:moveTo>
                  <a:pt x="203" y="803"/>
                </a:moveTo>
                <a:lnTo>
                  <a:pt x="204" y="801"/>
                </a:lnTo>
                <a:lnTo>
                  <a:pt x="200" y="802"/>
                </a:lnTo>
                <a:lnTo>
                  <a:pt x="203" y="803"/>
                </a:lnTo>
                <a:close/>
                <a:moveTo>
                  <a:pt x="204" y="796"/>
                </a:moveTo>
                <a:lnTo>
                  <a:pt x="206" y="797"/>
                </a:lnTo>
                <a:lnTo>
                  <a:pt x="210" y="796"/>
                </a:lnTo>
                <a:lnTo>
                  <a:pt x="205" y="792"/>
                </a:lnTo>
                <a:lnTo>
                  <a:pt x="204" y="796"/>
                </a:lnTo>
                <a:close/>
                <a:moveTo>
                  <a:pt x="215" y="797"/>
                </a:moveTo>
                <a:lnTo>
                  <a:pt x="216" y="796"/>
                </a:lnTo>
                <a:lnTo>
                  <a:pt x="213" y="796"/>
                </a:lnTo>
                <a:lnTo>
                  <a:pt x="215" y="797"/>
                </a:lnTo>
                <a:close/>
                <a:moveTo>
                  <a:pt x="258" y="781"/>
                </a:moveTo>
                <a:lnTo>
                  <a:pt x="259" y="777"/>
                </a:lnTo>
                <a:lnTo>
                  <a:pt x="256" y="779"/>
                </a:lnTo>
                <a:lnTo>
                  <a:pt x="258" y="781"/>
                </a:lnTo>
                <a:close/>
                <a:moveTo>
                  <a:pt x="251" y="789"/>
                </a:moveTo>
                <a:lnTo>
                  <a:pt x="255" y="790"/>
                </a:lnTo>
                <a:lnTo>
                  <a:pt x="251" y="787"/>
                </a:lnTo>
                <a:lnTo>
                  <a:pt x="251" y="789"/>
                </a:lnTo>
                <a:close/>
                <a:moveTo>
                  <a:pt x="198" y="797"/>
                </a:moveTo>
                <a:lnTo>
                  <a:pt x="193" y="801"/>
                </a:lnTo>
                <a:lnTo>
                  <a:pt x="193" y="797"/>
                </a:lnTo>
                <a:lnTo>
                  <a:pt x="190" y="799"/>
                </a:lnTo>
                <a:lnTo>
                  <a:pt x="188" y="802"/>
                </a:lnTo>
                <a:lnTo>
                  <a:pt x="193" y="804"/>
                </a:lnTo>
                <a:lnTo>
                  <a:pt x="191" y="804"/>
                </a:lnTo>
                <a:lnTo>
                  <a:pt x="189" y="808"/>
                </a:lnTo>
                <a:lnTo>
                  <a:pt x="188" y="808"/>
                </a:lnTo>
                <a:lnTo>
                  <a:pt x="189" y="809"/>
                </a:lnTo>
                <a:lnTo>
                  <a:pt x="188" y="809"/>
                </a:lnTo>
                <a:lnTo>
                  <a:pt x="178" y="812"/>
                </a:lnTo>
                <a:lnTo>
                  <a:pt x="181" y="813"/>
                </a:lnTo>
                <a:lnTo>
                  <a:pt x="193" y="808"/>
                </a:lnTo>
                <a:lnTo>
                  <a:pt x="196" y="804"/>
                </a:lnTo>
                <a:lnTo>
                  <a:pt x="197" y="803"/>
                </a:lnTo>
                <a:lnTo>
                  <a:pt x="197" y="802"/>
                </a:lnTo>
                <a:lnTo>
                  <a:pt x="203" y="799"/>
                </a:lnTo>
                <a:lnTo>
                  <a:pt x="198" y="797"/>
                </a:lnTo>
                <a:close/>
                <a:moveTo>
                  <a:pt x="264" y="774"/>
                </a:moveTo>
                <a:lnTo>
                  <a:pt x="265" y="776"/>
                </a:lnTo>
                <a:lnTo>
                  <a:pt x="269" y="774"/>
                </a:lnTo>
                <a:lnTo>
                  <a:pt x="267" y="774"/>
                </a:lnTo>
                <a:lnTo>
                  <a:pt x="264" y="774"/>
                </a:lnTo>
                <a:close/>
                <a:moveTo>
                  <a:pt x="145" y="823"/>
                </a:moveTo>
                <a:lnTo>
                  <a:pt x="146" y="823"/>
                </a:lnTo>
                <a:lnTo>
                  <a:pt x="145" y="822"/>
                </a:lnTo>
                <a:lnTo>
                  <a:pt x="145" y="823"/>
                </a:lnTo>
                <a:close/>
                <a:moveTo>
                  <a:pt x="141" y="731"/>
                </a:moveTo>
                <a:lnTo>
                  <a:pt x="144" y="732"/>
                </a:lnTo>
                <a:lnTo>
                  <a:pt x="145" y="730"/>
                </a:lnTo>
                <a:lnTo>
                  <a:pt x="141" y="731"/>
                </a:lnTo>
                <a:close/>
                <a:moveTo>
                  <a:pt x="151" y="822"/>
                </a:moveTo>
                <a:lnTo>
                  <a:pt x="151" y="820"/>
                </a:lnTo>
                <a:lnTo>
                  <a:pt x="147" y="822"/>
                </a:lnTo>
                <a:lnTo>
                  <a:pt x="151" y="822"/>
                </a:lnTo>
                <a:close/>
                <a:moveTo>
                  <a:pt x="176" y="807"/>
                </a:moveTo>
                <a:lnTo>
                  <a:pt x="169" y="808"/>
                </a:lnTo>
                <a:lnTo>
                  <a:pt x="169" y="810"/>
                </a:lnTo>
                <a:lnTo>
                  <a:pt x="169" y="812"/>
                </a:lnTo>
                <a:lnTo>
                  <a:pt x="166" y="812"/>
                </a:lnTo>
                <a:lnTo>
                  <a:pt x="161" y="815"/>
                </a:lnTo>
                <a:lnTo>
                  <a:pt x="161" y="819"/>
                </a:lnTo>
                <a:lnTo>
                  <a:pt x="159" y="822"/>
                </a:lnTo>
                <a:lnTo>
                  <a:pt x="169" y="817"/>
                </a:lnTo>
                <a:lnTo>
                  <a:pt x="171" y="813"/>
                </a:lnTo>
                <a:lnTo>
                  <a:pt x="178" y="810"/>
                </a:lnTo>
                <a:lnTo>
                  <a:pt x="180" y="808"/>
                </a:lnTo>
                <a:lnTo>
                  <a:pt x="176" y="807"/>
                </a:lnTo>
                <a:close/>
                <a:moveTo>
                  <a:pt x="152" y="743"/>
                </a:moveTo>
                <a:lnTo>
                  <a:pt x="154" y="743"/>
                </a:lnTo>
                <a:lnTo>
                  <a:pt x="149" y="743"/>
                </a:lnTo>
                <a:lnTo>
                  <a:pt x="152" y="743"/>
                </a:lnTo>
                <a:close/>
                <a:moveTo>
                  <a:pt x="164" y="599"/>
                </a:moveTo>
                <a:lnTo>
                  <a:pt x="158" y="599"/>
                </a:lnTo>
                <a:lnTo>
                  <a:pt x="152" y="604"/>
                </a:lnTo>
                <a:lnTo>
                  <a:pt x="151" y="604"/>
                </a:lnTo>
                <a:lnTo>
                  <a:pt x="148" y="598"/>
                </a:lnTo>
                <a:lnTo>
                  <a:pt x="141" y="596"/>
                </a:lnTo>
                <a:lnTo>
                  <a:pt x="141" y="594"/>
                </a:lnTo>
                <a:lnTo>
                  <a:pt x="141" y="593"/>
                </a:lnTo>
                <a:lnTo>
                  <a:pt x="133" y="589"/>
                </a:lnTo>
                <a:lnTo>
                  <a:pt x="133" y="589"/>
                </a:lnTo>
                <a:lnTo>
                  <a:pt x="133" y="589"/>
                </a:lnTo>
                <a:lnTo>
                  <a:pt x="132" y="589"/>
                </a:lnTo>
                <a:lnTo>
                  <a:pt x="132" y="589"/>
                </a:lnTo>
                <a:lnTo>
                  <a:pt x="122" y="592"/>
                </a:lnTo>
                <a:lnTo>
                  <a:pt x="116" y="590"/>
                </a:lnTo>
                <a:lnTo>
                  <a:pt x="116" y="588"/>
                </a:lnTo>
                <a:lnTo>
                  <a:pt x="120" y="581"/>
                </a:lnTo>
                <a:lnTo>
                  <a:pt x="125" y="587"/>
                </a:lnTo>
                <a:lnTo>
                  <a:pt x="133" y="587"/>
                </a:lnTo>
                <a:lnTo>
                  <a:pt x="144" y="583"/>
                </a:lnTo>
                <a:lnTo>
                  <a:pt x="154" y="591"/>
                </a:lnTo>
                <a:lnTo>
                  <a:pt x="166" y="594"/>
                </a:lnTo>
                <a:lnTo>
                  <a:pt x="164" y="599"/>
                </a:lnTo>
                <a:close/>
                <a:moveTo>
                  <a:pt x="133" y="589"/>
                </a:moveTo>
                <a:lnTo>
                  <a:pt x="134" y="589"/>
                </a:lnTo>
                <a:lnTo>
                  <a:pt x="133" y="589"/>
                </a:lnTo>
                <a:lnTo>
                  <a:pt x="133" y="589"/>
                </a:lnTo>
                <a:lnTo>
                  <a:pt x="133" y="589"/>
                </a:lnTo>
                <a:close/>
                <a:moveTo>
                  <a:pt x="141" y="592"/>
                </a:moveTo>
                <a:lnTo>
                  <a:pt x="139" y="590"/>
                </a:lnTo>
                <a:lnTo>
                  <a:pt x="134" y="589"/>
                </a:lnTo>
                <a:lnTo>
                  <a:pt x="141" y="593"/>
                </a:lnTo>
                <a:lnTo>
                  <a:pt x="141" y="592"/>
                </a:lnTo>
                <a:close/>
                <a:moveTo>
                  <a:pt x="331" y="1663"/>
                </a:moveTo>
                <a:lnTo>
                  <a:pt x="329" y="1665"/>
                </a:lnTo>
                <a:lnTo>
                  <a:pt x="327" y="1665"/>
                </a:lnTo>
                <a:lnTo>
                  <a:pt x="333" y="1667"/>
                </a:lnTo>
                <a:lnTo>
                  <a:pt x="331" y="1665"/>
                </a:lnTo>
                <a:lnTo>
                  <a:pt x="331" y="1663"/>
                </a:lnTo>
                <a:close/>
                <a:moveTo>
                  <a:pt x="303" y="779"/>
                </a:moveTo>
                <a:lnTo>
                  <a:pt x="303" y="779"/>
                </a:lnTo>
                <a:lnTo>
                  <a:pt x="303" y="777"/>
                </a:lnTo>
                <a:lnTo>
                  <a:pt x="303" y="779"/>
                </a:lnTo>
                <a:close/>
                <a:moveTo>
                  <a:pt x="333" y="1373"/>
                </a:moveTo>
                <a:lnTo>
                  <a:pt x="330" y="1376"/>
                </a:lnTo>
                <a:lnTo>
                  <a:pt x="337" y="1376"/>
                </a:lnTo>
                <a:lnTo>
                  <a:pt x="338" y="1373"/>
                </a:lnTo>
                <a:lnTo>
                  <a:pt x="333" y="1373"/>
                </a:lnTo>
                <a:close/>
                <a:moveTo>
                  <a:pt x="301" y="777"/>
                </a:moveTo>
                <a:lnTo>
                  <a:pt x="301" y="776"/>
                </a:lnTo>
                <a:lnTo>
                  <a:pt x="300" y="776"/>
                </a:lnTo>
                <a:lnTo>
                  <a:pt x="300" y="777"/>
                </a:lnTo>
                <a:lnTo>
                  <a:pt x="301" y="777"/>
                </a:lnTo>
                <a:close/>
                <a:moveTo>
                  <a:pt x="297" y="776"/>
                </a:moveTo>
                <a:lnTo>
                  <a:pt x="300" y="776"/>
                </a:lnTo>
                <a:lnTo>
                  <a:pt x="300" y="773"/>
                </a:lnTo>
                <a:lnTo>
                  <a:pt x="297" y="776"/>
                </a:lnTo>
                <a:close/>
                <a:moveTo>
                  <a:pt x="283" y="769"/>
                </a:moveTo>
                <a:lnTo>
                  <a:pt x="282" y="769"/>
                </a:lnTo>
                <a:lnTo>
                  <a:pt x="281" y="770"/>
                </a:lnTo>
                <a:lnTo>
                  <a:pt x="281" y="774"/>
                </a:lnTo>
                <a:lnTo>
                  <a:pt x="284" y="773"/>
                </a:lnTo>
                <a:lnTo>
                  <a:pt x="283" y="773"/>
                </a:lnTo>
                <a:lnTo>
                  <a:pt x="283" y="769"/>
                </a:lnTo>
                <a:close/>
                <a:moveTo>
                  <a:pt x="316" y="1369"/>
                </a:moveTo>
                <a:lnTo>
                  <a:pt x="320" y="1375"/>
                </a:lnTo>
                <a:lnTo>
                  <a:pt x="323" y="1375"/>
                </a:lnTo>
                <a:lnTo>
                  <a:pt x="326" y="1375"/>
                </a:lnTo>
                <a:lnTo>
                  <a:pt x="322" y="1368"/>
                </a:lnTo>
                <a:lnTo>
                  <a:pt x="316" y="1369"/>
                </a:lnTo>
                <a:close/>
                <a:moveTo>
                  <a:pt x="136" y="826"/>
                </a:moveTo>
                <a:lnTo>
                  <a:pt x="138" y="824"/>
                </a:lnTo>
                <a:lnTo>
                  <a:pt x="137" y="824"/>
                </a:lnTo>
                <a:lnTo>
                  <a:pt x="136" y="826"/>
                </a:lnTo>
                <a:close/>
                <a:moveTo>
                  <a:pt x="337" y="1381"/>
                </a:moveTo>
                <a:lnTo>
                  <a:pt x="337" y="1379"/>
                </a:lnTo>
                <a:lnTo>
                  <a:pt x="334" y="1379"/>
                </a:lnTo>
                <a:lnTo>
                  <a:pt x="337" y="1381"/>
                </a:lnTo>
                <a:close/>
                <a:moveTo>
                  <a:pt x="289" y="1365"/>
                </a:moveTo>
                <a:lnTo>
                  <a:pt x="291" y="1361"/>
                </a:lnTo>
                <a:lnTo>
                  <a:pt x="288" y="1362"/>
                </a:lnTo>
                <a:lnTo>
                  <a:pt x="289" y="1365"/>
                </a:lnTo>
                <a:close/>
                <a:moveTo>
                  <a:pt x="296" y="1360"/>
                </a:moveTo>
                <a:lnTo>
                  <a:pt x="296" y="1362"/>
                </a:lnTo>
                <a:lnTo>
                  <a:pt x="300" y="1365"/>
                </a:lnTo>
                <a:lnTo>
                  <a:pt x="301" y="1362"/>
                </a:lnTo>
                <a:lnTo>
                  <a:pt x="303" y="1357"/>
                </a:lnTo>
                <a:lnTo>
                  <a:pt x="297" y="1357"/>
                </a:lnTo>
                <a:lnTo>
                  <a:pt x="296" y="1360"/>
                </a:lnTo>
                <a:close/>
                <a:moveTo>
                  <a:pt x="286" y="773"/>
                </a:moveTo>
                <a:lnTo>
                  <a:pt x="286" y="769"/>
                </a:lnTo>
                <a:lnTo>
                  <a:pt x="284" y="770"/>
                </a:lnTo>
                <a:lnTo>
                  <a:pt x="286" y="773"/>
                </a:lnTo>
                <a:close/>
                <a:moveTo>
                  <a:pt x="293" y="774"/>
                </a:moveTo>
                <a:lnTo>
                  <a:pt x="293" y="770"/>
                </a:lnTo>
                <a:lnTo>
                  <a:pt x="291" y="775"/>
                </a:lnTo>
                <a:lnTo>
                  <a:pt x="293" y="774"/>
                </a:lnTo>
                <a:close/>
                <a:moveTo>
                  <a:pt x="289" y="776"/>
                </a:moveTo>
                <a:lnTo>
                  <a:pt x="288" y="779"/>
                </a:lnTo>
                <a:lnTo>
                  <a:pt x="291" y="776"/>
                </a:lnTo>
                <a:lnTo>
                  <a:pt x="289" y="776"/>
                </a:lnTo>
                <a:lnTo>
                  <a:pt x="289" y="776"/>
                </a:lnTo>
                <a:close/>
                <a:moveTo>
                  <a:pt x="291" y="776"/>
                </a:moveTo>
                <a:lnTo>
                  <a:pt x="291" y="775"/>
                </a:lnTo>
                <a:lnTo>
                  <a:pt x="291" y="776"/>
                </a:lnTo>
                <a:lnTo>
                  <a:pt x="291" y="776"/>
                </a:lnTo>
                <a:close/>
                <a:moveTo>
                  <a:pt x="307" y="759"/>
                </a:moveTo>
                <a:lnTo>
                  <a:pt x="310" y="759"/>
                </a:lnTo>
                <a:lnTo>
                  <a:pt x="308" y="758"/>
                </a:lnTo>
                <a:lnTo>
                  <a:pt x="307" y="759"/>
                </a:lnTo>
                <a:close/>
                <a:moveTo>
                  <a:pt x="1" y="1946"/>
                </a:moveTo>
                <a:lnTo>
                  <a:pt x="0" y="1948"/>
                </a:lnTo>
                <a:lnTo>
                  <a:pt x="0" y="1950"/>
                </a:lnTo>
                <a:lnTo>
                  <a:pt x="1" y="1948"/>
                </a:lnTo>
                <a:lnTo>
                  <a:pt x="1" y="1946"/>
                </a:lnTo>
                <a:close/>
                <a:moveTo>
                  <a:pt x="50" y="839"/>
                </a:moveTo>
                <a:lnTo>
                  <a:pt x="44" y="840"/>
                </a:lnTo>
                <a:lnTo>
                  <a:pt x="44" y="841"/>
                </a:lnTo>
                <a:lnTo>
                  <a:pt x="44" y="846"/>
                </a:lnTo>
                <a:lnTo>
                  <a:pt x="44" y="847"/>
                </a:lnTo>
                <a:lnTo>
                  <a:pt x="50" y="843"/>
                </a:lnTo>
                <a:lnTo>
                  <a:pt x="50" y="839"/>
                </a:lnTo>
                <a:close/>
                <a:moveTo>
                  <a:pt x="1" y="1981"/>
                </a:moveTo>
                <a:lnTo>
                  <a:pt x="4" y="1979"/>
                </a:lnTo>
                <a:lnTo>
                  <a:pt x="1" y="1979"/>
                </a:lnTo>
                <a:lnTo>
                  <a:pt x="1" y="1981"/>
                </a:lnTo>
                <a:close/>
                <a:moveTo>
                  <a:pt x="52" y="844"/>
                </a:moveTo>
                <a:lnTo>
                  <a:pt x="52" y="842"/>
                </a:lnTo>
                <a:lnTo>
                  <a:pt x="50" y="843"/>
                </a:lnTo>
                <a:lnTo>
                  <a:pt x="50" y="844"/>
                </a:lnTo>
                <a:lnTo>
                  <a:pt x="52" y="844"/>
                </a:lnTo>
                <a:close/>
                <a:moveTo>
                  <a:pt x="14" y="1956"/>
                </a:moveTo>
                <a:lnTo>
                  <a:pt x="16" y="1953"/>
                </a:lnTo>
                <a:lnTo>
                  <a:pt x="14" y="1952"/>
                </a:lnTo>
                <a:lnTo>
                  <a:pt x="14" y="1956"/>
                </a:lnTo>
                <a:close/>
                <a:moveTo>
                  <a:pt x="24" y="1965"/>
                </a:moveTo>
                <a:lnTo>
                  <a:pt x="25" y="1964"/>
                </a:lnTo>
                <a:lnTo>
                  <a:pt x="24" y="1964"/>
                </a:lnTo>
                <a:lnTo>
                  <a:pt x="24" y="1965"/>
                </a:lnTo>
                <a:close/>
                <a:moveTo>
                  <a:pt x="16" y="852"/>
                </a:moveTo>
                <a:lnTo>
                  <a:pt x="18" y="852"/>
                </a:lnTo>
                <a:lnTo>
                  <a:pt x="16" y="850"/>
                </a:lnTo>
                <a:lnTo>
                  <a:pt x="16" y="852"/>
                </a:lnTo>
                <a:close/>
                <a:moveTo>
                  <a:pt x="807" y="425"/>
                </a:moveTo>
                <a:lnTo>
                  <a:pt x="801" y="425"/>
                </a:lnTo>
                <a:lnTo>
                  <a:pt x="807" y="428"/>
                </a:lnTo>
                <a:lnTo>
                  <a:pt x="807" y="425"/>
                </a:lnTo>
                <a:close/>
                <a:moveTo>
                  <a:pt x="801" y="325"/>
                </a:moveTo>
                <a:lnTo>
                  <a:pt x="805" y="326"/>
                </a:lnTo>
                <a:lnTo>
                  <a:pt x="804" y="325"/>
                </a:lnTo>
                <a:lnTo>
                  <a:pt x="801" y="325"/>
                </a:lnTo>
                <a:close/>
                <a:moveTo>
                  <a:pt x="649" y="445"/>
                </a:moveTo>
                <a:lnTo>
                  <a:pt x="646" y="445"/>
                </a:lnTo>
                <a:lnTo>
                  <a:pt x="649" y="447"/>
                </a:lnTo>
                <a:lnTo>
                  <a:pt x="649" y="445"/>
                </a:lnTo>
                <a:close/>
                <a:moveTo>
                  <a:pt x="108" y="556"/>
                </a:moveTo>
                <a:lnTo>
                  <a:pt x="104" y="560"/>
                </a:lnTo>
                <a:lnTo>
                  <a:pt x="112" y="560"/>
                </a:lnTo>
                <a:lnTo>
                  <a:pt x="108" y="556"/>
                </a:lnTo>
                <a:close/>
                <a:moveTo>
                  <a:pt x="27" y="840"/>
                </a:moveTo>
                <a:lnTo>
                  <a:pt x="31" y="842"/>
                </a:lnTo>
                <a:lnTo>
                  <a:pt x="28" y="846"/>
                </a:lnTo>
                <a:lnTo>
                  <a:pt x="32" y="847"/>
                </a:lnTo>
                <a:lnTo>
                  <a:pt x="32" y="841"/>
                </a:lnTo>
                <a:lnTo>
                  <a:pt x="31" y="840"/>
                </a:lnTo>
                <a:lnTo>
                  <a:pt x="27" y="840"/>
                </a:lnTo>
                <a:close/>
                <a:moveTo>
                  <a:pt x="158" y="533"/>
                </a:moveTo>
                <a:lnTo>
                  <a:pt x="158" y="535"/>
                </a:lnTo>
                <a:lnTo>
                  <a:pt x="160" y="533"/>
                </a:lnTo>
                <a:lnTo>
                  <a:pt x="158" y="533"/>
                </a:lnTo>
                <a:close/>
                <a:moveTo>
                  <a:pt x="597" y="440"/>
                </a:moveTo>
                <a:lnTo>
                  <a:pt x="592" y="439"/>
                </a:lnTo>
                <a:lnTo>
                  <a:pt x="589" y="440"/>
                </a:lnTo>
                <a:lnTo>
                  <a:pt x="592" y="442"/>
                </a:lnTo>
                <a:lnTo>
                  <a:pt x="597" y="440"/>
                </a:lnTo>
                <a:close/>
                <a:moveTo>
                  <a:pt x="104" y="656"/>
                </a:moveTo>
                <a:lnTo>
                  <a:pt x="103" y="659"/>
                </a:lnTo>
                <a:lnTo>
                  <a:pt x="109" y="664"/>
                </a:lnTo>
                <a:lnTo>
                  <a:pt x="113" y="664"/>
                </a:lnTo>
                <a:lnTo>
                  <a:pt x="106" y="659"/>
                </a:lnTo>
                <a:lnTo>
                  <a:pt x="104" y="656"/>
                </a:lnTo>
                <a:close/>
                <a:moveTo>
                  <a:pt x="96" y="838"/>
                </a:moveTo>
                <a:lnTo>
                  <a:pt x="104" y="836"/>
                </a:lnTo>
                <a:lnTo>
                  <a:pt x="87" y="835"/>
                </a:lnTo>
                <a:lnTo>
                  <a:pt x="96" y="838"/>
                </a:lnTo>
                <a:close/>
                <a:moveTo>
                  <a:pt x="88" y="1973"/>
                </a:moveTo>
                <a:lnTo>
                  <a:pt x="88" y="1971"/>
                </a:lnTo>
                <a:lnTo>
                  <a:pt x="86" y="1973"/>
                </a:lnTo>
                <a:lnTo>
                  <a:pt x="88" y="1973"/>
                </a:lnTo>
                <a:close/>
                <a:moveTo>
                  <a:pt x="87" y="831"/>
                </a:moveTo>
                <a:lnTo>
                  <a:pt x="85" y="830"/>
                </a:lnTo>
                <a:lnTo>
                  <a:pt x="81" y="831"/>
                </a:lnTo>
                <a:lnTo>
                  <a:pt x="85" y="834"/>
                </a:lnTo>
                <a:lnTo>
                  <a:pt x="69" y="838"/>
                </a:lnTo>
                <a:lnTo>
                  <a:pt x="84" y="836"/>
                </a:lnTo>
                <a:lnTo>
                  <a:pt x="86" y="835"/>
                </a:lnTo>
                <a:lnTo>
                  <a:pt x="87" y="831"/>
                </a:lnTo>
                <a:close/>
                <a:moveTo>
                  <a:pt x="109" y="834"/>
                </a:moveTo>
                <a:lnTo>
                  <a:pt x="110" y="834"/>
                </a:lnTo>
                <a:lnTo>
                  <a:pt x="113" y="831"/>
                </a:lnTo>
                <a:lnTo>
                  <a:pt x="110" y="830"/>
                </a:lnTo>
                <a:lnTo>
                  <a:pt x="109" y="834"/>
                </a:lnTo>
                <a:close/>
                <a:moveTo>
                  <a:pt x="108" y="1895"/>
                </a:moveTo>
                <a:lnTo>
                  <a:pt x="105" y="1895"/>
                </a:lnTo>
                <a:lnTo>
                  <a:pt x="108" y="1903"/>
                </a:lnTo>
                <a:lnTo>
                  <a:pt x="112" y="1903"/>
                </a:lnTo>
                <a:lnTo>
                  <a:pt x="113" y="1899"/>
                </a:lnTo>
                <a:lnTo>
                  <a:pt x="112" y="1895"/>
                </a:lnTo>
                <a:lnTo>
                  <a:pt x="108" y="1895"/>
                </a:lnTo>
                <a:close/>
                <a:moveTo>
                  <a:pt x="115" y="1903"/>
                </a:moveTo>
                <a:lnTo>
                  <a:pt x="116" y="1905"/>
                </a:lnTo>
                <a:lnTo>
                  <a:pt x="122" y="1905"/>
                </a:lnTo>
                <a:lnTo>
                  <a:pt x="118" y="1902"/>
                </a:lnTo>
                <a:lnTo>
                  <a:pt x="115" y="1903"/>
                </a:lnTo>
                <a:close/>
                <a:moveTo>
                  <a:pt x="73" y="2021"/>
                </a:moveTo>
                <a:lnTo>
                  <a:pt x="73" y="2017"/>
                </a:lnTo>
                <a:lnTo>
                  <a:pt x="71" y="2019"/>
                </a:lnTo>
                <a:lnTo>
                  <a:pt x="73" y="2021"/>
                </a:lnTo>
                <a:close/>
                <a:moveTo>
                  <a:pt x="58" y="842"/>
                </a:moveTo>
                <a:lnTo>
                  <a:pt x="59" y="841"/>
                </a:lnTo>
                <a:lnTo>
                  <a:pt x="57" y="840"/>
                </a:lnTo>
                <a:lnTo>
                  <a:pt x="58" y="842"/>
                </a:lnTo>
                <a:close/>
                <a:moveTo>
                  <a:pt x="53" y="2402"/>
                </a:moveTo>
                <a:lnTo>
                  <a:pt x="54" y="2401"/>
                </a:lnTo>
                <a:lnTo>
                  <a:pt x="53" y="2401"/>
                </a:lnTo>
                <a:lnTo>
                  <a:pt x="53" y="2402"/>
                </a:lnTo>
                <a:close/>
                <a:moveTo>
                  <a:pt x="53" y="2395"/>
                </a:moveTo>
                <a:lnTo>
                  <a:pt x="47" y="2393"/>
                </a:lnTo>
                <a:lnTo>
                  <a:pt x="42" y="2393"/>
                </a:lnTo>
                <a:lnTo>
                  <a:pt x="44" y="2394"/>
                </a:lnTo>
                <a:lnTo>
                  <a:pt x="44" y="2396"/>
                </a:lnTo>
                <a:lnTo>
                  <a:pt x="45" y="2397"/>
                </a:lnTo>
                <a:lnTo>
                  <a:pt x="46" y="2400"/>
                </a:lnTo>
                <a:lnTo>
                  <a:pt x="51" y="2398"/>
                </a:lnTo>
                <a:lnTo>
                  <a:pt x="47" y="2395"/>
                </a:lnTo>
                <a:lnTo>
                  <a:pt x="53" y="2395"/>
                </a:lnTo>
                <a:close/>
                <a:moveTo>
                  <a:pt x="54" y="842"/>
                </a:moveTo>
                <a:lnTo>
                  <a:pt x="54" y="841"/>
                </a:lnTo>
                <a:lnTo>
                  <a:pt x="53" y="841"/>
                </a:lnTo>
                <a:lnTo>
                  <a:pt x="54" y="842"/>
                </a:lnTo>
                <a:close/>
                <a:moveTo>
                  <a:pt x="44" y="840"/>
                </a:moveTo>
                <a:lnTo>
                  <a:pt x="40" y="840"/>
                </a:lnTo>
                <a:lnTo>
                  <a:pt x="40" y="841"/>
                </a:lnTo>
                <a:lnTo>
                  <a:pt x="34" y="849"/>
                </a:lnTo>
                <a:lnTo>
                  <a:pt x="35" y="849"/>
                </a:lnTo>
                <a:lnTo>
                  <a:pt x="42" y="849"/>
                </a:lnTo>
                <a:lnTo>
                  <a:pt x="44" y="840"/>
                </a:lnTo>
                <a:close/>
                <a:moveTo>
                  <a:pt x="70" y="2015"/>
                </a:moveTo>
                <a:lnTo>
                  <a:pt x="66" y="2013"/>
                </a:lnTo>
                <a:lnTo>
                  <a:pt x="66" y="2015"/>
                </a:lnTo>
                <a:lnTo>
                  <a:pt x="70" y="2017"/>
                </a:lnTo>
                <a:lnTo>
                  <a:pt x="71" y="2015"/>
                </a:lnTo>
                <a:lnTo>
                  <a:pt x="70" y="2015"/>
                </a:lnTo>
                <a:close/>
                <a:moveTo>
                  <a:pt x="57" y="838"/>
                </a:moveTo>
                <a:lnTo>
                  <a:pt x="58" y="838"/>
                </a:lnTo>
                <a:lnTo>
                  <a:pt x="59" y="836"/>
                </a:lnTo>
                <a:lnTo>
                  <a:pt x="58" y="836"/>
                </a:lnTo>
                <a:lnTo>
                  <a:pt x="57" y="838"/>
                </a:lnTo>
                <a:close/>
                <a:moveTo>
                  <a:pt x="197" y="660"/>
                </a:moveTo>
                <a:lnTo>
                  <a:pt x="192" y="664"/>
                </a:lnTo>
                <a:lnTo>
                  <a:pt x="185" y="666"/>
                </a:lnTo>
                <a:lnTo>
                  <a:pt x="189" y="669"/>
                </a:lnTo>
                <a:lnTo>
                  <a:pt x="203" y="675"/>
                </a:lnTo>
                <a:lnTo>
                  <a:pt x="204" y="674"/>
                </a:lnTo>
                <a:lnTo>
                  <a:pt x="203" y="671"/>
                </a:lnTo>
                <a:lnTo>
                  <a:pt x="211" y="670"/>
                </a:lnTo>
                <a:lnTo>
                  <a:pt x="209" y="667"/>
                </a:lnTo>
                <a:lnTo>
                  <a:pt x="209" y="664"/>
                </a:lnTo>
                <a:lnTo>
                  <a:pt x="201" y="664"/>
                </a:lnTo>
                <a:lnTo>
                  <a:pt x="201" y="660"/>
                </a:lnTo>
                <a:lnTo>
                  <a:pt x="197" y="660"/>
                </a:lnTo>
                <a:close/>
                <a:moveTo>
                  <a:pt x="677" y="763"/>
                </a:moveTo>
                <a:lnTo>
                  <a:pt x="679" y="762"/>
                </a:lnTo>
                <a:lnTo>
                  <a:pt x="679" y="762"/>
                </a:lnTo>
                <a:lnTo>
                  <a:pt x="676" y="762"/>
                </a:lnTo>
                <a:lnTo>
                  <a:pt x="677" y="763"/>
                </a:lnTo>
                <a:close/>
                <a:moveTo>
                  <a:pt x="689" y="746"/>
                </a:moveTo>
                <a:lnTo>
                  <a:pt x="686" y="746"/>
                </a:lnTo>
                <a:lnTo>
                  <a:pt x="683" y="749"/>
                </a:lnTo>
                <a:lnTo>
                  <a:pt x="686" y="751"/>
                </a:lnTo>
                <a:lnTo>
                  <a:pt x="689" y="749"/>
                </a:lnTo>
                <a:lnTo>
                  <a:pt x="689" y="746"/>
                </a:lnTo>
                <a:close/>
                <a:moveTo>
                  <a:pt x="696" y="782"/>
                </a:moveTo>
                <a:lnTo>
                  <a:pt x="695" y="782"/>
                </a:lnTo>
                <a:lnTo>
                  <a:pt x="695" y="782"/>
                </a:lnTo>
                <a:lnTo>
                  <a:pt x="696" y="782"/>
                </a:lnTo>
                <a:close/>
                <a:moveTo>
                  <a:pt x="696" y="767"/>
                </a:moveTo>
                <a:lnTo>
                  <a:pt x="688" y="758"/>
                </a:lnTo>
                <a:lnTo>
                  <a:pt x="683" y="754"/>
                </a:lnTo>
                <a:lnTo>
                  <a:pt x="683" y="755"/>
                </a:lnTo>
                <a:lnTo>
                  <a:pt x="680" y="752"/>
                </a:lnTo>
                <a:lnTo>
                  <a:pt x="679" y="752"/>
                </a:lnTo>
                <a:lnTo>
                  <a:pt x="677" y="752"/>
                </a:lnTo>
                <a:lnTo>
                  <a:pt x="675" y="751"/>
                </a:lnTo>
                <a:lnTo>
                  <a:pt x="675" y="752"/>
                </a:lnTo>
                <a:lnTo>
                  <a:pt x="677" y="752"/>
                </a:lnTo>
                <a:lnTo>
                  <a:pt x="673" y="757"/>
                </a:lnTo>
                <a:lnTo>
                  <a:pt x="679" y="756"/>
                </a:lnTo>
                <a:lnTo>
                  <a:pt x="679" y="760"/>
                </a:lnTo>
                <a:lnTo>
                  <a:pt x="679" y="762"/>
                </a:lnTo>
                <a:lnTo>
                  <a:pt x="680" y="760"/>
                </a:lnTo>
                <a:lnTo>
                  <a:pt x="683" y="760"/>
                </a:lnTo>
                <a:lnTo>
                  <a:pt x="680" y="764"/>
                </a:lnTo>
                <a:lnTo>
                  <a:pt x="679" y="764"/>
                </a:lnTo>
                <a:lnTo>
                  <a:pt x="678" y="764"/>
                </a:lnTo>
                <a:lnTo>
                  <a:pt x="679" y="767"/>
                </a:lnTo>
                <a:lnTo>
                  <a:pt x="679" y="768"/>
                </a:lnTo>
                <a:lnTo>
                  <a:pt x="686" y="768"/>
                </a:lnTo>
                <a:lnTo>
                  <a:pt x="683" y="769"/>
                </a:lnTo>
                <a:lnTo>
                  <a:pt x="686" y="772"/>
                </a:lnTo>
                <a:lnTo>
                  <a:pt x="684" y="776"/>
                </a:lnTo>
                <a:lnTo>
                  <a:pt x="687" y="776"/>
                </a:lnTo>
                <a:lnTo>
                  <a:pt x="687" y="780"/>
                </a:lnTo>
                <a:lnTo>
                  <a:pt x="687" y="782"/>
                </a:lnTo>
                <a:lnTo>
                  <a:pt x="688" y="780"/>
                </a:lnTo>
                <a:lnTo>
                  <a:pt x="692" y="780"/>
                </a:lnTo>
                <a:lnTo>
                  <a:pt x="695" y="782"/>
                </a:lnTo>
                <a:lnTo>
                  <a:pt x="695" y="776"/>
                </a:lnTo>
                <a:lnTo>
                  <a:pt x="692" y="777"/>
                </a:lnTo>
                <a:lnTo>
                  <a:pt x="695" y="774"/>
                </a:lnTo>
                <a:lnTo>
                  <a:pt x="695" y="772"/>
                </a:lnTo>
                <a:lnTo>
                  <a:pt x="697" y="770"/>
                </a:lnTo>
                <a:lnTo>
                  <a:pt x="693" y="767"/>
                </a:lnTo>
                <a:lnTo>
                  <a:pt x="687" y="765"/>
                </a:lnTo>
                <a:lnTo>
                  <a:pt x="687" y="764"/>
                </a:lnTo>
                <a:lnTo>
                  <a:pt x="696" y="767"/>
                </a:lnTo>
                <a:close/>
                <a:moveTo>
                  <a:pt x="679" y="776"/>
                </a:moveTo>
                <a:lnTo>
                  <a:pt x="683" y="779"/>
                </a:lnTo>
                <a:lnTo>
                  <a:pt x="686" y="788"/>
                </a:lnTo>
                <a:lnTo>
                  <a:pt x="689" y="788"/>
                </a:lnTo>
                <a:lnTo>
                  <a:pt x="683" y="776"/>
                </a:lnTo>
                <a:lnTo>
                  <a:pt x="679" y="776"/>
                </a:lnTo>
                <a:close/>
                <a:moveTo>
                  <a:pt x="679" y="776"/>
                </a:moveTo>
                <a:lnTo>
                  <a:pt x="679" y="776"/>
                </a:lnTo>
                <a:lnTo>
                  <a:pt x="679" y="776"/>
                </a:lnTo>
                <a:lnTo>
                  <a:pt x="679" y="776"/>
                </a:lnTo>
                <a:close/>
                <a:moveTo>
                  <a:pt x="691" y="744"/>
                </a:moveTo>
                <a:lnTo>
                  <a:pt x="691" y="744"/>
                </a:lnTo>
                <a:lnTo>
                  <a:pt x="691" y="744"/>
                </a:lnTo>
                <a:lnTo>
                  <a:pt x="691" y="744"/>
                </a:lnTo>
                <a:close/>
                <a:moveTo>
                  <a:pt x="695" y="784"/>
                </a:moveTo>
                <a:lnTo>
                  <a:pt x="695" y="782"/>
                </a:lnTo>
                <a:lnTo>
                  <a:pt x="693" y="782"/>
                </a:lnTo>
                <a:lnTo>
                  <a:pt x="695" y="784"/>
                </a:lnTo>
                <a:close/>
                <a:moveTo>
                  <a:pt x="669" y="728"/>
                </a:moveTo>
                <a:lnTo>
                  <a:pt x="669" y="728"/>
                </a:lnTo>
                <a:lnTo>
                  <a:pt x="669" y="728"/>
                </a:lnTo>
                <a:lnTo>
                  <a:pt x="669" y="728"/>
                </a:lnTo>
                <a:close/>
                <a:moveTo>
                  <a:pt x="666" y="726"/>
                </a:moveTo>
                <a:lnTo>
                  <a:pt x="669" y="728"/>
                </a:lnTo>
                <a:lnTo>
                  <a:pt x="672" y="728"/>
                </a:lnTo>
                <a:lnTo>
                  <a:pt x="663" y="716"/>
                </a:lnTo>
                <a:lnTo>
                  <a:pt x="663" y="712"/>
                </a:lnTo>
                <a:lnTo>
                  <a:pt x="671" y="721"/>
                </a:lnTo>
                <a:lnTo>
                  <a:pt x="666" y="712"/>
                </a:lnTo>
                <a:lnTo>
                  <a:pt x="660" y="712"/>
                </a:lnTo>
                <a:lnTo>
                  <a:pt x="656" y="706"/>
                </a:lnTo>
                <a:lnTo>
                  <a:pt x="662" y="724"/>
                </a:lnTo>
                <a:lnTo>
                  <a:pt x="665" y="724"/>
                </a:lnTo>
                <a:lnTo>
                  <a:pt x="662" y="725"/>
                </a:lnTo>
                <a:lnTo>
                  <a:pt x="665" y="728"/>
                </a:lnTo>
                <a:lnTo>
                  <a:pt x="662" y="726"/>
                </a:lnTo>
                <a:lnTo>
                  <a:pt x="660" y="730"/>
                </a:lnTo>
                <a:lnTo>
                  <a:pt x="662" y="735"/>
                </a:lnTo>
                <a:lnTo>
                  <a:pt x="669" y="730"/>
                </a:lnTo>
                <a:lnTo>
                  <a:pt x="666" y="726"/>
                </a:lnTo>
                <a:close/>
                <a:moveTo>
                  <a:pt x="672" y="728"/>
                </a:moveTo>
                <a:lnTo>
                  <a:pt x="669" y="728"/>
                </a:lnTo>
                <a:lnTo>
                  <a:pt x="670" y="728"/>
                </a:lnTo>
                <a:lnTo>
                  <a:pt x="672" y="728"/>
                </a:lnTo>
                <a:close/>
                <a:moveTo>
                  <a:pt x="659" y="728"/>
                </a:moveTo>
                <a:lnTo>
                  <a:pt x="658" y="726"/>
                </a:lnTo>
                <a:lnTo>
                  <a:pt x="656" y="726"/>
                </a:lnTo>
                <a:lnTo>
                  <a:pt x="659" y="728"/>
                </a:lnTo>
                <a:close/>
                <a:moveTo>
                  <a:pt x="686" y="740"/>
                </a:moveTo>
                <a:lnTo>
                  <a:pt x="684" y="743"/>
                </a:lnTo>
                <a:lnTo>
                  <a:pt x="691" y="743"/>
                </a:lnTo>
                <a:lnTo>
                  <a:pt x="687" y="740"/>
                </a:lnTo>
                <a:lnTo>
                  <a:pt x="686" y="740"/>
                </a:lnTo>
                <a:close/>
                <a:moveTo>
                  <a:pt x="691" y="743"/>
                </a:moveTo>
                <a:lnTo>
                  <a:pt x="691" y="744"/>
                </a:lnTo>
                <a:lnTo>
                  <a:pt x="691" y="744"/>
                </a:lnTo>
                <a:lnTo>
                  <a:pt x="691" y="743"/>
                </a:lnTo>
                <a:close/>
                <a:moveTo>
                  <a:pt x="678" y="765"/>
                </a:moveTo>
                <a:lnTo>
                  <a:pt x="676" y="767"/>
                </a:lnTo>
                <a:lnTo>
                  <a:pt x="677" y="767"/>
                </a:lnTo>
                <a:lnTo>
                  <a:pt x="678" y="767"/>
                </a:lnTo>
                <a:lnTo>
                  <a:pt x="678" y="765"/>
                </a:lnTo>
                <a:close/>
                <a:moveTo>
                  <a:pt x="2531" y="728"/>
                </a:moveTo>
                <a:lnTo>
                  <a:pt x="2526" y="728"/>
                </a:lnTo>
                <a:lnTo>
                  <a:pt x="2526" y="724"/>
                </a:lnTo>
                <a:lnTo>
                  <a:pt x="2531" y="724"/>
                </a:lnTo>
                <a:lnTo>
                  <a:pt x="2526" y="721"/>
                </a:lnTo>
                <a:lnTo>
                  <a:pt x="2526" y="718"/>
                </a:lnTo>
                <a:lnTo>
                  <a:pt x="2526" y="716"/>
                </a:lnTo>
                <a:lnTo>
                  <a:pt x="2526" y="715"/>
                </a:lnTo>
                <a:lnTo>
                  <a:pt x="2536" y="716"/>
                </a:lnTo>
                <a:lnTo>
                  <a:pt x="2531" y="712"/>
                </a:lnTo>
                <a:lnTo>
                  <a:pt x="2534" y="712"/>
                </a:lnTo>
                <a:lnTo>
                  <a:pt x="2533" y="708"/>
                </a:lnTo>
                <a:lnTo>
                  <a:pt x="2538" y="708"/>
                </a:lnTo>
                <a:lnTo>
                  <a:pt x="2535" y="705"/>
                </a:lnTo>
                <a:lnTo>
                  <a:pt x="2537" y="700"/>
                </a:lnTo>
                <a:lnTo>
                  <a:pt x="2538" y="701"/>
                </a:lnTo>
                <a:lnTo>
                  <a:pt x="2538" y="703"/>
                </a:lnTo>
                <a:lnTo>
                  <a:pt x="2543" y="700"/>
                </a:lnTo>
                <a:lnTo>
                  <a:pt x="2548" y="701"/>
                </a:lnTo>
                <a:lnTo>
                  <a:pt x="2566" y="697"/>
                </a:lnTo>
                <a:lnTo>
                  <a:pt x="2566" y="703"/>
                </a:lnTo>
                <a:lnTo>
                  <a:pt x="2564" y="706"/>
                </a:lnTo>
                <a:lnTo>
                  <a:pt x="2553" y="715"/>
                </a:lnTo>
                <a:lnTo>
                  <a:pt x="2552" y="716"/>
                </a:lnTo>
                <a:lnTo>
                  <a:pt x="2556" y="716"/>
                </a:lnTo>
                <a:lnTo>
                  <a:pt x="2553" y="720"/>
                </a:lnTo>
                <a:lnTo>
                  <a:pt x="2548" y="720"/>
                </a:lnTo>
                <a:lnTo>
                  <a:pt x="2547" y="723"/>
                </a:lnTo>
                <a:lnTo>
                  <a:pt x="2552" y="721"/>
                </a:lnTo>
                <a:lnTo>
                  <a:pt x="2549" y="724"/>
                </a:lnTo>
                <a:lnTo>
                  <a:pt x="2560" y="720"/>
                </a:lnTo>
                <a:lnTo>
                  <a:pt x="2581" y="720"/>
                </a:lnTo>
                <a:lnTo>
                  <a:pt x="2584" y="720"/>
                </a:lnTo>
                <a:lnTo>
                  <a:pt x="2585" y="724"/>
                </a:lnTo>
                <a:lnTo>
                  <a:pt x="2582" y="727"/>
                </a:lnTo>
                <a:lnTo>
                  <a:pt x="2579" y="738"/>
                </a:lnTo>
                <a:lnTo>
                  <a:pt x="2574" y="741"/>
                </a:lnTo>
                <a:lnTo>
                  <a:pt x="2574" y="743"/>
                </a:lnTo>
                <a:lnTo>
                  <a:pt x="2564" y="746"/>
                </a:lnTo>
                <a:lnTo>
                  <a:pt x="2569" y="746"/>
                </a:lnTo>
                <a:lnTo>
                  <a:pt x="2574" y="751"/>
                </a:lnTo>
                <a:lnTo>
                  <a:pt x="2561" y="756"/>
                </a:lnTo>
                <a:lnTo>
                  <a:pt x="2556" y="756"/>
                </a:lnTo>
                <a:lnTo>
                  <a:pt x="2566" y="758"/>
                </a:lnTo>
                <a:lnTo>
                  <a:pt x="2572" y="755"/>
                </a:lnTo>
                <a:lnTo>
                  <a:pt x="2581" y="760"/>
                </a:lnTo>
                <a:lnTo>
                  <a:pt x="2584" y="768"/>
                </a:lnTo>
                <a:lnTo>
                  <a:pt x="2586" y="768"/>
                </a:lnTo>
                <a:lnTo>
                  <a:pt x="2592" y="783"/>
                </a:lnTo>
                <a:lnTo>
                  <a:pt x="2593" y="783"/>
                </a:lnTo>
                <a:lnTo>
                  <a:pt x="2603" y="787"/>
                </a:lnTo>
                <a:lnTo>
                  <a:pt x="2605" y="792"/>
                </a:lnTo>
                <a:lnTo>
                  <a:pt x="2609" y="795"/>
                </a:lnTo>
                <a:lnTo>
                  <a:pt x="2606" y="796"/>
                </a:lnTo>
                <a:lnTo>
                  <a:pt x="2610" y="804"/>
                </a:lnTo>
                <a:lnTo>
                  <a:pt x="2610" y="806"/>
                </a:lnTo>
                <a:lnTo>
                  <a:pt x="2607" y="804"/>
                </a:lnTo>
                <a:lnTo>
                  <a:pt x="2605" y="804"/>
                </a:lnTo>
                <a:lnTo>
                  <a:pt x="2614" y="811"/>
                </a:lnTo>
                <a:lnTo>
                  <a:pt x="2616" y="815"/>
                </a:lnTo>
                <a:lnTo>
                  <a:pt x="2611" y="820"/>
                </a:lnTo>
                <a:lnTo>
                  <a:pt x="2616" y="823"/>
                </a:lnTo>
                <a:lnTo>
                  <a:pt x="2619" y="820"/>
                </a:lnTo>
                <a:lnTo>
                  <a:pt x="2623" y="820"/>
                </a:lnTo>
                <a:lnTo>
                  <a:pt x="2630" y="821"/>
                </a:lnTo>
                <a:lnTo>
                  <a:pt x="2635" y="823"/>
                </a:lnTo>
                <a:lnTo>
                  <a:pt x="2637" y="828"/>
                </a:lnTo>
                <a:lnTo>
                  <a:pt x="2633" y="836"/>
                </a:lnTo>
                <a:lnTo>
                  <a:pt x="2630" y="840"/>
                </a:lnTo>
                <a:lnTo>
                  <a:pt x="2627" y="844"/>
                </a:lnTo>
                <a:lnTo>
                  <a:pt x="2625" y="844"/>
                </a:lnTo>
                <a:lnTo>
                  <a:pt x="2623" y="844"/>
                </a:lnTo>
                <a:lnTo>
                  <a:pt x="2625" y="847"/>
                </a:lnTo>
                <a:lnTo>
                  <a:pt x="2619" y="849"/>
                </a:lnTo>
                <a:lnTo>
                  <a:pt x="2618" y="850"/>
                </a:lnTo>
                <a:lnTo>
                  <a:pt x="2622" y="851"/>
                </a:lnTo>
                <a:lnTo>
                  <a:pt x="2622" y="851"/>
                </a:lnTo>
                <a:lnTo>
                  <a:pt x="2630" y="850"/>
                </a:lnTo>
                <a:lnTo>
                  <a:pt x="2630" y="855"/>
                </a:lnTo>
                <a:lnTo>
                  <a:pt x="2622" y="857"/>
                </a:lnTo>
                <a:lnTo>
                  <a:pt x="2622" y="860"/>
                </a:lnTo>
                <a:lnTo>
                  <a:pt x="2612" y="863"/>
                </a:lnTo>
                <a:lnTo>
                  <a:pt x="2607" y="862"/>
                </a:lnTo>
                <a:lnTo>
                  <a:pt x="2600" y="864"/>
                </a:lnTo>
                <a:lnTo>
                  <a:pt x="2598" y="865"/>
                </a:lnTo>
                <a:lnTo>
                  <a:pt x="2596" y="865"/>
                </a:lnTo>
                <a:lnTo>
                  <a:pt x="2594" y="865"/>
                </a:lnTo>
                <a:lnTo>
                  <a:pt x="2594" y="865"/>
                </a:lnTo>
                <a:lnTo>
                  <a:pt x="2592" y="866"/>
                </a:lnTo>
                <a:lnTo>
                  <a:pt x="2588" y="865"/>
                </a:lnTo>
                <a:lnTo>
                  <a:pt x="2589" y="865"/>
                </a:lnTo>
                <a:lnTo>
                  <a:pt x="2581" y="865"/>
                </a:lnTo>
                <a:lnTo>
                  <a:pt x="2581" y="868"/>
                </a:lnTo>
                <a:lnTo>
                  <a:pt x="2574" y="865"/>
                </a:lnTo>
                <a:lnTo>
                  <a:pt x="2574" y="866"/>
                </a:lnTo>
                <a:lnTo>
                  <a:pt x="2567" y="863"/>
                </a:lnTo>
                <a:lnTo>
                  <a:pt x="2561" y="867"/>
                </a:lnTo>
                <a:lnTo>
                  <a:pt x="2556" y="873"/>
                </a:lnTo>
                <a:lnTo>
                  <a:pt x="2549" y="871"/>
                </a:lnTo>
                <a:lnTo>
                  <a:pt x="2547" y="873"/>
                </a:lnTo>
                <a:lnTo>
                  <a:pt x="2542" y="873"/>
                </a:lnTo>
                <a:lnTo>
                  <a:pt x="2534" y="875"/>
                </a:lnTo>
                <a:lnTo>
                  <a:pt x="2534" y="877"/>
                </a:lnTo>
                <a:lnTo>
                  <a:pt x="2534" y="879"/>
                </a:lnTo>
                <a:lnTo>
                  <a:pt x="2531" y="877"/>
                </a:lnTo>
                <a:lnTo>
                  <a:pt x="2533" y="877"/>
                </a:lnTo>
                <a:lnTo>
                  <a:pt x="2534" y="870"/>
                </a:lnTo>
                <a:lnTo>
                  <a:pt x="2534" y="869"/>
                </a:lnTo>
                <a:lnTo>
                  <a:pt x="2542" y="869"/>
                </a:lnTo>
                <a:lnTo>
                  <a:pt x="2542" y="862"/>
                </a:lnTo>
                <a:lnTo>
                  <a:pt x="2542" y="861"/>
                </a:lnTo>
                <a:lnTo>
                  <a:pt x="2548" y="861"/>
                </a:lnTo>
                <a:lnTo>
                  <a:pt x="2546" y="857"/>
                </a:lnTo>
                <a:lnTo>
                  <a:pt x="2546" y="855"/>
                </a:lnTo>
                <a:lnTo>
                  <a:pt x="2565" y="854"/>
                </a:lnTo>
                <a:lnTo>
                  <a:pt x="2567" y="851"/>
                </a:lnTo>
                <a:lnTo>
                  <a:pt x="2575" y="844"/>
                </a:lnTo>
                <a:lnTo>
                  <a:pt x="2564" y="853"/>
                </a:lnTo>
                <a:lnTo>
                  <a:pt x="2560" y="853"/>
                </a:lnTo>
                <a:lnTo>
                  <a:pt x="2555" y="847"/>
                </a:lnTo>
                <a:lnTo>
                  <a:pt x="2549" y="848"/>
                </a:lnTo>
                <a:lnTo>
                  <a:pt x="2548" y="846"/>
                </a:lnTo>
                <a:lnTo>
                  <a:pt x="2552" y="846"/>
                </a:lnTo>
                <a:lnTo>
                  <a:pt x="2547" y="843"/>
                </a:lnTo>
                <a:lnTo>
                  <a:pt x="2538" y="846"/>
                </a:lnTo>
                <a:lnTo>
                  <a:pt x="2541" y="844"/>
                </a:lnTo>
                <a:lnTo>
                  <a:pt x="2538" y="844"/>
                </a:lnTo>
                <a:lnTo>
                  <a:pt x="2534" y="840"/>
                </a:lnTo>
                <a:lnTo>
                  <a:pt x="2549" y="833"/>
                </a:lnTo>
                <a:lnTo>
                  <a:pt x="2552" y="828"/>
                </a:lnTo>
                <a:lnTo>
                  <a:pt x="2549" y="821"/>
                </a:lnTo>
                <a:lnTo>
                  <a:pt x="2546" y="824"/>
                </a:lnTo>
                <a:lnTo>
                  <a:pt x="2542" y="824"/>
                </a:lnTo>
                <a:lnTo>
                  <a:pt x="2546" y="816"/>
                </a:lnTo>
                <a:lnTo>
                  <a:pt x="2543" y="812"/>
                </a:lnTo>
                <a:lnTo>
                  <a:pt x="2548" y="812"/>
                </a:lnTo>
                <a:lnTo>
                  <a:pt x="2552" y="812"/>
                </a:lnTo>
                <a:lnTo>
                  <a:pt x="2551" y="812"/>
                </a:lnTo>
                <a:lnTo>
                  <a:pt x="2564" y="811"/>
                </a:lnTo>
                <a:lnTo>
                  <a:pt x="2565" y="812"/>
                </a:lnTo>
                <a:lnTo>
                  <a:pt x="2566" y="812"/>
                </a:lnTo>
                <a:lnTo>
                  <a:pt x="2569" y="813"/>
                </a:lnTo>
                <a:lnTo>
                  <a:pt x="2571" y="812"/>
                </a:lnTo>
                <a:lnTo>
                  <a:pt x="2567" y="812"/>
                </a:lnTo>
                <a:lnTo>
                  <a:pt x="2566" y="807"/>
                </a:lnTo>
                <a:lnTo>
                  <a:pt x="2569" y="803"/>
                </a:lnTo>
                <a:lnTo>
                  <a:pt x="2566" y="801"/>
                </a:lnTo>
                <a:lnTo>
                  <a:pt x="2566" y="800"/>
                </a:lnTo>
                <a:lnTo>
                  <a:pt x="2567" y="800"/>
                </a:lnTo>
                <a:lnTo>
                  <a:pt x="2569" y="793"/>
                </a:lnTo>
                <a:lnTo>
                  <a:pt x="2565" y="795"/>
                </a:lnTo>
                <a:lnTo>
                  <a:pt x="2559" y="788"/>
                </a:lnTo>
                <a:lnTo>
                  <a:pt x="2561" y="780"/>
                </a:lnTo>
                <a:lnTo>
                  <a:pt x="2560" y="780"/>
                </a:lnTo>
                <a:lnTo>
                  <a:pt x="2558" y="779"/>
                </a:lnTo>
                <a:lnTo>
                  <a:pt x="2552" y="782"/>
                </a:lnTo>
                <a:lnTo>
                  <a:pt x="2546" y="778"/>
                </a:lnTo>
                <a:lnTo>
                  <a:pt x="2546" y="783"/>
                </a:lnTo>
                <a:lnTo>
                  <a:pt x="2540" y="778"/>
                </a:lnTo>
                <a:lnTo>
                  <a:pt x="2539" y="781"/>
                </a:lnTo>
                <a:lnTo>
                  <a:pt x="2541" y="784"/>
                </a:lnTo>
                <a:lnTo>
                  <a:pt x="2539" y="784"/>
                </a:lnTo>
                <a:lnTo>
                  <a:pt x="2534" y="778"/>
                </a:lnTo>
                <a:lnTo>
                  <a:pt x="2534" y="777"/>
                </a:lnTo>
                <a:lnTo>
                  <a:pt x="2544" y="766"/>
                </a:lnTo>
                <a:lnTo>
                  <a:pt x="2539" y="763"/>
                </a:lnTo>
                <a:lnTo>
                  <a:pt x="2541" y="760"/>
                </a:lnTo>
                <a:lnTo>
                  <a:pt x="2546" y="760"/>
                </a:lnTo>
                <a:lnTo>
                  <a:pt x="2538" y="755"/>
                </a:lnTo>
                <a:lnTo>
                  <a:pt x="2538" y="753"/>
                </a:lnTo>
                <a:lnTo>
                  <a:pt x="2537" y="758"/>
                </a:lnTo>
                <a:lnTo>
                  <a:pt x="2538" y="759"/>
                </a:lnTo>
                <a:lnTo>
                  <a:pt x="2538" y="762"/>
                </a:lnTo>
                <a:lnTo>
                  <a:pt x="2537" y="758"/>
                </a:lnTo>
                <a:lnTo>
                  <a:pt x="2536" y="759"/>
                </a:lnTo>
                <a:lnTo>
                  <a:pt x="2534" y="757"/>
                </a:lnTo>
                <a:lnTo>
                  <a:pt x="2534" y="755"/>
                </a:lnTo>
                <a:lnTo>
                  <a:pt x="2539" y="752"/>
                </a:lnTo>
                <a:lnTo>
                  <a:pt x="2538" y="752"/>
                </a:lnTo>
                <a:lnTo>
                  <a:pt x="2530" y="755"/>
                </a:lnTo>
                <a:lnTo>
                  <a:pt x="2531" y="756"/>
                </a:lnTo>
                <a:lnTo>
                  <a:pt x="2530" y="756"/>
                </a:lnTo>
                <a:lnTo>
                  <a:pt x="2530" y="761"/>
                </a:lnTo>
                <a:lnTo>
                  <a:pt x="2530" y="764"/>
                </a:lnTo>
                <a:lnTo>
                  <a:pt x="2530" y="768"/>
                </a:lnTo>
                <a:lnTo>
                  <a:pt x="2526" y="770"/>
                </a:lnTo>
                <a:lnTo>
                  <a:pt x="2529" y="761"/>
                </a:lnTo>
                <a:lnTo>
                  <a:pt x="2528" y="757"/>
                </a:lnTo>
                <a:lnTo>
                  <a:pt x="2528" y="756"/>
                </a:lnTo>
                <a:lnTo>
                  <a:pt x="2527" y="756"/>
                </a:lnTo>
                <a:lnTo>
                  <a:pt x="2525" y="761"/>
                </a:lnTo>
                <a:lnTo>
                  <a:pt x="2522" y="759"/>
                </a:lnTo>
                <a:lnTo>
                  <a:pt x="2522" y="758"/>
                </a:lnTo>
                <a:lnTo>
                  <a:pt x="2522" y="757"/>
                </a:lnTo>
                <a:lnTo>
                  <a:pt x="2526" y="754"/>
                </a:lnTo>
                <a:lnTo>
                  <a:pt x="2526" y="749"/>
                </a:lnTo>
                <a:lnTo>
                  <a:pt x="2520" y="751"/>
                </a:lnTo>
                <a:lnTo>
                  <a:pt x="2519" y="750"/>
                </a:lnTo>
                <a:lnTo>
                  <a:pt x="2523" y="748"/>
                </a:lnTo>
                <a:lnTo>
                  <a:pt x="2522" y="748"/>
                </a:lnTo>
                <a:lnTo>
                  <a:pt x="2523" y="746"/>
                </a:lnTo>
                <a:lnTo>
                  <a:pt x="2519" y="744"/>
                </a:lnTo>
                <a:lnTo>
                  <a:pt x="2521" y="743"/>
                </a:lnTo>
                <a:lnTo>
                  <a:pt x="2526" y="739"/>
                </a:lnTo>
                <a:lnTo>
                  <a:pt x="2526" y="740"/>
                </a:lnTo>
                <a:lnTo>
                  <a:pt x="2529" y="740"/>
                </a:lnTo>
                <a:lnTo>
                  <a:pt x="2526" y="737"/>
                </a:lnTo>
                <a:lnTo>
                  <a:pt x="2527" y="736"/>
                </a:lnTo>
                <a:lnTo>
                  <a:pt x="2527" y="736"/>
                </a:lnTo>
                <a:lnTo>
                  <a:pt x="2531" y="736"/>
                </a:lnTo>
                <a:lnTo>
                  <a:pt x="2533" y="736"/>
                </a:lnTo>
                <a:lnTo>
                  <a:pt x="2527" y="732"/>
                </a:lnTo>
                <a:lnTo>
                  <a:pt x="2533" y="732"/>
                </a:lnTo>
                <a:lnTo>
                  <a:pt x="2529" y="730"/>
                </a:lnTo>
                <a:lnTo>
                  <a:pt x="2531" y="728"/>
                </a:lnTo>
                <a:close/>
                <a:moveTo>
                  <a:pt x="2530" y="754"/>
                </a:moveTo>
                <a:lnTo>
                  <a:pt x="2528" y="755"/>
                </a:lnTo>
                <a:lnTo>
                  <a:pt x="2529" y="754"/>
                </a:lnTo>
                <a:lnTo>
                  <a:pt x="2530" y="754"/>
                </a:lnTo>
                <a:close/>
                <a:moveTo>
                  <a:pt x="705" y="825"/>
                </a:moveTo>
                <a:lnTo>
                  <a:pt x="705" y="824"/>
                </a:lnTo>
                <a:lnTo>
                  <a:pt x="701" y="824"/>
                </a:lnTo>
                <a:lnTo>
                  <a:pt x="704" y="827"/>
                </a:lnTo>
                <a:lnTo>
                  <a:pt x="705" y="825"/>
                </a:lnTo>
                <a:close/>
                <a:moveTo>
                  <a:pt x="711" y="836"/>
                </a:moveTo>
                <a:lnTo>
                  <a:pt x="709" y="836"/>
                </a:lnTo>
                <a:lnTo>
                  <a:pt x="711" y="837"/>
                </a:lnTo>
                <a:lnTo>
                  <a:pt x="711" y="840"/>
                </a:lnTo>
                <a:lnTo>
                  <a:pt x="707" y="837"/>
                </a:lnTo>
                <a:lnTo>
                  <a:pt x="707" y="836"/>
                </a:lnTo>
                <a:lnTo>
                  <a:pt x="708" y="836"/>
                </a:lnTo>
                <a:lnTo>
                  <a:pt x="703" y="832"/>
                </a:lnTo>
                <a:lnTo>
                  <a:pt x="703" y="831"/>
                </a:lnTo>
                <a:lnTo>
                  <a:pt x="695" y="828"/>
                </a:lnTo>
                <a:lnTo>
                  <a:pt x="698" y="828"/>
                </a:lnTo>
                <a:lnTo>
                  <a:pt x="697" y="824"/>
                </a:lnTo>
                <a:lnTo>
                  <a:pt x="695" y="824"/>
                </a:lnTo>
                <a:lnTo>
                  <a:pt x="692" y="820"/>
                </a:lnTo>
                <a:lnTo>
                  <a:pt x="693" y="821"/>
                </a:lnTo>
                <a:lnTo>
                  <a:pt x="695" y="820"/>
                </a:lnTo>
                <a:lnTo>
                  <a:pt x="690" y="817"/>
                </a:lnTo>
                <a:lnTo>
                  <a:pt x="690" y="816"/>
                </a:lnTo>
                <a:lnTo>
                  <a:pt x="687" y="816"/>
                </a:lnTo>
                <a:lnTo>
                  <a:pt x="686" y="816"/>
                </a:lnTo>
                <a:lnTo>
                  <a:pt x="687" y="813"/>
                </a:lnTo>
                <a:lnTo>
                  <a:pt x="690" y="814"/>
                </a:lnTo>
                <a:lnTo>
                  <a:pt x="685" y="810"/>
                </a:lnTo>
                <a:lnTo>
                  <a:pt x="682" y="808"/>
                </a:lnTo>
                <a:lnTo>
                  <a:pt x="685" y="808"/>
                </a:lnTo>
                <a:lnTo>
                  <a:pt x="681" y="806"/>
                </a:lnTo>
                <a:lnTo>
                  <a:pt x="679" y="802"/>
                </a:lnTo>
                <a:lnTo>
                  <a:pt x="679" y="798"/>
                </a:lnTo>
                <a:lnTo>
                  <a:pt x="679" y="795"/>
                </a:lnTo>
                <a:lnTo>
                  <a:pt x="689" y="798"/>
                </a:lnTo>
                <a:lnTo>
                  <a:pt x="687" y="802"/>
                </a:lnTo>
                <a:lnTo>
                  <a:pt x="690" y="800"/>
                </a:lnTo>
                <a:lnTo>
                  <a:pt x="693" y="800"/>
                </a:lnTo>
                <a:lnTo>
                  <a:pt x="695" y="803"/>
                </a:lnTo>
                <a:lnTo>
                  <a:pt x="695" y="802"/>
                </a:lnTo>
                <a:lnTo>
                  <a:pt x="695" y="798"/>
                </a:lnTo>
                <a:lnTo>
                  <a:pt x="699" y="795"/>
                </a:lnTo>
                <a:lnTo>
                  <a:pt x="695" y="805"/>
                </a:lnTo>
                <a:lnTo>
                  <a:pt x="695" y="811"/>
                </a:lnTo>
                <a:lnTo>
                  <a:pt x="697" y="816"/>
                </a:lnTo>
                <a:lnTo>
                  <a:pt x="692" y="816"/>
                </a:lnTo>
                <a:lnTo>
                  <a:pt x="695" y="818"/>
                </a:lnTo>
                <a:lnTo>
                  <a:pt x="700" y="816"/>
                </a:lnTo>
                <a:lnTo>
                  <a:pt x="704" y="820"/>
                </a:lnTo>
                <a:lnTo>
                  <a:pt x="699" y="820"/>
                </a:lnTo>
                <a:lnTo>
                  <a:pt x="699" y="824"/>
                </a:lnTo>
                <a:lnTo>
                  <a:pt x="698" y="824"/>
                </a:lnTo>
                <a:lnTo>
                  <a:pt x="705" y="832"/>
                </a:lnTo>
                <a:lnTo>
                  <a:pt x="707" y="832"/>
                </a:lnTo>
                <a:lnTo>
                  <a:pt x="708" y="832"/>
                </a:lnTo>
                <a:lnTo>
                  <a:pt x="709" y="832"/>
                </a:lnTo>
                <a:lnTo>
                  <a:pt x="711" y="836"/>
                </a:lnTo>
                <a:close/>
                <a:moveTo>
                  <a:pt x="695" y="804"/>
                </a:moveTo>
                <a:lnTo>
                  <a:pt x="695" y="803"/>
                </a:lnTo>
                <a:lnTo>
                  <a:pt x="687" y="804"/>
                </a:lnTo>
                <a:lnTo>
                  <a:pt x="690" y="805"/>
                </a:lnTo>
                <a:lnTo>
                  <a:pt x="695" y="804"/>
                </a:lnTo>
                <a:close/>
                <a:moveTo>
                  <a:pt x="718" y="802"/>
                </a:moveTo>
                <a:lnTo>
                  <a:pt x="716" y="801"/>
                </a:lnTo>
                <a:lnTo>
                  <a:pt x="716" y="802"/>
                </a:lnTo>
                <a:lnTo>
                  <a:pt x="718" y="802"/>
                </a:lnTo>
                <a:close/>
                <a:moveTo>
                  <a:pt x="679" y="770"/>
                </a:moveTo>
                <a:lnTo>
                  <a:pt x="678" y="770"/>
                </a:lnTo>
                <a:lnTo>
                  <a:pt x="678" y="773"/>
                </a:lnTo>
                <a:lnTo>
                  <a:pt x="680" y="773"/>
                </a:lnTo>
                <a:lnTo>
                  <a:pt x="679" y="770"/>
                </a:lnTo>
                <a:close/>
                <a:moveTo>
                  <a:pt x="710" y="777"/>
                </a:moveTo>
                <a:lnTo>
                  <a:pt x="706" y="779"/>
                </a:lnTo>
                <a:lnTo>
                  <a:pt x="710" y="779"/>
                </a:lnTo>
                <a:lnTo>
                  <a:pt x="710" y="777"/>
                </a:lnTo>
                <a:close/>
                <a:moveTo>
                  <a:pt x="711" y="790"/>
                </a:moveTo>
                <a:lnTo>
                  <a:pt x="714" y="786"/>
                </a:lnTo>
                <a:lnTo>
                  <a:pt x="712" y="785"/>
                </a:lnTo>
                <a:lnTo>
                  <a:pt x="711" y="790"/>
                </a:lnTo>
                <a:close/>
                <a:moveTo>
                  <a:pt x="673" y="765"/>
                </a:moveTo>
                <a:lnTo>
                  <a:pt x="673" y="767"/>
                </a:lnTo>
                <a:lnTo>
                  <a:pt x="676" y="767"/>
                </a:lnTo>
                <a:lnTo>
                  <a:pt x="677" y="765"/>
                </a:lnTo>
                <a:lnTo>
                  <a:pt x="673" y="765"/>
                </a:lnTo>
                <a:close/>
                <a:moveTo>
                  <a:pt x="667" y="748"/>
                </a:moveTo>
                <a:lnTo>
                  <a:pt x="666" y="748"/>
                </a:lnTo>
                <a:lnTo>
                  <a:pt x="665" y="748"/>
                </a:lnTo>
                <a:lnTo>
                  <a:pt x="663" y="749"/>
                </a:lnTo>
                <a:lnTo>
                  <a:pt x="663" y="756"/>
                </a:lnTo>
                <a:lnTo>
                  <a:pt x="669" y="756"/>
                </a:lnTo>
                <a:lnTo>
                  <a:pt x="670" y="756"/>
                </a:lnTo>
                <a:lnTo>
                  <a:pt x="672" y="752"/>
                </a:lnTo>
                <a:lnTo>
                  <a:pt x="667" y="752"/>
                </a:lnTo>
                <a:lnTo>
                  <a:pt x="667" y="748"/>
                </a:lnTo>
                <a:close/>
                <a:moveTo>
                  <a:pt x="2591" y="660"/>
                </a:moveTo>
                <a:lnTo>
                  <a:pt x="2592" y="660"/>
                </a:lnTo>
                <a:lnTo>
                  <a:pt x="2590" y="659"/>
                </a:lnTo>
                <a:lnTo>
                  <a:pt x="2590" y="660"/>
                </a:lnTo>
                <a:lnTo>
                  <a:pt x="2591" y="660"/>
                </a:lnTo>
                <a:close/>
                <a:moveTo>
                  <a:pt x="665" y="759"/>
                </a:moveTo>
                <a:lnTo>
                  <a:pt x="669" y="758"/>
                </a:lnTo>
                <a:lnTo>
                  <a:pt x="665" y="758"/>
                </a:lnTo>
                <a:lnTo>
                  <a:pt x="665" y="759"/>
                </a:lnTo>
                <a:close/>
                <a:moveTo>
                  <a:pt x="672" y="732"/>
                </a:moveTo>
                <a:lnTo>
                  <a:pt x="670" y="735"/>
                </a:lnTo>
                <a:lnTo>
                  <a:pt x="673" y="736"/>
                </a:lnTo>
                <a:lnTo>
                  <a:pt x="672" y="736"/>
                </a:lnTo>
                <a:lnTo>
                  <a:pt x="675" y="738"/>
                </a:lnTo>
                <a:lnTo>
                  <a:pt x="675" y="743"/>
                </a:lnTo>
                <a:lnTo>
                  <a:pt x="675" y="743"/>
                </a:lnTo>
                <a:lnTo>
                  <a:pt x="673" y="740"/>
                </a:lnTo>
                <a:lnTo>
                  <a:pt x="672" y="740"/>
                </a:lnTo>
                <a:lnTo>
                  <a:pt x="670" y="738"/>
                </a:lnTo>
                <a:lnTo>
                  <a:pt x="665" y="737"/>
                </a:lnTo>
                <a:lnTo>
                  <a:pt x="669" y="740"/>
                </a:lnTo>
                <a:lnTo>
                  <a:pt x="664" y="740"/>
                </a:lnTo>
                <a:lnTo>
                  <a:pt x="665" y="744"/>
                </a:lnTo>
                <a:lnTo>
                  <a:pt x="667" y="744"/>
                </a:lnTo>
                <a:lnTo>
                  <a:pt x="667" y="747"/>
                </a:lnTo>
                <a:lnTo>
                  <a:pt x="671" y="749"/>
                </a:lnTo>
                <a:lnTo>
                  <a:pt x="671" y="744"/>
                </a:lnTo>
                <a:lnTo>
                  <a:pt x="675" y="744"/>
                </a:lnTo>
                <a:lnTo>
                  <a:pt x="675" y="748"/>
                </a:lnTo>
                <a:lnTo>
                  <a:pt x="677" y="748"/>
                </a:lnTo>
                <a:lnTo>
                  <a:pt x="683" y="744"/>
                </a:lnTo>
                <a:lnTo>
                  <a:pt x="679" y="738"/>
                </a:lnTo>
                <a:lnTo>
                  <a:pt x="684" y="743"/>
                </a:lnTo>
                <a:lnTo>
                  <a:pt x="686" y="738"/>
                </a:lnTo>
                <a:lnTo>
                  <a:pt x="683" y="735"/>
                </a:lnTo>
                <a:lnTo>
                  <a:pt x="672" y="732"/>
                </a:lnTo>
                <a:close/>
                <a:moveTo>
                  <a:pt x="598" y="1853"/>
                </a:moveTo>
                <a:lnTo>
                  <a:pt x="599" y="1852"/>
                </a:lnTo>
                <a:lnTo>
                  <a:pt x="598" y="1852"/>
                </a:lnTo>
                <a:lnTo>
                  <a:pt x="598" y="1853"/>
                </a:lnTo>
                <a:close/>
                <a:moveTo>
                  <a:pt x="676" y="773"/>
                </a:moveTo>
                <a:lnTo>
                  <a:pt x="678" y="769"/>
                </a:lnTo>
                <a:lnTo>
                  <a:pt x="677" y="767"/>
                </a:lnTo>
                <a:lnTo>
                  <a:pt x="676" y="770"/>
                </a:lnTo>
                <a:lnTo>
                  <a:pt x="676" y="773"/>
                </a:lnTo>
                <a:close/>
                <a:moveTo>
                  <a:pt x="403" y="701"/>
                </a:moveTo>
                <a:lnTo>
                  <a:pt x="399" y="702"/>
                </a:lnTo>
                <a:lnTo>
                  <a:pt x="402" y="704"/>
                </a:lnTo>
                <a:lnTo>
                  <a:pt x="403" y="701"/>
                </a:lnTo>
                <a:close/>
                <a:moveTo>
                  <a:pt x="443" y="672"/>
                </a:moveTo>
                <a:lnTo>
                  <a:pt x="442" y="674"/>
                </a:lnTo>
                <a:lnTo>
                  <a:pt x="445" y="675"/>
                </a:lnTo>
                <a:lnTo>
                  <a:pt x="443" y="672"/>
                </a:lnTo>
                <a:close/>
                <a:moveTo>
                  <a:pt x="412" y="1950"/>
                </a:moveTo>
                <a:lnTo>
                  <a:pt x="415" y="1948"/>
                </a:lnTo>
                <a:lnTo>
                  <a:pt x="412" y="1946"/>
                </a:lnTo>
                <a:lnTo>
                  <a:pt x="412" y="1950"/>
                </a:lnTo>
                <a:close/>
                <a:moveTo>
                  <a:pt x="403" y="704"/>
                </a:moveTo>
                <a:lnTo>
                  <a:pt x="408" y="707"/>
                </a:lnTo>
                <a:lnTo>
                  <a:pt x="407" y="710"/>
                </a:lnTo>
                <a:lnTo>
                  <a:pt x="404" y="708"/>
                </a:lnTo>
                <a:lnTo>
                  <a:pt x="403" y="710"/>
                </a:lnTo>
                <a:lnTo>
                  <a:pt x="404" y="712"/>
                </a:lnTo>
                <a:lnTo>
                  <a:pt x="401" y="712"/>
                </a:lnTo>
                <a:lnTo>
                  <a:pt x="399" y="714"/>
                </a:lnTo>
                <a:lnTo>
                  <a:pt x="396" y="714"/>
                </a:lnTo>
                <a:lnTo>
                  <a:pt x="391" y="714"/>
                </a:lnTo>
                <a:lnTo>
                  <a:pt x="396" y="715"/>
                </a:lnTo>
                <a:lnTo>
                  <a:pt x="394" y="716"/>
                </a:lnTo>
                <a:lnTo>
                  <a:pt x="394" y="720"/>
                </a:lnTo>
                <a:lnTo>
                  <a:pt x="396" y="716"/>
                </a:lnTo>
                <a:lnTo>
                  <a:pt x="402" y="715"/>
                </a:lnTo>
                <a:lnTo>
                  <a:pt x="403" y="717"/>
                </a:lnTo>
                <a:lnTo>
                  <a:pt x="401" y="721"/>
                </a:lnTo>
                <a:lnTo>
                  <a:pt x="402" y="724"/>
                </a:lnTo>
                <a:lnTo>
                  <a:pt x="407" y="724"/>
                </a:lnTo>
                <a:lnTo>
                  <a:pt x="403" y="728"/>
                </a:lnTo>
                <a:lnTo>
                  <a:pt x="397" y="724"/>
                </a:lnTo>
                <a:lnTo>
                  <a:pt x="394" y="725"/>
                </a:lnTo>
                <a:lnTo>
                  <a:pt x="401" y="728"/>
                </a:lnTo>
                <a:lnTo>
                  <a:pt x="399" y="732"/>
                </a:lnTo>
                <a:lnTo>
                  <a:pt x="394" y="732"/>
                </a:lnTo>
                <a:lnTo>
                  <a:pt x="389" y="735"/>
                </a:lnTo>
                <a:lnTo>
                  <a:pt x="387" y="732"/>
                </a:lnTo>
                <a:lnTo>
                  <a:pt x="389" y="731"/>
                </a:lnTo>
                <a:lnTo>
                  <a:pt x="382" y="732"/>
                </a:lnTo>
                <a:lnTo>
                  <a:pt x="386" y="735"/>
                </a:lnTo>
                <a:lnTo>
                  <a:pt x="379" y="740"/>
                </a:lnTo>
                <a:lnTo>
                  <a:pt x="377" y="740"/>
                </a:lnTo>
                <a:lnTo>
                  <a:pt x="381" y="735"/>
                </a:lnTo>
                <a:lnTo>
                  <a:pt x="378" y="736"/>
                </a:lnTo>
                <a:lnTo>
                  <a:pt x="381" y="731"/>
                </a:lnTo>
                <a:lnTo>
                  <a:pt x="376" y="736"/>
                </a:lnTo>
                <a:lnTo>
                  <a:pt x="377" y="732"/>
                </a:lnTo>
                <a:lnTo>
                  <a:pt x="369" y="731"/>
                </a:lnTo>
                <a:lnTo>
                  <a:pt x="369" y="730"/>
                </a:lnTo>
                <a:lnTo>
                  <a:pt x="367" y="728"/>
                </a:lnTo>
                <a:lnTo>
                  <a:pt x="369" y="724"/>
                </a:lnTo>
                <a:lnTo>
                  <a:pt x="375" y="720"/>
                </a:lnTo>
                <a:lnTo>
                  <a:pt x="379" y="721"/>
                </a:lnTo>
                <a:lnTo>
                  <a:pt x="381" y="727"/>
                </a:lnTo>
                <a:lnTo>
                  <a:pt x="381" y="728"/>
                </a:lnTo>
                <a:lnTo>
                  <a:pt x="381" y="724"/>
                </a:lnTo>
                <a:lnTo>
                  <a:pt x="386" y="724"/>
                </a:lnTo>
                <a:lnTo>
                  <a:pt x="377" y="720"/>
                </a:lnTo>
                <a:lnTo>
                  <a:pt x="377" y="716"/>
                </a:lnTo>
                <a:lnTo>
                  <a:pt x="380" y="715"/>
                </a:lnTo>
                <a:lnTo>
                  <a:pt x="386" y="716"/>
                </a:lnTo>
                <a:lnTo>
                  <a:pt x="387" y="721"/>
                </a:lnTo>
                <a:lnTo>
                  <a:pt x="389" y="720"/>
                </a:lnTo>
                <a:lnTo>
                  <a:pt x="387" y="716"/>
                </a:lnTo>
                <a:lnTo>
                  <a:pt x="390" y="716"/>
                </a:lnTo>
                <a:lnTo>
                  <a:pt x="394" y="716"/>
                </a:lnTo>
                <a:lnTo>
                  <a:pt x="390" y="714"/>
                </a:lnTo>
                <a:lnTo>
                  <a:pt x="388" y="713"/>
                </a:lnTo>
                <a:lnTo>
                  <a:pt x="390" y="716"/>
                </a:lnTo>
                <a:lnTo>
                  <a:pt x="386" y="715"/>
                </a:lnTo>
                <a:lnTo>
                  <a:pt x="387" y="713"/>
                </a:lnTo>
                <a:lnTo>
                  <a:pt x="388" y="713"/>
                </a:lnTo>
                <a:lnTo>
                  <a:pt x="390" y="712"/>
                </a:lnTo>
                <a:lnTo>
                  <a:pt x="396" y="712"/>
                </a:lnTo>
                <a:lnTo>
                  <a:pt x="392" y="710"/>
                </a:lnTo>
                <a:lnTo>
                  <a:pt x="394" y="707"/>
                </a:lnTo>
                <a:lnTo>
                  <a:pt x="394" y="704"/>
                </a:lnTo>
                <a:lnTo>
                  <a:pt x="397" y="704"/>
                </a:lnTo>
                <a:lnTo>
                  <a:pt x="402" y="704"/>
                </a:lnTo>
                <a:lnTo>
                  <a:pt x="403" y="704"/>
                </a:lnTo>
                <a:close/>
                <a:moveTo>
                  <a:pt x="394" y="732"/>
                </a:moveTo>
                <a:lnTo>
                  <a:pt x="394" y="732"/>
                </a:lnTo>
                <a:lnTo>
                  <a:pt x="393" y="732"/>
                </a:lnTo>
                <a:lnTo>
                  <a:pt x="394" y="732"/>
                </a:lnTo>
                <a:close/>
                <a:moveTo>
                  <a:pt x="369" y="736"/>
                </a:moveTo>
                <a:lnTo>
                  <a:pt x="371" y="736"/>
                </a:lnTo>
                <a:lnTo>
                  <a:pt x="370" y="735"/>
                </a:lnTo>
                <a:lnTo>
                  <a:pt x="369" y="731"/>
                </a:lnTo>
                <a:lnTo>
                  <a:pt x="369" y="731"/>
                </a:lnTo>
                <a:lnTo>
                  <a:pt x="369" y="736"/>
                </a:lnTo>
                <a:close/>
                <a:moveTo>
                  <a:pt x="442" y="1959"/>
                </a:moveTo>
                <a:lnTo>
                  <a:pt x="439" y="1959"/>
                </a:lnTo>
                <a:lnTo>
                  <a:pt x="439" y="1960"/>
                </a:lnTo>
                <a:lnTo>
                  <a:pt x="446" y="1964"/>
                </a:lnTo>
                <a:lnTo>
                  <a:pt x="446" y="1962"/>
                </a:lnTo>
                <a:lnTo>
                  <a:pt x="444" y="1960"/>
                </a:lnTo>
                <a:lnTo>
                  <a:pt x="442" y="1959"/>
                </a:lnTo>
                <a:close/>
                <a:moveTo>
                  <a:pt x="411" y="1945"/>
                </a:moveTo>
                <a:lnTo>
                  <a:pt x="412" y="1946"/>
                </a:lnTo>
                <a:lnTo>
                  <a:pt x="412" y="1945"/>
                </a:lnTo>
                <a:lnTo>
                  <a:pt x="411" y="1945"/>
                </a:lnTo>
                <a:close/>
                <a:moveTo>
                  <a:pt x="436" y="1959"/>
                </a:moveTo>
                <a:lnTo>
                  <a:pt x="436" y="1957"/>
                </a:lnTo>
                <a:lnTo>
                  <a:pt x="435" y="1957"/>
                </a:lnTo>
                <a:lnTo>
                  <a:pt x="436" y="1959"/>
                </a:lnTo>
                <a:close/>
                <a:moveTo>
                  <a:pt x="333" y="743"/>
                </a:moveTo>
                <a:lnTo>
                  <a:pt x="330" y="743"/>
                </a:lnTo>
                <a:lnTo>
                  <a:pt x="336" y="743"/>
                </a:lnTo>
                <a:lnTo>
                  <a:pt x="333" y="743"/>
                </a:lnTo>
                <a:close/>
                <a:moveTo>
                  <a:pt x="361" y="1393"/>
                </a:moveTo>
                <a:lnTo>
                  <a:pt x="349" y="1389"/>
                </a:lnTo>
                <a:lnTo>
                  <a:pt x="349" y="1391"/>
                </a:lnTo>
                <a:lnTo>
                  <a:pt x="349" y="1393"/>
                </a:lnTo>
                <a:lnTo>
                  <a:pt x="346" y="1396"/>
                </a:lnTo>
                <a:lnTo>
                  <a:pt x="349" y="1402"/>
                </a:lnTo>
                <a:lnTo>
                  <a:pt x="349" y="1407"/>
                </a:lnTo>
                <a:lnTo>
                  <a:pt x="354" y="1411"/>
                </a:lnTo>
                <a:lnTo>
                  <a:pt x="355" y="1408"/>
                </a:lnTo>
                <a:lnTo>
                  <a:pt x="360" y="1407"/>
                </a:lnTo>
                <a:lnTo>
                  <a:pt x="363" y="1407"/>
                </a:lnTo>
                <a:lnTo>
                  <a:pt x="367" y="1402"/>
                </a:lnTo>
                <a:lnTo>
                  <a:pt x="363" y="1400"/>
                </a:lnTo>
                <a:lnTo>
                  <a:pt x="361" y="1393"/>
                </a:lnTo>
                <a:close/>
                <a:moveTo>
                  <a:pt x="349" y="1381"/>
                </a:moveTo>
                <a:lnTo>
                  <a:pt x="347" y="1377"/>
                </a:lnTo>
                <a:lnTo>
                  <a:pt x="342" y="1379"/>
                </a:lnTo>
                <a:lnTo>
                  <a:pt x="337" y="1376"/>
                </a:lnTo>
                <a:lnTo>
                  <a:pt x="337" y="1379"/>
                </a:lnTo>
                <a:lnTo>
                  <a:pt x="340" y="1381"/>
                </a:lnTo>
                <a:lnTo>
                  <a:pt x="343" y="1384"/>
                </a:lnTo>
                <a:lnTo>
                  <a:pt x="348" y="1383"/>
                </a:lnTo>
                <a:lnTo>
                  <a:pt x="349" y="1381"/>
                </a:lnTo>
                <a:close/>
                <a:moveTo>
                  <a:pt x="353" y="762"/>
                </a:moveTo>
                <a:lnTo>
                  <a:pt x="356" y="762"/>
                </a:lnTo>
                <a:lnTo>
                  <a:pt x="356" y="758"/>
                </a:lnTo>
                <a:lnTo>
                  <a:pt x="353" y="762"/>
                </a:lnTo>
                <a:close/>
                <a:moveTo>
                  <a:pt x="375" y="746"/>
                </a:moveTo>
                <a:lnTo>
                  <a:pt x="377" y="743"/>
                </a:lnTo>
                <a:lnTo>
                  <a:pt x="374" y="743"/>
                </a:lnTo>
                <a:lnTo>
                  <a:pt x="375" y="746"/>
                </a:lnTo>
                <a:close/>
                <a:moveTo>
                  <a:pt x="377" y="736"/>
                </a:moveTo>
                <a:lnTo>
                  <a:pt x="371" y="736"/>
                </a:lnTo>
                <a:lnTo>
                  <a:pt x="374" y="740"/>
                </a:lnTo>
                <a:lnTo>
                  <a:pt x="377" y="736"/>
                </a:lnTo>
                <a:close/>
                <a:moveTo>
                  <a:pt x="367" y="747"/>
                </a:moveTo>
                <a:lnTo>
                  <a:pt x="373" y="743"/>
                </a:lnTo>
                <a:lnTo>
                  <a:pt x="367" y="743"/>
                </a:lnTo>
                <a:lnTo>
                  <a:pt x="367" y="747"/>
                </a:lnTo>
                <a:close/>
                <a:moveTo>
                  <a:pt x="485" y="660"/>
                </a:moveTo>
                <a:lnTo>
                  <a:pt x="487" y="660"/>
                </a:lnTo>
                <a:lnTo>
                  <a:pt x="486" y="663"/>
                </a:lnTo>
                <a:lnTo>
                  <a:pt x="486" y="664"/>
                </a:lnTo>
                <a:lnTo>
                  <a:pt x="494" y="660"/>
                </a:lnTo>
                <a:lnTo>
                  <a:pt x="486" y="659"/>
                </a:lnTo>
                <a:lnTo>
                  <a:pt x="485" y="660"/>
                </a:lnTo>
                <a:close/>
                <a:moveTo>
                  <a:pt x="592" y="1842"/>
                </a:moveTo>
                <a:lnTo>
                  <a:pt x="594" y="1843"/>
                </a:lnTo>
                <a:lnTo>
                  <a:pt x="596" y="1840"/>
                </a:lnTo>
                <a:lnTo>
                  <a:pt x="594" y="1840"/>
                </a:lnTo>
                <a:lnTo>
                  <a:pt x="592" y="1842"/>
                </a:lnTo>
                <a:close/>
                <a:moveTo>
                  <a:pt x="508" y="663"/>
                </a:moveTo>
                <a:lnTo>
                  <a:pt x="508" y="660"/>
                </a:lnTo>
                <a:lnTo>
                  <a:pt x="505" y="663"/>
                </a:lnTo>
                <a:lnTo>
                  <a:pt x="508" y="663"/>
                </a:lnTo>
                <a:close/>
                <a:moveTo>
                  <a:pt x="485" y="648"/>
                </a:moveTo>
                <a:lnTo>
                  <a:pt x="482" y="651"/>
                </a:lnTo>
                <a:lnTo>
                  <a:pt x="485" y="651"/>
                </a:lnTo>
                <a:lnTo>
                  <a:pt x="485" y="648"/>
                </a:lnTo>
                <a:close/>
                <a:moveTo>
                  <a:pt x="576" y="1836"/>
                </a:moveTo>
                <a:lnTo>
                  <a:pt x="579" y="1835"/>
                </a:lnTo>
                <a:lnTo>
                  <a:pt x="576" y="1835"/>
                </a:lnTo>
                <a:lnTo>
                  <a:pt x="576" y="1836"/>
                </a:lnTo>
                <a:close/>
                <a:moveTo>
                  <a:pt x="576" y="1829"/>
                </a:moveTo>
                <a:lnTo>
                  <a:pt x="579" y="1828"/>
                </a:lnTo>
                <a:lnTo>
                  <a:pt x="576" y="1828"/>
                </a:lnTo>
                <a:lnTo>
                  <a:pt x="576" y="1829"/>
                </a:lnTo>
                <a:close/>
                <a:moveTo>
                  <a:pt x="592" y="1846"/>
                </a:moveTo>
                <a:lnTo>
                  <a:pt x="594" y="1843"/>
                </a:lnTo>
                <a:lnTo>
                  <a:pt x="592" y="1843"/>
                </a:lnTo>
                <a:lnTo>
                  <a:pt x="592" y="1846"/>
                </a:lnTo>
                <a:close/>
                <a:moveTo>
                  <a:pt x="585" y="1829"/>
                </a:moveTo>
                <a:lnTo>
                  <a:pt x="587" y="1829"/>
                </a:lnTo>
                <a:lnTo>
                  <a:pt x="585" y="1828"/>
                </a:lnTo>
                <a:lnTo>
                  <a:pt x="585" y="1829"/>
                </a:lnTo>
                <a:close/>
                <a:moveTo>
                  <a:pt x="468" y="654"/>
                </a:moveTo>
                <a:lnTo>
                  <a:pt x="468" y="652"/>
                </a:lnTo>
                <a:lnTo>
                  <a:pt x="465" y="652"/>
                </a:lnTo>
                <a:lnTo>
                  <a:pt x="467" y="654"/>
                </a:lnTo>
                <a:lnTo>
                  <a:pt x="468" y="654"/>
                </a:lnTo>
                <a:close/>
                <a:moveTo>
                  <a:pt x="475" y="654"/>
                </a:moveTo>
                <a:lnTo>
                  <a:pt x="474" y="656"/>
                </a:lnTo>
                <a:lnTo>
                  <a:pt x="476" y="654"/>
                </a:lnTo>
                <a:lnTo>
                  <a:pt x="475" y="654"/>
                </a:lnTo>
                <a:close/>
                <a:moveTo>
                  <a:pt x="467" y="665"/>
                </a:moveTo>
                <a:lnTo>
                  <a:pt x="463" y="669"/>
                </a:lnTo>
                <a:lnTo>
                  <a:pt x="468" y="667"/>
                </a:lnTo>
                <a:lnTo>
                  <a:pt x="467" y="665"/>
                </a:lnTo>
                <a:close/>
                <a:moveTo>
                  <a:pt x="463" y="651"/>
                </a:moveTo>
                <a:lnTo>
                  <a:pt x="467" y="651"/>
                </a:lnTo>
                <a:lnTo>
                  <a:pt x="465" y="648"/>
                </a:lnTo>
                <a:lnTo>
                  <a:pt x="463" y="651"/>
                </a:lnTo>
                <a:close/>
                <a:moveTo>
                  <a:pt x="462" y="669"/>
                </a:moveTo>
                <a:lnTo>
                  <a:pt x="463" y="669"/>
                </a:lnTo>
                <a:lnTo>
                  <a:pt x="465" y="665"/>
                </a:lnTo>
                <a:lnTo>
                  <a:pt x="462" y="669"/>
                </a:lnTo>
                <a:close/>
                <a:moveTo>
                  <a:pt x="471" y="665"/>
                </a:moveTo>
                <a:lnTo>
                  <a:pt x="472" y="660"/>
                </a:lnTo>
                <a:lnTo>
                  <a:pt x="471" y="660"/>
                </a:lnTo>
                <a:lnTo>
                  <a:pt x="472" y="659"/>
                </a:lnTo>
                <a:lnTo>
                  <a:pt x="471" y="658"/>
                </a:lnTo>
                <a:lnTo>
                  <a:pt x="471" y="659"/>
                </a:lnTo>
                <a:lnTo>
                  <a:pt x="467" y="664"/>
                </a:lnTo>
                <a:lnTo>
                  <a:pt x="471" y="665"/>
                </a:lnTo>
                <a:close/>
                <a:moveTo>
                  <a:pt x="475" y="667"/>
                </a:moveTo>
                <a:lnTo>
                  <a:pt x="468" y="670"/>
                </a:lnTo>
                <a:lnTo>
                  <a:pt x="467" y="674"/>
                </a:lnTo>
                <a:lnTo>
                  <a:pt x="474" y="671"/>
                </a:lnTo>
                <a:lnTo>
                  <a:pt x="481" y="663"/>
                </a:lnTo>
                <a:lnTo>
                  <a:pt x="479" y="660"/>
                </a:lnTo>
                <a:lnTo>
                  <a:pt x="475" y="667"/>
                </a:lnTo>
                <a:close/>
                <a:moveTo>
                  <a:pt x="4359" y="1680"/>
                </a:moveTo>
                <a:lnTo>
                  <a:pt x="4359" y="1680"/>
                </a:lnTo>
                <a:lnTo>
                  <a:pt x="4359" y="1680"/>
                </a:lnTo>
                <a:lnTo>
                  <a:pt x="4357" y="1680"/>
                </a:lnTo>
                <a:lnTo>
                  <a:pt x="4357" y="1680"/>
                </a:lnTo>
                <a:lnTo>
                  <a:pt x="4358" y="1680"/>
                </a:lnTo>
                <a:lnTo>
                  <a:pt x="4358" y="1680"/>
                </a:lnTo>
                <a:lnTo>
                  <a:pt x="4359" y="1680"/>
                </a:lnTo>
                <a:close/>
                <a:moveTo>
                  <a:pt x="5044" y="2037"/>
                </a:moveTo>
                <a:lnTo>
                  <a:pt x="5043" y="2036"/>
                </a:lnTo>
                <a:lnTo>
                  <a:pt x="5043" y="2036"/>
                </a:lnTo>
                <a:lnTo>
                  <a:pt x="5043" y="2038"/>
                </a:lnTo>
                <a:lnTo>
                  <a:pt x="5045" y="2038"/>
                </a:lnTo>
                <a:lnTo>
                  <a:pt x="5044" y="2037"/>
                </a:lnTo>
                <a:close/>
                <a:moveTo>
                  <a:pt x="5212" y="1949"/>
                </a:moveTo>
                <a:lnTo>
                  <a:pt x="5209" y="1947"/>
                </a:lnTo>
                <a:lnTo>
                  <a:pt x="5208" y="1949"/>
                </a:lnTo>
                <a:lnTo>
                  <a:pt x="5211" y="1949"/>
                </a:lnTo>
                <a:lnTo>
                  <a:pt x="5212" y="1949"/>
                </a:lnTo>
                <a:close/>
                <a:moveTo>
                  <a:pt x="5223" y="1950"/>
                </a:moveTo>
                <a:lnTo>
                  <a:pt x="5224" y="1950"/>
                </a:lnTo>
                <a:lnTo>
                  <a:pt x="5224" y="1948"/>
                </a:lnTo>
                <a:lnTo>
                  <a:pt x="5224" y="1948"/>
                </a:lnTo>
                <a:lnTo>
                  <a:pt x="5223" y="1949"/>
                </a:lnTo>
                <a:lnTo>
                  <a:pt x="5223" y="1950"/>
                </a:lnTo>
                <a:close/>
                <a:moveTo>
                  <a:pt x="5208" y="1961"/>
                </a:moveTo>
                <a:lnTo>
                  <a:pt x="5208" y="1961"/>
                </a:lnTo>
                <a:lnTo>
                  <a:pt x="5208" y="1961"/>
                </a:lnTo>
                <a:lnTo>
                  <a:pt x="5209" y="1960"/>
                </a:lnTo>
                <a:lnTo>
                  <a:pt x="5208" y="1960"/>
                </a:lnTo>
                <a:lnTo>
                  <a:pt x="5208" y="1961"/>
                </a:lnTo>
                <a:close/>
                <a:moveTo>
                  <a:pt x="5223" y="1973"/>
                </a:moveTo>
                <a:lnTo>
                  <a:pt x="5224" y="1974"/>
                </a:lnTo>
                <a:lnTo>
                  <a:pt x="5224" y="1974"/>
                </a:lnTo>
                <a:lnTo>
                  <a:pt x="5224" y="1972"/>
                </a:lnTo>
                <a:lnTo>
                  <a:pt x="5223" y="1972"/>
                </a:lnTo>
                <a:lnTo>
                  <a:pt x="5223" y="1973"/>
                </a:lnTo>
                <a:close/>
                <a:moveTo>
                  <a:pt x="5217" y="853"/>
                </a:moveTo>
                <a:lnTo>
                  <a:pt x="5221" y="853"/>
                </a:lnTo>
                <a:lnTo>
                  <a:pt x="5219" y="853"/>
                </a:lnTo>
                <a:lnTo>
                  <a:pt x="5217" y="852"/>
                </a:lnTo>
                <a:lnTo>
                  <a:pt x="5208" y="846"/>
                </a:lnTo>
                <a:lnTo>
                  <a:pt x="5208" y="846"/>
                </a:lnTo>
                <a:lnTo>
                  <a:pt x="5208" y="847"/>
                </a:lnTo>
                <a:lnTo>
                  <a:pt x="5211" y="849"/>
                </a:lnTo>
                <a:lnTo>
                  <a:pt x="5217" y="853"/>
                </a:lnTo>
                <a:close/>
                <a:moveTo>
                  <a:pt x="5218" y="1939"/>
                </a:moveTo>
                <a:lnTo>
                  <a:pt x="5216" y="1941"/>
                </a:lnTo>
                <a:lnTo>
                  <a:pt x="5211" y="1943"/>
                </a:lnTo>
                <a:lnTo>
                  <a:pt x="5209" y="1944"/>
                </a:lnTo>
                <a:lnTo>
                  <a:pt x="5208" y="1946"/>
                </a:lnTo>
                <a:lnTo>
                  <a:pt x="5206" y="1945"/>
                </a:lnTo>
                <a:lnTo>
                  <a:pt x="5205" y="1945"/>
                </a:lnTo>
                <a:lnTo>
                  <a:pt x="5204" y="1948"/>
                </a:lnTo>
                <a:lnTo>
                  <a:pt x="5206" y="1949"/>
                </a:lnTo>
                <a:lnTo>
                  <a:pt x="5208" y="1951"/>
                </a:lnTo>
                <a:lnTo>
                  <a:pt x="5208" y="1949"/>
                </a:lnTo>
                <a:lnTo>
                  <a:pt x="5208" y="1949"/>
                </a:lnTo>
                <a:lnTo>
                  <a:pt x="5208" y="1949"/>
                </a:lnTo>
                <a:lnTo>
                  <a:pt x="5208" y="1948"/>
                </a:lnTo>
                <a:lnTo>
                  <a:pt x="5212" y="1946"/>
                </a:lnTo>
                <a:lnTo>
                  <a:pt x="5212" y="1948"/>
                </a:lnTo>
                <a:lnTo>
                  <a:pt x="5221" y="1946"/>
                </a:lnTo>
                <a:lnTo>
                  <a:pt x="5223" y="1943"/>
                </a:lnTo>
                <a:lnTo>
                  <a:pt x="5224" y="1941"/>
                </a:lnTo>
                <a:lnTo>
                  <a:pt x="5221" y="1943"/>
                </a:lnTo>
                <a:lnTo>
                  <a:pt x="5218" y="1945"/>
                </a:lnTo>
                <a:lnTo>
                  <a:pt x="5221" y="1942"/>
                </a:lnTo>
                <a:lnTo>
                  <a:pt x="5224" y="1938"/>
                </a:lnTo>
                <a:lnTo>
                  <a:pt x="5221" y="1939"/>
                </a:lnTo>
                <a:lnTo>
                  <a:pt x="5218" y="1939"/>
                </a:lnTo>
                <a:close/>
                <a:moveTo>
                  <a:pt x="5207" y="840"/>
                </a:moveTo>
                <a:lnTo>
                  <a:pt x="5208" y="840"/>
                </a:lnTo>
                <a:lnTo>
                  <a:pt x="5206" y="839"/>
                </a:lnTo>
                <a:lnTo>
                  <a:pt x="5204" y="838"/>
                </a:lnTo>
                <a:lnTo>
                  <a:pt x="5205" y="839"/>
                </a:lnTo>
                <a:lnTo>
                  <a:pt x="5207" y="840"/>
                </a:lnTo>
                <a:close/>
                <a:moveTo>
                  <a:pt x="5169" y="830"/>
                </a:moveTo>
                <a:lnTo>
                  <a:pt x="5169" y="830"/>
                </a:lnTo>
                <a:lnTo>
                  <a:pt x="5169" y="831"/>
                </a:lnTo>
                <a:lnTo>
                  <a:pt x="5170" y="831"/>
                </a:lnTo>
                <a:lnTo>
                  <a:pt x="5169" y="830"/>
                </a:lnTo>
                <a:close/>
                <a:moveTo>
                  <a:pt x="5151" y="2269"/>
                </a:moveTo>
                <a:lnTo>
                  <a:pt x="5154" y="2269"/>
                </a:lnTo>
                <a:lnTo>
                  <a:pt x="5155" y="2267"/>
                </a:lnTo>
                <a:lnTo>
                  <a:pt x="5151" y="2269"/>
                </a:lnTo>
                <a:close/>
                <a:moveTo>
                  <a:pt x="5121" y="1663"/>
                </a:moveTo>
                <a:lnTo>
                  <a:pt x="5121" y="1663"/>
                </a:lnTo>
                <a:lnTo>
                  <a:pt x="5121" y="1665"/>
                </a:lnTo>
                <a:lnTo>
                  <a:pt x="5122" y="1667"/>
                </a:lnTo>
                <a:lnTo>
                  <a:pt x="5122" y="1667"/>
                </a:lnTo>
                <a:lnTo>
                  <a:pt x="5122" y="1665"/>
                </a:lnTo>
                <a:lnTo>
                  <a:pt x="5121" y="1664"/>
                </a:lnTo>
                <a:lnTo>
                  <a:pt x="5121" y="1663"/>
                </a:lnTo>
                <a:close/>
                <a:moveTo>
                  <a:pt x="5129" y="2236"/>
                </a:moveTo>
                <a:lnTo>
                  <a:pt x="5129" y="2236"/>
                </a:lnTo>
                <a:lnTo>
                  <a:pt x="5129" y="2236"/>
                </a:lnTo>
                <a:lnTo>
                  <a:pt x="5129" y="2236"/>
                </a:lnTo>
                <a:lnTo>
                  <a:pt x="5129" y="2236"/>
                </a:lnTo>
                <a:close/>
                <a:moveTo>
                  <a:pt x="5189" y="841"/>
                </a:moveTo>
                <a:lnTo>
                  <a:pt x="5190" y="841"/>
                </a:lnTo>
                <a:lnTo>
                  <a:pt x="5191" y="840"/>
                </a:lnTo>
                <a:lnTo>
                  <a:pt x="5193" y="840"/>
                </a:lnTo>
                <a:lnTo>
                  <a:pt x="5193" y="836"/>
                </a:lnTo>
                <a:lnTo>
                  <a:pt x="5192" y="836"/>
                </a:lnTo>
                <a:lnTo>
                  <a:pt x="5190" y="838"/>
                </a:lnTo>
                <a:lnTo>
                  <a:pt x="5188" y="840"/>
                </a:lnTo>
                <a:lnTo>
                  <a:pt x="5188" y="841"/>
                </a:lnTo>
                <a:lnTo>
                  <a:pt x="5189" y="841"/>
                </a:lnTo>
                <a:close/>
                <a:moveTo>
                  <a:pt x="5159" y="2262"/>
                </a:moveTo>
                <a:lnTo>
                  <a:pt x="5159" y="2258"/>
                </a:lnTo>
                <a:lnTo>
                  <a:pt x="5158" y="2257"/>
                </a:lnTo>
                <a:lnTo>
                  <a:pt x="5156" y="2256"/>
                </a:lnTo>
                <a:lnTo>
                  <a:pt x="5156" y="2256"/>
                </a:lnTo>
                <a:lnTo>
                  <a:pt x="5156" y="2259"/>
                </a:lnTo>
                <a:lnTo>
                  <a:pt x="5158" y="2260"/>
                </a:lnTo>
                <a:lnTo>
                  <a:pt x="5159" y="2262"/>
                </a:lnTo>
                <a:lnTo>
                  <a:pt x="5159" y="2262"/>
                </a:lnTo>
                <a:close/>
                <a:moveTo>
                  <a:pt x="5221" y="838"/>
                </a:moveTo>
                <a:lnTo>
                  <a:pt x="5222" y="839"/>
                </a:lnTo>
                <a:lnTo>
                  <a:pt x="5222" y="840"/>
                </a:lnTo>
                <a:lnTo>
                  <a:pt x="5223" y="839"/>
                </a:lnTo>
                <a:lnTo>
                  <a:pt x="5224" y="838"/>
                </a:lnTo>
                <a:lnTo>
                  <a:pt x="5222" y="838"/>
                </a:lnTo>
                <a:lnTo>
                  <a:pt x="5221" y="838"/>
                </a:lnTo>
                <a:close/>
                <a:moveTo>
                  <a:pt x="5205" y="1960"/>
                </a:moveTo>
                <a:lnTo>
                  <a:pt x="5200" y="1953"/>
                </a:lnTo>
                <a:lnTo>
                  <a:pt x="5195" y="1955"/>
                </a:lnTo>
                <a:lnTo>
                  <a:pt x="5190" y="1957"/>
                </a:lnTo>
                <a:lnTo>
                  <a:pt x="5189" y="1959"/>
                </a:lnTo>
                <a:lnTo>
                  <a:pt x="5188" y="1960"/>
                </a:lnTo>
                <a:lnTo>
                  <a:pt x="5188" y="1961"/>
                </a:lnTo>
                <a:lnTo>
                  <a:pt x="5186" y="1962"/>
                </a:lnTo>
                <a:lnTo>
                  <a:pt x="5185" y="1964"/>
                </a:lnTo>
                <a:lnTo>
                  <a:pt x="5187" y="1967"/>
                </a:lnTo>
                <a:lnTo>
                  <a:pt x="5191" y="1968"/>
                </a:lnTo>
                <a:lnTo>
                  <a:pt x="5194" y="1969"/>
                </a:lnTo>
                <a:lnTo>
                  <a:pt x="5200" y="1969"/>
                </a:lnTo>
                <a:lnTo>
                  <a:pt x="5204" y="1967"/>
                </a:lnTo>
                <a:lnTo>
                  <a:pt x="5208" y="1965"/>
                </a:lnTo>
                <a:lnTo>
                  <a:pt x="5206" y="1963"/>
                </a:lnTo>
                <a:lnTo>
                  <a:pt x="5205" y="1960"/>
                </a:lnTo>
                <a:close/>
                <a:moveTo>
                  <a:pt x="5196" y="1982"/>
                </a:moveTo>
                <a:lnTo>
                  <a:pt x="5197" y="1982"/>
                </a:lnTo>
                <a:lnTo>
                  <a:pt x="5200" y="1981"/>
                </a:lnTo>
                <a:lnTo>
                  <a:pt x="5204" y="1979"/>
                </a:lnTo>
                <a:lnTo>
                  <a:pt x="5201" y="1979"/>
                </a:lnTo>
                <a:lnTo>
                  <a:pt x="5196" y="1982"/>
                </a:lnTo>
                <a:close/>
                <a:moveTo>
                  <a:pt x="5122" y="1676"/>
                </a:moveTo>
                <a:lnTo>
                  <a:pt x="5122" y="1678"/>
                </a:lnTo>
                <a:lnTo>
                  <a:pt x="5122" y="1679"/>
                </a:lnTo>
                <a:lnTo>
                  <a:pt x="5125" y="1678"/>
                </a:lnTo>
                <a:lnTo>
                  <a:pt x="5122" y="1676"/>
                </a:lnTo>
                <a:lnTo>
                  <a:pt x="5122" y="1676"/>
                </a:lnTo>
                <a:close/>
                <a:moveTo>
                  <a:pt x="4939" y="657"/>
                </a:moveTo>
                <a:lnTo>
                  <a:pt x="4939" y="657"/>
                </a:lnTo>
                <a:lnTo>
                  <a:pt x="4939" y="657"/>
                </a:lnTo>
                <a:lnTo>
                  <a:pt x="4939" y="657"/>
                </a:lnTo>
                <a:lnTo>
                  <a:pt x="4939" y="657"/>
                </a:lnTo>
                <a:close/>
                <a:moveTo>
                  <a:pt x="4887" y="861"/>
                </a:moveTo>
                <a:lnTo>
                  <a:pt x="4887" y="861"/>
                </a:lnTo>
                <a:lnTo>
                  <a:pt x="4887" y="861"/>
                </a:lnTo>
                <a:lnTo>
                  <a:pt x="4887" y="861"/>
                </a:lnTo>
                <a:close/>
                <a:moveTo>
                  <a:pt x="5204" y="565"/>
                </a:moveTo>
                <a:lnTo>
                  <a:pt x="5204" y="565"/>
                </a:lnTo>
                <a:lnTo>
                  <a:pt x="5205" y="564"/>
                </a:lnTo>
                <a:lnTo>
                  <a:pt x="5204" y="565"/>
                </a:lnTo>
                <a:lnTo>
                  <a:pt x="5204" y="565"/>
                </a:lnTo>
                <a:close/>
                <a:moveTo>
                  <a:pt x="4887" y="861"/>
                </a:moveTo>
                <a:lnTo>
                  <a:pt x="4887" y="860"/>
                </a:lnTo>
                <a:lnTo>
                  <a:pt x="4887" y="860"/>
                </a:lnTo>
                <a:lnTo>
                  <a:pt x="4886" y="861"/>
                </a:lnTo>
                <a:lnTo>
                  <a:pt x="4887" y="861"/>
                </a:lnTo>
                <a:close/>
                <a:moveTo>
                  <a:pt x="4613" y="804"/>
                </a:moveTo>
                <a:lnTo>
                  <a:pt x="4611" y="803"/>
                </a:lnTo>
                <a:lnTo>
                  <a:pt x="4610" y="802"/>
                </a:lnTo>
                <a:lnTo>
                  <a:pt x="4609" y="804"/>
                </a:lnTo>
                <a:lnTo>
                  <a:pt x="4610" y="804"/>
                </a:lnTo>
                <a:lnTo>
                  <a:pt x="4613" y="804"/>
                </a:lnTo>
                <a:close/>
                <a:moveTo>
                  <a:pt x="4625" y="795"/>
                </a:moveTo>
                <a:lnTo>
                  <a:pt x="4624" y="796"/>
                </a:lnTo>
                <a:lnTo>
                  <a:pt x="4626" y="796"/>
                </a:lnTo>
                <a:lnTo>
                  <a:pt x="4626" y="795"/>
                </a:lnTo>
                <a:lnTo>
                  <a:pt x="4626" y="795"/>
                </a:lnTo>
                <a:lnTo>
                  <a:pt x="4626" y="795"/>
                </a:lnTo>
                <a:lnTo>
                  <a:pt x="4625" y="795"/>
                </a:lnTo>
                <a:close/>
                <a:moveTo>
                  <a:pt x="4682" y="806"/>
                </a:moveTo>
                <a:lnTo>
                  <a:pt x="4682" y="806"/>
                </a:lnTo>
                <a:lnTo>
                  <a:pt x="4682" y="806"/>
                </a:lnTo>
                <a:lnTo>
                  <a:pt x="4682" y="806"/>
                </a:lnTo>
                <a:lnTo>
                  <a:pt x="4682" y="806"/>
                </a:lnTo>
                <a:lnTo>
                  <a:pt x="4682" y="806"/>
                </a:lnTo>
                <a:close/>
                <a:moveTo>
                  <a:pt x="4676" y="808"/>
                </a:moveTo>
                <a:lnTo>
                  <a:pt x="4674" y="808"/>
                </a:lnTo>
                <a:lnTo>
                  <a:pt x="4674" y="810"/>
                </a:lnTo>
                <a:lnTo>
                  <a:pt x="4676" y="808"/>
                </a:lnTo>
                <a:lnTo>
                  <a:pt x="4676" y="808"/>
                </a:lnTo>
                <a:close/>
                <a:moveTo>
                  <a:pt x="4624" y="800"/>
                </a:moveTo>
                <a:lnTo>
                  <a:pt x="4624" y="800"/>
                </a:lnTo>
                <a:lnTo>
                  <a:pt x="4622" y="800"/>
                </a:lnTo>
                <a:lnTo>
                  <a:pt x="4622" y="801"/>
                </a:lnTo>
                <a:lnTo>
                  <a:pt x="4623" y="801"/>
                </a:lnTo>
                <a:lnTo>
                  <a:pt x="4624" y="800"/>
                </a:lnTo>
                <a:close/>
                <a:moveTo>
                  <a:pt x="5208" y="587"/>
                </a:moveTo>
                <a:lnTo>
                  <a:pt x="5208" y="587"/>
                </a:lnTo>
                <a:lnTo>
                  <a:pt x="5208" y="588"/>
                </a:lnTo>
                <a:lnTo>
                  <a:pt x="5208" y="588"/>
                </a:lnTo>
                <a:lnTo>
                  <a:pt x="5208" y="587"/>
                </a:lnTo>
                <a:close/>
                <a:moveTo>
                  <a:pt x="5208" y="588"/>
                </a:moveTo>
                <a:lnTo>
                  <a:pt x="5208" y="588"/>
                </a:lnTo>
                <a:lnTo>
                  <a:pt x="5208" y="591"/>
                </a:lnTo>
                <a:lnTo>
                  <a:pt x="5208" y="589"/>
                </a:lnTo>
                <a:lnTo>
                  <a:pt x="5208" y="588"/>
                </a:lnTo>
                <a:close/>
                <a:moveTo>
                  <a:pt x="5174" y="561"/>
                </a:moveTo>
                <a:lnTo>
                  <a:pt x="5174" y="561"/>
                </a:lnTo>
                <a:lnTo>
                  <a:pt x="5174" y="561"/>
                </a:lnTo>
                <a:lnTo>
                  <a:pt x="5174" y="561"/>
                </a:lnTo>
                <a:close/>
                <a:moveTo>
                  <a:pt x="4935" y="816"/>
                </a:moveTo>
                <a:lnTo>
                  <a:pt x="4935" y="816"/>
                </a:lnTo>
                <a:lnTo>
                  <a:pt x="4935" y="816"/>
                </a:lnTo>
                <a:lnTo>
                  <a:pt x="4935" y="816"/>
                </a:lnTo>
                <a:close/>
                <a:moveTo>
                  <a:pt x="5211" y="595"/>
                </a:moveTo>
                <a:lnTo>
                  <a:pt x="5211" y="595"/>
                </a:lnTo>
                <a:lnTo>
                  <a:pt x="5210" y="594"/>
                </a:lnTo>
                <a:lnTo>
                  <a:pt x="5211" y="595"/>
                </a:lnTo>
                <a:lnTo>
                  <a:pt x="5211" y="595"/>
                </a:lnTo>
                <a:close/>
                <a:moveTo>
                  <a:pt x="4981" y="740"/>
                </a:moveTo>
                <a:lnTo>
                  <a:pt x="4981" y="740"/>
                </a:lnTo>
                <a:lnTo>
                  <a:pt x="4981" y="740"/>
                </a:lnTo>
                <a:lnTo>
                  <a:pt x="4981" y="740"/>
                </a:lnTo>
                <a:lnTo>
                  <a:pt x="4981" y="740"/>
                </a:lnTo>
                <a:close/>
                <a:moveTo>
                  <a:pt x="5024" y="676"/>
                </a:moveTo>
                <a:lnTo>
                  <a:pt x="5024" y="676"/>
                </a:lnTo>
                <a:lnTo>
                  <a:pt x="5024" y="676"/>
                </a:lnTo>
                <a:lnTo>
                  <a:pt x="5024" y="676"/>
                </a:lnTo>
                <a:lnTo>
                  <a:pt x="5024" y="676"/>
                </a:lnTo>
                <a:close/>
                <a:moveTo>
                  <a:pt x="5111" y="652"/>
                </a:moveTo>
                <a:lnTo>
                  <a:pt x="5111" y="652"/>
                </a:lnTo>
                <a:lnTo>
                  <a:pt x="5111" y="652"/>
                </a:lnTo>
                <a:lnTo>
                  <a:pt x="5111" y="652"/>
                </a:lnTo>
                <a:lnTo>
                  <a:pt x="5111" y="652"/>
                </a:lnTo>
                <a:close/>
                <a:moveTo>
                  <a:pt x="5136" y="2340"/>
                </a:moveTo>
                <a:lnTo>
                  <a:pt x="5137" y="2339"/>
                </a:lnTo>
                <a:lnTo>
                  <a:pt x="5136" y="2339"/>
                </a:lnTo>
                <a:lnTo>
                  <a:pt x="5136" y="2339"/>
                </a:lnTo>
                <a:lnTo>
                  <a:pt x="5136" y="2340"/>
                </a:lnTo>
                <a:close/>
                <a:moveTo>
                  <a:pt x="5036" y="2420"/>
                </a:moveTo>
                <a:lnTo>
                  <a:pt x="5036" y="2417"/>
                </a:lnTo>
                <a:lnTo>
                  <a:pt x="5033" y="2419"/>
                </a:lnTo>
                <a:lnTo>
                  <a:pt x="5036" y="2420"/>
                </a:lnTo>
                <a:close/>
                <a:moveTo>
                  <a:pt x="5067" y="2560"/>
                </a:moveTo>
                <a:lnTo>
                  <a:pt x="5067" y="2557"/>
                </a:lnTo>
                <a:lnTo>
                  <a:pt x="5067" y="2557"/>
                </a:lnTo>
                <a:lnTo>
                  <a:pt x="5065" y="2560"/>
                </a:lnTo>
                <a:lnTo>
                  <a:pt x="5067" y="2560"/>
                </a:lnTo>
                <a:close/>
                <a:moveTo>
                  <a:pt x="5055" y="2443"/>
                </a:moveTo>
                <a:lnTo>
                  <a:pt x="5056" y="2444"/>
                </a:lnTo>
                <a:lnTo>
                  <a:pt x="5056" y="2445"/>
                </a:lnTo>
                <a:lnTo>
                  <a:pt x="5056" y="2443"/>
                </a:lnTo>
                <a:lnTo>
                  <a:pt x="5055" y="2443"/>
                </a:lnTo>
                <a:close/>
                <a:moveTo>
                  <a:pt x="5134" y="2343"/>
                </a:moveTo>
                <a:lnTo>
                  <a:pt x="5134" y="2343"/>
                </a:lnTo>
                <a:lnTo>
                  <a:pt x="5134" y="2343"/>
                </a:lnTo>
                <a:lnTo>
                  <a:pt x="5134" y="2343"/>
                </a:lnTo>
                <a:lnTo>
                  <a:pt x="5132" y="2343"/>
                </a:lnTo>
                <a:lnTo>
                  <a:pt x="5132" y="2344"/>
                </a:lnTo>
                <a:lnTo>
                  <a:pt x="5134" y="2343"/>
                </a:lnTo>
                <a:lnTo>
                  <a:pt x="5134" y="2343"/>
                </a:lnTo>
                <a:close/>
                <a:moveTo>
                  <a:pt x="5136" y="2340"/>
                </a:moveTo>
                <a:lnTo>
                  <a:pt x="5136" y="2341"/>
                </a:lnTo>
                <a:lnTo>
                  <a:pt x="5136" y="2339"/>
                </a:lnTo>
                <a:lnTo>
                  <a:pt x="5136" y="2339"/>
                </a:lnTo>
                <a:lnTo>
                  <a:pt x="5136" y="2339"/>
                </a:lnTo>
                <a:lnTo>
                  <a:pt x="5136" y="2339"/>
                </a:lnTo>
                <a:lnTo>
                  <a:pt x="5137" y="2335"/>
                </a:lnTo>
                <a:lnTo>
                  <a:pt x="5137" y="2335"/>
                </a:lnTo>
                <a:lnTo>
                  <a:pt x="5137" y="2335"/>
                </a:lnTo>
                <a:lnTo>
                  <a:pt x="5132" y="2339"/>
                </a:lnTo>
                <a:lnTo>
                  <a:pt x="5132" y="2343"/>
                </a:lnTo>
                <a:lnTo>
                  <a:pt x="5134" y="2343"/>
                </a:lnTo>
                <a:lnTo>
                  <a:pt x="5136" y="2343"/>
                </a:lnTo>
                <a:lnTo>
                  <a:pt x="5136" y="2340"/>
                </a:lnTo>
                <a:close/>
                <a:moveTo>
                  <a:pt x="5047" y="2447"/>
                </a:moveTo>
                <a:lnTo>
                  <a:pt x="5048" y="2449"/>
                </a:lnTo>
                <a:lnTo>
                  <a:pt x="5044" y="2459"/>
                </a:lnTo>
                <a:lnTo>
                  <a:pt x="5045" y="2459"/>
                </a:lnTo>
                <a:lnTo>
                  <a:pt x="5046" y="2456"/>
                </a:lnTo>
                <a:lnTo>
                  <a:pt x="5047" y="2454"/>
                </a:lnTo>
                <a:lnTo>
                  <a:pt x="5048" y="2456"/>
                </a:lnTo>
                <a:lnTo>
                  <a:pt x="5052" y="2453"/>
                </a:lnTo>
                <a:lnTo>
                  <a:pt x="5052" y="2451"/>
                </a:lnTo>
                <a:lnTo>
                  <a:pt x="5052" y="2451"/>
                </a:lnTo>
                <a:lnTo>
                  <a:pt x="5052" y="2450"/>
                </a:lnTo>
                <a:lnTo>
                  <a:pt x="5053" y="2449"/>
                </a:lnTo>
                <a:lnTo>
                  <a:pt x="5051" y="2447"/>
                </a:lnTo>
                <a:lnTo>
                  <a:pt x="5047" y="2447"/>
                </a:lnTo>
                <a:close/>
                <a:moveTo>
                  <a:pt x="5036" y="2417"/>
                </a:moveTo>
                <a:lnTo>
                  <a:pt x="5036" y="2417"/>
                </a:lnTo>
                <a:lnTo>
                  <a:pt x="5036" y="2417"/>
                </a:lnTo>
                <a:lnTo>
                  <a:pt x="5036" y="2417"/>
                </a:lnTo>
                <a:close/>
                <a:moveTo>
                  <a:pt x="4697" y="897"/>
                </a:moveTo>
                <a:lnTo>
                  <a:pt x="4690" y="897"/>
                </a:lnTo>
                <a:lnTo>
                  <a:pt x="4690" y="897"/>
                </a:lnTo>
                <a:lnTo>
                  <a:pt x="4697" y="897"/>
                </a:lnTo>
                <a:close/>
                <a:moveTo>
                  <a:pt x="5056" y="2445"/>
                </a:moveTo>
                <a:lnTo>
                  <a:pt x="5056" y="2445"/>
                </a:lnTo>
                <a:lnTo>
                  <a:pt x="5056" y="2445"/>
                </a:lnTo>
                <a:lnTo>
                  <a:pt x="5056" y="2445"/>
                </a:lnTo>
                <a:lnTo>
                  <a:pt x="5056" y="2445"/>
                </a:lnTo>
                <a:close/>
                <a:moveTo>
                  <a:pt x="5020" y="1857"/>
                </a:moveTo>
                <a:lnTo>
                  <a:pt x="5025" y="1853"/>
                </a:lnTo>
                <a:lnTo>
                  <a:pt x="5018" y="1856"/>
                </a:lnTo>
                <a:lnTo>
                  <a:pt x="5020" y="1857"/>
                </a:lnTo>
                <a:close/>
                <a:moveTo>
                  <a:pt x="5031" y="2008"/>
                </a:moveTo>
                <a:lnTo>
                  <a:pt x="5032" y="2006"/>
                </a:lnTo>
                <a:lnTo>
                  <a:pt x="5032" y="2003"/>
                </a:lnTo>
                <a:lnTo>
                  <a:pt x="5032" y="2003"/>
                </a:lnTo>
                <a:lnTo>
                  <a:pt x="5031" y="2006"/>
                </a:lnTo>
                <a:lnTo>
                  <a:pt x="5030" y="2009"/>
                </a:lnTo>
                <a:lnTo>
                  <a:pt x="5031" y="2008"/>
                </a:lnTo>
                <a:close/>
                <a:moveTo>
                  <a:pt x="5024" y="776"/>
                </a:moveTo>
                <a:lnTo>
                  <a:pt x="5024" y="776"/>
                </a:lnTo>
                <a:lnTo>
                  <a:pt x="5021" y="776"/>
                </a:lnTo>
                <a:lnTo>
                  <a:pt x="5027" y="785"/>
                </a:lnTo>
                <a:lnTo>
                  <a:pt x="5029" y="785"/>
                </a:lnTo>
                <a:lnTo>
                  <a:pt x="5032" y="786"/>
                </a:lnTo>
                <a:lnTo>
                  <a:pt x="5032" y="783"/>
                </a:lnTo>
                <a:lnTo>
                  <a:pt x="5028" y="779"/>
                </a:lnTo>
                <a:lnTo>
                  <a:pt x="5024" y="776"/>
                </a:lnTo>
                <a:close/>
                <a:moveTo>
                  <a:pt x="5041" y="1929"/>
                </a:moveTo>
                <a:lnTo>
                  <a:pt x="5038" y="1929"/>
                </a:lnTo>
                <a:lnTo>
                  <a:pt x="5041" y="1930"/>
                </a:lnTo>
                <a:lnTo>
                  <a:pt x="5041" y="1929"/>
                </a:lnTo>
                <a:close/>
                <a:moveTo>
                  <a:pt x="5048" y="2457"/>
                </a:moveTo>
                <a:lnTo>
                  <a:pt x="5048" y="2457"/>
                </a:lnTo>
                <a:lnTo>
                  <a:pt x="5048" y="2457"/>
                </a:lnTo>
                <a:lnTo>
                  <a:pt x="5048" y="2457"/>
                </a:lnTo>
                <a:close/>
                <a:moveTo>
                  <a:pt x="5026" y="2519"/>
                </a:moveTo>
                <a:lnTo>
                  <a:pt x="5023" y="2519"/>
                </a:lnTo>
                <a:lnTo>
                  <a:pt x="5023" y="2521"/>
                </a:lnTo>
                <a:lnTo>
                  <a:pt x="5020" y="2525"/>
                </a:lnTo>
                <a:lnTo>
                  <a:pt x="5025" y="2526"/>
                </a:lnTo>
                <a:lnTo>
                  <a:pt x="5023" y="2522"/>
                </a:lnTo>
                <a:lnTo>
                  <a:pt x="5024" y="2521"/>
                </a:lnTo>
                <a:lnTo>
                  <a:pt x="5026" y="2519"/>
                </a:lnTo>
                <a:close/>
                <a:moveTo>
                  <a:pt x="5048" y="2457"/>
                </a:moveTo>
                <a:lnTo>
                  <a:pt x="5048" y="2456"/>
                </a:lnTo>
                <a:lnTo>
                  <a:pt x="5047" y="2457"/>
                </a:lnTo>
                <a:lnTo>
                  <a:pt x="5048" y="2457"/>
                </a:lnTo>
                <a:close/>
                <a:moveTo>
                  <a:pt x="5047" y="2459"/>
                </a:moveTo>
                <a:lnTo>
                  <a:pt x="5045" y="2459"/>
                </a:lnTo>
                <a:lnTo>
                  <a:pt x="5045" y="2459"/>
                </a:lnTo>
                <a:lnTo>
                  <a:pt x="5047" y="2459"/>
                </a:lnTo>
                <a:close/>
                <a:moveTo>
                  <a:pt x="5137" y="831"/>
                </a:moveTo>
                <a:lnTo>
                  <a:pt x="5137" y="827"/>
                </a:lnTo>
                <a:lnTo>
                  <a:pt x="5132" y="830"/>
                </a:lnTo>
                <a:lnTo>
                  <a:pt x="5136" y="831"/>
                </a:lnTo>
                <a:lnTo>
                  <a:pt x="5137" y="831"/>
                </a:lnTo>
                <a:close/>
                <a:moveTo>
                  <a:pt x="5080" y="1999"/>
                </a:moveTo>
                <a:lnTo>
                  <a:pt x="5078" y="1998"/>
                </a:lnTo>
                <a:lnTo>
                  <a:pt x="5078" y="1998"/>
                </a:lnTo>
                <a:lnTo>
                  <a:pt x="5079" y="1999"/>
                </a:lnTo>
                <a:lnTo>
                  <a:pt x="5080" y="1999"/>
                </a:lnTo>
                <a:close/>
                <a:moveTo>
                  <a:pt x="5124" y="2239"/>
                </a:moveTo>
                <a:lnTo>
                  <a:pt x="5124" y="2239"/>
                </a:lnTo>
                <a:lnTo>
                  <a:pt x="5124" y="2238"/>
                </a:lnTo>
                <a:lnTo>
                  <a:pt x="5124" y="2239"/>
                </a:lnTo>
                <a:close/>
                <a:moveTo>
                  <a:pt x="5120" y="2231"/>
                </a:moveTo>
                <a:lnTo>
                  <a:pt x="5120" y="2230"/>
                </a:lnTo>
                <a:lnTo>
                  <a:pt x="5118" y="2230"/>
                </a:lnTo>
                <a:lnTo>
                  <a:pt x="5124" y="2238"/>
                </a:lnTo>
                <a:lnTo>
                  <a:pt x="5124" y="2236"/>
                </a:lnTo>
                <a:lnTo>
                  <a:pt x="5120" y="2231"/>
                </a:lnTo>
                <a:close/>
                <a:moveTo>
                  <a:pt x="5144" y="2274"/>
                </a:moveTo>
                <a:lnTo>
                  <a:pt x="5144" y="2275"/>
                </a:lnTo>
                <a:lnTo>
                  <a:pt x="5145" y="2275"/>
                </a:lnTo>
                <a:lnTo>
                  <a:pt x="5145" y="2274"/>
                </a:lnTo>
                <a:lnTo>
                  <a:pt x="5144" y="2274"/>
                </a:lnTo>
                <a:close/>
                <a:moveTo>
                  <a:pt x="5139" y="2242"/>
                </a:moveTo>
                <a:lnTo>
                  <a:pt x="5138" y="2242"/>
                </a:lnTo>
                <a:lnTo>
                  <a:pt x="5140" y="2242"/>
                </a:lnTo>
                <a:lnTo>
                  <a:pt x="5139" y="2242"/>
                </a:lnTo>
                <a:close/>
                <a:moveTo>
                  <a:pt x="5136" y="2343"/>
                </a:moveTo>
                <a:lnTo>
                  <a:pt x="5136" y="2343"/>
                </a:lnTo>
                <a:lnTo>
                  <a:pt x="5136" y="2343"/>
                </a:lnTo>
                <a:lnTo>
                  <a:pt x="5136" y="2343"/>
                </a:lnTo>
                <a:close/>
                <a:moveTo>
                  <a:pt x="5129" y="820"/>
                </a:moveTo>
                <a:lnTo>
                  <a:pt x="5124" y="820"/>
                </a:lnTo>
                <a:lnTo>
                  <a:pt x="5124" y="822"/>
                </a:lnTo>
                <a:lnTo>
                  <a:pt x="5125" y="824"/>
                </a:lnTo>
                <a:lnTo>
                  <a:pt x="5133" y="820"/>
                </a:lnTo>
                <a:lnTo>
                  <a:pt x="5131" y="820"/>
                </a:lnTo>
                <a:lnTo>
                  <a:pt x="5129" y="820"/>
                </a:lnTo>
                <a:close/>
                <a:moveTo>
                  <a:pt x="5201" y="2283"/>
                </a:moveTo>
                <a:lnTo>
                  <a:pt x="5202" y="2285"/>
                </a:lnTo>
                <a:lnTo>
                  <a:pt x="5199" y="2287"/>
                </a:lnTo>
                <a:lnTo>
                  <a:pt x="5196" y="2290"/>
                </a:lnTo>
                <a:lnTo>
                  <a:pt x="5196" y="2298"/>
                </a:lnTo>
                <a:lnTo>
                  <a:pt x="5196" y="2300"/>
                </a:lnTo>
                <a:lnTo>
                  <a:pt x="5196" y="2302"/>
                </a:lnTo>
                <a:lnTo>
                  <a:pt x="5195" y="2302"/>
                </a:lnTo>
                <a:lnTo>
                  <a:pt x="5194" y="2306"/>
                </a:lnTo>
                <a:lnTo>
                  <a:pt x="5193" y="2310"/>
                </a:lnTo>
                <a:lnTo>
                  <a:pt x="5192" y="2310"/>
                </a:lnTo>
                <a:lnTo>
                  <a:pt x="5190" y="2310"/>
                </a:lnTo>
                <a:lnTo>
                  <a:pt x="5182" y="2310"/>
                </a:lnTo>
                <a:lnTo>
                  <a:pt x="5180" y="2312"/>
                </a:lnTo>
                <a:lnTo>
                  <a:pt x="5178" y="2317"/>
                </a:lnTo>
                <a:lnTo>
                  <a:pt x="5180" y="2319"/>
                </a:lnTo>
                <a:lnTo>
                  <a:pt x="5181" y="2323"/>
                </a:lnTo>
                <a:lnTo>
                  <a:pt x="5182" y="2323"/>
                </a:lnTo>
                <a:lnTo>
                  <a:pt x="5177" y="2330"/>
                </a:lnTo>
                <a:lnTo>
                  <a:pt x="5174" y="2333"/>
                </a:lnTo>
                <a:lnTo>
                  <a:pt x="5170" y="2337"/>
                </a:lnTo>
                <a:lnTo>
                  <a:pt x="5167" y="2347"/>
                </a:lnTo>
                <a:lnTo>
                  <a:pt x="5155" y="2355"/>
                </a:lnTo>
                <a:lnTo>
                  <a:pt x="5155" y="2355"/>
                </a:lnTo>
                <a:lnTo>
                  <a:pt x="5152" y="2355"/>
                </a:lnTo>
                <a:lnTo>
                  <a:pt x="5152" y="2351"/>
                </a:lnTo>
                <a:lnTo>
                  <a:pt x="5149" y="2351"/>
                </a:lnTo>
                <a:lnTo>
                  <a:pt x="5148" y="2351"/>
                </a:lnTo>
                <a:lnTo>
                  <a:pt x="5145" y="2351"/>
                </a:lnTo>
                <a:lnTo>
                  <a:pt x="5148" y="2347"/>
                </a:lnTo>
                <a:lnTo>
                  <a:pt x="5148" y="2346"/>
                </a:lnTo>
                <a:lnTo>
                  <a:pt x="5148" y="2347"/>
                </a:lnTo>
                <a:lnTo>
                  <a:pt x="5154" y="2338"/>
                </a:lnTo>
                <a:lnTo>
                  <a:pt x="5155" y="2331"/>
                </a:lnTo>
                <a:lnTo>
                  <a:pt x="5154" y="2327"/>
                </a:lnTo>
                <a:lnTo>
                  <a:pt x="5152" y="2325"/>
                </a:lnTo>
                <a:lnTo>
                  <a:pt x="5150" y="2324"/>
                </a:lnTo>
                <a:lnTo>
                  <a:pt x="5148" y="2323"/>
                </a:lnTo>
                <a:lnTo>
                  <a:pt x="5145" y="2322"/>
                </a:lnTo>
                <a:lnTo>
                  <a:pt x="5144" y="2321"/>
                </a:lnTo>
                <a:lnTo>
                  <a:pt x="5142" y="2320"/>
                </a:lnTo>
                <a:lnTo>
                  <a:pt x="5136" y="2317"/>
                </a:lnTo>
                <a:lnTo>
                  <a:pt x="5132" y="2311"/>
                </a:lnTo>
                <a:lnTo>
                  <a:pt x="5132" y="2309"/>
                </a:lnTo>
                <a:lnTo>
                  <a:pt x="5142" y="2308"/>
                </a:lnTo>
                <a:lnTo>
                  <a:pt x="5144" y="2306"/>
                </a:lnTo>
                <a:lnTo>
                  <a:pt x="5145" y="2304"/>
                </a:lnTo>
                <a:lnTo>
                  <a:pt x="5148" y="2294"/>
                </a:lnTo>
                <a:lnTo>
                  <a:pt x="5148" y="2294"/>
                </a:lnTo>
                <a:lnTo>
                  <a:pt x="5148" y="2288"/>
                </a:lnTo>
                <a:lnTo>
                  <a:pt x="5148" y="2286"/>
                </a:lnTo>
                <a:lnTo>
                  <a:pt x="5151" y="2286"/>
                </a:lnTo>
                <a:lnTo>
                  <a:pt x="5151" y="2286"/>
                </a:lnTo>
                <a:lnTo>
                  <a:pt x="5149" y="2282"/>
                </a:lnTo>
                <a:lnTo>
                  <a:pt x="5148" y="2279"/>
                </a:lnTo>
                <a:lnTo>
                  <a:pt x="5145" y="2275"/>
                </a:lnTo>
                <a:lnTo>
                  <a:pt x="5147" y="2274"/>
                </a:lnTo>
                <a:lnTo>
                  <a:pt x="5151" y="2274"/>
                </a:lnTo>
                <a:lnTo>
                  <a:pt x="5150" y="2272"/>
                </a:lnTo>
                <a:lnTo>
                  <a:pt x="5149" y="2270"/>
                </a:lnTo>
                <a:lnTo>
                  <a:pt x="5146" y="2272"/>
                </a:lnTo>
                <a:lnTo>
                  <a:pt x="5144" y="2274"/>
                </a:lnTo>
                <a:lnTo>
                  <a:pt x="5142" y="2270"/>
                </a:lnTo>
                <a:lnTo>
                  <a:pt x="5140" y="2267"/>
                </a:lnTo>
                <a:lnTo>
                  <a:pt x="5140" y="2267"/>
                </a:lnTo>
                <a:lnTo>
                  <a:pt x="5140" y="2262"/>
                </a:lnTo>
                <a:lnTo>
                  <a:pt x="5137" y="2263"/>
                </a:lnTo>
                <a:lnTo>
                  <a:pt x="5128" y="2247"/>
                </a:lnTo>
                <a:lnTo>
                  <a:pt x="5128" y="2247"/>
                </a:lnTo>
                <a:lnTo>
                  <a:pt x="5128" y="2247"/>
                </a:lnTo>
                <a:lnTo>
                  <a:pt x="5126" y="2245"/>
                </a:lnTo>
                <a:lnTo>
                  <a:pt x="5125" y="2242"/>
                </a:lnTo>
                <a:lnTo>
                  <a:pt x="5126" y="2242"/>
                </a:lnTo>
                <a:lnTo>
                  <a:pt x="5125" y="2241"/>
                </a:lnTo>
                <a:lnTo>
                  <a:pt x="5125" y="2240"/>
                </a:lnTo>
                <a:lnTo>
                  <a:pt x="5124" y="2239"/>
                </a:lnTo>
                <a:lnTo>
                  <a:pt x="5128" y="2236"/>
                </a:lnTo>
                <a:lnTo>
                  <a:pt x="5129" y="2237"/>
                </a:lnTo>
                <a:lnTo>
                  <a:pt x="5129" y="2239"/>
                </a:lnTo>
                <a:lnTo>
                  <a:pt x="5130" y="2242"/>
                </a:lnTo>
                <a:lnTo>
                  <a:pt x="5131" y="2242"/>
                </a:lnTo>
                <a:lnTo>
                  <a:pt x="5138" y="2242"/>
                </a:lnTo>
                <a:lnTo>
                  <a:pt x="5137" y="2243"/>
                </a:lnTo>
                <a:lnTo>
                  <a:pt x="5139" y="2244"/>
                </a:lnTo>
                <a:lnTo>
                  <a:pt x="5140" y="2245"/>
                </a:lnTo>
                <a:lnTo>
                  <a:pt x="5142" y="2244"/>
                </a:lnTo>
                <a:lnTo>
                  <a:pt x="5144" y="2243"/>
                </a:lnTo>
                <a:lnTo>
                  <a:pt x="5144" y="2243"/>
                </a:lnTo>
                <a:lnTo>
                  <a:pt x="5144" y="2243"/>
                </a:lnTo>
                <a:lnTo>
                  <a:pt x="5144" y="2245"/>
                </a:lnTo>
                <a:lnTo>
                  <a:pt x="5145" y="2247"/>
                </a:lnTo>
                <a:lnTo>
                  <a:pt x="5144" y="2249"/>
                </a:lnTo>
                <a:lnTo>
                  <a:pt x="5144" y="2251"/>
                </a:lnTo>
                <a:lnTo>
                  <a:pt x="5144" y="2252"/>
                </a:lnTo>
                <a:lnTo>
                  <a:pt x="5145" y="2254"/>
                </a:lnTo>
                <a:lnTo>
                  <a:pt x="5145" y="2254"/>
                </a:lnTo>
                <a:lnTo>
                  <a:pt x="5144" y="2255"/>
                </a:lnTo>
                <a:lnTo>
                  <a:pt x="5144" y="2256"/>
                </a:lnTo>
                <a:lnTo>
                  <a:pt x="5146" y="2257"/>
                </a:lnTo>
                <a:lnTo>
                  <a:pt x="5149" y="2259"/>
                </a:lnTo>
                <a:lnTo>
                  <a:pt x="5148" y="2264"/>
                </a:lnTo>
                <a:lnTo>
                  <a:pt x="5148" y="2269"/>
                </a:lnTo>
                <a:lnTo>
                  <a:pt x="5155" y="2273"/>
                </a:lnTo>
                <a:lnTo>
                  <a:pt x="5155" y="2275"/>
                </a:lnTo>
                <a:lnTo>
                  <a:pt x="5156" y="2276"/>
                </a:lnTo>
                <a:lnTo>
                  <a:pt x="5156" y="2273"/>
                </a:lnTo>
                <a:lnTo>
                  <a:pt x="5156" y="2272"/>
                </a:lnTo>
                <a:lnTo>
                  <a:pt x="5156" y="2270"/>
                </a:lnTo>
                <a:lnTo>
                  <a:pt x="5156" y="2267"/>
                </a:lnTo>
                <a:lnTo>
                  <a:pt x="5156" y="2266"/>
                </a:lnTo>
                <a:lnTo>
                  <a:pt x="5159" y="2266"/>
                </a:lnTo>
                <a:lnTo>
                  <a:pt x="5160" y="2268"/>
                </a:lnTo>
                <a:lnTo>
                  <a:pt x="5162" y="2270"/>
                </a:lnTo>
                <a:lnTo>
                  <a:pt x="5164" y="2270"/>
                </a:lnTo>
                <a:lnTo>
                  <a:pt x="5164" y="2277"/>
                </a:lnTo>
                <a:lnTo>
                  <a:pt x="5166" y="2281"/>
                </a:lnTo>
                <a:lnTo>
                  <a:pt x="5169" y="2286"/>
                </a:lnTo>
                <a:lnTo>
                  <a:pt x="5169" y="2286"/>
                </a:lnTo>
                <a:lnTo>
                  <a:pt x="5169" y="2286"/>
                </a:lnTo>
                <a:lnTo>
                  <a:pt x="5174" y="2287"/>
                </a:lnTo>
                <a:lnTo>
                  <a:pt x="5184" y="2290"/>
                </a:lnTo>
                <a:lnTo>
                  <a:pt x="5188" y="2288"/>
                </a:lnTo>
                <a:lnTo>
                  <a:pt x="5190" y="2286"/>
                </a:lnTo>
                <a:lnTo>
                  <a:pt x="5191" y="2285"/>
                </a:lnTo>
                <a:lnTo>
                  <a:pt x="5193" y="2283"/>
                </a:lnTo>
                <a:lnTo>
                  <a:pt x="5195" y="2282"/>
                </a:lnTo>
                <a:lnTo>
                  <a:pt x="5200" y="2282"/>
                </a:lnTo>
                <a:lnTo>
                  <a:pt x="5201" y="2283"/>
                </a:lnTo>
                <a:close/>
                <a:moveTo>
                  <a:pt x="5132" y="2245"/>
                </a:moveTo>
                <a:lnTo>
                  <a:pt x="5132" y="2244"/>
                </a:lnTo>
                <a:lnTo>
                  <a:pt x="5131" y="2243"/>
                </a:lnTo>
                <a:lnTo>
                  <a:pt x="5131" y="2245"/>
                </a:lnTo>
                <a:lnTo>
                  <a:pt x="5130" y="2245"/>
                </a:lnTo>
                <a:lnTo>
                  <a:pt x="5129" y="2247"/>
                </a:lnTo>
                <a:lnTo>
                  <a:pt x="5130" y="2246"/>
                </a:lnTo>
                <a:lnTo>
                  <a:pt x="5132" y="2245"/>
                </a:lnTo>
                <a:close/>
                <a:moveTo>
                  <a:pt x="5140" y="2254"/>
                </a:moveTo>
                <a:lnTo>
                  <a:pt x="5145" y="2254"/>
                </a:lnTo>
                <a:lnTo>
                  <a:pt x="5142" y="2253"/>
                </a:lnTo>
                <a:lnTo>
                  <a:pt x="5140" y="2251"/>
                </a:lnTo>
                <a:lnTo>
                  <a:pt x="5140" y="2254"/>
                </a:lnTo>
                <a:close/>
                <a:moveTo>
                  <a:pt x="5144" y="2258"/>
                </a:moveTo>
                <a:lnTo>
                  <a:pt x="5143" y="2259"/>
                </a:lnTo>
                <a:lnTo>
                  <a:pt x="5141" y="2259"/>
                </a:lnTo>
                <a:lnTo>
                  <a:pt x="5137" y="2258"/>
                </a:lnTo>
                <a:lnTo>
                  <a:pt x="5141" y="2262"/>
                </a:lnTo>
                <a:lnTo>
                  <a:pt x="5142" y="2261"/>
                </a:lnTo>
                <a:lnTo>
                  <a:pt x="5143" y="2260"/>
                </a:lnTo>
                <a:lnTo>
                  <a:pt x="5144" y="2259"/>
                </a:lnTo>
                <a:lnTo>
                  <a:pt x="5144" y="2258"/>
                </a:lnTo>
                <a:close/>
                <a:moveTo>
                  <a:pt x="5169" y="2286"/>
                </a:moveTo>
                <a:lnTo>
                  <a:pt x="5164" y="2282"/>
                </a:lnTo>
                <a:lnTo>
                  <a:pt x="5164" y="2284"/>
                </a:lnTo>
                <a:lnTo>
                  <a:pt x="5169" y="2286"/>
                </a:lnTo>
                <a:close/>
                <a:moveTo>
                  <a:pt x="5130" y="2236"/>
                </a:moveTo>
                <a:lnTo>
                  <a:pt x="5130" y="2235"/>
                </a:lnTo>
                <a:lnTo>
                  <a:pt x="5130" y="2235"/>
                </a:lnTo>
                <a:lnTo>
                  <a:pt x="5129" y="2235"/>
                </a:lnTo>
                <a:lnTo>
                  <a:pt x="5129" y="2236"/>
                </a:lnTo>
                <a:lnTo>
                  <a:pt x="5130" y="2236"/>
                </a:lnTo>
                <a:close/>
                <a:moveTo>
                  <a:pt x="5071" y="1987"/>
                </a:moveTo>
                <a:lnTo>
                  <a:pt x="5072" y="1989"/>
                </a:lnTo>
                <a:lnTo>
                  <a:pt x="5072" y="1990"/>
                </a:lnTo>
                <a:lnTo>
                  <a:pt x="5074" y="1987"/>
                </a:lnTo>
                <a:lnTo>
                  <a:pt x="5072" y="1986"/>
                </a:lnTo>
                <a:lnTo>
                  <a:pt x="5071" y="1986"/>
                </a:lnTo>
                <a:lnTo>
                  <a:pt x="5071" y="1987"/>
                </a:lnTo>
                <a:close/>
                <a:moveTo>
                  <a:pt x="5139" y="2347"/>
                </a:moveTo>
                <a:lnTo>
                  <a:pt x="5140" y="2347"/>
                </a:lnTo>
                <a:lnTo>
                  <a:pt x="5140" y="2347"/>
                </a:lnTo>
                <a:lnTo>
                  <a:pt x="5139" y="2347"/>
                </a:lnTo>
                <a:close/>
                <a:moveTo>
                  <a:pt x="5035" y="2428"/>
                </a:moveTo>
                <a:lnTo>
                  <a:pt x="5034" y="2428"/>
                </a:lnTo>
                <a:lnTo>
                  <a:pt x="5032" y="2427"/>
                </a:lnTo>
                <a:lnTo>
                  <a:pt x="5032" y="2429"/>
                </a:lnTo>
                <a:lnTo>
                  <a:pt x="5035" y="2428"/>
                </a:lnTo>
                <a:lnTo>
                  <a:pt x="5035" y="2428"/>
                </a:lnTo>
                <a:close/>
                <a:moveTo>
                  <a:pt x="5134" y="2348"/>
                </a:moveTo>
                <a:lnTo>
                  <a:pt x="5136" y="2343"/>
                </a:lnTo>
                <a:lnTo>
                  <a:pt x="5135" y="2343"/>
                </a:lnTo>
                <a:lnTo>
                  <a:pt x="5132" y="2345"/>
                </a:lnTo>
                <a:lnTo>
                  <a:pt x="5132" y="2344"/>
                </a:lnTo>
                <a:lnTo>
                  <a:pt x="5130" y="2345"/>
                </a:lnTo>
                <a:lnTo>
                  <a:pt x="5125" y="2349"/>
                </a:lnTo>
                <a:lnTo>
                  <a:pt x="5123" y="2339"/>
                </a:lnTo>
                <a:lnTo>
                  <a:pt x="5122" y="2339"/>
                </a:lnTo>
                <a:lnTo>
                  <a:pt x="5121" y="2340"/>
                </a:lnTo>
                <a:lnTo>
                  <a:pt x="5119" y="2338"/>
                </a:lnTo>
                <a:lnTo>
                  <a:pt x="5116" y="2337"/>
                </a:lnTo>
                <a:lnTo>
                  <a:pt x="5116" y="2335"/>
                </a:lnTo>
                <a:lnTo>
                  <a:pt x="5110" y="2340"/>
                </a:lnTo>
                <a:lnTo>
                  <a:pt x="5110" y="2345"/>
                </a:lnTo>
                <a:lnTo>
                  <a:pt x="5109" y="2350"/>
                </a:lnTo>
                <a:lnTo>
                  <a:pt x="5108" y="2353"/>
                </a:lnTo>
                <a:lnTo>
                  <a:pt x="5106" y="2355"/>
                </a:lnTo>
                <a:lnTo>
                  <a:pt x="5101" y="2357"/>
                </a:lnTo>
                <a:lnTo>
                  <a:pt x="5099" y="2364"/>
                </a:lnTo>
                <a:lnTo>
                  <a:pt x="5096" y="2371"/>
                </a:lnTo>
                <a:lnTo>
                  <a:pt x="5092" y="2377"/>
                </a:lnTo>
                <a:lnTo>
                  <a:pt x="5088" y="2379"/>
                </a:lnTo>
                <a:lnTo>
                  <a:pt x="5084" y="2381"/>
                </a:lnTo>
                <a:lnTo>
                  <a:pt x="5080" y="2385"/>
                </a:lnTo>
                <a:lnTo>
                  <a:pt x="5076" y="2389"/>
                </a:lnTo>
                <a:lnTo>
                  <a:pt x="5067" y="2392"/>
                </a:lnTo>
                <a:lnTo>
                  <a:pt x="5063" y="2396"/>
                </a:lnTo>
                <a:lnTo>
                  <a:pt x="5056" y="2397"/>
                </a:lnTo>
                <a:lnTo>
                  <a:pt x="5055" y="2400"/>
                </a:lnTo>
                <a:lnTo>
                  <a:pt x="5053" y="2402"/>
                </a:lnTo>
                <a:lnTo>
                  <a:pt x="5048" y="2407"/>
                </a:lnTo>
                <a:lnTo>
                  <a:pt x="5043" y="2411"/>
                </a:lnTo>
                <a:lnTo>
                  <a:pt x="5043" y="2413"/>
                </a:lnTo>
                <a:lnTo>
                  <a:pt x="5044" y="2415"/>
                </a:lnTo>
                <a:lnTo>
                  <a:pt x="5042" y="2413"/>
                </a:lnTo>
                <a:lnTo>
                  <a:pt x="5040" y="2412"/>
                </a:lnTo>
                <a:lnTo>
                  <a:pt x="5036" y="2417"/>
                </a:lnTo>
                <a:lnTo>
                  <a:pt x="5036" y="2417"/>
                </a:lnTo>
                <a:lnTo>
                  <a:pt x="5037" y="2418"/>
                </a:lnTo>
                <a:lnTo>
                  <a:pt x="5037" y="2420"/>
                </a:lnTo>
                <a:lnTo>
                  <a:pt x="5039" y="2423"/>
                </a:lnTo>
                <a:lnTo>
                  <a:pt x="5036" y="2421"/>
                </a:lnTo>
                <a:lnTo>
                  <a:pt x="5034" y="2419"/>
                </a:lnTo>
                <a:lnTo>
                  <a:pt x="5033" y="2419"/>
                </a:lnTo>
                <a:lnTo>
                  <a:pt x="5033" y="2419"/>
                </a:lnTo>
                <a:lnTo>
                  <a:pt x="5033" y="2422"/>
                </a:lnTo>
                <a:lnTo>
                  <a:pt x="5033" y="2425"/>
                </a:lnTo>
                <a:lnTo>
                  <a:pt x="5037" y="2425"/>
                </a:lnTo>
                <a:lnTo>
                  <a:pt x="5035" y="2428"/>
                </a:lnTo>
                <a:lnTo>
                  <a:pt x="5036" y="2428"/>
                </a:lnTo>
                <a:lnTo>
                  <a:pt x="5035" y="2428"/>
                </a:lnTo>
                <a:lnTo>
                  <a:pt x="5033" y="2431"/>
                </a:lnTo>
                <a:lnTo>
                  <a:pt x="5032" y="2431"/>
                </a:lnTo>
                <a:lnTo>
                  <a:pt x="5032" y="2429"/>
                </a:lnTo>
                <a:lnTo>
                  <a:pt x="5028" y="2430"/>
                </a:lnTo>
                <a:lnTo>
                  <a:pt x="5028" y="2433"/>
                </a:lnTo>
                <a:lnTo>
                  <a:pt x="5028" y="2435"/>
                </a:lnTo>
                <a:lnTo>
                  <a:pt x="5031" y="2435"/>
                </a:lnTo>
                <a:lnTo>
                  <a:pt x="5031" y="2435"/>
                </a:lnTo>
                <a:lnTo>
                  <a:pt x="5036" y="2432"/>
                </a:lnTo>
                <a:lnTo>
                  <a:pt x="5032" y="2439"/>
                </a:lnTo>
                <a:lnTo>
                  <a:pt x="5033" y="2439"/>
                </a:lnTo>
                <a:lnTo>
                  <a:pt x="5036" y="2438"/>
                </a:lnTo>
                <a:lnTo>
                  <a:pt x="5040" y="2438"/>
                </a:lnTo>
                <a:lnTo>
                  <a:pt x="5042" y="2439"/>
                </a:lnTo>
                <a:lnTo>
                  <a:pt x="5044" y="2439"/>
                </a:lnTo>
                <a:lnTo>
                  <a:pt x="5047" y="2439"/>
                </a:lnTo>
                <a:lnTo>
                  <a:pt x="5048" y="2443"/>
                </a:lnTo>
                <a:lnTo>
                  <a:pt x="5053" y="2440"/>
                </a:lnTo>
                <a:lnTo>
                  <a:pt x="5055" y="2441"/>
                </a:lnTo>
                <a:lnTo>
                  <a:pt x="5056" y="2441"/>
                </a:lnTo>
                <a:lnTo>
                  <a:pt x="5056" y="2442"/>
                </a:lnTo>
                <a:lnTo>
                  <a:pt x="5057" y="2445"/>
                </a:lnTo>
                <a:lnTo>
                  <a:pt x="5060" y="2442"/>
                </a:lnTo>
                <a:lnTo>
                  <a:pt x="5060" y="2447"/>
                </a:lnTo>
                <a:lnTo>
                  <a:pt x="5065" y="2447"/>
                </a:lnTo>
                <a:lnTo>
                  <a:pt x="5069" y="2446"/>
                </a:lnTo>
                <a:lnTo>
                  <a:pt x="5072" y="2445"/>
                </a:lnTo>
                <a:lnTo>
                  <a:pt x="5076" y="2441"/>
                </a:lnTo>
                <a:lnTo>
                  <a:pt x="5076" y="2440"/>
                </a:lnTo>
                <a:lnTo>
                  <a:pt x="5083" y="2437"/>
                </a:lnTo>
                <a:lnTo>
                  <a:pt x="5084" y="2435"/>
                </a:lnTo>
                <a:lnTo>
                  <a:pt x="5085" y="2434"/>
                </a:lnTo>
                <a:lnTo>
                  <a:pt x="5091" y="2431"/>
                </a:lnTo>
                <a:lnTo>
                  <a:pt x="5090" y="2428"/>
                </a:lnTo>
                <a:lnTo>
                  <a:pt x="5091" y="2423"/>
                </a:lnTo>
                <a:lnTo>
                  <a:pt x="5092" y="2421"/>
                </a:lnTo>
                <a:lnTo>
                  <a:pt x="5092" y="2419"/>
                </a:lnTo>
                <a:lnTo>
                  <a:pt x="5094" y="2416"/>
                </a:lnTo>
                <a:lnTo>
                  <a:pt x="5096" y="2414"/>
                </a:lnTo>
                <a:lnTo>
                  <a:pt x="5098" y="2403"/>
                </a:lnTo>
                <a:lnTo>
                  <a:pt x="5100" y="2402"/>
                </a:lnTo>
                <a:lnTo>
                  <a:pt x="5101" y="2400"/>
                </a:lnTo>
                <a:lnTo>
                  <a:pt x="5114" y="2394"/>
                </a:lnTo>
                <a:lnTo>
                  <a:pt x="5114" y="2391"/>
                </a:lnTo>
                <a:lnTo>
                  <a:pt x="5120" y="2394"/>
                </a:lnTo>
                <a:lnTo>
                  <a:pt x="5120" y="2392"/>
                </a:lnTo>
                <a:lnTo>
                  <a:pt x="5121" y="2393"/>
                </a:lnTo>
                <a:lnTo>
                  <a:pt x="5123" y="2395"/>
                </a:lnTo>
                <a:lnTo>
                  <a:pt x="5125" y="2395"/>
                </a:lnTo>
                <a:lnTo>
                  <a:pt x="5123" y="2392"/>
                </a:lnTo>
                <a:lnTo>
                  <a:pt x="5121" y="2390"/>
                </a:lnTo>
                <a:lnTo>
                  <a:pt x="5120" y="2389"/>
                </a:lnTo>
                <a:lnTo>
                  <a:pt x="5120" y="2382"/>
                </a:lnTo>
                <a:lnTo>
                  <a:pt x="5125" y="2378"/>
                </a:lnTo>
                <a:lnTo>
                  <a:pt x="5128" y="2374"/>
                </a:lnTo>
                <a:lnTo>
                  <a:pt x="5131" y="2370"/>
                </a:lnTo>
                <a:lnTo>
                  <a:pt x="5136" y="2364"/>
                </a:lnTo>
                <a:lnTo>
                  <a:pt x="5141" y="2358"/>
                </a:lnTo>
                <a:lnTo>
                  <a:pt x="5143" y="2357"/>
                </a:lnTo>
                <a:lnTo>
                  <a:pt x="5136" y="2350"/>
                </a:lnTo>
                <a:lnTo>
                  <a:pt x="5139" y="2347"/>
                </a:lnTo>
                <a:lnTo>
                  <a:pt x="5137" y="2348"/>
                </a:lnTo>
                <a:lnTo>
                  <a:pt x="5134" y="2348"/>
                </a:lnTo>
                <a:close/>
                <a:moveTo>
                  <a:pt x="5068" y="1975"/>
                </a:moveTo>
                <a:lnTo>
                  <a:pt x="5067" y="1976"/>
                </a:lnTo>
                <a:lnTo>
                  <a:pt x="5067" y="1978"/>
                </a:lnTo>
                <a:lnTo>
                  <a:pt x="5071" y="1979"/>
                </a:lnTo>
                <a:lnTo>
                  <a:pt x="5071" y="1978"/>
                </a:lnTo>
                <a:lnTo>
                  <a:pt x="5069" y="1975"/>
                </a:lnTo>
                <a:lnTo>
                  <a:pt x="5068" y="1975"/>
                </a:lnTo>
                <a:close/>
                <a:moveTo>
                  <a:pt x="5143" y="2347"/>
                </a:moveTo>
                <a:lnTo>
                  <a:pt x="5140" y="2347"/>
                </a:lnTo>
                <a:lnTo>
                  <a:pt x="5140" y="2347"/>
                </a:lnTo>
                <a:lnTo>
                  <a:pt x="5140" y="2348"/>
                </a:lnTo>
                <a:lnTo>
                  <a:pt x="5143" y="2347"/>
                </a:lnTo>
                <a:close/>
                <a:moveTo>
                  <a:pt x="5140" y="2345"/>
                </a:moveTo>
                <a:lnTo>
                  <a:pt x="5140" y="2347"/>
                </a:lnTo>
                <a:lnTo>
                  <a:pt x="5140" y="2346"/>
                </a:lnTo>
                <a:lnTo>
                  <a:pt x="5140" y="2345"/>
                </a:lnTo>
                <a:close/>
                <a:moveTo>
                  <a:pt x="5224" y="1941"/>
                </a:moveTo>
                <a:lnTo>
                  <a:pt x="5224" y="1941"/>
                </a:lnTo>
                <a:lnTo>
                  <a:pt x="5224" y="1941"/>
                </a:lnTo>
                <a:lnTo>
                  <a:pt x="5224" y="1941"/>
                </a:lnTo>
                <a:lnTo>
                  <a:pt x="5224" y="1941"/>
                </a:lnTo>
                <a:close/>
                <a:moveTo>
                  <a:pt x="3360" y="1322"/>
                </a:moveTo>
                <a:lnTo>
                  <a:pt x="3360" y="1322"/>
                </a:lnTo>
                <a:lnTo>
                  <a:pt x="3360" y="1321"/>
                </a:lnTo>
                <a:lnTo>
                  <a:pt x="3360" y="1322"/>
                </a:lnTo>
                <a:lnTo>
                  <a:pt x="3360" y="1322"/>
                </a:lnTo>
                <a:close/>
                <a:moveTo>
                  <a:pt x="3218" y="1716"/>
                </a:moveTo>
                <a:lnTo>
                  <a:pt x="3219" y="1716"/>
                </a:lnTo>
                <a:lnTo>
                  <a:pt x="3218" y="1715"/>
                </a:lnTo>
                <a:lnTo>
                  <a:pt x="3218" y="1716"/>
                </a:lnTo>
                <a:lnTo>
                  <a:pt x="3218" y="1716"/>
                </a:lnTo>
                <a:close/>
                <a:moveTo>
                  <a:pt x="3988" y="1450"/>
                </a:moveTo>
                <a:lnTo>
                  <a:pt x="3988" y="1450"/>
                </a:lnTo>
                <a:lnTo>
                  <a:pt x="3988" y="1449"/>
                </a:lnTo>
                <a:lnTo>
                  <a:pt x="3988" y="1450"/>
                </a:lnTo>
                <a:lnTo>
                  <a:pt x="3988" y="1450"/>
                </a:lnTo>
                <a:close/>
                <a:moveTo>
                  <a:pt x="2365" y="1381"/>
                </a:moveTo>
                <a:lnTo>
                  <a:pt x="2367" y="1375"/>
                </a:lnTo>
                <a:lnTo>
                  <a:pt x="2367" y="1375"/>
                </a:lnTo>
                <a:lnTo>
                  <a:pt x="2367" y="1374"/>
                </a:lnTo>
                <a:lnTo>
                  <a:pt x="2365" y="1381"/>
                </a:lnTo>
                <a:close/>
                <a:moveTo>
                  <a:pt x="2743" y="1720"/>
                </a:moveTo>
                <a:lnTo>
                  <a:pt x="2745" y="1720"/>
                </a:lnTo>
                <a:lnTo>
                  <a:pt x="2743" y="1718"/>
                </a:lnTo>
                <a:lnTo>
                  <a:pt x="2743" y="1720"/>
                </a:lnTo>
                <a:close/>
                <a:moveTo>
                  <a:pt x="2369" y="1382"/>
                </a:moveTo>
                <a:lnTo>
                  <a:pt x="2370" y="1382"/>
                </a:lnTo>
                <a:lnTo>
                  <a:pt x="2369" y="1381"/>
                </a:lnTo>
                <a:lnTo>
                  <a:pt x="2369" y="1382"/>
                </a:lnTo>
                <a:close/>
                <a:moveTo>
                  <a:pt x="2423" y="1581"/>
                </a:moveTo>
                <a:lnTo>
                  <a:pt x="2430" y="1581"/>
                </a:lnTo>
                <a:lnTo>
                  <a:pt x="2430" y="1579"/>
                </a:lnTo>
                <a:lnTo>
                  <a:pt x="2430" y="1579"/>
                </a:lnTo>
                <a:lnTo>
                  <a:pt x="2426" y="1579"/>
                </a:lnTo>
                <a:lnTo>
                  <a:pt x="2423" y="1581"/>
                </a:lnTo>
                <a:close/>
                <a:moveTo>
                  <a:pt x="2430" y="1579"/>
                </a:moveTo>
                <a:lnTo>
                  <a:pt x="2430" y="1579"/>
                </a:lnTo>
                <a:lnTo>
                  <a:pt x="2430" y="1579"/>
                </a:lnTo>
                <a:lnTo>
                  <a:pt x="2430" y="1579"/>
                </a:lnTo>
                <a:close/>
                <a:moveTo>
                  <a:pt x="3156" y="1375"/>
                </a:moveTo>
                <a:lnTo>
                  <a:pt x="3156" y="1375"/>
                </a:lnTo>
                <a:lnTo>
                  <a:pt x="3156" y="1375"/>
                </a:lnTo>
                <a:lnTo>
                  <a:pt x="3156" y="1375"/>
                </a:lnTo>
                <a:close/>
                <a:moveTo>
                  <a:pt x="3891" y="1367"/>
                </a:moveTo>
                <a:lnTo>
                  <a:pt x="3893" y="1367"/>
                </a:lnTo>
                <a:lnTo>
                  <a:pt x="3894" y="1367"/>
                </a:lnTo>
                <a:lnTo>
                  <a:pt x="3893" y="1365"/>
                </a:lnTo>
                <a:lnTo>
                  <a:pt x="3891" y="1362"/>
                </a:lnTo>
                <a:lnTo>
                  <a:pt x="3891" y="1367"/>
                </a:lnTo>
                <a:close/>
                <a:moveTo>
                  <a:pt x="3936" y="1358"/>
                </a:moveTo>
                <a:lnTo>
                  <a:pt x="3937" y="1356"/>
                </a:lnTo>
                <a:lnTo>
                  <a:pt x="3936" y="1351"/>
                </a:lnTo>
                <a:lnTo>
                  <a:pt x="3936" y="1351"/>
                </a:lnTo>
                <a:lnTo>
                  <a:pt x="3936" y="1358"/>
                </a:lnTo>
                <a:close/>
                <a:moveTo>
                  <a:pt x="3963" y="1391"/>
                </a:moveTo>
                <a:lnTo>
                  <a:pt x="3963" y="1391"/>
                </a:lnTo>
                <a:lnTo>
                  <a:pt x="3963" y="1391"/>
                </a:lnTo>
                <a:lnTo>
                  <a:pt x="3963" y="1391"/>
                </a:lnTo>
                <a:close/>
                <a:moveTo>
                  <a:pt x="3868" y="1391"/>
                </a:moveTo>
                <a:lnTo>
                  <a:pt x="3867" y="1390"/>
                </a:lnTo>
                <a:lnTo>
                  <a:pt x="3867" y="1391"/>
                </a:lnTo>
                <a:lnTo>
                  <a:pt x="3868" y="1391"/>
                </a:lnTo>
                <a:close/>
                <a:moveTo>
                  <a:pt x="3340" y="1286"/>
                </a:moveTo>
                <a:lnTo>
                  <a:pt x="3341" y="1286"/>
                </a:lnTo>
                <a:lnTo>
                  <a:pt x="3340" y="1286"/>
                </a:lnTo>
                <a:lnTo>
                  <a:pt x="3340" y="1286"/>
                </a:lnTo>
                <a:lnTo>
                  <a:pt x="3340" y="1286"/>
                </a:lnTo>
                <a:close/>
                <a:moveTo>
                  <a:pt x="3490" y="1308"/>
                </a:moveTo>
                <a:lnTo>
                  <a:pt x="3490" y="1308"/>
                </a:lnTo>
                <a:lnTo>
                  <a:pt x="3490" y="1308"/>
                </a:lnTo>
                <a:lnTo>
                  <a:pt x="3490" y="1308"/>
                </a:lnTo>
                <a:lnTo>
                  <a:pt x="3490" y="1308"/>
                </a:lnTo>
                <a:close/>
                <a:moveTo>
                  <a:pt x="3844" y="1407"/>
                </a:moveTo>
                <a:lnTo>
                  <a:pt x="3843" y="1407"/>
                </a:lnTo>
                <a:lnTo>
                  <a:pt x="3843" y="1407"/>
                </a:lnTo>
                <a:lnTo>
                  <a:pt x="3844" y="1407"/>
                </a:lnTo>
                <a:close/>
                <a:moveTo>
                  <a:pt x="3853" y="1395"/>
                </a:moveTo>
                <a:lnTo>
                  <a:pt x="3851" y="1395"/>
                </a:lnTo>
                <a:lnTo>
                  <a:pt x="3851" y="1397"/>
                </a:lnTo>
                <a:lnTo>
                  <a:pt x="3853" y="1395"/>
                </a:lnTo>
                <a:lnTo>
                  <a:pt x="3853" y="1395"/>
                </a:lnTo>
                <a:close/>
                <a:moveTo>
                  <a:pt x="3358" y="1535"/>
                </a:moveTo>
                <a:lnTo>
                  <a:pt x="3357" y="1533"/>
                </a:lnTo>
                <a:lnTo>
                  <a:pt x="3357" y="1533"/>
                </a:lnTo>
                <a:lnTo>
                  <a:pt x="3357" y="1535"/>
                </a:lnTo>
                <a:lnTo>
                  <a:pt x="3358" y="1535"/>
                </a:lnTo>
                <a:close/>
                <a:moveTo>
                  <a:pt x="2687" y="676"/>
                </a:moveTo>
                <a:lnTo>
                  <a:pt x="2686" y="675"/>
                </a:lnTo>
                <a:lnTo>
                  <a:pt x="2683" y="677"/>
                </a:lnTo>
                <a:lnTo>
                  <a:pt x="2686" y="681"/>
                </a:lnTo>
                <a:lnTo>
                  <a:pt x="2686" y="680"/>
                </a:lnTo>
                <a:lnTo>
                  <a:pt x="2686" y="678"/>
                </a:lnTo>
                <a:lnTo>
                  <a:pt x="2687" y="678"/>
                </a:lnTo>
                <a:lnTo>
                  <a:pt x="2690" y="678"/>
                </a:lnTo>
                <a:lnTo>
                  <a:pt x="2691" y="675"/>
                </a:lnTo>
                <a:lnTo>
                  <a:pt x="2687" y="674"/>
                </a:lnTo>
                <a:lnTo>
                  <a:pt x="2687" y="676"/>
                </a:lnTo>
                <a:close/>
                <a:moveTo>
                  <a:pt x="2692" y="688"/>
                </a:moveTo>
                <a:lnTo>
                  <a:pt x="2692" y="688"/>
                </a:lnTo>
                <a:lnTo>
                  <a:pt x="2692" y="688"/>
                </a:lnTo>
                <a:lnTo>
                  <a:pt x="2692" y="688"/>
                </a:lnTo>
                <a:close/>
                <a:moveTo>
                  <a:pt x="2935" y="539"/>
                </a:moveTo>
                <a:lnTo>
                  <a:pt x="2935" y="539"/>
                </a:lnTo>
                <a:lnTo>
                  <a:pt x="2935" y="539"/>
                </a:lnTo>
                <a:lnTo>
                  <a:pt x="2935" y="539"/>
                </a:lnTo>
                <a:lnTo>
                  <a:pt x="2935" y="539"/>
                </a:lnTo>
                <a:close/>
                <a:moveTo>
                  <a:pt x="2680" y="646"/>
                </a:moveTo>
                <a:lnTo>
                  <a:pt x="2680" y="649"/>
                </a:lnTo>
                <a:lnTo>
                  <a:pt x="2681" y="647"/>
                </a:lnTo>
                <a:lnTo>
                  <a:pt x="2681" y="646"/>
                </a:lnTo>
                <a:lnTo>
                  <a:pt x="2681" y="646"/>
                </a:lnTo>
                <a:lnTo>
                  <a:pt x="2680" y="646"/>
                </a:lnTo>
                <a:close/>
                <a:moveTo>
                  <a:pt x="2377" y="1332"/>
                </a:moveTo>
                <a:lnTo>
                  <a:pt x="2381" y="1329"/>
                </a:lnTo>
                <a:lnTo>
                  <a:pt x="2381" y="1329"/>
                </a:lnTo>
                <a:lnTo>
                  <a:pt x="2377" y="1332"/>
                </a:lnTo>
                <a:close/>
                <a:moveTo>
                  <a:pt x="2683" y="624"/>
                </a:moveTo>
                <a:lnTo>
                  <a:pt x="2687" y="626"/>
                </a:lnTo>
                <a:lnTo>
                  <a:pt x="2686" y="624"/>
                </a:lnTo>
                <a:lnTo>
                  <a:pt x="2683" y="624"/>
                </a:lnTo>
                <a:close/>
                <a:moveTo>
                  <a:pt x="2818" y="503"/>
                </a:moveTo>
                <a:lnTo>
                  <a:pt x="2819" y="500"/>
                </a:lnTo>
                <a:lnTo>
                  <a:pt x="2814" y="503"/>
                </a:lnTo>
                <a:lnTo>
                  <a:pt x="2818" y="504"/>
                </a:lnTo>
                <a:lnTo>
                  <a:pt x="2818" y="503"/>
                </a:lnTo>
                <a:lnTo>
                  <a:pt x="2817" y="503"/>
                </a:lnTo>
                <a:lnTo>
                  <a:pt x="2818" y="503"/>
                </a:lnTo>
                <a:close/>
                <a:moveTo>
                  <a:pt x="2799" y="515"/>
                </a:moveTo>
                <a:lnTo>
                  <a:pt x="2800" y="515"/>
                </a:lnTo>
                <a:lnTo>
                  <a:pt x="2799" y="515"/>
                </a:lnTo>
                <a:lnTo>
                  <a:pt x="2799" y="515"/>
                </a:lnTo>
                <a:close/>
                <a:moveTo>
                  <a:pt x="2887" y="787"/>
                </a:moveTo>
                <a:lnTo>
                  <a:pt x="2885" y="787"/>
                </a:lnTo>
                <a:lnTo>
                  <a:pt x="2886" y="787"/>
                </a:lnTo>
                <a:lnTo>
                  <a:pt x="2887" y="787"/>
                </a:lnTo>
                <a:close/>
                <a:moveTo>
                  <a:pt x="2666" y="850"/>
                </a:moveTo>
                <a:lnTo>
                  <a:pt x="2673" y="851"/>
                </a:lnTo>
                <a:lnTo>
                  <a:pt x="2671" y="848"/>
                </a:lnTo>
                <a:lnTo>
                  <a:pt x="2666" y="850"/>
                </a:lnTo>
                <a:close/>
                <a:moveTo>
                  <a:pt x="2808" y="796"/>
                </a:moveTo>
                <a:lnTo>
                  <a:pt x="2808" y="795"/>
                </a:lnTo>
                <a:lnTo>
                  <a:pt x="2809" y="792"/>
                </a:lnTo>
                <a:lnTo>
                  <a:pt x="2810" y="792"/>
                </a:lnTo>
                <a:lnTo>
                  <a:pt x="2809" y="791"/>
                </a:lnTo>
                <a:lnTo>
                  <a:pt x="2811" y="788"/>
                </a:lnTo>
                <a:lnTo>
                  <a:pt x="2808" y="788"/>
                </a:lnTo>
                <a:lnTo>
                  <a:pt x="2809" y="790"/>
                </a:lnTo>
                <a:lnTo>
                  <a:pt x="2805" y="787"/>
                </a:lnTo>
                <a:lnTo>
                  <a:pt x="2807" y="790"/>
                </a:lnTo>
                <a:lnTo>
                  <a:pt x="2804" y="792"/>
                </a:lnTo>
                <a:lnTo>
                  <a:pt x="2808" y="795"/>
                </a:lnTo>
                <a:lnTo>
                  <a:pt x="2807" y="796"/>
                </a:lnTo>
                <a:lnTo>
                  <a:pt x="2807" y="796"/>
                </a:lnTo>
                <a:lnTo>
                  <a:pt x="2808" y="796"/>
                </a:lnTo>
                <a:close/>
                <a:moveTo>
                  <a:pt x="2739" y="776"/>
                </a:moveTo>
                <a:lnTo>
                  <a:pt x="2737" y="776"/>
                </a:lnTo>
                <a:lnTo>
                  <a:pt x="2737" y="777"/>
                </a:lnTo>
                <a:lnTo>
                  <a:pt x="2737" y="779"/>
                </a:lnTo>
                <a:lnTo>
                  <a:pt x="2739" y="778"/>
                </a:lnTo>
                <a:lnTo>
                  <a:pt x="2739" y="777"/>
                </a:lnTo>
                <a:lnTo>
                  <a:pt x="2739" y="776"/>
                </a:lnTo>
                <a:close/>
                <a:moveTo>
                  <a:pt x="2484" y="1021"/>
                </a:moveTo>
                <a:lnTo>
                  <a:pt x="2484" y="1021"/>
                </a:lnTo>
                <a:lnTo>
                  <a:pt x="2484" y="1021"/>
                </a:lnTo>
                <a:lnTo>
                  <a:pt x="2484" y="1021"/>
                </a:lnTo>
                <a:close/>
                <a:moveTo>
                  <a:pt x="2811" y="792"/>
                </a:moveTo>
                <a:lnTo>
                  <a:pt x="2810" y="792"/>
                </a:lnTo>
                <a:lnTo>
                  <a:pt x="2812" y="795"/>
                </a:lnTo>
                <a:lnTo>
                  <a:pt x="2811" y="792"/>
                </a:lnTo>
                <a:close/>
                <a:moveTo>
                  <a:pt x="2746" y="736"/>
                </a:moveTo>
                <a:lnTo>
                  <a:pt x="2746" y="736"/>
                </a:lnTo>
                <a:lnTo>
                  <a:pt x="2746" y="736"/>
                </a:lnTo>
                <a:lnTo>
                  <a:pt x="2746" y="736"/>
                </a:lnTo>
                <a:close/>
                <a:moveTo>
                  <a:pt x="2737" y="772"/>
                </a:moveTo>
                <a:lnTo>
                  <a:pt x="2737" y="772"/>
                </a:lnTo>
                <a:lnTo>
                  <a:pt x="2737" y="772"/>
                </a:lnTo>
                <a:lnTo>
                  <a:pt x="2737" y="772"/>
                </a:lnTo>
                <a:lnTo>
                  <a:pt x="2737" y="772"/>
                </a:lnTo>
                <a:close/>
                <a:moveTo>
                  <a:pt x="4349" y="1308"/>
                </a:moveTo>
                <a:lnTo>
                  <a:pt x="4349" y="1307"/>
                </a:lnTo>
                <a:lnTo>
                  <a:pt x="4350" y="1307"/>
                </a:lnTo>
                <a:lnTo>
                  <a:pt x="4349" y="1306"/>
                </a:lnTo>
                <a:lnTo>
                  <a:pt x="4348" y="1306"/>
                </a:lnTo>
                <a:lnTo>
                  <a:pt x="4349" y="1308"/>
                </a:lnTo>
                <a:close/>
                <a:moveTo>
                  <a:pt x="4373" y="1073"/>
                </a:moveTo>
                <a:lnTo>
                  <a:pt x="4375" y="1072"/>
                </a:lnTo>
                <a:lnTo>
                  <a:pt x="4373" y="1071"/>
                </a:lnTo>
                <a:lnTo>
                  <a:pt x="4373" y="1073"/>
                </a:lnTo>
                <a:close/>
                <a:moveTo>
                  <a:pt x="4442" y="1106"/>
                </a:moveTo>
                <a:lnTo>
                  <a:pt x="4441" y="1104"/>
                </a:lnTo>
                <a:lnTo>
                  <a:pt x="4441" y="1106"/>
                </a:lnTo>
                <a:lnTo>
                  <a:pt x="4442" y="1106"/>
                </a:lnTo>
                <a:close/>
                <a:moveTo>
                  <a:pt x="3989" y="1449"/>
                </a:moveTo>
                <a:lnTo>
                  <a:pt x="3989" y="1449"/>
                </a:lnTo>
                <a:lnTo>
                  <a:pt x="3988" y="1449"/>
                </a:lnTo>
                <a:lnTo>
                  <a:pt x="3989" y="1449"/>
                </a:lnTo>
                <a:close/>
                <a:moveTo>
                  <a:pt x="4449" y="1153"/>
                </a:moveTo>
                <a:lnTo>
                  <a:pt x="4449" y="1153"/>
                </a:lnTo>
                <a:lnTo>
                  <a:pt x="4449" y="1153"/>
                </a:lnTo>
                <a:lnTo>
                  <a:pt x="4450" y="1157"/>
                </a:lnTo>
                <a:lnTo>
                  <a:pt x="4451" y="1157"/>
                </a:lnTo>
                <a:lnTo>
                  <a:pt x="4449" y="1153"/>
                </a:lnTo>
                <a:close/>
                <a:moveTo>
                  <a:pt x="4446" y="1106"/>
                </a:moveTo>
                <a:lnTo>
                  <a:pt x="4445" y="1105"/>
                </a:lnTo>
                <a:lnTo>
                  <a:pt x="4445" y="1106"/>
                </a:lnTo>
                <a:lnTo>
                  <a:pt x="4446" y="1106"/>
                </a:lnTo>
                <a:close/>
                <a:moveTo>
                  <a:pt x="4384" y="1237"/>
                </a:moveTo>
                <a:lnTo>
                  <a:pt x="4385" y="1237"/>
                </a:lnTo>
                <a:lnTo>
                  <a:pt x="4387" y="1237"/>
                </a:lnTo>
                <a:lnTo>
                  <a:pt x="4385" y="1236"/>
                </a:lnTo>
                <a:lnTo>
                  <a:pt x="4385" y="1236"/>
                </a:lnTo>
                <a:lnTo>
                  <a:pt x="4384" y="1237"/>
                </a:lnTo>
                <a:lnTo>
                  <a:pt x="4384" y="1237"/>
                </a:lnTo>
                <a:close/>
                <a:moveTo>
                  <a:pt x="4382" y="1246"/>
                </a:moveTo>
                <a:lnTo>
                  <a:pt x="4381" y="1246"/>
                </a:lnTo>
                <a:lnTo>
                  <a:pt x="4381" y="1246"/>
                </a:lnTo>
                <a:lnTo>
                  <a:pt x="4382" y="1246"/>
                </a:lnTo>
                <a:close/>
                <a:moveTo>
                  <a:pt x="4350" y="1292"/>
                </a:moveTo>
                <a:lnTo>
                  <a:pt x="4350" y="1293"/>
                </a:lnTo>
                <a:lnTo>
                  <a:pt x="4352" y="1294"/>
                </a:lnTo>
                <a:lnTo>
                  <a:pt x="4353" y="1294"/>
                </a:lnTo>
                <a:lnTo>
                  <a:pt x="4352" y="1292"/>
                </a:lnTo>
                <a:lnTo>
                  <a:pt x="4350" y="1290"/>
                </a:lnTo>
                <a:lnTo>
                  <a:pt x="4350" y="1292"/>
                </a:lnTo>
                <a:lnTo>
                  <a:pt x="4350" y="1292"/>
                </a:lnTo>
                <a:close/>
                <a:moveTo>
                  <a:pt x="4383" y="1246"/>
                </a:moveTo>
                <a:lnTo>
                  <a:pt x="4383" y="1248"/>
                </a:lnTo>
                <a:lnTo>
                  <a:pt x="4383" y="1248"/>
                </a:lnTo>
                <a:lnTo>
                  <a:pt x="4383" y="1247"/>
                </a:lnTo>
                <a:lnTo>
                  <a:pt x="4383" y="1246"/>
                </a:lnTo>
                <a:lnTo>
                  <a:pt x="4383" y="1246"/>
                </a:lnTo>
                <a:lnTo>
                  <a:pt x="4383" y="1245"/>
                </a:lnTo>
                <a:lnTo>
                  <a:pt x="4383" y="1246"/>
                </a:lnTo>
                <a:lnTo>
                  <a:pt x="4383" y="1246"/>
                </a:lnTo>
                <a:close/>
                <a:moveTo>
                  <a:pt x="4517" y="1021"/>
                </a:moveTo>
                <a:lnTo>
                  <a:pt x="4518" y="1021"/>
                </a:lnTo>
                <a:lnTo>
                  <a:pt x="4517" y="1019"/>
                </a:lnTo>
                <a:lnTo>
                  <a:pt x="4517" y="1018"/>
                </a:lnTo>
                <a:lnTo>
                  <a:pt x="4514" y="1017"/>
                </a:lnTo>
                <a:lnTo>
                  <a:pt x="4514" y="1021"/>
                </a:lnTo>
                <a:lnTo>
                  <a:pt x="4517" y="1021"/>
                </a:lnTo>
                <a:close/>
                <a:moveTo>
                  <a:pt x="4452" y="1159"/>
                </a:moveTo>
                <a:lnTo>
                  <a:pt x="4452" y="1159"/>
                </a:lnTo>
                <a:lnTo>
                  <a:pt x="4452" y="1159"/>
                </a:lnTo>
                <a:lnTo>
                  <a:pt x="4452" y="1159"/>
                </a:lnTo>
                <a:close/>
                <a:moveTo>
                  <a:pt x="4530" y="1008"/>
                </a:moveTo>
                <a:lnTo>
                  <a:pt x="4530" y="1007"/>
                </a:lnTo>
                <a:lnTo>
                  <a:pt x="4530" y="1006"/>
                </a:lnTo>
                <a:lnTo>
                  <a:pt x="4530" y="1008"/>
                </a:lnTo>
                <a:close/>
                <a:moveTo>
                  <a:pt x="4528" y="1013"/>
                </a:moveTo>
                <a:lnTo>
                  <a:pt x="4530" y="1008"/>
                </a:lnTo>
                <a:lnTo>
                  <a:pt x="4527" y="1013"/>
                </a:lnTo>
                <a:lnTo>
                  <a:pt x="4528" y="1013"/>
                </a:lnTo>
                <a:close/>
                <a:moveTo>
                  <a:pt x="4508" y="1025"/>
                </a:moveTo>
                <a:lnTo>
                  <a:pt x="4508" y="1025"/>
                </a:lnTo>
                <a:lnTo>
                  <a:pt x="4508" y="1025"/>
                </a:lnTo>
                <a:lnTo>
                  <a:pt x="4508" y="1025"/>
                </a:lnTo>
                <a:lnTo>
                  <a:pt x="4508" y="1025"/>
                </a:lnTo>
                <a:close/>
                <a:moveTo>
                  <a:pt x="4457" y="1158"/>
                </a:moveTo>
                <a:lnTo>
                  <a:pt x="4457" y="1158"/>
                </a:lnTo>
                <a:lnTo>
                  <a:pt x="4457" y="1158"/>
                </a:lnTo>
                <a:lnTo>
                  <a:pt x="4457" y="1158"/>
                </a:lnTo>
                <a:close/>
                <a:moveTo>
                  <a:pt x="4478" y="1150"/>
                </a:moveTo>
                <a:lnTo>
                  <a:pt x="4480" y="1150"/>
                </a:lnTo>
                <a:lnTo>
                  <a:pt x="4481" y="1150"/>
                </a:lnTo>
                <a:lnTo>
                  <a:pt x="4479" y="1150"/>
                </a:lnTo>
                <a:lnTo>
                  <a:pt x="4478" y="1149"/>
                </a:lnTo>
                <a:lnTo>
                  <a:pt x="4478" y="1150"/>
                </a:lnTo>
                <a:lnTo>
                  <a:pt x="4478" y="1150"/>
                </a:lnTo>
                <a:close/>
                <a:moveTo>
                  <a:pt x="4458" y="1158"/>
                </a:moveTo>
                <a:lnTo>
                  <a:pt x="4457" y="1158"/>
                </a:lnTo>
                <a:lnTo>
                  <a:pt x="4457" y="1158"/>
                </a:lnTo>
                <a:lnTo>
                  <a:pt x="4458" y="1158"/>
                </a:lnTo>
                <a:close/>
                <a:moveTo>
                  <a:pt x="4373" y="1073"/>
                </a:moveTo>
                <a:lnTo>
                  <a:pt x="4373" y="1073"/>
                </a:lnTo>
                <a:lnTo>
                  <a:pt x="4372" y="1073"/>
                </a:lnTo>
                <a:lnTo>
                  <a:pt x="4373" y="1073"/>
                </a:lnTo>
                <a:close/>
                <a:moveTo>
                  <a:pt x="4126" y="1682"/>
                </a:moveTo>
                <a:lnTo>
                  <a:pt x="4127" y="1682"/>
                </a:lnTo>
                <a:lnTo>
                  <a:pt x="4127" y="1680"/>
                </a:lnTo>
                <a:lnTo>
                  <a:pt x="4127" y="1680"/>
                </a:lnTo>
                <a:lnTo>
                  <a:pt x="4127" y="1681"/>
                </a:lnTo>
                <a:lnTo>
                  <a:pt x="4126" y="1682"/>
                </a:lnTo>
                <a:close/>
                <a:moveTo>
                  <a:pt x="4122" y="1676"/>
                </a:moveTo>
                <a:lnTo>
                  <a:pt x="4120" y="1674"/>
                </a:lnTo>
                <a:lnTo>
                  <a:pt x="4120" y="1676"/>
                </a:lnTo>
                <a:lnTo>
                  <a:pt x="4122" y="1676"/>
                </a:lnTo>
                <a:close/>
                <a:moveTo>
                  <a:pt x="4666" y="837"/>
                </a:moveTo>
                <a:lnTo>
                  <a:pt x="4666" y="841"/>
                </a:lnTo>
                <a:lnTo>
                  <a:pt x="4674" y="850"/>
                </a:lnTo>
                <a:lnTo>
                  <a:pt x="4675" y="854"/>
                </a:lnTo>
                <a:lnTo>
                  <a:pt x="4676" y="857"/>
                </a:lnTo>
                <a:lnTo>
                  <a:pt x="4675" y="864"/>
                </a:lnTo>
                <a:lnTo>
                  <a:pt x="4673" y="870"/>
                </a:lnTo>
                <a:lnTo>
                  <a:pt x="4674" y="873"/>
                </a:lnTo>
                <a:lnTo>
                  <a:pt x="4674" y="887"/>
                </a:lnTo>
                <a:lnTo>
                  <a:pt x="4673" y="900"/>
                </a:lnTo>
                <a:lnTo>
                  <a:pt x="4672" y="902"/>
                </a:lnTo>
                <a:lnTo>
                  <a:pt x="4672" y="905"/>
                </a:lnTo>
                <a:lnTo>
                  <a:pt x="4673" y="907"/>
                </a:lnTo>
                <a:lnTo>
                  <a:pt x="4674" y="909"/>
                </a:lnTo>
                <a:lnTo>
                  <a:pt x="4676" y="913"/>
                </a:lnTo>
                <a:lnTo>
                  <a:pt x="4676" y="916"/>
                </a:lnTo>
                <a:lnTo>
                  <a:pt x="4677" y="919"/>
                </a:lnTo>
                <a:lnTo>
                  <a:pt x="4673" y="922"/>
                </a:lnTo>
                <a:lnTo>
                  <a:pt x="4670" y="926"/>
                </a:lnTo>
                <a:lnTo>
                  <a:pt x="4670" y="936"/>
                </a:lnTo>
                <a:lnTo>
                  <a:pt x="4669" y="946"/>
                </a:lnTo>
                <a:lnTo>
                  <a:pt x="4670" y="951"/>
                </a:lnTo>
                <a:lnTo>
                  <a:pt x="4671" y="956"/>
                </a:lnTo>
                <a:lnTo>
                  <a:pt x="4673" y="956"/>
                </a:lnTo>
                <a:lnTo>
                  <a:pt x="4675" y="957"/>
                </a:lnTo>
                <a:lnTo>
                  <a:pt x="4680" y="946"/>
                </a:lnTo>
                <a:lnTo>
                  <a:pt x="4682" y="944"/>
                </a:lnTo>
                <a:lnTo>
                  <a:pt x="4683" y="943"/>
                </a:lnTo>
                <a:lnTo>
                  <a:pt x="4684" y="949"/>
                </a:lnTo>
                <a:lnTo>
                  <a:pt x="4694" y="949"/>
                </a:lnTo>
                <a:lnTo>
                  <a:pt x="4694" y="952"/>
                </a:lnTo>
                <a:lnTo>
                  <a:pt x="4694" y="956"/>
                </a:lnTo>
                <a:lnTo>
                  <a:pt x="4694" y="956"/>
                </a:lnTo>
                <a:lnTo>
                  <a:pt x="4694" y="956"/>
                </a:lnTo>
                <a:lnTo>
                  <a:pt x="4695" y="949"/>
                </a:lnTo>
                <a:lnTo>
                  <a:pt x="4695" y="941"/>
                </a:lnTo>
                <a:lnTo>
                  <a:pt x="4690" y="941"/>
                </a:lnTo>
                <a:lnTo>
                  <a:pt x="4690" y="942"/>
                </a:lnTo>
                <a:lnTo>
                  <a:pt x="4690" y="942"/>
                </a:lnTo>
                <a:lnTo>
                  <a:pt x="4687" y="932"/>
                </a:lnTo>
                <a:lnTo>
                  <a:pt x="4683" y="926"/>
                </a:lnTo>
                <a:lnTo>
                  <a:pt x="4682" y="924"/>
                </a:lnTo>
                <a:lnTo>
                  <a:pt x="4682" y="923"/>
                </a:lnTo>
                <a:lnTo>
                  <a:pt x="4682" y="918"/>
                </a:lnTo>
                <a:lnTo>
                  <a:pt x="4684" y="910"/>
                </a:lnTo>
                <a:lnTo>
                  <a:pt x="4686" y="902"/>
                </a:lnTo>
                <a:lnTo>
                  <a:pt x="4686" y="898"/>
                </a:lnTo>
                <a:lnTo>
                  <a:pt x="4690" y="897"/>
                </a:lnTo>
                <a:lnTo>
                  <a:pt x="4690" y="897"/>
                </a:lnTo>
                <a:lnTo>
                  <a:pt x="4690" y="891"/>
                </a:lnTo>
                <a:lnTo>
                  <a:pt x="4696" y="893"/>
                </a:lnTo>
                <a:lnTo>
                  <a:pt x="4701" y="895"/>
                </a:lnTo>
                <a:lnTo>
                  <a:pt x="4708" y="899"/>
                </a:lnTo>
                <a:lnTo>
                  <a:pt x="4713" y="905"/>
                </a:lnTo>
                <a:lnTo>
                  <a:pt x="4714" y="905"/>
                </a:lnTo>
                <a:lnTo>
                  <a:pt x="4714" y="905"/>
                </a:lnTo>
                <a:lnTo>
                  <a:pt x="4713" y="903"/>
                </a:lnTo>
                <a:lnTo>
                  <a:pt x="4712" y="901"/>
                </a:lnTo>
                <a:lnTo>
                  <a:pt x="4710" y="900"/>
                </a:lnTo>
                <a:lnTo>
                  <a:pt x="4709" y="898"/>
                </a:lnTo>
                <a:lnTo>
                  <a:pt x="4702" y="880"/>
                </a:lnTo>
                <a:lnTo>
                  <a:pt x="4700" y="876"/>
                </a:lnTo>
                <a:lnTo>
                  <a:pt x="4698" y="873"/>
                </a:lnTo>
                <a:lnTo>
                  <a:pt x="4697" y="865"/>
                </a:lnTo>
                <a:lnTo>
                  <a:pt x="4696" y="856"/>
                </a:lnTo>
                <a:lnTo>
                  <a:pt x="4695" y="857"/>
                </a:lnTo>
                <a:lnTo>
                  <a:pt x="4695" y="857"/>
                </a:lnTo>
                <a:lnTo>
                  <a:pt x="4694" y="852"/>
                </a:lnTo>
                <a:lnTo>
                  <a:pt x="4694" y="848"/>
                </a:lnTo>
                <a:lnTo>
                  <a:pt x="4692" y="848"/>
                </a:lnTo>
                <a:lnTo>
                  <a:pt x="4692" y="846"/>
                </a:lnTo>
                <a:lnTo>
                  <a:pt x="4686" y="840"/>
                </a:lnTo>
                <a:lnTo>
                  <a:pt x="4686" y="832"/>
                </a:lnTo>
                <a:lnTo>
                  <a:pt x="4688" y="830"/>
                </a:lnTo>
                <a:lnTo>
                  <a:pt x="4690" y="828"/>
                </a:lnTo>
                <a:lnTo>
                  <a:pt x="4690" y="822"/>
                </a:lnTo>
                <a:lnTo>
                  <a:pt x="4690" y="817"/>
                </a:lnTo>
                <a:lnTo>
                  <a:pt x="4690" y="813"/>
                </a:lnTo>
                <a:lnTo>
                  <a:pt x="4688" y="813"/>
                </a:lnTo>
                <a:lnTo>
                  <a:pt x="4686" y="812"/>
                </a:lnTo>
                <a:lnTo>
                  <a:pt x="4686" y="808"/>
                </a:lnTo>
                <a:lnTo>
                  <a:pt x="4685" y="804"/>
                </a:lnTo>
                <a:lnTo>
                  <a:pt x="4687" y="800"/>
                </a:lnTo>
                <a:lnTo>
                  <a:pt x="4687" y="798"/>
                </a:lnTo>
                <a:lnTo>
                  <a:pt x="4683" y="792"/>
                </a:lnTo>
                <a:lnTo>
                  <a:pt x="4682" y="792"/>
                </a:lnTo>
                <a:lnTo>
                  <a:pt x="4682" y="796"/>
                </a:lnTo>
                <a:lnTo>
                  <a:pt x="4678" y="796"/>
                </a:lnTo>
                <a:lnTo>
                  <a:pt x="4681" y="798"/>
                </a:lnTo>
                <a:lnTo>
                  <a:pt x="4683" y="801"/>
                </a:lnTo>
                <a:lnTo>
                  <a:pt x="4683" y="803"/>
                </a:lnTo>
                <a:lnTo>
                  <a:pt x="4682" y="806"/>
                </a:lnTo>
                <a:lnTo>
                  <a:pt x="4682" y="807"/>
                </a:lnTo>
                <a:lnTo>
                  <a:pt x="4681" y="806"/>
                </a:lnTo>
                <a:lnTo>
                  <a:pt x="4680" y="807"/>
                </a:lnTo>
                <a:lnTo>
                  <a:pt x="4682" y="812"/>
                </a:lnTo>
                <a:lnTo>
                  <a:pt x="4683" y="812"/>
                </a:lnTo>
                <a:lnTo>
                  <a:pt x="4682" y="814"/>
                </a:lnTo>
                <a:lnTo>
                  <a:pt x="4680" y="816"/>
                </a:lnTo>
                <a:lnTo>
                  <a:pt x="4674" y="816"/>
                </a:lnTo>
                <a:lnTo>
                  <a:pt x="4674" y="810"/>
                </a:lnTo>
                <a:lnTo>
                  <a:pt x="4674" y="810"/>
                </a:lnTo>
                <a:lnTo>
                  <a:pt x="4671" y="812"/>
                </a:lnTo>
                <a:lnTo>
                  <a:pt x="4671" y="815"/>
                </a:lnTo>
                <a:lnTo>
                  <a:pt x="4672" y="818"/>
                </a:lnTo>
                <a:lnTo>
                  <a:pt x="4671" y="823"/>
                </a:lnTo>
                <a:lnTo>
                  <a:pt x="4669" y="828"/>
                </a:lnTo>
                <a:lnTo>
                  <a:pt x="4666" y="833"/>
                </a:lnTo>
                <a:lnTo>
                  <a:pt x="4666" y="834"/>
                </a:lnTo>
                <a:lnTo>
                  <a:pt x="4668" y="835"/>
                </a:lnTo>
                <a:lnTo>
                  <a:pt x="4666" y="837"/>
                </a:lnTo>
                <a:close/>
                <a:moveTo>
                  <a:pt x="4100" y="1512"/>
                </a:moveTo>
                <a:lnTo>
                  <a:pt x="4100" y="1511"/>
                </a:lnTo>
                <a:lnTo>
                  <a:pt x="4099" y="1512"/>
                </a:lnTo>
                <a:lnTo>
                  <a:pt x="4100" y="1512"/>
                </a:lnTo>
                <a:close/>
                <a:moveTo>
                  <a:pt x="4126" y="1680"/>
                </a:moveTo>
                <a:lnTo>
                  <a:pt x="4127" y="1680"/>
                </a:lnTo>
                <a:lnTo>
                  <a:pt x="4123" y="1679"/>
                </a:lnTo>
                <a:lnTo>
                  <a:pt x="4125" y="1680"/>
                </a:lnTo>
                <a:lnTo>
                  <a:pt x="4126" y="1680"/>
                </a:lnTo>
                <a:close/>
                <a:moveTo>
                  <a:pt x="4028" y="1446"/>
                </a:moveTo>
                <a:lnTo>
                  <a:pt x="4029" y="1447"/>
                </a:lnTo>
                <a:lnTo>
                  <a:pt x="4029" y="1446"/>
                </a:lnTo>
                <a:lnTo>
                  <a:pt x="4028" y="1446"/>
                </a:lnTo>
                <a:close/>
                <a:moveTo>
                  <a:pt x="4041" y="1515"/>
                </a:moveTo>
                <a:lnTo>
                  <a:pt x="4040" y="1515"/>
                </a:lnTo>
                <a:lnTo>
                  <a:pt x="4040" y="1515"/>
                </a:lnTo>
                <a:lnTo>
                  <a:pt x="4041" y="1515"/>
                </a:lnTo>
                <a:close/>
                <a:moveTo>
                  <a:pt x="4040" y="1515"/>
                </a:moveTo>
                <a:lnTo>
                  <a:pt x="4037" y="1518"/>
                </a:lnTo>
                <a:lnTo>
                  <a:pt x="4039" y="1518"/>
                </a:lnTo>
                <a:lnTo>
                  <a:pt x="4040" y="1515"/>
                </a:lnTo>
                <a:lnTo>
                  <a:pt x="4040" y="1515"/>
                </a:lnTo>
                <a:lnTo>
                  <a:pt x="4040" y="1515"/>
                </a:lnTo>
                <a:close/>
                <a:moveTo>
                  <a:pt x="4101" y="1513"/>
                </a:moveTo>
                <a:lnTo>
                  <a:pt x="4102" y="1513"/>
                </a:lnTo>
                <a:lnTo>
                  <a:pt x="4100" y="1512"/>
                </a:lnTo>
                <a:lnTo>
                  <a:pt x="4100" y="1512"/>
                </a:lnTo>
                <a:lnTo>
                  <a:pt x="4100" y="1513"/>
                </a:lnTo>
                <a:lnTo>
                  <a:pt x="4101" y="1513"/>
                </a:lnTo>
                <a:close/>
                <a:moveTo>
                  <a:pt x="4253" y="1364"/>
                </a:moveTo>
                <a:lnTo>
                  <a:pt x="4253" y="1363"/>
                </a:lnTo>
                <a:lnTo>
                  <a:pt x="4253" y="1363"/>
                </a:lnTo>
                <a:lnTo>
                  <a:pt x="4253" y="1364"/>
                </a:lnTo>
                <a:close/>
                <a:moveTo>
                  <a:pt x="4161" y="1547"/>
                </a:moveTo>
                <a:lnTo>
                  <a:pt x="4161" y="1547"/>
                </a:lnTo>
                <a:lnTo>
                  <a:pt x="4161" y="1547"/>
                </a:lnTo>
                <a:lnTo>
                  <a:pt x="4160" y="1547"/>
                </a:lnTo>
                <a:lnTo>
                  <a:pt x="4161" y="1547"/>
                </a:lnTo>
                <a:close/>
                <a:moveTo>
                  <a:pt x="4238" y="1369"/>
                </a:moveTo>
                <a:lnTo>
                  <a:pt x="4238" y="1368"/>
                </a:lnTo>
                <a:lnTo>
                  <a:pt x="4239" y="1368"/>
                </a:lnTo>
                <a:lnTo>
                  <a:pt x="4238" y="1368"/>
                </a:lnTo>
                <a:lnTo>
                  <a:pt x="4238" y="1369"/>
                </a:lnTo>
                <a:lnTo>
                  <a:pt x="4238" y="1369"/>
                </a:lnTo>
                <a:close/>
                <a:moveTo>
                  <a:pt x="4333" y="1320"/>
                </a:moveTo>
                <a:lnTo>
                  <a:pt x="4333" y="1320"/>
                </a:lnTo>
                <a:lnTo>
                  <a:pt x="4333" y="1319"/>
                </a:lnTo>
                <a:lnTo>
                  <a:pt x="4333" y="1320"/>
                </a:lnTo>
                <a:lnTo>
                  <a:pt x="4333" y="1320"/>
                </a:lnTo>
                <a:close/>
                <a:moveTo>
                  <a:pt x="4218" y="1375"/>
                </a:moveTo>
                <a:lnTo>
                  <a:pt x="4217" y="1375"/>
                </a:lnTo>
                <a:lnTo>
                  <a:pt x="4217" y="1375"/>
                </a:lnTo>
                <a:lnTo>
                  <a:pt x="4218" y="1375"/>
                </a:lnTo>
                <a:close/>
                <a:moveTo>
                  <a:pt x="4198" y="1515"/>
                </a:moveTo>
                <a:lnTo>
                  <a:pt x="4198" y="1515"/>
                </a:lnTo>
                <a:lnTo>
                  <a:pt x="4198" y="1515"/>
                </a:lnTo>
                <a:lnTo>
                  <a:pt x="4198" y="1515"/>
                </a:lnTo>
                <a:close/>
                <a:moveTo>
                  <a:pt x="4187" y="1367"/>
                </a:moveTo>
                <a:lnTo>
                  <a:pt x="4187" y="1367"/>
                </a:lnTo>
                <a:lnTo>
                  <a:pt x="4187" y="1367"/>
                </a:lnTo>
                <a:lnTo>
                  <a:pt x="4187" y="1367"/>
                </a:lnTo>
                <a:lnTo>
                  <a:pt x="4187" y="1367"/>
                </a:lnTo>
                <a:close/>
                <a:moveTo>
                  <a:pt x="4394" y="1756"/>
                </a:moveTo>
                <a:lnTo>
                  <a:pt x="4393" y="1755"/>
                </a:lnTo>
                <a:lnTo>
                  <a:pt x="4393" y="1756"/>
                </a:lnTo>
                <a:lnTo>
                  <a:pt x="4394" y="1756"/>
                </a:lnTo>
                <a:lnTo>
                  <a:pt x="4394" y="1756"/>
                </a:lnTo>
                <a:close/>
                <a:moveTo>
                  <a:pt x="4766" y="2331"/>
                </a:moveTo>
                <a:lnTo>
                  <a:pt x="4763" y="2331"/>
                </a:lnTo>
                <a:lnTo>
                  <a:pt x="4760" y="2332"/>
                </a:lnTo>
                <a:lnTo>
                  <a:pt x="4761" y="2334"/>
                </a:lnTo>
                <a:lnTo>
                  <a:pt x="4763" y="2333"/>
                </a:lnTo>
                <a:lnTo>
                  <a:pt x="4764" y="2332"/>
                </a:lnTo>
                <a:lnTo>
                  <a:pt x="4766" y="2334"/>
                </a:lnTo>
                <a:lnTo>
                  <a:pt x="4767" y="2333"/>
                </a:lnTo>
                <a:lnTo>
                  <a:pt x="4768" y="2332"/>
                </a:lnTo>
                <a:lnTo>
                  <a:pt x="4767" y="2331"/>
                </a:lnTo>
                <a:lnTo>
                  <a:pt x="4766" y="2331"/>
                </a:lnTo>
                <a:close/>
                <a:moveTo>
                  <a:pt x="4715" y="2338"/>
                </a:moveTo>
                <a:lnTo>
                  <a:pt x="4715" y="2337"/>
                </a:lnTo>
                <a:lnTo>
                  <a:pt x="4715" y="2335"/>
                </a:lnTo>
                <a:lnTo>
                  <a:pt x="4715" y="2335"/>
                </a:lnTo>
                <a:lnTo>
                  <a:pt x="4715" y="2337"/>
                </a:lnTo>
                <a:lnTo>
                  <a:pt x="4714" y="2339"/>
                </a:lnTo>
                <a:lnTo>
                  <a:pt x="4715" y="2338"/>
                </a:lnTo>
                <a:close/>
                <a:moveTo>
                  <a:pt x="4326" y="2242"/>
                </a:moveTo>
                <a:lnTo>
                  <a:pt x="4326" y="2241"/>
                </a:lnTo>
                <a:lnTo>
                  <a:pt x="4325" y="2240"/>
                </a:lnTo>
                <a:lnTo>
                  <a:pt x="4325" y="2240"/>
                </a:lnTo>
                <a:lnTo>
                  <a:pt x="4323" y="2242"/>
                </a:lnTo>
                <a:lnTo>
                  <a:pt x="4326" y="2242"/>
                </a:lnTo>
                <a:close/>
                <a:moveTo>
                  <a:pt x="4715" y="2332"/>
                </a:moveTo>
                <a:lnTo>
                  <a:pt x="4714" y="2332"/>
                </a:lnTo>
                <a:lnTo>
                  <a:pt x="4714" y="2334"/>
                </a:lnTo>
                <a:lnTo>
                  <a:pt x="4714" y="2334"/>
                </a:lnTo>
                <a:lnTo>
                  <a:pt x="4715" y="2333"/>
                </a:lnTo>
                <a:lnTo>
                  <a:pt x="4715" y="2332"/>
                </a:lnTo>
                <a:close/>
                <a:moveTo>
                  <a:pt x="4762" y="2334"/>
                </a:moveTo>
                <a:lnTo>
                  <a:pt x="4762" y="2334"/>
                </a:lnTo>
                <a:lnTo>
                  <a:pt x="4762" y="2334"/>
                </a:lnTo>
                <a:lnTo>
                  <a:pt x="4761" y="2335"/>
                </a:lnTo>
                <a:lnTo>
                  <a:pt x="4762" y="2335"/>
                </a:lnTo>
                <a:lnTo>
                  <a:pt x="4762" y="2334"/>
                </a:lnTo>
                <a:close/>
                <a:moveTo>
                  <a:pt x="4585" y="2238"/>
                </a:moveTo>
                <a:lnTo>
                  <a:pt x="4586" y="2238"/>
                </a:lnTo>
                <a:lnTo>
                  <a:pt x="4584" y="2237"/>
                </a:lnTo>
                <a:lnTo>
                  <a:pt x="4584" y="2238"/>
                </a:lnTo>
                <a:lnTo>
                  <a:pt x="4585" y="2238"/>
                </a:lnTo>
                <a:close/>
                <a:moveTo>
                  <a:pt x="4815" y="2057"/>
                </a:moveTo>
                <a:lnTo>
                  <a:pt x="4813" y="2057"/>
                </a:lnTo>
                <a:lnTo>
                  <a:pt x="4814" y="2058"/>
                </a:lnTo>
                <a:lnTo>
                  <a:pt x="4815" y="2057"/>
                </a:lnTo>
                <a:lnTo>
                  <a:pt x="4815" y="2057"/>
                </a:lnTo>
                <a:close/>
                <a:moveTo>
                  <a:pt x="4716" y="2298"/>
                </a:moveTo>
                <a:lnTo>
                  <a:pt x="4716" y="2298"/>
                </a:lnTo>
                <a:lnTo>
                  <a:pt x="4716" y="2298"/>
                </a:lnTo>
                <a:lnTo>
                  <a:pt x="4716" y="2298"/>
                </a:lnTo>
                <a:close/>
                <a:moveTo>
                  <a:pt x="4698" y="2321"/>
                </a:moveTo>
                <a:lnTo>
                  <a:pt x="4698" y="2327"/>
                </a:lnTo>
                <a:lnTo>
                  <a:pt x="4700" y="2327"/>
                </a:lnTo>
                <a:lnTo>
                  <a:pt x="4700" y="2327"/>
                </a:lnTo>
                <a:lnTo>
                  <a:pt x="4701" y="2325"/>
                </a:lnTo>
                <a:lnTo>
                  <a:pt x="4702" y="2323"/>
                </a:lnTo>
                <a:lnTo>
                  <a:pt x="4702" y="2320"/>
                </a:lnTo>
                <a:lnTo>
                  <a:pt x="4701" y="2317"/>
                </a:lnTo>
                <a:lnTo>
                  <a:pt x="4700" y="2319"/>
                </a:lnTo>
                <a:lnTo>
                  <a:pt x="4698" y="2321"/>
                </a:lnTo>
                <a:close/>
                <a:moveTo>
                  <a:pt x="4763" y="2342"/>
                </a:moveTo>
                <a:lnTo>
                  <a:pt x="4762" y="2340"/>
                </a:lnTo>
                <a:lnTo>
                  <a:pt x="4760" y="2340"/>
                </a:lnTo>
                <a:lnTo>
                  <a:pt x="4758" y="2343"/>
                </a:lnTo>
                <a:lnTo>
                  <a:pt x="4754" y="2343"/>
                </a:lnTo>
                <a:lnTo>
                  <a:pt x="4751" y="2345"/>
                </a:lnTo>
                <a:lnTo>
                  <a:pt x="4746" y="2343"/>
                </a:lnTo>
                <a:lnTo>
                  <a:pt x="4743" y="2344"/>
                </a:lnTo>
                <a:lnTo>
                  <a:pt x="4746" y="2345"/>
                </a:lnTo>
                <a:lnTo>
                  <a:pt x="4744" y="2344"/>
                </a:lnTo>
                <a:lnTo>
                  <a:pt x="4742" y="2343"/>
                </a:lnTo>
                <a:lnTo>
                  <a:pt x="4740" y="2346"/>
                </a:lnTo>
                <a:lnTo>
                  <a:pt x="4737" y="2346"/>
                </a:lnTo>
                <a:lnTo>
                  <a:pt x="4734" y="2345"/>
                </a:lnTo>
                <a:lnTo>
                  <a:pt x="4727" y="2342"/>
                </a:lnTo>
                <a:lnTo>
                  <a:pt x="4720" y="2339"/>
                </a:lnTo>
                <a:lnTo>
                  <a:pt x="4714" y="2339"/>
                </a:lnTo>
                <a:lnTo>
                  <a:pt x="4710" y="2339"/>
                </a:lnTo>
                <a:lnTo>
                  <a:pt x="4710" y="2342"/>
                </a:lnTo>
                <a:lnTo>
                  <a:pt x="4710" y="2346"/>
                </a:lnTo>
                <a:lnTo>
                  <a:pt x="4715" y="2354"/>
                </a:lnTo>
                <a:lnTo>
                  <a:pt x="4720" y="2362"/>
                </a:lnTo>
                <a:lnTo>
                  <a:pt x="4723" y="2366"/>
                </a:lnTo>
                <a:lnTo>
                  <a:pt x="4722" y="2370"/>
                </a:lnTo>
                <a:lnTo>
                  <a:pt x="4722" y="2368"/>
                </a:lnTo>
                <a:lnTo>
                  <a:pt x="4721" y="2368"/>
                </a:lnTo>
                <a:lnTo>
                  <a:pt x="4720" y="2367"/>
                </a:lnTo>
                <a:lnTo>
                  <a:pt x="4719" y="2367"/>
                </a:lnTo>
                <a:lnTo>
                  <a:pt x="4719" y="2367"/>
                </a:lnTo>
                <a:lnTo>
                  <a:pt x="4720" y="2369"/>
                </a:lnTo>
                <a:lnTo>
                  <a:pt x="4720" y="2371"/>
                </a:lnTo>
                <a:lnTo>
                  <a:pt x="4723" y="2378"/>
                </a:lnTo>
                <a:lnTo>
                  <a:pt x="4725" y="2382"/>
                </a:lnTo>
                <a:lnTo>
                  <a:pt x="4728" y="2387"/>
                </a:lnTo>
                <a:lnTo>
                  <a:pt x="4731" y="2387"/>
                </a:lnTo>
                <a:lnTo>
                  <a:pt x="4731" y="2388"/>
                </a:lnTo>
                <a:lnTo>
                  <a:pt x="4733" y="2388"/>
                </a:lnTo>
                <a:lnTo>
                  <a:pt x="4739" y="2389"/>
                </a:lnTo>
                <a:lnTo>
                  <a:pt x="4746" y="2389"/>
                </a:lnTo>
                <a:lnTo>
                  <a:pt x="4746" y="2387"/>
                </a:lnTo>
                <a:lnTo>
                  <a:pt x="4747" y="2384"/>
                </a:lnTo>
                <a:lnTo>
                  <a:pt x="4746" y="2383"/>
                </a:lnTo>
                <a:lnTo>
                  <a:pt x="4745" y="2381"/>
                </a:lnTo>
                <a:lnTo>
                  <a:pt x="4747" y="2382"/>
                </a:lnTo>
                <a:lnTo>
                  <a:pt x="4747" y="2383"/>
                </a:lnTo>
                <a:lnTo>
                  <a:pt x="4749" y="2383"/>
                </a:lnTo>
                <a:lnTo>
                  <a:pt x="4749" y="2383"/>
                </a:lnTo>
                <a:lnTo>
                  <a:pt x="4747" y="2381"/>
                </a:lnTo>
                <a:lnTo>
                  <a:pt x="4747" y="2381"/>
                </a:lnTo>
                <a:lnTo>
                  <a:pt x="4750" y="2379"/>
                </a:lnTo>
                <a:lnTo>
                  <a:pt x="4750" y="2379"/>
                </a:lnTo>
                <a:lnTo>
                  <a:pt x="4751" y="2378"/>
                </a:lnTo>
                <a:lnTo>
                  <a:pt x="4751" y="2378"/>
                </a:lnTo>
                <a:lnTo>
                  <a:pt x="4751" y="2377"/>
                </a:lnTo>
                <a:lnTo>
                  <a:pt x="4757" y="2377"/>
                </a:lnTo>
                <a:lnTo>
                  <a:pt x="4758" y="2378"/>
                </a:lnTo>
                <a:lnTo>
                  <a:pt x="4760" y="2369"/>
                </a:lnTo>
                <a:lnTo>
                  <a:pt x="4762" y="2360"/>
                </a:lnTo>
                <a:lnTo>
                  <a:pt x="4763" y="2362"/>
                </a:lnTo>
                <a:lnTo>
                  <a:pt x="4763" y="2367"/>
                </a:lnTo>
                <a:lnTo>
                  <a:pt x="4766" y="2367"/>
                </a:lnTo>
                <a:lnTo>
                  <a:pt x="4763" y="2357"/>
                </a:lnTo>
                <a:lnTo>
                  <a:pt x="4763" y="2342"/>
                </a:lnTo>
                <a:close/>
                <a:moveTo>
                  <a:pt x="4756" y="2378"/>
                </a:moveTo>
                <a:lnTo>
                  <a:pt x="4756" y="2378"/>
                </a:lnTo>
                <a:lnTo>
                  <a:pt x="4755" y="2379"/>
                </a:lnTo>
                <a:lnTo>
                  <a:pt x="4754" y="2379"/>
                </a:lnTo>
                <a:lnTo>
                  <a:pt x="4756" y="2381"/>
                </a:lnTo>
                <a:lnTo>
                  <a:pt x="4758" y="2382"/>
                </a:lnTo>
                <a:lnTo>
                  <a:pt x="4758" y="2382"/>
                </a:lnTo>
                <a:lnTo>
                  <a:pt x="4758" y="2381"/>
                </a:lnTo>
                <a:lnTo>
                  <a:pt x="4760" y="2382"/>
                </a:lnTo>
                <a:lnTo>
                  <a:pt x="4760" y="2379"/>
                </a:lnTo>
                <a:lnTo>
                  <a:pt x="4756" y="2379"/>
                </a:lnTo>
                <a:lnTo>
                  <a:pt x="4756" y="2378"/>
                </a:lnTo>
                <a:close/>
                <a:moveTo>
                  <a:pt x="4701" y="2317"/>
                </a:moveTo>
                <a:lnTo>
                  <a:pt x="4702" y="2316"/>
                </a:lnTo>
                <a:lnTo>
                  <a:pt x="4702" y="2315"/>
                </a:lnTo>
                <a:lnTo>
                  <a:pt x="4701" y="2315"/>
                </a:lnTo>
                <a:lnTo>
                  <a:pt x="4701" y="2317"/>
                </a:lnTo>
                <a:close/>
                <a:moveTo>
                  <a:pt x="4759" y="2379"/>
                </a:moveTo>
                <a:lnTo>
                  <a:pt x="4760" y="2379"/>
                </a:lnTo>
                <a:lnTo>
                  <a:pt x="4758" y="2378"/>
                </a:lnTo>
                <a:lnTo>
                  <a:pt x="4758" y="2379"/>
                </a:lnTo>
                <a:lnTo>
                  <a:pt x="4759" y="2379"/>
                </a:lnTo>
                <a:close/>
                <a:moveTo>
                  <a:pt x="4761" y="2374"/>
                </a:moveTo>
                <a:lnTo>
                  <a:pt x="4761" y="2374"/>
                </a:lnTo>
                <a:lnTo>
                  <a:pt x="4762" y="2373"/>
                </a:lnTo>
                <a:lnTo>
                  <a:pt x="4762" y="2373"/>
                </a:lnTo>
                <a:lnTo>
                  <a:pt x="4762" y="2371"/>
                </a:lnTo>
                <a:lnTo>
                  <a:pt x="4761" y="2371"/>
                </a:lnTo>
                <a:lnTo>
                  <a:pt x="4761" y="2374"/>
                </a:lnTo>
                <a:close/>
                <a:moveTo>
                  <a:pt x="4429" y="1673"/>
                </a:moveTo>
                <a:lnTo>
                  <a:pt x="4430" y="1670"/>
                </a:lnTo>
                <a:lnTo>
                  <a:pt x="4429" y="1671"/>
                </a:lnTo>
                <a:lnTo>
                  <a:pt x="4429" y="1676"/>
                </a:lnTo>
                <a:lnTo>
                  <a:pt x="4429" y="1673"/>
                </a:lnTo>
                <a:close/>
                <a:moveTo>
                  <a:pt x="4750" y="2383"/>
                </a:moveTo>
                <a:lnTo>
                  <a:pt x="4750" y="2383"/>
                </a:lnTo>
                <a:lnTo>
                  <a:pt x="4750" y="2383"/>
                </a:lnTo>
                <a:lnTo>
                  <a:pt x="4750" y="2383"/>
                </a:lnTo>
                <a:close/>
                <a:moveTo>
                  <a:pt x="4750" y="2382"/>
                </a:moveTo>
                <a:lnTo>
                  <a:pt x="4749" y="2383"/>
                </a:lnTo>
                <a:lnTo>
                  <a:pt x="4750" y="2383"/>
                </a:lnTo>
                <a:lnTo>
                  <a:pt x="4750" y="2382"/>
                </a:lnTo>
                <a:close/>
                <a:moveTo>
                  <a:pt x="4763" y="2331"/>
                </a:moveTo>
                <a:lnTo>
                  <a:pt x="4763" y="2328"/>
                </a:lnTo>
                <a:lnTo>
                  <a:pt x="4763" y="2323"/>
                </a:lnTo>
                <a:lnTo>
                  <a:pt x="4762" y="2323"/>
                </a:lnTo>
                <a:lnTo>
                  <a:pt x="4760" y="2323"/>
                </a:lnTo>
                <a:lnTo>
                  <a:pt x="4758" y="2323"/>
                </a:lnTo>
                <a:lnTo>
                  <a:pt x="4756" y="2325"/>
                </a:lnTo>
                <a:lnTo>
                  <a:pt x="4759" y="2328"/>
                </a:lnTo>
                <a:lnTo>
                  <a:pt x="4762" y="2331"/>
                </a:lnTo>
                <a:lnTo>
                  <a:pt x="4762" y="2331"/>
                </a:lnTo>
                <a:lnTo>
                  <a:pt x="4763" y="2331"/>
                </a:lnTo>
                <a:close/>
                <a:moveTo>
                  <a:pt x="4554" y="1869"/>
                </a:moveTo>
                <a:lnTo>
                  <a:pt x="4554" y="1870"/>
                </a:lnTo>
                <a:lnTo>
                  <a:pt x="4556" y="1869"/>
                </a:lnTo>
                <a:lnTo>
                  <a:pt x="4554" y="1869"/>
                </a:lnTo>
                <a:close/>
                <a:moveTo>
                  <a:pt x="4586" y="1875"/>
                </a:moveTo>
                <a:lnTo>
                  <a:pt x="4586" y="1875"/>
                </a:lnTo>
                <a:lnTo>
                  <a:pt x="4586" y="1875"/>
                </a:lnTo>
                <a:lnTo>
                  <a:pt x="4586" y="1875"/>
                </a:lnTo>
                <a:lnTo>
                  <a:pt x="4586" y="1875"/>
                </a:lnTo>
                <a:close/>
                <a:moveTo>
                  <a:pt x="4594" y="1873"/>
                </a:moveTo>
                <a:lnTo>
                  <a:pt x="4594" y="1874"/>
                </a:lnTo>
                <a:lnTo>
                  <a:pt x="4595" y="1873"/>
                </a:lnTo>
                <a:lnTo>
                  <a:pt x="4594" y="1873"/>
                </a:lnTo>
                <a:close/>
                <a:moveTo>
                  <a:pt x="4447" y="1902"/>
                </a:moveTo>
                <a:lnTo>
                  <a:pt x="4448" y="1901"/>
                </a:lnTo>
                <a:lnTo>
                  <a:pt x="4447" y="1901"/>
                </a:lnTo>
                <a:lnTo>
                  <a:pt x="4445" y="1901"/>
                </a:lnTo>
                <a:lnTo>
                  <a:pt x="4445" y="1904"/>
                </a:lnTo>
                <a:lnTo>
                  <a:pt x="4446" y="1905"/>
                </a:lnTo>
                <a:lnTo>
                  <a:pt x="4447" y="1903"/>
                </a:lnTo>
                <a:lnTo>
                  <a:pt x="4447" y="1902"/>
                </a:lnTo>
                <a:close/>
                <a:moveTo>
                  <a:pt x="4475" y="1917"/>
                </a:moveTo>
                <a:lnTo>
                  <a:pt x="4473" y="1917"/>
                </a:lnTo>
                <a:lnTo>
                  <a:pt x="4473" y="1919"/>
                </a:lnTo>
                <a:lnTo>
                  <a:pt x="4475" y="1917"/>
                </a:lnTo>
                <a:lnTo>
                  <a:pt x="4475" y="1917"/>
                </a:lnTo>
                <a:close/>
                <a:moveTo>
                  <a:pt x="4790" y="2029"/>
                </a:moveTo>
                <a:lnTo>
                  <a:pt x="4790" y="2029"/>
                </a:lnTo>
                <a:lnTo>
                  <a:pt x="4790" y="2029"/>
                </a:lnTo>
                <a:lnTo>
                  <a:pt x="4790" y="2029"/>
                </a:lnTo>
                <a:lnTo>
                  <a:pt x="4790" y="2029"/>
                </a:lnTo>
                <a:close/>
                <a:moveTo>
                  <a:pt x="4672" y="1873"/>
                </a:moveTo>
                <a:lnTo>
                  <a:pt x="4672" y="1873"/>
                </a:lnTo>
                <a:lnTo>
                  <a:pt x="4672" y="1873"/>
                </a:lnTo>
                <a:lnTo>
                  <a:pt x="4672" y="1873"/>
                </a:lnTo>
                <a:lnTo>
                  <a:pt x="4672" y="1873"/>
                </a:lnTo>
                <a:lnTo>
                  <a:pt x="4672" y="1872"/>
                </a:lnTo>
                <a:lnTo>
                  <a:pt x="4672" y="1873"/>
                </a:lnTo>
                <a:close/>
                <a:moveTo>
                  <a:pt x="4681" y="1856"/>
                </a:moveTo>
                <a:lnTo>
                  <a:pt x="4681" y="1856"/>
                </a:lnTo>
                <a:lnTo>
                  <a:pt x="4681" y="1856"/>
                </a:lnTo>
                <a:lnTo>
                  <a:pt x="4681" y="1856"/>
                </a:lnTo>
                <a:lnTo>
                  <a:pt x="4681" y="1856"/>
                </a:lnTo>
                <a:close/>
                <a:moveTo>
                  <a:pt x="4264" y="2094"/>
                </a:moveTo>
                <a:lnTo>
                  <a:pt x="4264" y="2094"/>
                </a:lnTo>
                <a:lnTo>
                  <a:pt x="4264" y="2094"/>
                </a:lnTo>
                <a:lnTo>
                  <a:pt x="4264" y="2094"/>
                </a:lnTo>
                <a:close/>
                <a:moveTo>
                  <a:pt x="4257" y="2090"/>
                </a:moveTo>
                <a:lnTo>
                  <a:pt x="4257" y="2094"/>
                </a:lnTo>
                <a:lnTo>
                  <a:pt x="4259" y="2090"/>
                </a:lnTo>
                <a:lnTo>
                  <a:pt x="4257" y="2090"/>
                </a:lnTo>
                <a:close/>
                <a:moveTo>
                  <a:pt x="4427" y="1917"/>
                </a:moveTo>
                <a:lnTo>
                  <a:pt x="4428" y="1918"/>
                </a:lnTo>
                <a:lnTo>
                  <a:pt x="4429" y="1917"/>
                </a:lnTo>
                <a:lnTo>
                  <a:pt x="4427" y="1917"/>
                </a:lnTo>
                <a:close/>
                <a:moveTo>
                  <a:pt x="4257" y="2095"/>
                </a:moveTo>
                <a:lnTo>
                  <a:pt x="4257" y="2095"/>
                </a:lnTo>
                <a:lnTo>
                  <a:pt x="4257" y="2095"/>
                </a:lnTo>
                <a:lnTo>
                  <a:pt x="4257" y="2095"/>
                </a:lnTo>
                <a:close/>
                <a:moveTo>
                  <a:pt x="4264" y="2094"/>
                </a:moveTo>
                <a:lnTo>
                  <a:pt x="4264" y="2094"/>
                </a:lnTo>
                <a:lnTo>
                  <a:pt x="4264" y="2094"/>
                </a:lnTo>
                <a:lnTo>
                  <a:pt x="4264" y="2094"/>
                </a:lnTo>
                <a:lnTo>
                  <a:pt x="4264" y="2094"/>
                </a:lnTo>
                <a:close/>
                <a:moveTo>
                  <a:pt x="4257" y="2094"/>
                </a:moveTo>
                <a:lnTo>
                  <a:pt x="4257" y="2095"/>
                </a:lnTo>
                <a:lnTo>
                  <a:pt x="4257" y="2094"/>
                </a:lnTo>
                <a:lnTo>
                  <a:pt x="4257" y="2094"/>
                </a:lnTo>
                <a:close/>
                <a:moveTo>
                  <a:pt x="4419" y="1933"/>
                </a:moveTo>
                <a:lnTo>
                  <a:pt x="4419" y="1933"/>
                </a:lnTo>
                <a:lnTo>
                  <a:pt x="4419" y="1933"/>
                </a:lnTo>
                <a:lnTo>
                  <a:pt x="4419" y="1933"/>
                </a:lnTo>
                <a:lnTo>
                  <a:pt x="4419" y="1933"/>
                </a:lnTo>
                <a:close/>
                <a:moveTo>
                  <a:pt x="4264" y="2094"/>
                </a:moveTo>
                <a:lnTo>
                  <a:pt x="4264" y="2094"/>
                </a:lnTo>
                <a:lnTo>
                  <a:pt x="4264" y="2094"/>
                </a:lnTo>
                <a:lnTo>
                  <a:pt x="4264" y="2094"/>
                </a:lnTo>
                <a:lnTo>
                  <a:pt x="4264" y="2094"/>
                </a:lnTo>
                <a:close/>
                <a:moveTo>
                  <a:pt x="4281" y="2213"/>
                </a:moveTo>
                <a:lnTo>
                  <a:pt x="4281" y="2213"/>
                </a:lnTo>
                <a:lnTo>
                  <a:pt x="4281" y="2213"/>
                </a:lnTo>
                <a:lnTo>
                  <a:pt x="4281" y="2213"/>
                </a:lnTo>
                <a:lnTo>
                  <a:pt x="4281" y="2213"/>
                </a:lnTo>
                <a:close/>
                <a:moveTo>
                  <a:pt x="4719" y="2300"/>
                </a:moveTo>
                <a:lnTo>
                  <a:pt x="4720" y="2300"/>
                </a:lnTo>
                <a:lnTo>
                  <a:pt x="4718" y="2298"/>
                </a:lnTo>
                <a:lnTo>
                  <a:pt x="4718" y="2299"/>
                </a:lnTo>
                <a:lnTo>
                  <a:pt x="4719" y="2300"/>
                </a:lnTo>
                <a:close/>
                <a:moveTo>
                  <a:pt x="4315" y="1587"/>
                </a:moveTo>
                <a:lnTo>
                  <a:pt x="4316" y="1585"/>
                </a:lnTo>
                <a:lnTo>
                  <a:pt x="4318" y="1584"/>
                </a:lnTo>
                <a:lnTo>
                  <a:pt x="4318" y="1583"/>
                </a:lnTo>
                <a:lnTo>
                  <a:pt x="4317" y="1583"/>
                </a:lnTo>
                <a:lnTo>
                  <a:pt x="4316" y="1585"/>
                </a:lnTo>
                <a:lnTo>
                  <a:pt x="4315" y="1587"/>
                </a:lnTo>
                <a:close/>
                <a:moveTo>
                  <a:pt x="4322" y="1592"/>
                </a:moveTo>
                <a:lnTo>
                  <a:pt x="4322" y="1592"/>
                </a:lnTo>
                <a:lnTo>
                  <a:pt x="4320" y="1592"/>
                </a:lnTo>
                <a:lnTo>
                  <a:pt x="4319" y="1592"/>
                </a:lnTo>
                <a:lnTo>
                  <a:pt x="4322" y="1592"/>
                </a:lnTo>
                <a:close/>
                <a:moveTo>
                  <a:pt x="4311" y="1338"/>
                </a:moveTo>
                <a:lnTo>
                  <a:pt x="4314" y="1338"/>
                </a:lnTo>
                <a:lnTo>
                  <a:pt x="4314" y="1337"/>
                </a:lnTo>
                <a:lnTo>
                  <a:pt x="4313" y="1338"/>
                </a:lnTo>
                <a:lnTo>
                  <a:pt x="4311" y="1338"/>
                </a:lnTo>
                <a:close/>
                <a:moveTo>
                  <a:pt x="4320" y="1645"/>
                </a:moveTo>
                <a:lnTo>
                  <a:pt x="4320" y="1645"/>
                </a:lnTo>
                <a:lnTo>
                  <a:pt x="4321" y="1643"/>
                </a:lnTo>
                <a:lnTo>
                  <a:pt x="4320" y="1641"/>
                </a:lnTo>
                <a:lnTo>
                  <a:pt x="4320" y="1641"/>
                </a:lnTo>
                <a:lnTo>
                  <a:pt x="4320" y="1645"/>
                </a:lnTo>
                <a:close/>
                <a:moveTo>
                  <a:pt x="4325" y="1634"/>
                </a:moveTo>
                <a:lnTo>
                  <a:pt x="4325" y="1632"/>
                </a:lnTo>
                <a:lnTo>
                  <a:pt x="4321" y="1632"/>
                </a:lnTo>
                <a:lnTo>
                  <a:pt x="4325" y="1634"/>
                </a:lnTo>
                <a:close/>
                <a:moveTo>
                  <a:pt x="4379" y="1702"/>
                </a:moveTo>
                <a:lnTo>
                  <a:pt x="4380" y="1701"/>
                </a:lnTo>
                <a:lnTo>
                  <a:pt x="4381" y="1699"/>
                </a:lnTo>
                <a:lnTo>
                  <a:pt x="4381" y="1699"/>
                </a:lnTo>
                <a:lnTo>
                  <a:pt x="4380" y="1698"/>
                </a:lnTo>
                <a:lnTo>
                  <a:pt x="4379" y="1702"/>
                </a:lnTo>
                <a:close/>
                <a:moveTo>
                  <a:pt x="4309" y="1570"/>
                </a:moveTo>
                <a:lnTo>
                  <a:pt x="4308" y="1570"/>
                </a:lnTo>
                <a:lnTo>
                  <a:pt x="4308" y="1572"/>
                </a:lnTo>
                <a:lnTo>
                  <a:pt x="4309" y="1574"/>
                </a:lnTo>
                <a:lnTo>
                  <a:pt x="4310" y="1574"/>
                </a:lnTo>
                <a:lnTo>
                  <a:pt x="4312" y="1573"/>
                </a:lnTo>
                <a:lnTo>
                  <a:pt x="4310" y="1572"/>
                </a:lnTo>
                <a:lnTo>
                  <a:pt x="4309" y="1570"/>
                </a:lnTo>
                <a:close/>
                <a:moveTo>
                  <a:pt x="4326" y="1631"/>
                </a:moveTo>
                <a:lnTo>
                  <a:pt x="4324" y="1631"/>
                </a:lnTo>
                <a:lnTo>
                  <a:pt x="4324" y="1631"/>
                </a:lnTo>
                <a:lnTo>
                  <a:pt x="4328" y="1631"/>
                </a:lnTo>
                <a:lnTo>
                  <a:pt x="4326" y="1631"/>
                </a:lnTo>
                <a:close/>
                <a:moveTo>
                  <a:pt x="4333" y="1587"/>
                </a:moveTo>
                <a:lnTo>
                  <a:pt x="4333" y="1586"/>
                </a:lnTo>
                <a:lnTo>
                  <a:pt x="4332" y="1586"/>
                </a:lnTo>
                <a:lnTo>
                  <a:pt x="4331" y="1587"/>
                </a:lnTo>
                <a:lnTo>
                  <a:pt x="4333" y="1587"/>
                </a:lnTo>
                <a:close/>
                <a:moveTo>
                  <a:pt x="2825" y="488"/>
                </a:moveTo>
                <a:lnTo>
                  <a:pt x="2828" y="487"/>
                </a:lnTo>
                <a:lnTo>
                  <a:pt x="2825" y="487"/>
                </a:lnTo>
                <a:lnTo>
                  <a:pt x="2825" y="488"/>
                </a:lnTo>
                <a:close/>
                <a:moveTo>
                  <a:pt x="4401" y="1708"/>
                </a:moveTo>
                <a:lnTo>
                  <a:pt x="4401" y="1708"/>
                </a:lnTo>
                <a:lnTo>
                  <a:pt x="4401" y="1708"/>
                </a:lnTo>
                <a:lnTo>
                  <a:pt x="4402" y="1706"/>
                </a:lnTo>
                <a:lnTo>
                  <a:pt x="4403" y="1705"/>
                </a:lnTo>
                <a:lnTo>
                  <a:pt x="4403" y="1704"/>
                </a:lnTo>
                <a:lnTo>
                  <a:pt x="4402" y="1704"/>
                </a:lnTo>
                <a:lnTo>
                  <a:pt x="4399" y="1704"/>
                </a:lnTo>
                <a:lnTo>
                  <a:pt x="4397" y="1704"/>
                </a:lnTo>
                <a:lnTo>
                  <a:pt x="4396" y="1708"/>
                </a:lnTo>
                <a:lnTo>
                  <a:pt x="4400" y="1708"/>
                </a:lnTo>
                <a:lnTo>
                  <a:pt x="4401" y="1708"/>
                </a:lnTo>
                <a:close/>
                <a:moveTo>
                  <a:pt x="4429" y="1676"/>
                </a:moveTo>
                <a:lnTo>
                  <a:pt x="4429" y="1676"/>
                </a:lnTo>
                <a:lnTo>
                  <a:pt x="4429" y="1676"/>
                </a:lnTo>
                <a:lnTo>
                  <a:pt x="4429" y="1676"/>
                </a:lnTo>
                <a:close/>
                <a:moveTo>
                  <a:pt x="4393" y="1752"/>
                </a:moveTo>
                <a:lnTo>
                  <a:pt x="4393" y="1752"/>
                </a:lnTo>
                <a:lnTo>
                  <a:pt x="4393" y="1753"/>
                </a:lnTo>
                <a:lnTo>
                  <a:pt x="4393" y="1752"/>
                </a:lnTo>
                <a:lnTo>
                  <a:pt x="4393" y="1752"/>
                </a:lnTo>
                <a:close/>
                <a:moveTo>
                  <a:pt x="4393" y="1753"/>
                </a:moveTo>
                <a:lnTo>
                  <a:pt x="4394" y="1754"/>
                </a:lnTo>
                <a:lnTo>
                  <a:pt x="4394" y="1756"/>
                </a:lnTo>
                <a:lnTo>
                  <a:pt x="4396" y="1756"/>
                </a:lnTo>
                <a:lnTo>
                  <a:pt x="4393" y="1753"/>
                </a:lnTo>
                <a:close/>
                <a:moveTo>
                  <a:pt x="4349" y="1694"/>
                </a:moveTo>
                <a:lnTo>
                  <a:pt x="4349" y="1696"/>
                </a:lnTo>
                <a:lnTo>
                  <a:pt x="4349" y="1696"/>
                </a:lnTo>
                <a:lnTo>
                  <a:pt x="4349" y="1699"/>
                </a:lnTo>
                <a:lnTo>
                  <a:pt x="4351" y="1702"/>
                </a:lnTo>
                <a:lnTo>
                  <a:pt x="4352" y="1705"/>
                </a:lnTo>
                <a:lnTo>
                  <a:pt x="4349" y="1703"/>
                </a:lnTo>
                <a:lnTo>
                  <a:pt x="4348" y="1704"/>
                </a:lnTo>
                <a:lnTo>
                  <a:pt x="4348" y="1706"/>
                </a:lnTo>
                <a:lnTo>
                  <a:pt x="4347" y="1708"/>
                </a:lnTo>
                <a:lnTo>
                  <a:pt x="4345" y="1711"/>
                </a:lnTo>
                <a:lnTo>
                  <a:pt x="4345" y="1721"/>
                </a:lnTo>
                <a:lnTo>
                  <a:pt x="4345" y="1722"/>
                </a:lnTo>
                <a:lnTo>
                  <a:pt x="4344" y="1722"/>
                </a:lnTo>
                <a:lnTo>
                  <a:pt x="4343" y="1725"/>
                </a:lnTo>
                <a:lnTo>
                  <a:pt x="4341" y="1729"/>
                </a:lnTo>
                <a:lnTo>
                  <a:pt x="4340" y="1731"/>
                </a:lnTo>
                <a:lnTo>
                  <a:pt x="4339" y="1733"/>
                </a:lnTo>
                <a:lnTo>
                  <a:pt x="4337" y="1732"/>
                </a:lnTo>
                <a:lnTo>
                  <a:pt x="4336" y="1732"/>
                </a:lnTo>
                <a:lnTo>
                  <a:pt x="4333" y="1732"/>
                </a:lnTo>
                <a:lnTo>
                  <a:pt x="4333" y="1733"/>
                </a:lnTo>
                <a:lnTo>
                  <a:pt x="4333" y="1740"/>
                </a:lnTo>
                <a:lnTo>
                  <a:pt x="4339" y="1740"/>
                </a:lnTo>
                <a:lnTo>
                  <a:pt x="4337" y="1743"/>
                </a:lnTo>
                <a:lnTo>
                  <a:pt x="4339" y="1745"/>
                </a:lnTo>
                <a:lnTo>
                  <a:pt x="4342" y="1744"/>
                </a:lnTo>
                <a:lnTo>
                  <a:pt x="4345" y="1744"/>
                </a:lnTo>
                <a:lnTo>
                  <a:pt x="4347" y="1744"/>
                </a:lnTo>
                <a:lnTo>
                  <a:pt x="4348" y="1745"/>
                </a:lnTo>
                <a:lnTo>
                  <a:pt x="4348" y="1746"/>
                </a:lnTo>
                <a:lnTo>
                  <a:pt x="4347" y="1747"/>
                </a:lnTo>
                <a:lnTo>
                  <a:pt x="4346" y="1749"/>
                </a:lnTo>
                <a:lnTo>
                  <a:pt x="4345" y="1751"/>
                </a:lnTo>
                <a:lnTo>
                  <a:pt x="4345" y="1756"/>
                </a:lnTo>
                <a:lnTo>
                  <a:pt x="4345" y="1765"/>
                </a:lnTo>
                <a:lnTo>
                  <a:pt x="4344" y="1774"/>
                </a:lnTo>
                <a:lnTo>
                  <a:pt x="4349" y="1780"/>
                </a:lnTo>
                <a:lnTo>
                  <a:pt x="4352" y="1780"/>
                </a:lnTo>
                <a:lnTo>
                  <a:pt x="4352" y="1777"/>
                </a:lnTo>
                <a:lnTo>
                  <a:pt x="4353" y="1775"/>
                </a:lnTo>
                <a:lnTo>
                  <a:pt x="4354" y="1775"/>
                </a:lnTo>
                <a:lnTo>
                  <a:pt x="4356" y="1775"/>
                </a:lnTo>
                <a:lnTo>
                  <a:pt x="4360" y="1774"/>
                </a:lnTo>
                <a:lnTo>
                  <a:pt x="4360" y="1775"/>
                </a:lnTo>
                <a:lnTo>
                  <a:pt x="4360" y="1775"/>
                </a:lnTo>
                <a:lnTo>
                  <a:pt x="4359" y="1768"/>
                </a:lnTo>
                <a:lnTo>
                  <a:pt x="4361" y="1762"/>
                </a:lnTo>
                <a:lnTo>
                  <a:pt x="4360" y="1757"/>
                </a:lnTo>
                <a:lnTo>
                  <a:pt x="4360" y="1752"/>
                </a:lnTo>
                <a:lnTo>
                  <a:pt x="4358" y="1750"/>
                </a:lnTo>
                <a:lnTo>
                  <a:pt x="4357" y="1747"/>
                </a:lnTo>
                <a:lnTo>
                  <a:pt x="4357" y="1740"/>
                </a:lnTo>
                <a:lnTo>
                  <a:pt x="4357" y="1737"/>
                </a:lnTo>
                <a:lnTo>
                  <a:pt x="4365" y="1731"/>
                </a:lnTo>
                <a:lnTo>
                  <a:pt x="4367" y="1732"/>
                </a:lnTo>
                <a:lnTo>
                  <a:pt x="4369" y="1732"/>
                </a:lnTo>
                <a:lnTo>
                  <a:pt x="4369" y="1733"/>
                </a:lnTo>
                <a:lnTo>
                  <a:pt x="4369" y="1733"/>
                </a:lnTo>
                <a:lnTo>
                  <a:pt x="4369" y="1740"/>
                </a:lnTo>
                <a:lnTo>
                  <a:pt x="4367" y="1741"/>
                </a:lnTo>
                <a:lnTo>
                  <a:pt x="4365" y="1741"/>
                </a:lnTo>
                <a:lnTo>
                  <a:pt x="4365" y="1745"/>
                </a:lnTo>
                <a:lnTo>
                  <a:pt x="4369" y="1748"/>
                </a:lnTo>
                <a:lnTo>
                  <a:pt x="4373" y="1751"/>
                </a:lnTo>
                <a:lnTo>
                  <a:pt x="4376" y="1752"/>
                </a:lnTo>
                <a:lnTo>
                  <a:pt x="4378" y="1752"/>
                </a:lnTo>
                <a:lnTo>
                  <a:pt x="4375" y="1762"/>
                </a:lnTo>
                <a:lnTo>
                  <a:pt x="4379" y="1764"/>
                </a:lnTo>
                <a:lnTo>
                  <a:pt x="4382" y="1764"/>
                </a:lnTo>
                <a:lnTo>
                  <a:pt x="4384" y="1763"/>
                </a:lnTo>
                <a:lnTo>
                  <a:pt x="4385" y="1763"/>
                </a:lnTo>
                <a:lnTo>
                  <a:pt x="4384" y="1762"/>
                </a:lnTo>
                <a:lnTo>
                  <a:pt x="4382" y="1762"/>
                </a:lnTo>
                <a:lnTo>
                  <a:pt x="4384" y="1761"/>
                </a:lnTo>
                <a:lnTo>
                  <a:pt x="4385" y="1761"/>
                </a:lnTo>
                <a:lnTo>
                  <a:pt x="4391" y="1760"/>
                </a:lnTo>
                <a:lnTo>
                  <a:pt x="4393" y="1760"/>
                </a:lnTo>
                <a:lnTo>
                  <a:pt x="4393" y="1756"/>
                </a:lnTo>
                <a:lnTo>
                  <a:pt x="4389" y="1756"/>
                </a:lnTo>
                <a:lnTo>
                  <a:pt x="4389" y="1751"/>
                </a:lnTo>
                <a:lnTo>
                  <a:pt x="4387" y="1749"/>
                </a:lnTo>
                <a:lnTo>
                  <a:pt x="4385" y="1747"/>
                </a:lnTo>
                <a:lnTo>
                  <a:pt x="4385" y="1741"/>
                </a:lnTo>
                <a:lnTo>
                  <a:pt x="4387" y="1740"/>
                </a:lnTo>
                <a:lnTo>
                  <a:pt x="4389" y="1739"/>
                </a:lnTo>
                <a:lnTo>
                  <a:pt x="4387" y="1738"/>
                </a:lnTo>
                <a:lnTo>
                  <a:pt x="4385" y="1737"/>
                </a:lnTo>
                <a:lnTo>
                  <a:pt x="4385" y="1736"/>
                </a:lnTo>
                <a:lnTo>
                  <a:pt x="4381" y="1732"/>
                </a:lnTo>
                <a:lnTo>
                  <a:pt x="4381" y="1730"/>
                </a:lnTo>
                <a:lnTo>
                  <a:pt x="4381" y="1728"/>
                </a:lnTo>
                <a:lnTo>
                  <a:pt x="4379" y="1726"/>
                </a:lnTo>
                <a:lnTo>
                  <a:pt x="4377" y="1726"/>
                </a:lnTo>
                <a:lnTo>
                  <a:pt x="4375" y="1724"/>
                </a:lnTo>
                <a:lnTo>
                  <a:pt x="4373" y="1724"/>
                </a:lnTo>
                <a:lnTo>
                  <a:pt x="4373" y="1719"/>
                </a:lnTo>
                <a:lnTo>
                  <a:pt x="4376" y="1720"/>
                </a:lnTo>
                <a:lnTo>
                  <a:pt x="4378" y="1721"/>
                </a:lnTo>
                <a:lnTo>
                  <a:pt x="4380" y="1719"/>
                </a:lnTo>
                <a:lnTo>
                  <a:pt x="4381" y="1717"/>
                </a:lnTo>
                <a:lnTo>
                  <a:pt x="4389" y="1715"/>
                </a:lnTo>
                <a:lnTo>
                  <a:pt x="4396" y="1708"/>
                </a:lnTo>
                <a:lnTo>
                  <a:pt x="4386" y="1708"/>
                </a:lnTo>
                <a:lnTo>
                  <a:pt x="4386" y="1708"/>
                </a:lnTo>
                <a:lnTo>
                  <a:pt x="4385" y="1708"/>
                </a:lnTo>
                <a:lnTo>
                  <a:pt x="4381" y="1708"/>
                </a:lnTo>
                <a:lnTo>
                  <a:pt x="4377" y="1708"/>
                </a:lnTo>
                <a:lnTo>
                  <a:pt x="4377" y="1705"/>
                </a:lnTo>
                <a:lnTo>
                  <a:pt x="4374" y="1706"/>
                </a:lnTo>
                <a:lnTo>
                  <a:pt x="4372" y="1710"/>
                </a:lnTo>
                <a:lnTo>
                  <a:pt x="4370" y="1716"/>
                </a:lnTo>
                <a:lnTo>
                  <a:pt x="4366" y="1716"/>
                </a:lnTo>
                <a:lnTo>
                  <a:pt x="4363" y="1716"/>
                </a:lnTo>
                <a:lnTo>
                  <a:pt x="4363" y="1712"/>
                </a:lnTo>
                <a:lnTo>
                  <a:pt x="4362" y="1708"/>
                </a:lnTo>
                <a:lnTo>
                  <a:pt x="4359" y="1706"/>
                </a:lnTo>
                <a:lnTo>
                  <a:pt x="4357" y="1704"/>
                </a:lnTo>
                <a:lnTo>
                  <a:pt x="4356" y="1702"/>
                </a:lnTo>
                <a:lnTo>
                  <a:pt x="4355" y="1699"/>
                </a:lnTo>
                <a:lnTo>
                  <a:pt x="4355" y="1695"/>
                </a:lnTo>
                <a:lnTo>
                  <a:pt x="4355" y="1693"/>
                </a:lnTo>
                <a:lnTo>
                  <a:pt x="4356" y="1692"/>
                </a:lnTo>
                <a:lnTo>
                  <a:pt x="4360" y="1688"/>
                </a:lnTo>
                <a:lnTo>
                  <a:pt x="4362" y="1688"/>
                </a:lnTo>
                <a:lnTo>
                  <a:pt x="4370" y="1688"/>
                </a:lnTo>
                <a:lnTo>
                  <a:pt x="4373" y="1687"/>
                </a:lnTo>
                <a:lnTo>
                  <a:pt x="4377" y="1685"/>
                </a:lnTo>
                <a:lnTo>
                  <a:pt x="4380" y="1687"/>
                </a:lnTo>
                <a:lnTo>
                  <a:pt x="4390" y="1686"/>
                </a:lnTo>
                <a:lnTo>
                  <a:pt x="4399" y="1685"/>
                </a:lnTo>
                <a:lnTo>
                  <a:pt x="4401" y="1686"/>
                </a:lnTo>
                <a:lnTo>
                  <a:pt x="4402" y="1688"/>
                </a:lnTo>
                <a:lnTo>
                  <a:pt x="4407" y="1688"/>
                </a:lnTo>
                <a:lnTo>
                  <a:pt x="4411" y="1687"/>
                </a:lnTo>
                <a:lnTo>
                  <a:pt x="4416" y="1687"/>
                </a:lnTo>
                <a:lnTo>
                  <a:pt x="4420" y="1683"/>
                </a:lnTo>
                <a:lnTo>
                  <a:pt x="4424" y="1679"/>
                </a:lnTo>
                <a:lnTo>
                  <a:pt x="4426" y="1676"/>
                </a:lnTo>
                <a:lnTo>
                  <a:pt x="4427" y="1673"/>
                </a:lnTo>
                <a:lnTo>
                  <a:pt x="4429" y="1671"/>
                </a:lnTo>
                <a:lnTo>
                  <a:pt x="4429" y="1671"/>
                </a:lnTo>
                <a:lnTo>
                  <a:pt x="4429" y="1668"/>
                </a:lnTo>
                <a:lnTo>
                  <a:pt x="4429" y="1668"/>
                </a:lnTo>
                <a:lnTo>
                  <a:pt x="4425" y="1668"/>
                </a:lnTo>
                <a:lnTo>
                  <a:pt x="4423" y="1668"/>
                </a:lnTo>
                <a:lnTo>
                  <a:pt x="4421" y="1669"/>
                </a:lnTo>
                <a:lnTo>
                  <a:pt x="4421" y="1670"/>
                </a:lnTo>
                <a:lnTo>
                  <a:pt x="4420" y="1671"/>
                </a:lnTo>
                <a:lnTo>
                  <a:pt x="4419" y="1673"/>
                </a:lnTo>
                <a:lnTo>
                  <a:pt x="4421" y="1676"/>
                </a:lnTo>
                <a:lnTo>
                  <a:pt x="4418" y="1676"/>
                </a:lnTo>
                <a:lnTo>
                  <a:pt x="4416" y="1677"/>
                </a:lnTo>
                <a:lnTo>
                  <a:pt x="4413" y="1678"/>
                </a:lnTo>
                <a:lnTo>
                  <a:pt x="4411" y="1680"/>
                </a:lnTo>
                <a:lnTo>
                  <a:pt x="4406" y="1680"/>
                </a:lnTo>
                <a:lnTo>
                  <a:pt x="4400" y="1680"/>
                </a:lnTo>
                <a:lnTo>
                  <a:pt x="4397" y="1680"/>
                </a:lnTo>
                <a:lnTo>
                  <a:pt x="4396" y="1681"/>
                </a:lnTo>
                <a:lnTo>
                  <a:pt x="4389" y="1679"/>
                </a:lnTo>
                <a:lnTo>
                  <a:pt x="4386" y="1680"/>
                </a:lnTo>
                <a:lnTo>
                  <a:pt x="4382" y="1680"/>
                </a:lnTo>
                <a:lnTo>
                  <a:pt x="4381" y="1680"/>
                </a:lnTo>
                <a:lnTo>
                  <a:pt x="4377" y="1680"/>
                </a:lnTo>
                <a:lnTo>
                  <a:pt x="4375" y="1676"/>
                </a:lnTo>
                <a:lnTo>
                  <a:pt x="4365" y="1676"/>
                </a:lnTo>
                <a:lnTo>
                  <a:pt x="4365" y="1676"/>
                </a:lnTo>
                <a:lnTo>
                  <a:pt x="4362" y="1682"/>
                </a:lnTo>
                <a:lnTo>
                  <a:pt x="4359" y="1681"/>
                </a:lnTo>
                <a:lnTo>
                  <a:pt x="4358" y="1680"/>
                </a:lnTo>
                <a:lnTo>
                  <a:pt x="4353" y="1682"/>
                </a:lnTo>
                <a:lnTo>
                  <a:pt x="4353" y="1688"/>
                </a:lnTo>
                <a:lnTo>
                  <a:pt x="4353" y="1688"/>
                </a:lnTo>
                <a:lnTo>
                  <a:pt x="4352" y="1689"/>
                </a:lnTo>
                <a:lnTo>
                  <a:pt x="4352" y="1691"/>
                </a:lnTo>
                <a:lnTo>
                  <a:pt x="4352" y="1691"/>
                </a:lnTo>
                <a:lnTo>
                  <a:pt x="4353" y="1692"/>
                </a:lnTo>
                <a:lnTo>
                  <a:pt x="4352" y="1694"/>
                </a:lnTo>
                <a:lnTo>
                  <a:pt x="4352" y="1695"/>
                </a:lnTo>
                <a:lnTo>
                  <a:pt x="4349" y="1693"/>
                </a:lnTo>
                <a:lnTo>
                  <a:pt x="4349" y="1692"/>
                </a:lnTo>
                <a:lnTo>
                  <a:pt x="4349" y="1692"/>
                </a:lnTo>
                <a:lnTo>
                  <a:pt x="4349" y="1694"/>
                </a:lnTo>
                <a:close/>
                <a:moveTo>
                  <a:pt x="4361" y="1776"/>
                </a:moveTo>
                <a:lnTo>
                  <a:pt x="4361" y="1775"/>
                </a:lnTo>
                <a:lnTo>
                  <a:pt x="4360" y="1775"/>
                </a:lnTo>
                <a:lnTo>
                  <a:pt x="4361" y="1776"/>
                </a:lnTo>
                <a:lnTo>
                  <a:pt x="4361" y="1776"/>
                </a:lnTo>
                <a:close/>
                <a:moveTo>
                  <a:pt x="4382" y="1697"/>
                </a:moveTo>
                <a:lnTo>
                  <a:pt x="4381" y="1698"/>
                </a:lnTo>
                <a:lnTo>
                  <a:pt x="4385" y="1698"/>
                </a:lnTo>
                <a:lnTo>
                  <a:pt x="4384" y="1697"/>
                </a:lnTo>
                <a:lnTo>
                  <a:pt x="4382" y="1696"/>
                </a:lnTo>
                <a:lnTo>
                  <a:pt x="4382" y="1697"/>
                </a:lnTo>
                <a:close/>
                <a:moveTo>
                  <a:pt x="4202" y="1711"/>
                </a:moveTo>
                <a:lnTo>
                  <a:pt x="4205" y="1710"/>
                </a:lnTo>
                <a:lnTo>
                  <a:pt x="4207" y="1710"/>
                </a:lnTo>
                <a:lnTo>
                  <a:pt x="4207" y="1708"/>
                </a:lnTo>
                <a:lnTo>
                  <a:pt x="4202" y="1708"/>
                </a:lnTo>
                <a:lnTo>
                  <a:pt x="4202" y="1711"/>
                </a:lnTo>
                <a:close/>
                <a:moveTo>
                  <a:pt x="4285" y="1821"/>
                </a:moveTo>
                <a:lnTo>
                  <a:pt x="4285" y="1823"/>
                </a:lnTo>
                <a:lnTo>
                  <a:pt x="4286" y="1823"/>
                </a:lnTo>
                <a:lnTo>
                  <a:pt x="4285" y="1821"/>
                </a:lnTo>
                <a:lnTo>
                  <a:pt x="4285" y="1821"/>
                </a:lnTo>
                <a:close/>
                <a:moveTo>
                  <a:pt x="4261" y="2093"/>
                </a:moveTo>
                <a:lnTo>
                  <a:pt x="4261" y="2092"/>
                </a:lnTo>
                <a:lnTo>
                  <a:pt x="4261" y="2094"/>
                </a:lnTo>
                <a:lnTo>
                  <a:pt x="4261" y="2093"/>
                </a:lnTo>
                <a:close/>
                <a:moveTo>
                  <a:pt x="4260" y="2082"/>
                </a:moveTo>
                <a:lnTo>
                  <a:pt x="4260" y="2082"/>
                </a:lnTo>
                <a:lnTo>
                  <a:pt x="4260" y="2083"/>
                </a:lnTo>
                <a:lnTo>
                  <a:pt x="4260" y="2082"/>
                </a:lnTo>
                <a:lnTo>
                  <a:pt x="4260" y="2082"/>
                </a:lnTo>
                <a:close/>
                <a:moveTo>
                  <a:pt x="4293" y="1824"/>
                </a:moveTo>
                <a:lnTo>
                  <a:pt x="4297" y="1824"/>
                </a:lnTo>
                <a:lnTo>
                  <a:pt x="4293" y="1823"/>
                </a:lnTo>
                <a:lnTo>
                  <a:pt x="4293" y="1824"/>
                </a:lnTo>
                <a:close/>
                <a:moveTo>
                  <a:pt x="4292" y="1823"/>
                </a:moveTo>
                <a:lnTo>
                  <a:pt x="4292" y="1821"/>
                </a:lnTo>
                <a:lnTo>
                  <a:pt x="4290" y="1821"/>
                </a:lnTo>
                <a:lnTo>
                  <a:pt x="4292" y="1823"/>
                </a:lnTo>
                <a:lnTo>
                  <a:pt x="4292" y="1823"/>
                </a:lnTo>
                <a:close/>
                <a:moveTo>
                  <a:pt x="4609" y="2251"/>
                </a:moveTo>
                <a:lnTo>
                  <a:pt x="4608" y="2250"/>
                </a:lnTo>
                <a:lnTo>
                  <a:pt x="4608" y="2249"/>
                </a:lnTo>
                <a:lnTo>
                  <a:pt x="4605" y="2247"/>
                </a:lnTo>
                <a:lnTo>
                  <a:pt x="4600" y="2249"/>
                </a:lnTo>
                <a:lnTo>
                  <a:pt x="4594" y="2250"/>
                </a:lnTo>
                <a:lnTo>
                  <a:pt x="4594" y="2252"/>
                </a:lnTo>
                <a:lnTo>
                  <a:pt x="4594" y="2254"/>
                </a:lnTo>
                <a:lnTo>
                  <a:pt x="4595" y="2254"/>
                </a:lnTo>
                <a:lnTo>
                  <a:pt x="4597" y="2255"/>
                </a:lnTo>
                <a:lnTo>
                  <a:pt x="4601" y="2254"/>
                </a:lnTo>
                <a:lnTo>
                  <a:pt x="4605" y="2254"/>
                </a:lnTo>
                <a:lnTo>
                  <a:pt x="4608" y="2258"/>
                </a:lnTo>
                <a:lnTo>
                  <a:pt x="4611" y="2253"/>
                </a:lnTo>
                <a:lnTo>
                  <a:pt x="4611" y="2252"/>
                </a:lnTo>
                <a:lnTo>
                  <a:pt x="4609" y="2251"/>
                </a:lnTo>
                <a:close/>
                <a:moveTo>
                  <a:pt x="4259" y="2086"/>
                </a:moveTo>
                <a:lnTo>
                  <a:pt x="4260" y="2089"/>
                </a:lnTo>
                <a:lnTo>
                  <a:pt x="4260" y="2091"/>
                </a:lnTo>
                <a:lnTo>
                  <a:pt x="4261" y="2092"/>
                </a:lnTo>
                <a:lnTo>
                  <a:pt x="4261" y="2089"/>
                </a:lnTo>
                <a:lnTo>
                  <a:pt x="4261" y="2086"/>
                </a:lnTo>
                <a:lnTo>
                  <a:pt x="4260" y="2083"/>
                </a:lnTo>
                <a:lnTo>
                  <a:pt x="4260" y="2084"/>
                </a:lnTo>
                <a:lnTo>
                  <a:pt x="4259" y="2086"/>
                </a:lnTo>
                <a:close/>
                <a:moveTo>
                  <a:pt x="4253" y="2082"/>
                </a:moveTo>
                <a:lnTo>
                  <a:pt x="4252" y="2082"/>
                </a:lnTo>
                <a:lnTo>
                  <a:pt x="4249" y="2082"/>
                </a:lnTo>
                <a:lnTo>
                  <a:pt x="4249" y="2086"/>
                </a:lnTo>
                <a:lnTo>
                  <a:pt x="4253" y="2090"/>
                </a:lnTo>
                <a:lnTo>
                  <a:pt x="4257" y="2094"/>
                </a:lnTo>
                <a:lnTo>
                  <a:pt x="4255" y="2088"/>
                </a:lnTo>
                <a:lnTo>
                  <a:pt x="4253" y="2082"/>
                </a:lnTo>
                <a:close/>
                <a:moveTo>
                  <a:pt x="4290" y="2005"/>
                </a:moveTo>
                <a:lnTo>
                  <a:pt x="4288" y="2007"/>
                </a:lnTo>
                <a:lnTo>
                  <a:pt x="4286" y="2009"/>
                </a:lnTo>
                <a:lnTo>
                  <a:pt x="4288" y="2009"/>
                </a:lnTo>
                <a:lnTo>
                  <a:pt x="4290" y="2005"/>
                </a:lnTo>
                <a:close/>
                <a:moveTo>
                  <a:pt x="4286" y="1796"/>
                </a:moveTo>
                <a:lnTo>
                  <a:pt x="4288" y="1796"/>
                </a:lnTo>
                <a:lnTo>
                  <a:pt x="4292" y="1796"/>
                </a:lnTo>
                <a:lnTo>
                  <a:pt x="4286" y="1793"/>
                </a:lnTo>
                <a:lnTo>
                  <a:pt x="4285" y="1796"/>
                </a:lnTo>
                <a:lnTo>
                  <a:pt x="4286" y="1796"/>
                </a:lnTo>
                <a:close/>
                <a:moveTo>
                  <a:pt x="4305" y="1829"/>
                </a:moveTo>
                <a:lnTo>
                  <a:pt x="4305" y="1823"/>
                </a:lnTo>
                <a:lnTo>
                  <a:pt x="4307" y="1816"/>
                </a:lnTo>
                <a:lnTo>
                  <a:pt x="4303" y="1813"/>
                </a:lnTo>
                <a:lnTo>
                  <a:pt x="4297" y="1816"/>
                </a:lnTo>
                <a:lnTo>
                  <a:pt x="4297" y="1824"/>
                </a:lnTo>
                <a:lnTo>
                  <a:pt x="4297" y="1824"/>
                </a:lnTo>
                <a:lnTo>
                  <a:pt x="4299" y="1826"/>
                </a:lnTo>
                <a:lnTo>
                  <a:pt x="4300" y="1824"/>
                </a:lnTo>
                <a:lnTo>
                  <a:pt x="4301" y="1823"/>
                </a:lnTo>
                <a:lnTo>
                  <a:pt x="4301" y="1829"/>
                </a:lnTo>
                <a:lnTo>
                  <a:pt x="4305" y="1829"/>
                </a:lnTo>
                <a:close/>
                <a:moveTo>
                  <a:pt x="4272" y="1798"/>
                </a:moveTo>
                <a:lnTo>
                  <a:pt x="4274" y="1798"/>
                </a:lnTo>
                <a:lnTo>
                  <a:pt x="4272" y="1797"/>
                </a:lnTo>
                <a:lnTo>
                  <a:pt x="4272" y="1798"/>
                </a:lnTo>
                <a:close/>
                <a:moveTo>
                  <a:pt x="4250" y="1779"/>
                </a:moveTo>
                <a:lnTo>
                  <a:pt x="4250" y="1778"/>
                </a:lnTo>
                <a:lnTo>
                  <a:pt x="4250" y="1778"/>
                </a:lnTo>
                <a:lnTo>
                  <a:pt x="4250" y="1779"/>
                </a:lnTo>
                <a:lnTo>
                  <a:pt x="4249" y="1779"/>
                </a:lnTo>
                <a:lnTo>
                  <a:pt x="4250" y="1779"/>
                </a:lnTo>
                <a:close/>
                <a:moveTo>
                  <a:pt x="4194" y="1717"/>
                </a:moveTo>
                <a:lnTo>
                  <a:pt x="4196" y="1716"/>
                </a:lnTo>
                <a:lnTo>
                  <a:pt x="4192" y="1716"/>
                </a:lnTo>
                <a:lnTo>
                  <a:pt x="4194" y="1717"/>
                </a:lnTo>
                <a:close/>
                <a:moveTo>
                  <a:pt x="4194" y="1650"/>
                </a:moveTo>
                <a:lnTo>
                  <a:pt x="4194" y="1647"/>
                </a:lnTo>
                <a:lnTo>
                  <a:pt x="4194" y="1647"/>
                </a:lnTo>
                <a:lnTo>
                  <a:pt x="4192" y="1650"/>
                </a:lnTo>
                <a:lnTo>
                  <a:pt x="4194" y="1650"/>
                </a:lnTo>
                <a:close/>
                <a:moveTo>
                  <a:pt x="4615" y="2254"/>
                </a:moveTo>
                <a:lnTo>
                  <a:pt x="4614" y="2253"/>
                </a:lnTo>
                <a:lnTo>
                  <a:pt x="4612" y="2252"/>
                </a:lnTo>
                <a:lnTo>
                  <a:pt x="4611" y="2253"/>
                </a:lnTo>
                <a:lnTo>
                  <a:pt x="4613" y="2254"/>
                </a:lnTo>
                <a:lnTo>
                  <a:pt x="4614" y="2254"/>
                </a:lnTo>
                <a:lnTo>
                  <a:pt x="4615" y="2254"/>
                </a:lnTo>
                <a:lnTo>
                  <a:pt x="4616" y="2253"/>
                </a:lnTo>
                <a:lnTo>
                  <a:pt x="4616" y="2253"/>
                </a:lnTo>
                <a:lnTo>
                  <a:pt x="4616" y="2253"/>
                </a:lnTo>
                <a:lnTo>
                  <a:pt x="4615" y="2254"/>
                </a:lnTo>
                <a:close/>
                <a:moveTo>
                  <a:pt x="5032" y="1915"/>
                </a:moveTo>
                <a:lnTo>
                  <a:pt x="5030" y="1914"/>
                </a:lnTo>
                <a:lnTo>
                  <a:pt x="5032" y="1925"/>
                </a:lnTo>
                <a:lnTo>
                  <a:pt x="5033" y="1929"/>
                </a:lnTo>
                <a:lnTo>
                  <a:pt x="5037" y="1928"/>
                </a:lnTo>
                <a:lnTo>
                  <a:pt x="5039" y="1927"/>
                </a:lnTo>
                <a:lnTo>
                  <a:pt x="5040" y="1928"/>
                </a:lnTo>
                <a:lnTo>
                  <a:pt x="5040" y="1926"/>
                </a:lnTo>
                <a:lnTo>
                  <a:pt x="5038" y="1921"/>
                </a:lnTo>
                <a:lnTo>
                  <a:pt x="5037" y="1919"/>
                </a:lnTo>
                <a:lnTo>
                  <a:pt x="5037" y="1917"/>
                </a:lnTo>
                <a:lnTo>
                  <a:pt x="5036" y="1917"/>
                </a:lnTo>
                <a:lnTo>
                  <a:pt x="5036" y="1921"/>
                </a:lnTo>
                <a:lnTo>
                  <a:pt x="5032" y="1921"/>
                </a:lnTo>
                <a:lnTo>
                  <a:pt x="5032" y="1915"/>
                </a:lnTo>
                <a:close/>
                <a:moveTo>
                  <a:pt x="4949" y="1823"/>
                </a:moveTo>
                <a:lnTo>
                  <a:pt x="4947" y="1827"/>
                </a:lnTo>
                <a:lnTo>
                  <a:pt x="4948" y="1827"/>
                </a:lnTo>
                <a:lnTo>
                  <a:pt x="4950" y="1828"/>
                </a:lnTo>
                <a:lnTo>
                  <a:pt x="4952" y="1831"/>
                </a:lnTo>
                <a:lnTo>
                  <a:pt x="4952" y="1833"/>
                </a:lnTo>
                <a:lnTo>
                  <a:pt x="4953" y="1833"/>
                </a:lnTo>
                <a:lnTo>
                  <a:pt x="4953" y="1833"/>
                </a:lnTo>
                <a:lnTo>
                  <a:pt x="4954" y="1836"/>
                </a:lnTo>
                <a:lnTo>
                  <a:pt x="4955" y="1838"/>
                </a:lnTo>
                <a:lnTo>
                  <a:pt x="4955" y="1840"/>
                </a:lnTo>
                <a:lnTo>
                  <a:pt x="4954" y="1840"/>
                </a:lnTo>
                <a:lnTo>
                  <a:pt x="4951" y="1839"/>
                </a:lnTo>
                <a:lnTo>
                  <a:pt x="4951" y="1838"/>
                </a:lnTo>
                <a:lnTo>
                  <a:pt x="4951" y="1837"/>
                </a:lnTo>
                <a:lnTo>
                  <a:pt x="4951" y="1835"/>
                </a:lnTo>
                <a:lnTo>
                  <a:pt x="4945" y="1830"/>
                </a:lnTo>
                <a:lnTo>
                  <a:pt x="4943" y="1823"/>
                </a:lnTo>
                <a:lnTo>
                  <a:pt x="4943" y="1821"/>
                </a:lnTo>
                <a:lnTo>
                  <a:pt x="4943" y="1820"/>
                </a:lnTo>
                <a:lnTo>
                  <a:pt x="4943" y="1820"/>
                </a:lnTo>
                <a:lnTo>
                  <a:pt x="4946" y="1820"/>
                </a:lnTo>
                <a:lnTo>
                  <a:pt x="4949" y="1823"/>
                </a:lnTo>
                <a:close/>
                <a:moveTo>
                  <a:pt x="4951" y="1837"/>
                </a:moveTo>
                <a:lnTo>
                  <a:pt x="4953" y="1837"/>
                </a:lnTo>
                <a:lnTo>
                  <a:pt x="4954" y="1837"/>
                </a:lnTo>
                <a:lnTo>
                  <a:pt x="4952" y="1835"/>
                </a:lnTo>
                <a:lnTo>
                  <a:pt x="4951" y="1837"/>
                </a:lnTo>
                <a:close/>
                <a:moveTo>
                  <a:pt x="4939" y="1831"/>
                </a:moveTo>
                <a:lnTo>
                  <a:pt x="4939" y="1831"/>
                </a:lnTo>
                <a:lnTo>
                  <a:pt x="4938" y="1830"/>
                </a:lnTo>
                <a:lnTo>
                  <a:pt x="4934" y="1830"/>
                </a:lnTo>
                <a:lnTo>
                  <a:pt x="4936" y="1831"/>
                </a:lnTo>
                <a:lnTo>
                  <a:pt x="4938" y="1831"/>
                </a:lnTo>
                <a:lnTo>
                  <a:pt x="4939" y="1831"/>
                </a:lnTo>
                <a:close/>
                <a:moveTo>
                  <a:pt x="4957" y="1841"/>
                </a:moveTo>
                <a:lnTo>
                  <a:pt x="4957" y="1841"/>
                </a:lnTo>
                <a:lnTo>
                  <a:pt x="4955" y="1840"/>
                </a:lnTo>
                <a:lnTo>
                  <a:pt x="4955" y="1841"/>
                </a:lnTo>
                <a:lnTo>
                  <a:pt x="4957" y="1841"/>
                </a:lnTo>
                <a:close/>
                <a:moveTo>
                  <a:pt x="4932" y="1837"/>
                </a:moveTo>
                <a:lnTo>
                  <a:pt x="4930" y="1834"/>
                </a:lnTo>
                <a:lnTo>
                  <a:pt x="4927" y="1834"/>
                </a:lnTo>
                <a:lnTo>
                  <a:pt x="4927" y="1838"/>
                </a:lnTo>
                <a:lnTo>
                  <a:pt x="4929" y="1840"/>
                </a:lnTo>
                <a:lnTo>
                  <a:pt x="4931" y="1841"/>
                </a:lnTo>
                <a:lnTo>
                  <a:pt x="4938" y="1841"/>
                </a:lnTo>
                <a:lnTo>
                  <a:pt x="4941" y="1842"/>
                </a:lnTo>
                <a:lnTo>
                  <a:pt x="4944" y="1843"/>
                </a:lnTo>
                <a:lnTo>
                  <a:pt x="4946" y="1842"/>
                </a:lnTo>
                <a:lnTo>
                  <a:pt x="4939" y="1837"/>
                </a:lnTo>
                <a:lnTo>
                  <a:pt x="4932" y="1837"/>
                </a:lnTo>
                <a:close/>
                <a:moveTo>
                  <a:pt x="4932" y="1868"/>
                </a:moveTo>
                <a:lnTo>
                  <a:pt x="4936" y="1870"/>
                </a:lnTo>
                <a:lnTo>
                  <a:pt x="4939" y="1871"/>
                </a:lnTo>
                <a:lnTo>
                  <a:pt x="4939" y="1869"/>
                </a:lnTo>
                <a:lnTo>
                  <a:pt x="4936" y="1868"/>
                </a:lnTo>
                <a:lnTo>
                  <a:pt x="4932" y="1868"/>
                </a:lnTo>
                <a:close/>
                <a:moveTo>
                  <a:pt x="4979" y="1615"/>
                </a:moveTo>
                <a:lnTo>
                  <a:pt x="4980" y="1616"/>
                </a:lnTo>
                <a:lnTo>
                  <a:pt x="4980" y="1616"/>
                </a:lnTo>
                <a:lnTo>
                  <a:pt x="4980" y="1613"/>
                </a:lnTo>
                <a:lnTo>
                  <a:pt x="4978" y="1613"/>
                </a:lnTo>
                <a:lnTo>
                  <a:pt x="4979" y="1615"/>
                </a:lnTo>
                <a:close/>
                <a:moveTo>
                  <a:pt x="4960" y="1853"/>
                </a:moveTo>
                <a:lnTo>
                  <a:pt x="4952" y="1848"/>
                </a:lnTo>
                <a:lnTo>
                  <a:pt x="4952" y="1847"/>
                </a:lnTo>
                <a:lnTo>
                  <a:pt x="4951" y="1847"/>
                </a:lnTo>
                <a:lnTo>
                  <a:pt x="4951" y="1853"/>
                </a:lnTo>
                <a:lnTo>
                  <a:pt x="4954" y="1853"/>
                </a:lnTo>
                <a:lnTo>
                  <a:pt x="4956" y="1853"/>
                </a:lnTo>
                <a:lnTo>
                  <a:pt x="4957" y="1853"/>
                </a:lnTo>
                <a:lnTo>
                  <a:pt x="4960" y="1854"/>
                </a:lnTo>
                <a:lnTo>
                  <a:pt x="4966" y="1857"/>
                </a:lnTo>
                <a:lnTo>
                  <a:pt x="4965" y="1853"/>
                </a:lnTo>
                <a:lnTo>
                  <a:pt x="4960" y="1853"/>
                </a:lnTo>
                <a:close/>
                <a:moveTo>
                  <a:pt x="4966" y="1856"/>
                </a:moveTo>
                <a:lnTo>
                  <a:pt x="4966" y="1856"/>
                </a:lnTo>
                <a:lnTo>
                  <a:pt x="4967" y="1857"/>
                </a:lnTo>
                <a:lnTo>
                  <a:pt x="4968" y="1857"/>
                </a:lnTo>
                <a:lnTo>
                  <a:pt x="4966" y="1856"/>
                </a:lnTo>
                <a:lnTo>
                  <a:pt x="4966" y="1856"/>
                </a:lnTo>
                <a:close/>
                <a:moveTo>
                  <a:pt x="4916" y="2603"/>
                </a:moveTo>
                <a:lnTo>
                  <a:pt x="4916" y="2604"/>
                </a:lnTo>
                <a:lnTo>
                  <a:pt x="4916" y="2604"/>
                </a:lnTo>
                <a:lnTo>
                  <a:pt x="4918" y="2602"/>
                </a:lnTo>
                <a:lnTo>
                  <a:pt x="4919" y="2599"/>
                </a:lnTo>
                <a:lnTo>
                  <a:pt x="4918" y="2601"/>
                </a:lnTo>
                <a:lnTo>
                  <a:pt x="4916" y="2603"/>
                </a:lnTo>
                <a:close/>
                <a:moveTo>
                  <a:pt x="5000" y="696"/>
                </a:moveTo>
                <a:lnTo>
                  <a:pt x="5004" y="695"/>
                </a:lnTo>
                <a:lnTo>
                  <a:pt x="5004" y="691"/>
                </a:lnTo>
                <a:lnTo>
                  <a:pt x="5003" y="690"/>
                </a:lnTo>
                <a:lnTo>
                  <a:pt x="5001" y="689"/>
                </a:lnTo>
                <a:lnTo>
                  <a:pt x="4995" y="690"/>
                </a:lnTo>
                <a:lnTo>
                  <a:pt x="4989" y="691"/>
                </a:lnTo>
                <a:lnTo>
                  <a:pt x="4991" y="693"/>
                </a:lnTo>
                <a:lnTo>
                  <a:pt x="4993" y="694"/>
                </a:lnTo>
                <a:lnTo>
                  <a:pt x="4991" y="696"/>
                </a:lnTo>
                <a:lnTo>
                  <a:pt x="4989" y="699"/>
                </a:lnTo>
                <a:lnTo>
                  <a:pt x="4984" y="703"/>
                </a:lnTo>
                <a:lnTo>
                  <a:pt x="4985" y="705"/>
                </a:lnTo>
                <a:lnTo>
                  <a:pt x="4991" y="701"/>
                </a:lnTo>
                <a:lnTo>
                  <a:pt x="4995" y="697"/>
                </a:lnTo>
                <a:lnTo>
                  <a:pt x="5000" y="696"/>
                </a:lnTo>
                <a:close/>
                <a:moveTo>
                  <a:pt x="4911" y="1590"/>
                </a:moveTo>
                <a:lnTo>
                  <a:pt x="4909" y="1590"/>
                </a:lnTo>
                <a:lnTo>
                  <a:pt x="4908" y="1591"/>
                </a:lnTo>
                <a:lnTo>
                  <a:pt x="4909" y="1592"/>
                </a:lnTo>
                <a:lnTo>
                  <a:pt x="4911" y="1593"/>
                </a:lnTo>
                <a:lnTo>
                  <a:pt x="4911" y="1592"/>
                </a:lnTo>
                <a:lnTo>
                  <a:pt x="4912" y="1591"/>
                </a:lnTo>
                <a:lnTo>
                  <a:pt x="4911" y="1590"/>
                </a:lnTo>
                <a:lnTo>
                  <a:pt x="4911" y="1590"/>
                </a:lnTo>
                <a:close/>
                <a:moveTo>
                  <a:pt x="4908" y="1824"/>
                </a:moveTo>
                <a:lnTo>
                  <a:pt x="4908" y="1827"/>
                </a:lnTo>
                <a:lnTo>
                  <a:pt x="4909" y="1827"/>
                </a:lnTo>
                <a:lnTo>
                  <a:pt x="4908" y="1824"/>
                </a:lnTo>
                <a:lnTo>
                  <a:pt x="4908" y="1824"/>
                </a:lnTo>
                <a:close/>
                <a:moveTo>
                  <a:pt x="4920" y="1831"/>
                </a:moveTo>
                <a:lnTo>
                  <a:pt x="4920" y="1831"/>
                </a:lnTo>
                <a:lnTo>
                  <a:pt x="4921" y="1830"/>
                </a:lnTo>
                <a:lnTo>
                  <a:pt x="4920" y="1830"/>
                </a:lnTo>
                <a:lnTo>
                  <a:pt x="4920" y="1831"/>
                </a:lnTo>
                <a:close/>
                <a:moveTo>
                  <a:pt x="4912" y="1807"/>
                </a:moveTo>
                <a:lnTo>
                  <a:pt x="4915" y="1809"/>
                </a:lnTo>
                <a:lnTo>
                  <a:pt x="4917" y="1812"/>
                </a:lnTo>
                <a:lnTo>
                  <a:pt x="4918" y="1812"/>
                </a:lnTo>
                <a:lnTo>
                  <a:pt x="4915" y="1809"/>
                </a:lnTo>
                <a:lnTo>
                  <a:pt x="4912" y="1807"/>
                </a:lnTo>
                <a:close/>
                <a:moveTo>
                  <a:pt x="4932" y="1822"/>
                </a:moveTo>
                <a:lnTo>
                  <a:pt x="4932" y="1823"/>
                </a:lnTo>
                <a:lnTo>
                  <a:pt x="4932" y="1821"/>
                </a:lnTo>
                <a:lnTo>
                  <a:pt x="4931" y="1819"/>
                </a:lnTo>
                <a:lnTo>
                  <a:pt x="4928" y="1817"/>
                </a:lnTo>
                <a:lnTo>
                  <a:pt x="4925" y="1816"/>
                </a:lnTo>
                <a:lnTo>
                  <a:pt x="4923" y="1816"/>
                </a:lnTo>
                <a:lnTo>
                  <a:pt x="4931" y="1821"/>
                </a:lnTo>
                <a:lnTo>
                  <a:pt x="4932" y="1822"/>
                </a:lnTo>
                <a:close/>
                <a:moveTo>
                  <a:pt x="4920" y="1816"/>
                </a:moveTo>
                <a:lnTo>
                  <a:pt x="4923" y="1816"/>
                </a:lnTo>
                <a:lnTo>
                  <a:pt x="4918" y="1812"/>
                </a:lnTo>
                <a:lnTo>
                  <a:pt x="4920" y="1816"/>
                </a:lnTo>
                <a:close/>
                <a:moveTo>
                  <a:pt x="4931" y="1823"/>
                </a:moveTo>
                <a:lnTo>
                  <a:pt x="4928" y="1819"/>
                </a:lnTo>
                <a:lnTo>
                  <a:pt x="4927" y="1820"/>
                </a:lnTo>
                <a:lnTo>
                  <a:pt x="4927" y="1821"/>
                </a:lnTo>
                <a:lnTo>
                  <a:pt x="4929" y="1822"/>
                </a:lnTo>
                <a:lnTo>
                  <a:pt x="4931" y="1823"/>
                </a:lnTo>
                <a:close/>
                <a:moveTo>
                  <a:pt x="5053" y="1929"/>
                </a:moveTo>
                <a:lnTo>
                  <a:pt x="5054" y="1931"/>
                </a:lnTo>
                <a:lnTo>
                  <a:pt x="5055" y="1933"/>
                </a:lnTo>
                <a:lnTo>
                  <a:pt x="5056" y="1933"/>
                </a:lnTo>
                <a:lnTo>
                  <a:pt x="5056" y="1932"/>
                </a:lnTo>
                <a:lnTo>
                  <a:pt x="5056" y="1929"/>
                </a:lnTo>
                <a:lnTo>
                  <a:pt x="5055" y="1926"/>
                </a:lnTo>
                <a:lnTo>
                  <a:pt x="5054" y="1928"/>
                </a:lnTo>
                <a:lnTo>
                  <a:pt x="5053" y="1929"/>
                </a:lnTo>
                <a:close/>
                <a:moveTo>
                  <a:pt x="5053" y="1917"/>
                </a:moveTo>
                <a:lnTo>
                  <a:pt x="5053" y="1917"/>
                </a:lnTo>
                <a:lnTo>
                  <a:pt x="5053" y="1917"/>
                </a:lnTo>
                <a:lnTo>
                  <a:pt x="5053" y="1919"/>
                </a:lnTo>
                <a:lnTo>
                  <a:pt x="5052" y="1922"/>
                </a:lnTo>
                <a:lnTo>
                  <a:pt x="5052" y="1925"/>
                </a:lnTo>
                <a:lnTo>
                  <a:pt x="5055" y="1925"/>
                </a:lnTo>
                <a:lnTo>
                  <a:pt x="5055" y="1925"/>
                </a:lnTo>
                <a:lnTo>
                  <a:pt x="5054" y="1921"/>
                </a:lnTo>
                <a:lnTo>
                  <a:pt x="5053" y="1917"/>
                </a:lnTo>
                <a:close/>
                <a:moveTo>
                  <a:pt x="4905" y="1820"/>
                </a:moveTo>
                <a:lnTo>
                  <a:pt x="4903" y="1820"/>
                </a:lnTo>
                <a:lnTo>
                  <a:pt x="4903" y="1820"/>
                </a:lnTo>
                <a:lnTo>
                  <a:pt x="4905" y="1821"/>
                </a:lnTo>
                <a:lnTo>
                  <a:pt x="4906" y="1820"/>
                </a:lnTo>
                <a:lnTo>
                  <a:pt x="4905" y="1820"/>
                </a:lnTo>
                <a:close/>
                <a:moveTo>
                  <a:pt x="5053" y="1939"/>
                </a:moveTo>
                <a:lnTo>
                  <a:pt x="5055" y="1941"/>
                </a:lnTo>
                <a:lnTo>
                  <a:pt x="5056" y="1939"/>
                </a:lnTo>
                <a:lnTo>
                  <a:pt x="5056" y="1938"/>
                </a:lnTo>
                <a:lnTo>
                  <a:pt x="5056" y="1937"/>
                </a:lnTo>
                <a:lnTo>
                  <a:pt x="5055" y="1936"/>
                </a:lnTo>
                <a:lnTo>
                  <a:pt x="5053" y="1936"/>
                </a:lnTo>
                <a:lnTo>
                  <a:pt x="5051" y="1937"/>
                </a:lnTo>
                <a:lnTo>
                  <a:pt x="5053" y="1939"/>
                </a:lnTo>
                <a:close/>
                <a:moveTo>
                  <a:pt x="5056" y="1959"/>
                </a:moveTo>
                <a:lnTo>
                  <a:pt x="5056" y="1959"/>
                </a:lnTo>
                <a:lnTo>
                  <a:pt x="5055" y="1960"/>
                </a:lnTo>
                <a:lnTo>
                  <a:pt x="5056" y="1960"/>
                </a:lnTo>
                <a:lnTo>
                  <a:pt x="5057" y="1960"/>
                </a:lnTo>
                <a:lnTo>
                  <a:pt x="5057" y="1961"/>
                </a:lnTo>
                <a:lnTo>
                  <a:pt x="5060" y="1961"/>
                </a:lnTo>
                <a:lnTo>
                  <a:pt x="5061" y="1960"/>
                </a:lnTo>
                <a:lnTo>
                  <a:pt x="5059" y="1959"/>
                </a:lnTo>
                <a:lnTo>
                  <a:pt x="5057" y="1959"/>
                </a:lnTo>
                <a:lnTo>
                  <a:pt x="5056" y="1959"/>
                </a:lnTo>
                <a:close/>
                <a:moveTo>
                  <a:pt x="5048" y="1925"/>
                </a:moveTo>
                <a:lnTo>
                  <a:pt x="5046" y="1925"/>
                </a:lnTo>
                <a:lnTo>
                  <a:pt x="5048" y="1926"/>
                </a:lnTo>
                <a:lnTo>
                  <a:pt x="5049" y="1926"/>
                </a:lnTo>
                <a:lnTo>
                  <a:pt x="5051" y="1925"/>
                </a:lnTo>
                <a:lnTo>
                  <a:pt x="5049" y="1925"/>
                </a:lnTo>
                <a:lnTo>
                  <a:pt x="5048" y="1925"/>
                </a:lnTo>
                <a:close/>
                <a:moveTo>
                  <a:pt x="5049" y="2018"/>
                </a:moveTo>
                <a:lnTo>
                  <a:pt x="5052" y="2023"/>
                </a:lnTo>
                <a:lnTo>
                  <a:pt x="5052" y="2022"/>
                </a:lnTo>
                <a:lnTo>
                  <a:pt x="5053" y="2022"/>
                </a:lnTo>
                <a:lnTo>
                  <a:pt x="5053" y="2021"/>
                </a:lnTo>
                <a:lnTo>
                  <a:pt x="5051" y="2019"/>
                </a:lnTo>
                <a:lnTo>
                  <a:pt x="5049" y="2018"/>
                </a:lnTo>
                <a:close/>
                <a:moveTo>
                  <a:pt x="5040" y="1933"/>
                </a:moveTo>
                <a:lnTo>
                  <a:pt x="5040" y="1936"/>
                </a:lnTo>
                <a:lnTo>
                  <a:pt x="5040" y="1936"/>
                </a:lnTo>
                <a:lnTo>
                  <a:pt x="5040" y="1937"/>
                </a:lnTo>
                <a:lnTo>
                  <a:pt x="5040" y="1942"/>
                </a:lnTo>
                <a:lnTo>
                  <a:pt x="5043" y="1944"/>
                </a:lnTo>
                <a:lnTo>
                  <a:pt x="5049" y="1942"/>
                </a:lnTo>
                <a:lnTo>
                  <a:pt x="5045" y="1937"/>
                </a:lnTo>
                <a:lnTo>
                  <a:pt x="5041" y="1933"/>
                </a:lnTo>
                <a:lnTo>
                  <a:pt x="5040" y="1933"/>
                </a:lnTo>
                <a:close/>
                <a:moveTo>
                  <a:pt x="5055" y="1944"/>
                </a:moveTo>
                <a:lnTo>
                  <a:pt x="5055" y="1944"/>
                </a:lnTo>
                <a:lnTo>
                  <a:pt x="5055" y="1947"/>
                </a:lnTo>
                <a:lnTo>
                  <a:pt x="5060" y="1947"/>
                </a:lnTo>
                <a:lnTo>
                  <a:pt x="5058" y="1945"/>
                </a:lnTo>
                <a:lnTo>
                  <a:pt x="5055" y="1944"/>
                </a:lnTo>
                <a:close/>
                <a:moveTo>
                  <a:pt x="5044" y="1905"/>
                </a:moveTo>
                <a:lnTo>
                  <a:pt x="5044" y="1909"/>
                </a:lnTo>
                <a:lnTo>
                  <a:pt x="5045" y="1909"/>
                </a:lnTo>
                <a:lnTo>
                  <a:pt x="5045" y="1908"/>
                </a:lnTo>
                <a:lnTo>
                  <a:pt x="5046" y="1907"/>
                </a:lnTo>
                <a:lnTo>
                  <a:pt x="5045" y="1906"/>
                </a:lnTo>
                <a:lnTo>
                  <a:pt x="5044" y="1905"/>
                </a:lnTo>
                <a:lnTo>
                  <a:pt x="5044" y="1905"/>
                </a:lnTo>
                <a:close/>
                <a:moveTo>
                  <a:pt x="5041" y="1929"/>
                </a:moveTo>
                <a:lnTo>
                  <a:pt x="5040" y="1928"/>
                </a:lnTo>
                <a:lnTo>
                  <a:pt x="5040" y="1929"/>
                </a:lnTo>
                <a:lnTo>
                  <a:pt x="5041" y="1929"/>
                </a:lnTo>
                <a:close/>
                <a:moveTo>
                  <a:pt x="5028" y="2032"/>
                </a:moveTo>
                <a:lnTo>
                  <a:pt x="5028" y="2033"/>
                </a:lnTo>
                <a:lnTo>
                  <a:pt x="5029" y="2033"/>
                </a:lnTo>
                <a:lnTo>
                  <a:pt x="5029" y="2033"/>
                </a:lnTo>
                <a:lnTo>
                  <a:pt x="5030" y="2032"/>
                </a:lnTo>
                <a:lnTo>
                  <a:pt x="5032" y="2035"/>
                </a:lnTo>
                <a:lnTo>
                  <a:pt x="5032" y="2035"/>
                </a:lnTo>
                <a:lnTo>
                  <a:pt x="5032" y="2033"/>
                </a:lnTo>
                <a:lnTo>
                  <a:pt x="5034" y="2033"/>
                </a:lnTo>
                <a:lnTo>
                  <a:pt x="5035" y="2033"/>
                </a:lnTo>
                <a:lnTo>
                  <a:pt x="5036" y="2033"/>
                </a:lnTo>
                <a:lnTo>
                  <a:pt x="5036" y="2029"/>
                </a:lnTo>
                <a:lnTo>
                  <a:pt x="5029" y="2024"/>
                </a:lnTo>
                <a:lnTo>
                  <a:pt x="5022" y="2018"/>
                </a:lnTo>
                <a:lnTo>
                  <a:pt x="5017" y="2017"/>
                </a:lnTo>
                <a:lnTo>
                  <a:pt x="5013" y="2013"/>
                </a:lnTo>
                <a:lnTo>
                  <a:pt x="5010" y="2009"/>
                </a:lnTo>
                <a:lnTo>
                  <a:pt x="5008" y="2008"/>
                </a:lnTo>
                <a:lnTo>
                  <a:pt x="5006" y="2006"/>
                </a:lnTo>
                <a:lnTo>
                  <a:pt x="5003" y="2004"/>
                </a:lnTo>
                <a:lnTo>
                  <a:pt x="5000" y="2002"/>
                </a:lnTo>
                <a:lnTo>
                  <a:pt x="4997" y="2001"/>
                </a:lnTo>
                <a:lnTo>
                  <a:pt x="4996" y="2001"/>
                </a:lnTo>
                <a:lnTo>
                  <a:pt x="4996" y="2002"/>
                </a:lnTo>
                <a:lnTo>
                  <a:pt x="4992" y="1997"/>
                </a:lnTo>
                <a:lnTo>
                  <a:pt x="4992" y="1997"/>
                </a:lnTo>
                <a:lnTo>
                  <a:pt x="4992" y="1997"/>
                </a:lnTo>
                <a:lnTo>
                  <a:pt x="4997" y="2008"/>
                </a:lnTo>
                <a:lnTo>
                  <a:pt x="5008" y="2021"/>
                </a:lnTo>
                <a:lnTo>
                  <a:pt x="5020" y="2027"/>
                </a:lnTo>
                <a:lnTo>
                  <a:pt x="5020" y="2029"/>
                </a:lnTo>
                <a:lnTo>
                  <a:pt x="5028" y="2032"/>
                </a:lnTo>
                <a:close/>
                <a:moveTo>
                  <a:pt x="5034" y="2037"/>
                </a:moveTo>
                <a:lnTo>
                  <a:pt x="5032" y="2035"/>
                </a:lnTo>
                <a:lnTo>
                  <a:pt x="5032" y="2037"/>
                </a:lnTo>
                <a:lnTo>
                  <a:pt x="5034" y="2037"/>
                </a:lnTo>
                <a:close/>
                <a:moveTo>
                  <a:pt x="4995" y="672"/>
                </a:moveTo>
                <a:lnTo>
                  <a:pt x="4995" y="672"/>
                </a:lnTo>
                <a:lnTo>
                  <a:pt x="4993" y="673"/>
                </a:lnTo>
                <a:lnTo>
                  <a:pt x="4995" y="673"/>
                </a:lnTo>
                <a:lnTo>
                  <a:pt x="4995" y="672"/>
                </a:lnTo>
                <a:close/>
                <a:moveTo>
                  <a:pt x="5045" y="1899"/>
                </a:moveTo>
                <a:lnTo>
                  <a:pt x="5045" y="1899"/>
                </a:lnTo>
                <a:lnTo>
                  <a:pt x="5044" y="1902"/>
                </a:lnTo>
                <a:lnTo>
                  <a:pt x="5044" y="1903"/>
                </a:lnTo>
                <a:lnTo>
                  <a:pt x="5044" y="1903"/>
                </a:lnTo>
                <a:lnTo>
                  <a:pt x="5045" y="1902"/>
                </a:lnTo>
                <a:lnTo>
                  <a:pt x="5045" y="1899"/>
                </a:lnTo>
                <a:close/>
                <a:moveTo>
                  <a:pt x="5043" y="2015"/>
                </a:moveTo>
                <a:lnTo>
                  <a:pt x="5043" y="2015"/>
                </a:lnTo>
                <a:lnTo>
                  <a:pt x="5043" y="2013"/>
                </a:lnTo>
                <a:lnTo>
                  <a:pt x="5041" y="2010"/>
                </a:lnTo>
                <a:lnTo>
                  <a:pt x="5041" y="2009"/>
                </a:lnTo>
                <a:lnTo>
                  <a:pt x="5037" y="2009"/>
                </a:lnTo>
                <a:lnTo>
                  <a:pt x="5040" y="2010"/>
                </a:lnTo>
                <a:lnTo>
                  <a:pt x="5037" y="2011"/>
                </a:lnTo>
                <a:lnTo>
                  <a:pt x="5043" y="2015"/>
                </a:lnTo>
                <a:close/>
                <a:moveTo>
                  <a:pt x="5036" y="1869"/>
                </a:moveTo>
                <a:lnTo>
                  <a:pt x="5034" y="1868"/>
                </a:lnTo>
                <a:lnTo>
                  <a:pt x="5032" y="1868"/>
                </a:lnTo>
                <a:lnTo>
                  <a:pt x="5033" y="1868"/>
                </a:lnTo>
                <a:lnTo>
                  <a:pt x="5033" y="1869"/>
                </a:lnTo>
                <a:lnTo>
                  <a:pt x="5036" y="1869"/>
                </a:lnTo>
                <a:close/>
                <a:moveTo>
                  <a:pt x="4878" y="865"/>
                </a:moveTo>
                <a:lnTo>
                  <a:pt x="4878" y="865"/>
                </a:lnTo>
                <a:lnTo>
                  <a:pt x="4879" y="865"/>
                </a:lnTo>
                <a:lnTo>
                  <a:pt x="4878" y="865"/>
                </a:lnTo>
                <a:close/>
                <a:moveTo>
                  <a:pt x="4835" y="1862"/>
                </a:moveTo>
                <a:lnTo>
                  <a:pt x="4838" y="1866"/>
                </a:lnTo>
                <a:lnTo>
                  <a:pt x="4841" y="1869"/>
                </a:lnTo>
                <a:lnTo>
                  <a:pt x="4844" y="1869"/>
                </a:lnTo>
                <a:lnTo>
                  <a:pt x="4840" y="1865"/>
                </a:lnTo>
                <a:lnTo>
                  <a:pt x="4835" y="1862"/>
                </a:lnTo>
                <a:close/>
                <a:moveTo>
                  <a:pt x="4837" y="917"/>
                </a:moveTo>
                <a:lnTo>
                  <a:pt x="4836" y="917"/>
                </a:lnTo>
                <a:lnTo>
                  <a:pt x="4837" y="918"/>
                </a:lnTo>
                <a:lnTo>
                  <a:pt x="4837" y="918"/>
                </a:lnTo>
                <a:lnTo>
                  <a:pt x="4837" y="917"/>
                </a:lnTo>
                <a:close/>
                <a:moveTo>
                  <a:pt x="4842" y="1753"/>
                </a:moveTo>
                <a:lnTo>
                  <a:pt x="4842" y="1754"/>
                </a:lnTo>
                <a:lnTo>
                  <a:pt x="4841" y="1755"/>
                </a:lnTo>
                <a:lnTo>
                  <a:pt x="4842" y="1755"/>
                </a:lnTo>
                <a:lnTo>
                  <a:pt x="4842" y="1753"/>
                </a:lnTo>
                <a:lnTo>
                  <a:pt x="4842" y="1753"/>
                </a:lnTo>
                <a:close/>
                <a:moveTo>
                  <a:pt x="4903" y="1822"/>
                </a:moveTo>
                <a:lnTo>
                  <a:pt x="4904" y="1821"/>
                </a:lnTo>
                <a:lnTo>
                  <a:pt x="4904" y="1821"/>
                </a:lnTo>
                <a:lnTo>
                  <a:pt x="4903" y="1822"/>
                </a:lnTo>
                <a:lnTo>
                  <a:pt x="4903" y="1822"/>
                </a:lnTo>
                <a:close/>
                <a:moveTo>
                  <a:pt x="4839" y="2106"/>
                </a:moveTo>
                <a:lnTo>
                  <a:pt x="4839" y="2106"/>
                </a:lnTo>
                <a:lnTo>
                  <a:pt x="4837" y="2108"/>
                </a:lnTo>
                <a:lnTo>
                  <a:pt x="4839" y="2113"/>
                </a:lnTo>
                <a:lnTo>
                  <a:pt x="4839" y="2113"/>
                </a:lnTo>
                <a:lnTo>
                  <a:pt x="4839" y="2106"/>
                </a:lnTo>
                <a:close/>
                <a:moveTo>
                  <a:pt x="4855" y="898"/>
                </a:moveTo>
                <a:lnTo>
                  <a:pt x="4855" y="896"/>
                </a:lnTo>
                <a:lnTo>
                  <a:pt x="4854" y="896"/>
                </a:lnTo>
                <a:lnTo>
                  <a:pt x="4855" y="898"/>
                </a:lnTo>
                <a:lnTo>
                  <a:pt x="4855" y="898"/>
                </a:lnTo>
                <a:close/>
                <a:moveTo>
                  <a:pt x="4847" y="1862"/>
                </a:moveTo>
                <a:lnTo>
                  <a:pt x="4849" y="1863"/>
                </a:lnTo>
                <a:lnTo>
                  <a:pt x="4853" y="1863"/>
                </a:lnTo>
                <a:lnTo>
                  <a:pt x="4851" y="1862"/>
                </a:lnTo>
                <a:lnTo>
                  <a:pt x="4847" y="1862"/>
                </a:lnTo>
                <a:close/>
                <a:moveTo>
                  <a:pt x="4849" y="902"/>
                </a:moveTo>
                <a:lnTo>
                  <a:pt x="4848" y="905"/>
                </a:lnTo>
                <a:lnTo>
                  <a:pt x="4851" y="902"/>
                </a:lnTo>
                <a:lnTo>
                  <a:pt x="4849" y="902"/>
                </a:lnTo>
                <a:close/>
                <a:moveTo>
                  <a:pt x="4587" y="1901"/>
                </a:moveTo>
                <a:lnTo>
                  <a:pt x="4589" y="1901"/>
                </a:lnTo>
                <a:lnTo>
                  <a:pt x="4590" y="1900"/>
                </a:lnTo>
                <a:lnTo>
                  <a:pt x="4591" y="1899"/>
                </a:lnTo>
                <a:lnTo>
                  <a:pt x="4589" y="1899"/>
                </a:lnTo>
                <a:lnTo>
                  <a:pt x="4587" y="1901"/>
                </a:lnTo>
                <a:close/>
                <a:moveTo>
                  <a:pt x="4630" y="2250"/>
                </a:moveTo>
                <a:lnTo>
                  <a:pt x="4638" y="2259"/>
                </a:lnTo>
                <a:lnTo>
                  <a:pt x="4638" y="2258"/>
                </a:lnTo>
                <a:lnTo>
                  <a:pt x="4638" y="2258"/>
                </a:lnTo>
                <a:lnTo>
                  <a:pt x="4639" y="2258"/>
                </a:lnTo>
                <a:lnTo>
                  <a:pt x="4634" y="2252"/>
                </a:lnTo>
                <a:lnTo>
                  <a:pt x="4630" y="2250"/>
                </a:lnTo>
                <a:close/>
                <a:moveTo>
                  <a:pt x="4512" y="1879"/>
                </a:moveTo>
                <a:lnTo>
                  <a:pt x="4512" y="1879"/>
                </a:lnTo>
                <a:lnTo>
                  <a:pt x="4512" y="1880"/>
                </a:lnTo>
                <a:lnTo>
                  <a:pt x="4512" y="1879"/>
                </a:lnTo>
                <a:lnTo>
                  <a:pt x="4512" y="1879"/>
                </a:lnTo>
                <a:close/>
                <a:moveTo>
                  <a:pt x="4639" y="2258"/>
                </a:moveTo>
                <a:lnTo>
                  <a:pt x="4639" y="2258"/>
                </a:lnTo>
                <a:lnTo>
                  <a:pt x="4639" y="2258"/>
                </a:lnTo>
                <a:lnTo>
                  <a:pt x="4639" y="2258"/>
                </a:lnTo>
                <a:close/>
                <a:moveTo>
                  <a:pt x="4538" y="1869"/>
                </a:moveTo>
                <a:lnTo>
                  <a:pt x="4538" y="1869"/>
                </a:lnTo>
                <a:lnTo>
                  <a:pt x="4538" y="1869"/>
                </a:lnTo>
                <a:lnTo>
                  <a:pt x="4538" y="1869"/>
                </a:lnTo>
                <a:lnTo>
                  <a:pt x="4538" y="1869"/>
                </a:lnTo>
                <a:close/>
                <a:moveTo>
                  <a:pt x="4839" y="2118"/>
                </a:moveTo>
                <a:lnTo>
                  <a:pt x="4839" y="2118"/>
                </a:lnTo>
                <a:lnTo>
                  <a:pt x="4840" y="2115"/>
                </a:lnTo>
                <a:lnTo>
                  <a:pt x="4841" y="2113"/>
                </a:lnTo>
                <a:lnTo>
                  <a:pt x="4839" y="2113"/>
                </a:lnTo>
                <a:lnTo>
                  <a:pt x="4839" y="2118"/>
                </a:lnTo>
                <a:close/>
                <a:moveTo>
                  <a:pt x="4722" y="2296"/>
                </a:moveTo>
                <a:lnTo>
                  <a:pt x="4718" y="2297"/>
                </a:lnTo>
                <a:lnTo>
                  <a:pt x="4716" y="2298"/>
                </a:lnTo>
                <a:lnTo>
                  <a:pt x="4717" y="2298"/>
                </a:lnTo>
                <a:lnTo>
                  <a:pt x="4718" y="2298"/>
                </a:lnTo>
                <a:lnTo>
                  <a:pt x="4718" y="2298"/>
                </a:lnTo>
                <a:lnTo>
                  <a:pt x="4722" y="2298"/>
                </a:lnTo>
                <a:lnTo>
                  <a:pt x="4721" y="2298"/>
                </a:lnTo>
                <a:lnTo>
                  <a:pt x="4722" y="2296"/>
                </a:lnTo>
                <a:close/>
                <a:moveTo>
                  <a:pt x="4857" y="1773"/>
                </a:moveTo>
                <a:lnTo>
                  <a:pt x="4858" y="1772"/>
                </a:lnTo>
                <a:lnTo>
                  <a:pt x="4857" y="1770"/>
                </a:lnTo>
                <a:lnTo>
                  <a:pt x="4856" y="1769"/>
                </a:lnTo>
                <a:lnTo>
                  <a:pt x="4854" y="1770"/>
                </a:lnTo>
                <a:lnTo>
                  <a:pt x="4856" y="1775"/>
                </a:lnTo>
                <a:lnTo>
                  <a:pt x="4857" y="1773"/>
                </a:lnTo>
                <a:close/>
                <a:moveTo>
                  <a:pt x="4834" y="2114"/>
                </a:moveTo>
                <a:lnTo>
                  <a:pt x="4839" y="2128"/>
                </a:lnTo>
                <a:lnTo>
                  <a:pt x="4839" y="2136"/>
                </a:lnTo>
                <a:lnTo>
                  <a:pt x="4838" y="2140"/>
                </a:lnTo>
                <a:lnTo>
                  <a:pt x="4837" y="2143"/>
                </a:lnTo>
                <a:lnTo>
                  <a:pt x="4836" y="2149"/>
                </a:lnTo>
                <a:lnTo>
                  <a:pt x="4835" y="2154"/>
                </a:lnTo>
                <a:lnTo>
                  <a:pt x="4834" y="2159"/>
                </a:lnTo>
                <a:lnTo>
                  <a:pt x="4832" y="2163"/>
                </a:lnTo>
                <a:lnTo>
                  <a:pt x="4834" y="2170"/>
                </a:lnTo>
                <a:lnTo>
                  <a:pt x="4830" y="2181"/>
                </a:lnTo>
                <a:lnTo>
                  <a:pt x="4827" y="2186"/>
                </a:lnTo>
                <a:lnTo>
                  <a:pt x="4823" y="2190"/>
                </a:lnTo>
                <a:lnTo>
                  <a:pt x="4823" y="2195"/>
                </a:lnTo>
                <a:lnTo>
                  <a:pt x="4819" y="2201"/>
                </a:lnTo>
                <a:lnTo>
                  <a:pt x="4819" y="2201"/>
                </a:lnTo>
                <a:lnTo>
                  <a:pt x="4815" y="2204"/>
                </a:lnTo>
                <a:lnTo>
                  <a:pt x="4812" y="2210"/>
                </a:lnTo>
                <a:lnTo>
                  <a:pt x="4807" y="2210"/>
                </a:lnTo>
                <a:lnTo>
                  <a:pt x="4807" y="2211"/>
                </a:lnTo>
                <a:lnTo>
                  <a:pt x="4808" y="2213"/>
                </a:lnTo>
                <a:lnTo>
                  <a:pt x="4809" y="2216"/>
                </a:lnTo>
                <a:lnTo>
                  <a:pt x="4808" y="2222"/>
                </a:lnTo>
                <a:lnTo>
                  <a:pt x="4806" y="2222"/>
                </a:lnTo>
                <a:lnTo>
                  <a:pt x="4808" y="2224"/>
                </a:lnTo>
                <a:lnTo>
                  <a:pt x="4805" y="2225"/>
                </a:lnTo>
                <a:lnTo>
                  <a:pt x="4802" y="2226"/>
                </a:lnTo>
                <a:lnTo>
                  <a:pt x="4802" y="2231"/>
                </a:lnTo>
                <a:lnTo>
                  <a:pt x="4801" y="2236"/>
                </a:lnTo>
                <a:lnTo>
                  <a:pt x="4799" y="2237"/>
                </a:lnTo>
                <a:lnTo>
                  <a:pt x="4801" y="2242"/>
                </a:lnTo>
                <a:lnTo>
                  <a:pt x="4799" y="2242"/>
                </a:lnTo>
                <a:lnTo>
                  <a:pt x="4799" y="2240"/>
                </a:lnTo>
                <a:lnTo>
                  <a:pt x="4798" y="2241"/>
                </a:lnTo>
                <a:lnTo>
                  <a:pt x="4797" y="2242"/>
                </a:lnTo>
                <a:lnTo>
                  <a:pt x="4794" y="2248"/>
                </a:lnTo>
                <a:lnTo>
                  <a:pt x="4791" y="2254"/>
                </a:lnTo>
                <a:lnTo>
                  <a:pt x="4791" y="2260"/>
                </a:lnTo>
                <a:lnTo>
                  <a:pt x="4787" y="2270"/>
                </a:lnTo>
                <a:lnTo>
                  <a:pt x="4789" y="2275"/>
                </a:lnTo>
                <a:lnTo>
                  <a:pt x="4787" y="2277"/>
                </a:lnTo>
                <a:lnTo>
                  <a:pt x="4787" y="2280"/>
                </a:lnTo>
                <a:lnTo>
                  <a:pt x="4782" y="2285"/>
                </a:lnTo>
                <a:lnTo>
                  <a:pt x="4764" y="2286"/>
                </a:lnTo>
                <a:lnTo>
                  <a:pt x="4760" y="2287"/>
                </a:lnTo>
                <a:lnTo>
                  <a:pt x="4756" y="2288"/>
                </a:lnTo>
                <a:lnTo>
                  <a:pt x="4750" y="2294"/>
                </a:lnTo>
                <a:lnTo>
                  <a:pt x="4743" y="2299"/>
                </a:lnTo>
                <a:lnTo>
                  <a:pt x="4734" y="2300"/>
                </a:lnTo>
                <a:lnTo>
                  <a:pt x="4735" y="2302"/>
                </a:lnTo>
                <a:lnTo>
                  <a:pt x="4735" y="2304"/>
                </a:lnTo>
                <a:lnTo>
                  <a:pt x="4739" y="2303"/>
                </a:lnTo>
                <a:lnTo>
                  <a:pt x="4739" y="2308"/>
                </a:lnTo>
                <a:lnTo>
                  <a:pt x="4737" y="2309"/>
                </a:lnTo>
                <a:lnTo>
                  <a:pt x="4735" y="2306"/>
                </a:lnTo>
                <a:lnTo>
                  <a:pt x="4734" y="2303"/>
                </a:lnTo>
                <a:lnTo>
                  <a:pt x="4726" y="2304"/>
                </a:lnTo>
                <a:lnTo>
                  <a:pt x="4726" y="2299"/>
                </a:lnTo>
                <a:lnTo>
                  <a:pt x="4725" y="2300"/>
                </a:lnTo>
                <a:lnTo>
                  <a:pt x="4724" y="2299"/>
                </a:lnTo>
                <a:lnTo>
                  <a:pt x="4722" y="2298"/>
                </a:lnTo>
                <a:lnTo>
                  <a:pt x="4723" y="2298"/>
                </a:lnTo>
                <a:lnTo>
                  <a:pt x="4722" y="2294"/>
                </a:lnTo>
                <a:lnTo>
                  <a:pt x="4720" y="2294"/>
                </a:lnTo>
                <a:lnTo>
                  <a:pt x="4716" y="2298"/>
                </a:lnTo>
                <a:lnTo>
                  <a:pt x="4715" y="2298"/>
                </a:lnTo>
                <a:lnTo>
                  <a:pt x="4717" y="2294"/>
                </a:lnTo>
                <a:lnTo>
                  <a:pt x="4715" y="2287"/>
                </a:lnTo>
                <a:lnTo>
                  <a:pt x="4706" y="2294"/>
                </a:lnTo>
                <a:lnTo>
                  <a:pt x="4710" y="2294"/>
                </a:lnTo>
                <a:lnTo>
                  <a:pt x="4710" y="2298"/>
                </a:lnTo>
                <a:lnTo>
                  <a:pt x="4706" y="2298"/>
                </a:lnTo>
                <a:lnTo>
                  <a:pt x="4694" y="2305"/>
                </a:lnTo>
                <a:lnTo>
                  <a:pt x="4678" y="2296"/>
                </a:lnTo>
                <a:lnTo>
                  <a:pt x="4676" y="2296"/>
                </a:lnTo>
                <a:lnTo>
                  <a:pt x="4674" y="2297"/>
                </a:lnTo>
                <a:lnTo>
                  <a:pt x="4671" y="2293"/>
                </a:lnTo>
                <a:lnTo>
                  <a:pt x="4669" y="2295"/>
                </a:lnTo>
                <a:lnTo>
                  <a:pt x="4667" y="2297"/>
                </a:lnTo>
                <a:lnTo>
                  <a:pt x="4660" y="2292"/>
                </a:lnTo>
                <a:lnTo>
                  <a:pt x="4652" y="2289"/>
                </a:lnTo>
                <a:lnTo>
                  <a:pt x="4638" y="2275"/>
                </a:lnTo>
                <a:lnTo>
                  <a:pt x="4638" y="2270"/>
                </a:lnTo>
                <a:lnTo>
                  <a:pt x="4638" y="2269"/>
                </a:lnTo>
                <a:lnTo>
                  <a:pt x="4638" y="2263"/>
                </a:lnTo>
                <a:lnTo>
                  <a:pt x="4639" y="2258"/>
                </a:lnTo>
                <a:lnTo>
                  <a:pt x="4639" y="2259"/>
                </a:lnTo>
                <a:lnTo>
                  <a:pt x="4639" y="2257"/>
                </a:lnTo>
                <a:lnTo>
                  <a:pt x="4638" y="2255"/>
                </a:lnTo>
                <a:lnTo>
                  <a:pt x="4634" y="2252"/>
                </a:lnTo>
                <a:lnTo>
                  <a:pt x="4630" y="2249"/>
                </a:lnTo>
                <a:lnTo>
                  <a:pt x="4630" y="2247"/>
                </a:lnTo>
                <a:lnTo>
                  <a:pt x="4628" y="2249"/>
                </a:lnTo>
                <a:lnTo>
                  <a:pt x="4630" y="2250"/>
                </a:lnTo>
                <a:lnTo>
                  <a:pt x="4630" y="2250"/>
                </a:lnTo>
                <a:lnTo>
                  <a:pt x="4630" y="2250"/>
                </a:lnTo>
                <a:lnTo>
                  <a:pt x="4630" y="2250"/>
                </a:lnTo>
                <a:lnTo>
                  <a:pt x="4626" y="2250"/>
                </a:lnTo>
                <a:lnTo>
                  <a:pt x="4622" y="2250"/>
                </a:lnTo>
                <a:lnTo>
                  <a:pt x="4615" y="2250"/>
                </a:lnTo>
                <a:lnTo>
                  <a:pt x="4619" y="2247"/>
                </a:lnTo>
                <a:lnTo>
                  <a:pt x="4622" y="2243"/>
                </a:lnTo>
                <a:lnTo>
                  <a:pt x="4622" y="2239"/>
                </a:lnTo>
                <a:lnTo>
                  <a:pt x="4622" y="2232"/>
                </a:lnTo>
                <a:lnTo>
                  <a:pt x="4619" y="2228"/>
                </a:lnTo>
                <a:lnTo>
                  <a:pt x="4615" y="2223"/>
                </a:lnTo>
                <a:lnTo>
                  <a:pt x="4615" y="2226"/>
                </a:lnTo>
                <a:lnTo>
                  <a:pt x="4614" y="2229"/>
                </a:lnTo>
                <a:lnTo>
                  <a:pt x="4612" y="2240"/>
                </a:lnTo>
                <a:lnTo>
                  <a:pt x="4608" y="2239"/>
                </a:lnTo>
                <a:lnTo>
                  <a:pt x="4598" y="2242"/>
                </a:lnTo>
                <a:lnTo>
                  <a:pt x="4601" y="2236"/>
                </a:lnTo>
                <a:lnTo>
                  <a:pt x="4603" y="2237"/>
                </a:lnTo>
                <a:lnTo>
                  <a:pt x="4605" y="2238"/>
                </a:lnTo>
                <a:lnTo>
                  <a:pt x="4606" y="2235"/>
                </a:lnTo>
                <a:lnTo>
                  <a:pt x="4606" y="2232"/>
                </a:lnTo>
                <a:lnTo>
                  <a:pt x="4606" y="2224"/>
                </a:lnTo>
                <a:lnTo>
                  <a:pt x="4607" y="2222"/>
                </a:lnTo>
                <a:lnTo>
                  <a:pt x="4609" y="2220"/>
                </a:lnTo>
                <a:lnTo>
                  <a:pt x="4612" y="2217"/>
                </a:lnTo>
                <a:lnTo>
                  <a:pt x="4614" y="2215"/>
                </a:lnTo>
                <a:lnTo>
                  <a:pt x="4613" y="2209"/>
                </a:lnTo>
                <a:lnTo>
                  <a:pt x="4614" y="2207"/>
                </a:lnTo>
                <a:lnTo>
                  <a:pt x="4615" y="2205"/>
                </a:lnTo>
                <a:lnTo>
                  <a:pt x="4614" y="2201"/>
                </a:lnTo>
                <a:lnTo>
                  <a:pt x="4612" y="2197"/>
                </a:lnTo>
                <a:lnTo>
                  <a:pt x="4613" y="2205"/>
                </a:lnTo>
                <a:lnTo>
                  <a:pt x="4608" y="2206"/>
                </a:lnTo>
                <a:lnTo>
                  <a:pt x="4603" y="2218"/>
                </a:lnTo>
                <a:lnTo>
                  <a:pt x="4600" y="2218"/>
                </a:lnTo>
                <a:lnTo>
                  <a:pt x="4598" y="2219"/>
                </a:lnTo>
                <a:lnTo>
                  <a:pt x="4595" y="2219"/>
                </a:lnTo>
                <a:lnTo>
                  <a:pt x="4593" y="2221"/>
                </a:lnTo>
                <a:lnTo>
                  <a:pt x="4586" y="2232"/>
                </a:lnTo>
                <a:lnTo>
                  <a:pt x="4585" y="2234"/>
                </a:lnTo>
                <a:lnTo>
                  <a:pt x="4584" y="2237"/>
                </a:lnTo>
                <a:lnTo>
                  <a:pt x="4584" y="2237"/>
                </a:lnTo>
                <a:lnTo>
                  <a:pt x="4582" y="2236"/>
                </a:lnTo>
                <a:lnTo>
                  <a:pt x="4582" y="2237"/>
                </a:lnTo>
                <a:lnTo>
                  <a:pt x="4582" y="2238"/>
                </a:lnTo>
                <a:lnTo>
                  <a:pt x="4582" y="2238"/>
                </a:lnTo>
                <a:lnTo>
                  <a:pt x="4582" y="2238"/>
                </a:lnTo>
                <a:lnTo>
                  <a:pt x="4579" y="2236"/>
                </a:lnTo>
                <a:lnTo>
                  <a:pt x="4575" y="2234"/>
                </a:lnTo>
                <a:lnTo>
                  <a:pt x="4573" y="2234"/>
                </a:lnTo>
                <a:lnTo>
                  <a:pt x="4574" y="2228"/>
                </a:lnTo>
                <a:lnTo>
                  <a:pt x="4574" y="2227"/>
                </a:lnTo>
                <a:lnTo>
                  <a:pt x="4576" y="2230"/>
                </a:lnTo>
                <a:lnTo>
                  <a:pt x="4578" y="2232"/>
                </a:lnTo>
                <a:lnTo>
                  <a:pt x="4577" y="2227"/>
                </a:lnTo>
                <a:lnTo>
                  <a:pt x="4575" y="2221"/>
                </a:lnTo>
                <a:lnTo>
                  <a:pt x="4570" y="2215"/>
                </a:lnTo>
                <a:lnTo>
                  <a:pt x="4570" y="2213"/>
                </a:lnTo>
                <a:lnTo>
                  <a:pt x="4567" y="2208"/>
                </a:lnTo>
                <a:lnTo>
                  <a:pt x="4561" y="2206"/>
                </a:lnTo>
                <a:lnTo>
                  <a:pt x="4559" y="2202"/>
                </a:lnTo>
                <a:lnTo>
                  <a:pt x="4558" y="2202"/>
                </a:lnTo>
                <a:lnTo>
                  <a:pt x="4558" y="2201"/>
                </a:lnTo>
                <a:lnTo>
                  <a:pt x="4559" y="2201"/>
                </a:lnTo>
                <a:lnTo>
                  <a:pt x="4560" y="2202"/>
                </a:lnTo>
                <a:lnTo>
                  <a:pt x="4561" y="2201"/>
                </a:lnTo>
                <a:lnTo>
                  <a:pt x="4561" y="2201"/>
                </a:lnTo>
                <a:lnTo>
                  <a:pt x="4561" y="2199"/>
                </a:lnTo>
                <a:lnTo>
                  <a:pt x="4560" y="2198"/>
                </a:lnTo>
                <a:lnTo>
                  <a:pt x="4555" y="2198"/>
                </a:lnTo>
                <a:lnTo>
                  <a:pt x="4556" y="2197"/>
                </a:lnTo>
                <a:lnTo>
                  <a:pt x="4556" y="2195"/>
                </a:lnTo>
                <a:lnTo>
                  <a:pt x="4555" y="2193"/>
                </a:lnTo>
                <a:lnTo>
                  <a:pt x="4553" y="2191"/>
                </a:lnTo>
                <a:lnTo>
                  <a:pt x="4549" y="2194"/>
                </a:lnTo>
                <a:lnTo>
                  <a:pt x="4545" y="2194"/>
                </a:lnTo>
                <a:lnTo>
                  <a:pt x="4542" y="2190"/>
                </a:lnTo>
                <a:lnTo>
                  <a:pt x="4539" y="2186"/>
                </a:lnTo>
                <a:lnTo>
                  <a:pt x="4532" y="2188"/>
                </a:lnTo>
                <a:lnTo>
                  <a:pt x="4529" y="2185"/>
                </a:lnTo>
                <a:lnTo>
                  <a:pt x="4526" y="2183"/>
                </a:lnTo>
                <a:lnTo>
                  <a:pt x="4521" y="2181"/>
                </a:lnTo>
                <a:lnTo>
                  <a:pt x="4515" y="2179"/>
                </a:lnTo>
                <a:lnTo>
                  <a:pt x="4512" y="2182"/>
                </a:lnTo>
                <a:lnTo>
                  <a:pt x="4501" y="2182"/>
                </a:lnTo>
                <a:lnTo>
                  <a:pt x="4494" y="2182"/>
                </a:lnTo>
                <a:lnTo>
                  <a:pt x="4486" y="2182"/>
                </a:lnTo>
                <a:lnTo>
                  <a:pt x="4471" y="2190"/>
                </a:lnTo>
                <a:lnTo>
                  <a:pt x="4459" y="2193"/>
                </a:lnTo>
                <a:lnTo>
                  <a:pt x="4440" y="2192"/>
                </a:lnTo>
                <a:lnTo>
                  <a:pt x="4432" y="2198"/>
                </a:lnTo>
                <a:lnTo>
                  <a:pt x="4423" y="2203"/>
                </a:lnTo>
                <a:lnTo>
                  <a:pt x="4416" y="2204"/>
                </a:lnTo>
                <a:lnTo>
                  <a:pt x="4414" y="2205"/>
                </a:lnTo>
                <a:lnTo>
                  <a:pt x="4412" y="2215"/>
                </a:lnTo>
                <a:lnTo>
                  <a:pt x="4410" y="2216"/>
                </a:lnTo>
                <a:lnTo>
                  <a:pt x="4408" y="2218"/>
                </a:lnTo>
                <a:lnTo>
                  <a:pt x="4404" y="2220"/>
                </a:lnTo>
                <a:lnTo>
                  <a:pt x="4400" y="2222"/>
                </a:lnTo>
                <a:lnTo>
                  <a:pt x="4397" y="2222"/>
                </a:lnTo>
                <a:lnTo>
                  <a:pt x="4388" y="2222"/>
                </a:lnTo>
                <a:lnTo>
                  <a:pt x="4386" y="2221"/>
                </a:lnTo>
                <a:lnTo>
                  <a:pt x="4385" y="2221"/>
                </a:lnTo>
                <a:lnTo>
                  <a:pt x="4383" y="2218"/>
                </a:lnTo>
                <a:lnTo>
                  <a:pt x="4380" y="2220"/>
                </a:lnTo>
                <a:lnTo>
                  <a:pt x="4377" y="2219"/>
                </a:lnTo>
                <a:lnTo>
                  <a:pt x="4375" y="2218"/>
                </a:lnTo>
                <a:lnTo>
                  <a:pt x="4371" y="2219"/>
                </a:lnTo>
                <a:lnTo>
                  <a:pt x="4367" y="2220"/>
                </a:lnTo>
                <a:lnTo>
                  <a:pt x="4364" y="2220"/>
                </a:lnTo>
                <a:lnTo>
                  <a:pt x="4360" y="2221"/>
                </a:lnTo>
                <a:lnTo>
                  <a:pt x="4357" y="2220"/>
                </a:lnTo>
                <a:lnTo>
                  <a:pt x="4355" y="2220"/>
                </a:lnTo>
                <a:lnTo>
                  <a:pt x="4348" y="2224"/>
                </a:lnTo>
                <a:lnTo>
                  <a:pt x="4345" y="2230"/>
                </a:lnTo>
                <a:lnTo>
                  <a:pt x="4344" y="2230"/>
                </a:lnTo>
                <a:lnTo>
                  <a:pt x="4338" y="2230"/>
                </a:lnTo>
                <a:lnTo>
                  <a:pt x="4330" y="2237"/>
                </a:lnTo>
                <a:lnTo>
                  <a:pt x="4327" y="2239"/>
                </a:lnTo>
                <a:lnTo>
                  <a:pt x="4325" y="2240"/>
                </a:lnTo>
                <a:lnTo>
                  <a:pt x="4322" y="2239"/>
                </a:lnTo>
                <a:lnTo>
                  <a:pt x="4321" y="2240"/>
                </a:lnTo>
                <a:lnTo>
                  <a:pt x="4319" y="2240"/>
                </a:lnTo>
                <a:lnTo>
                  <a:pt x="4317" y="2238"/>
                </a:lnTo>
                <a:lnTo>
                  <a:pt x="4305" y="2239"/>
                </a:lnTo>
                <a:lnTo>
                  <a:pt x="4301" y="2237"/>
                </a:lnTo>
                <a:lnTo>
                  <a:pt x="4297" y="2235"/>
                </a:lnTo>
                <a:lnTo>
                  <a:pt x="4292" y="2229"/>
                </a:lnTo>
                <a:lnTo>
                  <a:pt x="4289" y="2228"/>
                </a:lnTo>
                <a:lnTo>
                  <a:pt x="4286" y="2226"/>
                </a:lnTo>
                <a:lnTo>
                  <a:pt x="4286" y="2227"/>
                </a:lnTo>
                <a:lnTo>
                  <a:pt x="4285" y="2227"/>
                </a:lnTo>
                <a:lnTo>
                  <a:pt x="4283" y="2226"/>
                </a:lnTo>
                <a:lnTo>
                  <a:pt x="4282" y="2220"/>
                </a:lnTo>
                <a:lnTo>
                  <a:pt x="4281" y="2213"/>
                </a:lnTo>
                <a:lnTo>
                  <a:pt x="4283" y="2215"/>
                </a:lnTo>
                <a:lnTo>
                  <a:pt x="4285" y="2218"/>
                </a:lnTo>
                <a:lnTo>
                  <a:pt x="4288" y="2218"/>
                </a:lnTo>
                <a:lnTo>
                  <a:pt x="4293" y="2211"/>
                </a:lnTo>
                <a:lnTo>
                  <a:pt x="4292" y="2201"/>
                </a:lnTo>
                <a:lnTo>
                  <a:pt x="4292" y="2199"/>
                </a:lnTo>
                <a:lnTo>
                  <a:pt x="4291" y="2199"/>
                </a:lnTo>
                <a:lnTo>
                  <a:pt x="4290" y="2200"/>
                </a:lnTo>
                <a:lnTo>
                  <a:pt x="4289" y="2201"/>
                </a:lnTo>
                <a:lnTo>
                  <a:pt x="4289" y="2198"/>
                </a:lnTo>
                <a:lnTo>
                  <a:pt x="4289" y="2197"/>
                </a:lnTo>
                <a:lnTo>
                  <a:pt x="4289" y="2185"/>
                </a:lnTo>
                <a:lnTo>
                  <a:pt x="4281" y="2163"/>
                </a:lnTo>
                <a:lnTo>
                  <a:pt x="4282" y="2160"/>
                </a:lnTo>
                <a:lnTo>
                  <a:pt x="4281" y="2156"/>
                </a:lnTo>
                <a:lnTo>
                  <a:pt x="4281" y="2147"/>
                </a:lnTo>
                <a:lnTo>
                  <a:pt x="4281" y="2145"/>
                </a:lnTo>
                <a:lnTo>
                  <a:pt x="4280" y="2142"/>
                </a:lnTo>
                <a:lnTo>
                  <a:pt x="4279" y="2139"/>
                </a:lnTo>
                <a:lnTo>
                  <a:pt x="4277" y="2136"/>
                </a:lnTo>
                <a:lnTo>
                  <a:pt x="4274" y="2131"/>
                </a:lnTo>
                <a:lnTo>
                  <a:pt x="4272" y="2128"/>
                </a:lnTo>
                <a:lnTo>
                  <a:pt x="4269" y="2124"/>
                </a:lnTo>
                <a:lnTo>
                  <a:pt x="4269" y="2117"/>
                </a:lnTo>
                <a:lnTo>
                  <a:pt x="4266" y="2109"/>
                </a:lnTo>
                <a:lnTo>
                  <a:pt x="4262" y="2102"/>
                </a:lnTo>
                <a:lnTo>
                  <a:pt x="4257" y="2095"/>
                </a:lnTo>
                <a:lnTo>
                  <a:pt x="4258" y="2094"/>
                </a:lnTo>
                <a:lnTo>
                  <a:pt x="4259" y="2094"/>
                </a:lnTo>
                <a:lnTo>
                  <a:pt x="4260" y="2094"/>
                </a:lnTo>
                <a:lnTo>
                  <a:pt x="4260" y="2095"/>
                </a:lnTo>
                <a:lnTo>
                  <a:pt x="4263" y="2102"/>
                </a:lnTo>
                <a:lnTo>
                  <a:pt x="4265" y="2098"/>
                </a:lnTo>
                <a:lnTo>
                  <a:pt x="4265" y="2095"/>
                </a:lnTo>
                <a:lnTo>
                  <a:pt x="4264" y="2094"/>
                </a:lnTo>
                <a:lnTo>
                  <a:pt x="4264" y="2094"/>
                </a:lnTo>
                <a:lnTo>
                  <a:pt x="4264" y="2094"/>
                </a:lnTo>
                <a:lnTo>
                  <a:pt x="4264" y="2094"/>
                </a:lnTo>
                <a:lnTo>
                  <a:pt x="4264" y="2093"/>
                </a:lnTo>
                <a:lnTo>
                  <a:pt x="4266" y="2090"/>
                </a:lnTo>
                <a:lnTo>
                  <a:pt x="4266" y="2090"/>
                </a:lnTo>
                <a:lnTo>
                  <a:pt x="4266" y="2090"/>
                </a:lnTo>
                <a:lnTo>
                  <a:pt x="4269" y="2097"/>
                </a:lnTo>
                <a:lnTo>
                  <a:pt x="4269" y="2096"/>
                </a:lnTo>
                <a:lnTo>
                  <a:pt x="4269" y="2095"/>
                </a:lnTo>
                <a:lnTo>
                  <a:pt x="4269" y="2094"/>
                </a:lnTo>
                <a:lnTo>
                  <a:pt x="4271" y="2089"/>
                </a:lnTo>
                <a:lnTo>
                  <a:pt x="4264" y="2078"/>
                </a:lnTo>
                <a:lnTo>
                  <a:pt x="4264" y="2074"/>
                </a:lnTo>
                <a:lnTo>
                  <a:pt x="4263" y="2070"/>
                </a:lnTo>
                <a:lnTo>
                  <a:pt x="4261" y="2067"/>
                </a:lnTo>
                <a:lnTo>
                  <a:pt x="4259" y="2065"/>
                </a:lnTo>
                <a:lnTo>
                  <a:pt x="4260" y="2060"/>
                </a:lnTo>
                <a:lnTo>
                  <a:pt x="4260" y="2055"/>
                </a:lnTo>
                <a:lnTo>
                  <a:pt x="4262" y="2053"/>
                </a:lnTo>
                <a:lnTo>
                  <a:pt x="4264" y="2050"/>
                </a:lnTo>
                <a:lnTo>
                  <a:pt x="4265" y="2046"/>
                </a:lnTo>
                <a:lnTo>
                  <a:pt x="4266" y="2042"/>
                </a:lnTo>
                <a:lnTo>
                  <a:pt x="4263" y="2036"/>
                </a:lnTo>
                <a:lnTo>
                  <a:pt x="4265" y="2032"/>
                </a:lnTo>
                <a:lnTo>
                  <a:pt x="4267" y="2027"/>
                </a:lnTo>
                <a:lnTo>
                  <a:pt x="4271" y="2023"/>
                </a:lnTo>
                <a:lnTo>
                  <a:pt x="4270" y="2026"/>
                </a:lnTo>
                <a:lnTo>
                  <a:pt x="4270" y="2028"/>
                </a:lnTo>
                <a:lnTo>
                  <a:pt x="4270" y="2032"/>
                </a:lnTo>
                <a:lnTo>
                  <a:pt x="4271" y="2035"/>
                </a:lnTo>
                <a:lnTo>
                  <a:pt x="4274" y="2033"/>
                </a:lnTo>
                <a:lnTo>
                  <a:pt x="4276" y="2028"/>
                </a:lnTo>
                <a:lnTo>
                  <a:pt x="4278" y="2023"/>
                </a:lnTo>
                <a:lnTo>
                  <a:pt x="4284" y="2021"/>
                </a:lnTo>
                <a:lnTo>
                  <a:pt x="4290" y="2019"/>
                </a:lnTo>
                <a:lnTo>
                  <a:pt x="4297" y="2012"/>
                </a:lnTo>
                <a:lnTo>
                  <a:pt x="4302" y="2009"/>
                </a:lnTo>
                <a:lnTo>
                  <a:pt x="4307" y="2005"/>
                </a:lnTo>
                <a:lnTo>
                  <a:pt x="4308" y="2006"/>
                </a:lnTo>
                <a:lnTo>
                  <a:pt x="4309" y="2007"/>
                </a:lnTo>
                <a:lnTo>
                  <a:pt x="4310" y="2006"/>
                </a:lnTo>
                <a:lnTo>
                  <a:pt x="4312" y="2005"/>
                </a:lnTo>
                <a:lnTo>
                  <a:pt x="4317" y="2007"/>
                </a:lnTo>
                <a:lnTo>
                  <a:pt x="4319" y="2006"/>
                </a:lnTo>
                <a:lnTo>
                  <a:pt x="4322" y="2006"/>
                </a:lnTo>
                <a:lnTo>
                  <a:pt x="4327" y="2001"/>
                </a:lnTo>
                <a:lnTo>
                  <a:pt x="4337" y="2001"/>
                </a:lnTo>
                <a:lnTo>
                  <a:pt x="4339" y="1998"/>
                </a:lnTo>
                <a:lnTo>
                  <a:pt x="4341" y="1995"/>
                </a:lnTo>
                <a:lnTo>
                  <a:pt x="4348" y="1998"/>
                </a:lnTo>
                <a:lnTo>
                  <a:pt x="4359" y="1994"/>
                </a:lnTo>
                <a:lnTo>
                  <a:pt x="4365" y="1992"/>
                </a:lnTo>
                <a:lnTo>
                  <a:pt x="4370" y="1989"/>
                </a:lnTo>
                <a:lnTo>
                  <a:pt x="4375" y="1983"/>
                </a:lnTo>
                <a:lnTo>
                  <a:pt x="4377" y="1978"/>
                </a:lnTo>
                <a:lnTo>
                  <a:pt x="4380" y="1973"/>
                </a:lnTo>
                <a:lnTo>
                  <a:pt x="4383" y="1973"/>
                </a:lnTo>
                <a:lnTo>
                  <a:pt x="4384" y="1970"/>
                </a:lnTo>
                <a:lnTo>
                  <a:pt x="4385" y="1966"/>
                </a:lnTo>
                <a:lnTo>
                  <a:pt x="4385" y="1964"/>
                </a:lnTo>
                <a:lnTo>
                  <a:pt x="4385" y="1963"/>
                </a:lnTo>
                <a:lnTo>
                  <a:pt x="4385" y="1953"/>
                </a:lnTo>
                <a:lnTo>
                  <a:pt x="4387" y="1951"/>
                </a:lnTo>
                <a:lnTo>
                  <a:pt x="4388" y="1949"/>
                </a:lnTo>
                <a:lnTo>
                  <a:pt x="4389" y="1948"/>
                </a:lnTo>
                <a:lnTo>
                  <a:pt x="4389" y="1947"/>
                </a:lnTo>
                <a:lnTo>
                  <a:pt x="4391" y="1946"/>
                </a:lnTo>
                <a:lnTo>
                  <a:pt x="4393" y="1945"/>
                </a:lnTo>
                <a:lnTo>
                  <a:pt x="4393" y="1944"/>
                </a:lnTo>
                <a:lnTo>
                  <a:pt x="4395" y="1942"/>
                </a:lnTo>
                <a:lnTo>
                  <a:pt x="4396" y="1941"/>
                </a:lnTo>
                <a:lnTo>
                  <a:pt x="4399" y="1941"/>
                </a:lnTo>
                <a:lnTo>
                  <a:pt x="4398" y="1942"/>
                </a:lnTo>
                <a:lnTo>
                  <a:pt x="4397" y="1944"/>
                </a:lnTo>
                <a:lnTo>
                  <a:pt x="4404" y="1959"/>
                </a:lnTo>
                <a:lnTo>
                  <a:pt x="4405" y="1949"/>
                </a:lnTo>
                <a:lnTo>
                  <a:pt x="4405" y="1949"/>
                </a:lnTo>
                <a:lnTo>
                  <a:pt x="4405" y="1949"/>
                </a:lnTo>
                <a:lnTo>
                  <a:pt x="4411" y="1953"/>
                </a:lnTo>
                <a:lnTo>
                  <a:pt x="4410" y="1951"/>
                </a:lnTo>
                <a:lnTo>
                  <a:pt x="4408" y="1950"/>
                </a:lnTo>
                <a:lnTo>
                  <a:pt x="4411" y="1949"/>
                </a:lnTo>
                <a:lnTo>
                  <a:pt x="4408" y="1949"/>
                </a:lnTo>
                <a:lnTo>
                  <a:pt x="4407" y="1946"/>
                </a:lnTo>
                <a:lnTo>
                  <a:pt x="4407" y="1944"/>
                </a:lnTo>
                <a:lnTo>
                  <a:pt x="4406" y="1942"/>
                </a:lnTo>
                <a:lnTo>
                  <a:pt x="4404" y="1941"/>
                </a:lnTo>
                <a:lnTo>
                  <a:pt x="4407" y="1941"/>
                </a:lnTo>
                <a:lnTo>
                  <a:pt x="4406" y="1940"/>
                </a:lnTo>
                <a:lnTo>
                  <a:pt x="4405" y="1940"/>
                </a:lnTo>
                <a:lnTo>
                  <a:pt x="4405" y="1938"/>
                </a:lnTo>
                <a:lnTo>
                  <a:pt x="4406" y="1938"/>
                </a:lnTo>
                <a:lnTo>
                  <a:pt x="4408" y="1938"/>
                </a:lnTo>
                <a:lnTo>
                  <a:pt x="4411" y="1941"/>
                </a:lnTo>
                <a:lnTo>
                  <a:pt x="4411" y="1940"/>
                </a:lnTo>
                <a:lnTo>
                  <a:pt x="4412" y="1941"/>
                </a:lnTo>
                <a:lnTo>
                  <a:pt x="4415" y="1941"/>
                </a:lnTo>
                <a:lnTo>
                  <a:pt x="4418" y="1941"/>
                </a:lnTo>
                <a:lnTo>
                  <a:pt x="4425" y="1941"/>
                </a:lnTo>
                <a:lnTo>
                  <a:pt x="4417" y="1938"/>
                </a:lnTo>
                <a:lnTo>
                  <a:pt x="4417" y="1933"/>
                </a:lnTo>
                <a:lnTo>
                  <a:pt x="4418" y="1933"/>
                </a:lnTo>
                <a:lnTo>
                  <a:pt x="4419" y="1935"/>
                </a:lnTo>
                <a:lnTo>
                  <a:pt x="4419" y="1937"/>
                </a:lnTo>
                <a:lnTo>
                  <a:pt x="4420" y="1936"/>
                </a:lnTo>
                <a:lnTo>
                  <a:pt x="4421" y="1935"/>
                </a:lnTo>
                <a:lnTo>
                  <a:pt x="4421" y="1933"/>
                </a:lnTo>
                <a:lnTo>
                  <a:pt x="4423" y="1932"/>
                </a:lnTo>
                <a:lnTo>
                  <a:pt x="4421" y="1930"/>
                </a:lnTo>
                <a:lnTo>
                  <a:pt x="4420" y="1932"/>
                </a:lnTo>
                <a:lnTo>
                  <a:pt x="4419" y="1933"/>
                </a:lnTo>
                <a:lnTo>
                  <a:pt x="4418" y="1933"/>
                </a:lnTo>
                <a:lnTo>
                  <a:pt x="4417" y="1932"/>
                </a:lnTo>
                <a:lnTo>
                  <a:pt x="4417" y="1926"/>
                </a:lnTo>
                <a:lnTo>
                  <a:pt x="4419" y="1928"/>
                </a:lnTo>
                <a:lnTo>
                  <a:pt x="4419" y="1927"/>
                </a:lnTo>
                <a:lnTo>
                  <a:pt x="4418" y="1925"/>
                </a:lnTo>
                <a:lnTo>
                  <a:pt x="4420" y="1923"/>
                </a:lnTo>
                <a:lnTo>
                  <a:pt x="4421" y="1922"/>
                </a:lnTo>
                <a:lnTo>
                  <a:pt x="4421" y="1922"/>
                </a:lnTo>
                <a:lnTo>
                  <a:pt x="4421" y="1922"/>
                </a:lnTo>
                <a:lnTo>
                  <a:pt x="4421" y="1923"/>
                </a:lnTo>
                <a:lnTo>
                  <a:pt x="4422" y="1925"/>
                </a:lnTo>
                <a:lnTo>
                  <a:pt x="4423" y="1921"/>
                </a:lnTo>
                <a:lnTo>
                  <a:pt x="4423" y="1921"/>
                </a:lnTo>
                <a:lnTo>
                  <a:pt x="4423" y="1921"/>
                </a:lnTo>
                <a:lnTo>
                  <a:pt x="4425" y="1922"/>
                </a:lnTo>
                <a:lnTo>
                  <a:pt x="4426" y="1923"/>
                </a:lnTo>
                <a:lnTo>
                  <a:pt x="4427" y="1921"/>
                </a:lnTo>
                <a:lnTo>
                  <a:pt x="4426" y="1921"/>
                </a:lnTo>
                <a:lnTo>
                  <a:pt x="4425" y="1922"/>
                </a:lnTo>
                <a:lnTo>
                  <a:pt x="4425" y="1921"/>
                </a:lnTo>
                <a:lnTo>
                  <a:pt x="4425" y="1919"/>
                </a:lnTo>
                <a:lnTo>
                  <a:pt x="4428" y="1918"/>
                </a:lnTo>
                <a:lnTo>
                  <a:pt x="4428" y="1919"/>
                </a:lnTo>
                <a:lnTo>
                  <a:pt x="4429" y="1922"/>
                </a:lnTo>
                <a:lnTo>
                  <a:pt x="4429" y="1918"/>
                </a:lnTo>
                <a:lnTo>
                  <a:pt x="4429" y="1918"/>
                </a:lnTo>
                <a:lnTo>
                  <a:pt x="4429" y="1918"/>
                </a:lnTo>
                <a:lnTo>
                  <a:pt x="4429" y="1918"/>
                </a:lnTo>
                <a:lnTo>
                  <a:pt x="4430" y="1917"/>
                </a:lnTo>
                <a:lnTo>
                  <a:pt x="4430" y="1915"/>
                </a:lnTo>
                <a:lnTo>
                  <a:pt x="4431" y="1913"/>
                </a:lnTo>
                <a:lnTo>
                  <a:pt x="4433" y="1913"/>
                </a:lnTo>
                <a:lnTo>
                  <a:pt x="4433" y="1909"/>
                </a:lnTo>
                <a:lnTo>
                  <a:pt x="4437" y="1909"/>
                </a:lnTo>
                <a:lnTo>
                  <a:pt x="4437" y="1909"/>
                </a:lnTo>
                <a:lnTo>
                  <a:pt x="4437" y="1909"/>
                </a:lnTo>
                <a:lnTo>
                  <a:pt x="4437" y="1909"/>
                </a:lnTo>
                <a:lnTo>
                  <a:pt x="4437" y="1909"/>
                </a:lnTo>
                <a:lnTo>
                  <a:pt x="4437" y="1910"/>
                </a:lnTo>
                <a:lnTo>
                  <a:pt x="4438" y="1910"/>
                </a:lnTo>
                <a:lnTo>
                  <a:pt x="4438" y="1910"/>
                </a:lnTo>
                <a:lnTo>
                  <a:pt x="4440" y="1914"/>
                </a:lnTo>
                <a:lnTo>
                  <a:pt x="4441" y="1912"/>
                </a:lnTo>
                <a:lnTo>
                  <a:pt x="4443" y="1909"/>
                </a:lnTo>
                <a:lnTo>
                  <a:pt x="4444" y="1906"/>
                </a:lnTo>
                <a:lnTo>
                  <a:pt x="4443" y="1905"/>
                </a:lnTo>
                <a:lnTo>
                  <a:pt x="4441" y="1905"/>
                </a:lnTo>
                <a:lnTo>
                  <a:pt x="4441" y="1905"/>
                </a:lnTo>
                <a:lnTo>
                  <a:pt x="4441" y="1904"/>
                </a:lnTo>
                <a:lnTo>
                  <a:pt x="4443" y="1905"/>
                </a:lnTo>
                <a:lnTo>
                  <a:pt x="4445" y="1906"/>
                </a:lnTo>
                <a:lnTo>
                  <a:pt x="4446" y="1905"/>
                </a:lnTo>
                <a:lnTo>
                  <a:pt x="4446" y="1905"/>
                </a:lnTo>
                <a:lnTo>
                  <a:pt x="4448" y="1906"/>
                </a:lnTo>
                <a:lnTo>
                  <a:pt x="4453" y="1903"/>
                </a:lnTo>
                <a:lnTo>
                  <a:pt x="4452" y="1902"/>
                </a:lnTo>
                <a:lnTo>
                  <a:pt x="4452" y="1901"/>
                </a:lnTo>
                <a:lnTo>
                  <a:pt x="4452" y="1900"/>
                </a:lnTo>
                <a:lnTo>
                  <a:pt x="4453" y="1899"/>
                </a:lnTo>
                <a:lnTo>
                  <a:pt x="4456" y="1901"/>
                </a:lnTo>
                <a:lnTo>
                  <a:pt x="4457" y="1903"/>
                </a:lnTo>
                <a:lnTo>
                  <a:pt x="4458" y="1905"/>
                </a:lnTo>
                <a:lnTo>
                  <a:pt x="4460" y="1905"/>
                </a:lnTo>
                <a:lnTo>
                  <a:pt x="4470" y="1913"/>
                </a:lnTo>
                <a:lnTo>
                  <a:pt x="4472" y="1914"/>
                </a:lnTo>
                <a:lnTo>
                  <a:pt x="4471" y="1920"/>
                </a:lnTo>
                <a:lnTo>
                  <a:pt x="4471" y="1926"/>
                </a:lnTo>
                <a:lnTo>
                  <a:pt x="4471" y="1924"/>
                </a:lnTo>
                <a:lnTo>
                  <a:pt x="4472" y="1922"/>
                </a:lnTo>
                <a:lnTo>
                  <a:pt x="4472" y="1922"/>
                </a:lnTo>
                <a:lnTo>
                  <a:pt x="4472" y="1922"/>
                </a:lnTo>
                <a:lnTo>
                  <a:pt x="4473" y="1924"/>
                </a:lnTo>
                <a:lnTo>
                  <a:pt x="4474" y="1925"/>
                </a:lnTo>
                <a:lnTo>
                  <a:pt x="4473" y="1923"/>
                </a:lnTo>
                <a:lnTo>
                  <a:pt x="4472" y="1921"/>
                </a:lnTo>
                <a:lnTo>
                  <a:pt x="4473" y="1919"/>
                </a:lnTo>
                <a:lnTo>
                  <a:pt x="4473" y="1921"/>
                </a:lnTo>
                <a:lnTo>
                  <a:pt x="4478" y="1921"/>
                </a:lnTo>
                <a:lnTo>
                  <a:pt x="4477" y="1919"/>
                </a:lnTo>
                <a:lnTo>
                  <a:pt x="4475" y="1917"/>
                </a:lnTo>
                <a:lnTo>
                  <a:pt x="4475" y="1917"/>
                </a:lnTo>
                <a:lnTo>
                  <a:pt x="4475" y="1917"/>
                </a:lnTo>
                <a:lnTo>
                  <a:pt x="4479" y="1917"/>
                </a:lnTo>
                <a:lnTo>
                  <a:pt x="4483" y="1917"/>
                </a:lnTo>
                <a:lnTo>
                  <a:pt x="4486" y="1917"/>
                </a:lnTo>
                <a:lnTo>
                  <a:pt x="4486" y="1917"/>
                </a:lnTo>
                <a:lnTo>
                  <a:pt x="4491" y="1917"/>
                </a:lnTo>
                <a:lnTo>
                  <a:pt x="4495" y="1922"/>
                </a:lnTo>
                <a:lnTo>
                  <a:pt x="4494" y="1920"/>
                </a:lnTo>
                <a:lnTo>
                  <a:pt x="4494" y="1918"/>
                </a:lnTo>
                <a:lnTo>
                  <a:pt x="4494" y="1916"/>
                </a:lnTo>
                <a:lnTo>
                  <a:pt x="4494" y="1915"/>
                </a:lnTo>
                <a:lnTo>
                  <a:pt x="4494" y="1915"/>
                </a:lnTo>
                <a:lnTo>
                  <a:pt x="4494" y="1915"/>
                </a:lnTo>
                <a:lnTo>
                  <a:pt x="4494" y="1915"/>
                </a:lnTo>
                <a:lnTo>
                  <a:pt x="4493" y="1912"/>
                </a:lnTo>
                <a:lnTo>
                  <a:pt x="4492" y="1911"/>
                </a:lnTo>
                <a:lnTo>
                  <a:pt x="4490" y="1910"/>
                </a:lnTo>
                <a:lnTo>
                  <a:pt x="4490" y="1909"/>
                </a:lnTo>
                <a:lnTo>
                  <a:pt x="4492" y="1906"/>
                </a:lnTo>
                <a:lnTo>
                  <a:pt x="4495" y="1904"/>
                </a:lnTo>
                <a:lnTo>
                  <a:pt x="4496" y="1900"/>
                </a:lnTo>
                <a:lnTo>
                  <a:pt x="4498" y="1897"/>
                </a:lnTo>
                <a:lnTo>
                  <a:pt x="4500" y="1897"/>
                </a:lnTo>
                <a:lnTo>
                  <a:pt x="4502" y="1895"/>
                </a:lnTo>
                <a:lnTo>
                  <a:pt x="4503" y="1892"/>
                </a:lnTo>
                <a:lnTo>
                  <a:pt x="4501" y="1892"/>
                </a:lnTo>
                <a:lnTo>
                  <a:pt x="4498" y="1891"/>
                </a:lnTo>
                <a:lnTo>
                  <a:pt x="4498" y="1889"/>
                </a:lnTo>
                <a:lnTo>
                  <a:pt x="4502" y="1889"/>
                </a:lnTo>
                <a:lnTo>
                  <a:pt x="4502" y="1885"/>
                </a:lnTo>
                <a:lnTo>
                  <a:pt x="4506" y="1885"/>
                </a:lnTo>
                <a:lnTo>
                  <a:pt x="4507" y="1884"/>
                </a:lnTo>
                <a:lnTo>
                  <a:pt x="4508" y="1884"/>
                </a:lnTo>
                <a:lnTo>
                  <a:pt x="4507" y="1883"/>
                </a:lnTo>
                <a:lnTo>
                  <a:pt x="4506" y="1883"/>
                </a:lnTo>
                <a:lnTo>
                  <a:pt x="4506" y="1881"/>
                </a:lnTo>
                <a:lnTo>
                  <a:pt x="4512" y="1881"/>
                </a:lnTo>
                <a:lnTo>
                  <a:pt x="4512" y="1880"/>
                </a:lnTo>
                <a:lnTo>
                  <a:pt x="4512" y="1881"/>
                </a:lnTo>
                <a:lnTo>
                  <a:pt x="4513" y="1883"/>
                </a:lnTo>
                <a:lnTo>
                  <a:pt x="4515" y="1881"/>
                </a:lnTo>
                <a:lnTo>
                  <a:pt x="4513" y="1880"/>
                </a:lnTo>
                <a:lnTo>
                  <a:pt x="4512" y="1879"/>
                </a:lnTo>
                <a:lnTo>
                  <a:pt x="4512" y="1878"/>
                </a:lnTo>
                <a:lnTo>
                  <a:pt x="4514" y="1879"/>
                </a:lnTo>
                <a:lnTo>
                  <a:pt x="4514" y="1876"/>
                </a:lnTo>
                <a:lnTo>
                  <a:pt x="4517" y="1878"/>
                </a:lnTo>
                <a:lnTo>
                  <a:pt x="4520" y="1881"/>
                </a:lnTo>
                <a:lnTo>
                  <a:pt x="4531" y="1881"/>
                </a:lnTo>
                <a:lnTo>
                  <a:pt x="4534" y="1878"/>
                </a:lnTo>
                <a:lnTo>
                  <a:pt x="4534" y="1877"/>
                </a:lnTo>
                <a:lnTo>
                  <a:pt x="4534" y="1877"/>
                </a:lnTo>
                <a:lnTo>
                  <a:pt x="4534" y="1878"/>
                </a:lnTo>
                <a:lnTo>
                  <a:pt x="4534" y="1879"/>
                </a:lnTo>
                <a:lnTo>
                  <a:pt x="4534" y="1876"/>
                </a:lnTo>
                <a:lnTo>
                  <a:pt x="4538" y="1877"/>
                </a:lnTo>
                <a:lnTo>
                  <a:pt x="4538" y="1869"/>
                </a:lnTo>
                <a:lnTo>
                  <a:pt x="4538" y="1869"/>
                </a:lnTo>
                <a:lnTo>
                  <a:pt x="4538" y="1869"/>
                </a:lnTo>
                <a:lnTo>
                  <a:pt x="4538" y="1867"/>
                </a:lnTo>
                <a:lnTo>
                  <a:pt x="4538" y="1869"/>
                </a:lnTo>
                <a:lnTo>
                  <a:pt x="4536" y="1867"/>
                </a:lnTo>
                <a:lnTo>
                  <a:pt x="4535" y="1865"/>
                </a:lnTo>
                <a:lnTo>
                  <a:pt x="4533" y="1866"/>
                </a:lnTo>
                <a:lnTo>
                  <a:pt x="4531" y="1867"/>
                </a:lnTo>
                <a:lnTo>
                  <a:pt x="4529" y="1866"/>
                </a:lnTo>
                <a:lnTo>
                  <a:pt x="4528" y="1865"/>
                </a:lnTo>
                <a:lnTo>
                  <a:pt x="4526" y="1865"/>
                </a:lnTo>
                <a:lnTo>
                  <a:pt x="4527" y="1863"/>
                </a:lnTo>
                <a:lnTo>
                  <a:pt x="4528" y="1861"/>
                </a:lnTo>
                <a:lnTo>
                  <a:pt x="4528" y="1861"/>
                </a:lnTo>
                <a:lnTo>
                  <a:pt x="4528" y="1861"/>
                </a:lnTo>
                <a:lnTo>
                  <a:pt x="4530" y="1865"/>
                </a:lnTo>
                <a:lnTo>
                  <a:pt x="4530" y="1864"/>
                </a:lnTo>
                <a:lnTo>
                  <a:pt x="4530" y="1862"/>
                </a:lnTo>
                <a:lnTo>
                  <a:pt x="4531" y="1861"/>
                </a:lnTo>
                <a:lnTo>
                  <a:pt x="4534" y="1861"/>
                </a:lnTo>
                <a:lnTo>
                  <a:pt x="4538" y="1867"/>
                </a:lnTo>
                <a:lnTo>
                  <a:pt x="4540" y="1865"/>
                </a:lnTo>
                <a:lnTo>
                  <a:pt x="4541" y="1864"/>
                </a:lnTo>
                <a:lnTo>
                  <a:pt x="4541" y="1864"/>
                </a:lnTo>
                <a:lnTo>
                  <a:pt x="4541" y="1864"/>
                </a:lnTo>
                <a:lnTo>
                  <a:pt x="4546" y="1869"/>
                </a:lnTo>
                <a:lnTo>
                  <a:pt x="4547" y="1868"/>
                </a:lnTo>
                <a:lnTo>
                  <a:pt x="4548" y="1867"/>
                </a:lnTo>
                <a:lnTo>
                  <a:pt x="4550" y="1869"/>
                </a:lnTo>
                <a:lnTo>
                  <a:pt x="4553" y="1871"/>
                </a:lnTo>
                <a:lnTo>
                  <a:pt x="4554" y="1870"/>
                </a:lnTo>
                <a:lnTo>
                  <a:pt x="4554" y="1873"/>
                </a:lnTo>
                <a:lnTo>
                  <a:pt x="4556" y="1873"/>
                </a:lnTo>
                <a:lnTo>
                  <a:pt x="4559" y="1873"/>
                </a:lnTo>
                <a:lnTo>
                  <a:pt x="4560" y="1874"/>
                </a:lnTo>
                <a:lnTo>
                  <a:pt x="4560" y="1875"/>
                </a:lnTo>
                <a:lnTo>
                  <a:pt x="4564" y="1874"/>
                </a:lnTo>
                <a:lnTo>
                  <a:pt x="4568" y="1872"/>
                </a:lnTo>
                <a:lnTo>
                  <a:pt x="4571" y="1876"/>
                </a:lnTo>
                <a:lnTo>
                  <a:pt x="4574" y="1879"/>
                </a:lnTo>
                <a:lnTo>
                  <a:pt x="4575" y="1877"/>
                </a:lnTo>
                <a:lnTo>
                  <a:pt x="4578" y="1877"/>
                </a:lnTo>
                <a:lnTo>
                  <a:pt x="4578" y="1873"/>
                </a:lnTo>
                <a:lnTo>
                  <a:pt x="4582" y="1873"/>
                </a:lnTo>
                <a:lnTo>
                  <a:pt x="4582" y="1875"/>
                </a:lnTo>
                <a:lnTo>
                  <a:pt x="4582" y="1876"/>
                </a:lnTo>
                <a:lnTo>
                  <a:pt x="4581" y="1876"/>
                </a:lnTo>
                <a:lnTo>
                  <a:pt x="4581" y="1877"/>
                </a:lnTo>
                <a:lnTo>
                  <a:pt x="4582" y="1878"/>
                </a:lnTo>
                <a:lnTo>
                  <a:pt x="4586" y="1875"/>
                </a:lnTo>
                <a:lnTo>
                  <a:pt x="4586" y="1876"/>
                </a:lnTo>
                <a:lnTo>
                  <a:pt x="4586" y="1877"/>
                </a:lnTo>
                <a:lnTo>
                  <a:pt x="4587" y="1877"/>
                </a:lnTo>
                <a:lnTo>
                  <a:pt x="4586" y="1878"/>
                </a:lnTo>
                <a:lnTo>
                  <a:pt x="4586" y="1879"/>
                </a:lnTo>
                <a:lnTo>
                  <a:pt x="4586" y="1880"/>
                </a:lnTo>
                <a:lnTo>
                  <a:pt x="4587" y="1881"/>
                </a:lnTo>
                <a:lnTo>
                  <a:pt x="4589" y="1880"/>
                </a:lnTo>
                <a:lnTo>
                  <a:pt x="4591" y="1879"/>
                </a:lnTo>
                <a:lnTo>
                  <a:pt x="4593" y="1877"/>
                </a:lnTo>
                <a:lnTo>
                  <a:pt x="4589" y="1877"/>
                </a:lnTo>
                <a:lnTo>
                  <a:pt x="4592" y="1875"/>
                </a:lnTo>
                <a:lnTo>
                  <a:pt x="4594" y="1874"/>
                </a:lnTo>
                <a:lnTo>
                  <a:pt x="4594" y="1878"/>
                </a:lnTo>
                <a:lnTo>
                  <a:pt x="4596" y="1877"/>
                </a:lnTo>
                <a:lnTo>
                  <a:pt x="4598" y="1876"/>
                </a:lnTo>
                <a:lnTo>
                  <a:pt x="4600" y="1879"/>
                </a:lnTo>
                <a:lnTo>
                  <a:pt x="4599" y="1879"/>
                </a:lnTo>
                <a:lnTo>
                  <a:pt x="4597" y="1880"/>
                </a:lnTo>
                <a:lnTo>
                  <a:pt x="4594" y="1885"/>
                </a:lnTo>
                <a:lnTo>
                  <a:pt x="4594" y="1885"/>
                </a:lnTo>
                <a:lnTo>
                  <a:pt x="4594" y="1885"/>
                </a:lnTo>
                <a:lnTo>
                  <a:pt x="4592" y="1884"/>
                </a:lnTo>
                <a:lnTo>
                  <a:pt x="4590" y="1884"/>
                </a:lnTo>
                <a:lnTo>
                  <a:pt x="4590" y="1889"/>
                </a:lnTo>
                <a:lnTo>
                  <a:pt x="4590" y="1889"/>
                </a:lnTo>
                <a:lnTo>
                  <a:pt x="4589" y="1891"/>
                </a:lnTo>
                <a:lnTo>
                  <a:pt x="4589" y="1892"/>
                </a:lnTo>
                <a:lnTo>
                  <a:pt x="4587" y="1891"/>
                </a:lnTo>
                <a:lnTo>
                  <a:pt x="4586" y="1892"/>
                </a:lnTo>
                <a:lnTo>
                  <a:pt x="4585" y="1892"/>
                </a:lnTo>
                <a:lnTo>
                  <a:pt x="4584" y="1895"/>
                </a:lnTo>
                <a:lnTo>
                  <a:pt x="4582" y="1898"/>
                </a:lnTo>
                <a:lnTo>
                  <a:pt x="4582" y="1901"/>
                </a:lnTo>
                <a:lnTo>
                  <a:pt x="4587" y="1901"/>
                </a:lnTo>
                <a:lnTo>
                  <a:pt x="4584" y="1908"/>
                </a:lnTo>
                <a:lnTo>
                  <a:pt x="4583" y="1909"/>
                </a:lnTo>
                <a:lnTo>
                  <a:pt x="4581" y="1911"/>
                </a:lnTo>
                <a:lnTo>
                  <a:pt x="4580" y="1914"/>
                </a:lnTo>
                <a:lnTo>
                  <a:pt x="4579" y="1917"/>
                </a:lnTo>
                <a:lnTo>
                  <a:pt x="4578" y="1917"/>
                </a:lnTo>
                <a:lnTo>
                  <a:pt x="4583" y="1921"/>
                </a:lnTo>
                <a:lnTo>
                  <a:pt x="4589" y="1926"/>
                </a:lnTo>
                <a:lnTo>
                  <a:pt x="4590" y="1926"/>
                </a:lnTo>
                <a:lnTo>
                  <a:pt x="4591" y="1927"/>
                </a:lnTo>
                <a:lnTo>
                  <a:pt x="4597" y="1933"/>
                </a:lnTo>
                <a:lnTo>
                  <a:pt x="4601" y="1933"/>
                </a:lnTo>
                <a:lnTo>
                  <a:pt x="4612" y="1938"/>
                </a:lnTo>
                <a:lnTo>
                  <a:pt x="4616" y="1945"/>
                </a:lnTo>
                <a:lnTo>
                  <a:pt x="4623" y="1946"/>
                </a:lnTo>
                <a:lnTo>
                  <a:pt x="4630" y="1948"/>
                </a:lnTo>
                <a:lnTo>
                  <a:pt x="4632" y="1952"/>
                </a:lnTo>
                <a:lnTo>
                  <a:pt x="4634" y="1956"/>
                </a:lnTo>
                <a:lnTo>
                  <a:pt x="4645" y="1961"/>
                </a:lnTo>
                <a:lnTo>
                  <a:pt x="4651" y="1961"/>
                </a:lnTo>
                <a:lnTo>
                  <a:pt x="4655" y="1957"/>
                </a:lnTo>
                <a:lnTo>
                  <a:pt x="4657" y="1949"/>
                </a:lnTo>
                <a:lnTo>
                  <a:pt x="4659" y="1946"/>
                </a:lnTo>
                <a:lnTo>
                  <a:pt x="4660" y="1944"/>
                </a:lnTo>
                <a:lnTo>
                  <a:pt x="4662" y="1939"/>
                </a:lnTo>
                <a:lnTo>
                  <a:pt x="4662" y="1935"/>
                </a:lnTo>
                <a:lnTo>
                  <a:pt x="4662" y="1926"/>
                </a:lnTo>
                <a:lnTo>
                  <a:pt x="4665" y="1922"/>
                </a:lnTo>
                <a:lnTo>
                  <a:pt x="4668" y="1918"/>
                </a:lnTo>
                <a:lnTo>
                  <a:pt x="4667" y="1914"/>
                </a:lnTo>
                <a:lnTo>
                  <a:pt x="4666" y="1910"/>
                </a:lnTo>
                <a:lnTo>
                  <a:pt x="4666" y="1905"/>
                </a:lnTo>
                <a:lnTo>
                  <a:pt x="4665" y="1901"/>
                </a:lnTo>
                <a:lnTo>
                  <a:pt x="4666" y="1896"/>
                </a:lnTo>
                <a:lnTo>
                  <a:pt x="4668" y="1892"/>
                </a:lnTo>
                <a:lnTo>
                  <a:pt x="4667" y="1890"/>
                </a:lnTo>
                <a:lnTo>
                  <a:pt x="4667" y="1887"/>
                </a:lnTo>
                <a:lnTo>
                  <a:pt x="4669" y="1886"/>
                </a:lnTo>
                <a:lnTo>
                  <a:pt x="4671" y="1884"/>
                </a:lnTo>
                <a:lnTo>
                  <a:pt x="4671" y="1884"/>
                </a:lnTo>
                <a:lnTo>
                  <a:pt x="4671" y="1884"/>
                </a:lnTo>
                <a:lnTo>
                  <a:pt x="4671" y="1885"/>
                </a:lnTo>
                <a:lnTo>
                  <a:pt x="4672" y="1886"/>
                </a:lnTo>
                <a:lnTo>
                  <a:pt x="4671" y="1884"/>
                </a:lnTo>
                <a:lnTo>
                  <a:pt x="4671" y="1881"/>
                </a:lnTo>
                <a:lnTo>
                  <a:pt x="4669" y="1880"/>
                </a:lnTo>
                <a:lnTo>
                  <a:pt x="4668" y="1879"/>
                </a:lnTo>
                <a:lnTo>
                  <a:pt x="4668" y="1880"/>
                </a:lnTo>
                <a:lnTo>
                  <a:pt x="4668" y="1881"/>
                </a:lnTo>
                <a:lnTo>
                  <a:pt x="4666" y="1881"/>
                </a:lnTo>
                <a:lnTo>
                  <a:pt x="4666" y="1877"/>
                </a:lnTo>
                <a:lnTo>
                  <a:pt x="4668" y="1877"/>
                </a:lnTo>
                <a:lnTo>
                  <a:pt x="4667" y="1878"/>
                </a:lnTo>
                <a:lnTo>
                  <a:pt x="4667" y="1879"/>
                </a:lnTo>
                <a:lnTo>
                  <a:pt x="4670" y="1873"/>
                </a:lnTo>
                <a:lnTo>
                  <a:pt x="4670" y="1877"/>
                </a:lnTo>
                <a:lnTo>
                  <a:pt x="4673" y="1877"/>
                </a:lnTo>
                <a:lnTo>
                  <a:pt x="4672" y="1875"/>
                </a:lnTo>
                <a:lnTo>
                  <a:pt x="4672" y="1873"/>
                </a:lnTo>
                <a:lnTo>
                  <a:pt x="4672" y="1873"/>
                </a:lnTo>
                <a:lnTo>
                  <a:pt x="4673" y="1868"/>
                </a:lnTo>
                <a:lnTo>
                  <a:pt x="4674" y="1864"/>
                </a:lnTo>
                <a:lnTo>
                  <a:pt x="4674" y="1858"/>
                </a:lnTo>
                <a:lnTo>
                  <a:pt x="4676" y="1857"/>
                </a:lnTo>
                <a:lnTo>
                  <a:pt x="4678" y="1856"/>
                </a:lnTo>
                <a:lnTo>
                  <a:pt x="4679" y="1855"/>
                </a:lnTo>
                <a:lnTo>
                  <a:pt x="4679" y="1853"/>
                </a:lnTo>
                <a:lnTo>
                  <a:pt x="4680" y="1854"/>
                </a:lnTo>
                <a:lnTo>
                  <a:pt x="4681" y="1855"/>
                </a:lnTo>
                <a:lnTo>
                  <a:pt x="4680" y="1856"/>
                </a:lnTo>
                <a:lnTo>
                  <a:pt x="4679" y="1858"/>
                </a:lnTo>
                <a:lnTo>
                  <a:pt x="4680" y="1857"/>
                </a:lnTo>
                <a:lnTo>
                  <a:pt x="4681" y="1856"/>
                </a:lnTo>
                <a:lnTo>
                  <a:pt x="4683" y="1858"/>
                </a:lnTo>
                <a:lnTo>
                  <a:pt x="4684" y="1860"/>
                </a:lnTo>
                <a:lnTo>
                  <a:pt x="4686" y="1871"/>
                </a:lnTo>
                <a:lnTo>
                  <a:pt x="4688" y="1872"/>
                </a:lnTo>
                <a:lnTo>
                  <a:pt x="4690" y="1872"/>
                </a:lnTo>
                <a:lnTo>
                  <a:pt x="4689" y="1875"/>
                </a:lnTo>
                <a:lnTo>
                  <a:pt x="4688" y="1878"/>
                </a:lnTo>
                <a:lnTo>
                  <a:pt x="4689" y="1878"/>
                </a:lnTo>
                <a:lnTo>
                  <a:pt x="4690" y="1879"/>
                </a:lnTo>
                <a:lnTo>
                  <a:pt x="4690" y="1881"/>
                </a:lnTo>
                <a:lnTo>
                  <a:pt x="4692" y="1882"/>
                </a:lnTo>
                <a:lnTo>
                  <a:pt x="4693" y="1883"/>
                </a:lnTo>
                <a:lnTo>
                  <a:pt x="4693" y="1886"/>
                </a:lnTo>
                <a:lnTo>
                  <a:pt x="4693" y="1889"/>
                </a:lnTo>
                <a:lnTo>
                  <a:pt x="4694" y="1889"/>
                </a:lnTo>
                <a:lnTo>
                  <a:pt x="4694" y="1895"/>
                </a:lnTo>
                <a:lnTo>
                  <a:pt x="4694" y="1899"/>
                </a:lnTo>
                <a:lnTo>
                  <a:pt x="4696" y="1906"/>
                </a:lnTo>
                <a:lnTo>
                  <a:pt x="4698" y="1913"/>
                </a:lnTo>
                <a:lnTo>
                  <a:pt x="4701" y="1913"/>
                </a:lnTo>
                <a:lnTo>
                  <a:pt x="4709" y="1907"/>
                </a:lnTo>
                <a:lnTo>
                  <a:pt x="4710" y="1909"/>
                </a:lnTo>
                <a:lnTo>
                  <a:pt x="4712" y="1913"/>
                </a:lnTo>
                <a:lnTo>
                  <a:pt x="4714" y="1913"/>
                </a:lnTo>
                <a:lnTo>
                  <a:pt x="4715" y="1914"/>
                </a:lnTo>
                <a:lnTo>
                  <a:pt x="4715" y="1915"/>
                </a:lnTo>
                <a:lnTo>
                  <a:pt x="4720" y="1917"/>
                </a:lnTo>
                <a:lnTo>
                  <a:pt x="4719" y="1919"/>
                </a:lnTo>
                <a:lnTo>
                  <a:pt x="4718" y="1921"/>
                </a:lnTo>
                <a:lnTo>
                  <a:pt x="4718" y="1925"/>
                </a:lnTo>
                <a:lnTo>
                  <a:pt x="4720" y="1930"/>
                </a:lnTo>
                <a:lnTo>
                  <a:pt x="4722" y="1935"/>
                </a:lnTo>
                <a:lnTo>
                  <a:pt x="4722" y="1941"/>
                </a:lnTo>
                <a:lnTo>
                  <a:pt x="4725" y="1945"/>
                </a:lnTo>
                <a:lnTo>
                  <a:pt x="4728" y="1949"/>
                </a:lnTo>
                <a:lnTo>
                  <a:pt x="4731" y="1949"/>
                </a:lnTo>
                <a:lnTo>
                  <a:pt x="4728" y="1950"/>
                </a:lnTo>
                <a:lnTo>
                  <a:pt x="4730" y="1955"/>
                </a:lnTo>
                <a:lnTo>
                  <a:pt x="4733" y="1960"/>
                </a:lnTo>
                <a:lnTo>
                  <a:pt x="4731" y="1964"/>
                </a:lnTo>
                <a:lnTo>
                  <a:pt x="4731" y="1968"/>
                </a:lnTo>
                <a:lnTo>
                  <a:pt x="4733" y="1969"/>
                </a:lnTo>
                <a:lnTo>
                  <a:pt x="4733" y="1969"/>
                </a:lnTo>
                <a:lnTo>
                  <a:pt x="4735" y="1971"/>
                </a:lnTo>
                <a:lnTo>
                  <a:pt x="4737" y="1971"/>
                </a:lnTo>
                <a:lnTo>
                  <a:pt x="4735" y="1972"/>
                </a:lnTo>
                <a:lnTo>
                  <a:pt x="4735" y="1972"/>
                </a:lnTo>
                <a:lnTo>
                  <a:pt x="4735" y="1973"/>
                </a:lnTo>
                <a:lnTo>
                  <a:pt x="4735" y="1972"/>
                </a:lnTo>
                <a:lnTo>
                  <a:pt x="4735" y="1978"/>
                </a:lnTo>
                <a:lnTo>
                  <a:pt x="4739" y="1984"/>
                </a:lnTo>
                <a:lnTo>
                  <a:pt x="4747" y="1988"/>
                </a:lnTo>
                <a:lnTo>
                  <a:pt x="4747" y="1984"/>
                </a:lnTo>
                <a:lnTo>
                  <a:pt x="4749" y="1985"/>
                </a:lnTo>
                <a:lnTo>
                  <a:pt x="4751" y="1986"/>
                </a:lnTo>
                <a:lnTo>
                  <a:pt x="4754" y="1997"/>
                </a:lnTo>
                <a:lnTo>
                  <a:pt x="4755" y="1997"/>
                </a:lnTo>
                <a:lnTo>
                  <a:pt x="4762" y="1997"/>
                </a:lnTo>
                <a:lnTo>
                  <a:pt x="4766" y="2000"/>
                </a:lnTo>
                <a:lnTo>
                  <a:pt x="4766" y="1997"/>
                </a:lnTo>
                <a:lnTo>
                  <a:pt x="4767" y="1995"/>
                </a:lnTo>
                <a:lnTo>
                  <a:pt x="4767" y="1995"/>
                </a:lnTo>
                <a:lnTo>
                  <a:pt x="4767" y="1995"/>
                </a:lnTo>
                <a:lnTo>
                  <a:pt x="4772" y="1999"/>
                </a:lnTo>
                <a:lnTo>
                  <a:pt x="4774" y="2002"/>
                </a:lnTo>
                <a:lnTo>
                  <a:pt x="4775" y="2005"/>
                </a:lnTo>
                <a:lnTo>
                  <a:pt x="4775" y="2005"/>
                </a:lnTo>
                <a:lnTo>
                  <a:pt x="4773" y="2005"/>
                </a:lnTo>
                <a:lnTo>
                  <a:pt x="4773" y="2003"/>
                </a:lnTo>
                <a:lnTo>
                  <a:pt x="4773" y="2002"/>
                </a:lnTo>
                <a:lnTo>
                  <a:pt x="4772" y="2004"/>
                </a:lnTo>
                <a:lnTo>
                  <a:pt x="4771" y="2005"/>
                </a:lnTo>
                <a:lnTo>
                  <a:pt x="4772" y="2007"/>
                </a:lnTo>
                <a:lnTo>
                  <a:pt x="4772" y="2009"/>
                </a:lnTo>
                <a:lnTo>
                  <a:pt x="4779" y="2012"/>
                </a:lnTo>
                <a:lnTo>
                  <a:pt x="4779" y="2016"/>
                </a:lnTo>
                <a:lnTo>
                  <a:pt x="4779" y="2018"/>
                </a:lnTo>
                <a:lnTo>
                  <a:pt x="4779" y="2021"/>
                </a:lnTo>
                <a:lnTo>
                  <a:pt x="4779" y="2028"/>
                </a:lnTo>
                <a:lnTo>
                  <a:pt x="4781" y="2030"/>
                </a:lnTo>
                <a:lnTo>
                  <a:pt x="4783" y="2032"/>
                </a:lnTo>
                <a:lnTo>
                  <a:pt x="4783" y="2035"/>
                </a:lnTo>
                <a:lnTo>
                  <a:pt x="4785" y="2033"/>
                </a:lnTo>
                <a:lnTo>
                  <a:pt x="4787" y="2032"/>
                </a:lnTo>
                <a:lnTo>
                  <a:pt x="4787" y="2032"/>
                </a:lnTo>
                <a:lnTo>
                  <a:pt x="4787" y="2032"/>
                </a:lnTo>
                <a:lnTo>
                  <a:pt x="4790" y="2036"/>
                </a:lnTo>
                <a:lnTo>
                  <a:pt x="4788" y="2032"/>
                </a:lnTo>
                <a:lnTo>
                  <a:pt x="4790" y="2029"/>
                </a:lnTo>
                <a:lnTo>
                  <a:pt x="4791" y="2033"/>
                </a:lnTo>
                <a:lnTo>
                  <a:pt x="4793" y="2034"/>
                </a:lnTo>
                <a:lnTo>
                  <a:pt x="4795" y="2035"/>
                </a:lnTo>
                <a:lnTo>
                  <a:pt x="4795" y="2033"/>
                </a:lnTo>
                <a:lnTo>
                  <a:pt x="4797" y="2033"/>
                </a:lnTo>
                <a:lnTo>
                  <a:pt x="4797" y="2033"/>
                </a:lnTo>
                <a:lnTo>
                  <a:pt x="4798" y="2036"/>
                </a:lnTo>
                <a:lnTo>
                  <a:pt x="4799" y="2039"/>
                </a:lnTo>
                <a:lnTo>
                  <a:pt x="4799" y="2044"/>
                </a:lnTo>
                <a:lnTo>
                  <a:pt x="4801" y="2047"/>
                </a:lnTo>
                <a:lnTo>
                  <a:pt x="4802" y="2050"/>
                </a:lnTo>
                <a:lnTo>
                  <a:pt x="4805" y="2051"/>
                </a:lnTo>
                <a:lnTo>
                  <a:pt x="4805" y="2053"/>
                </a:lnTo>
                <a:lnTo>
                  <a:pt x="4806" y="2055"/>
                </a:lnTo>
                <a:lnTo>
                  <a:pt x="4812" y="2060"/>
                </a:lnTo>
                <a:lnTo>
                  <a:pt x="4814" y="2059"/>
                </a:lnTo>
                <a:lnTo>
                  <a:pt x="4814" y="2058"/>
                </a:lnTo>
                <a:lnTo>
                  <a:pt x="4816" y="2061"/>
                </a:lnTo>
                <a:lnTo>
                  <a:pt x="4818" y="2064"/>
                </a:lnTo>
                <a:lnTo>
                  <a:pt x="4820" y="2067"/>
                </a:lnTo>
                <a:lnTo>
                  <a:pt x="4823" y="2072"/>
                </a:lnTo>
                <a:lnTo>
                  <a:pt x="4825" y="2075"/>
                </a:lnTo>
                <a:lnTo>
                  <a:pt x="4826" y="2079"/>
                </a:lnTo>
                <a:lnTo>
                  <a:pt x="4827" y="2080"/>
                </a:lnTo>
                <a:lnTo>
                  <a:pt x="4827" y="2083"/>
                </a:lnTo>
                <a:lnTo>
                  <a:pt x="4831" y="2079"/>
                </a:lnTo>
                <a:lnTo>
                  <a:pt x="4834" y="2077"/>
                </a:lnTo>
                <a:lnTo>
                  <a:pt x="4835" y="2075"/>
                </a:lnTo>
                <a:lnTo>
                  <a:pt x="4835" y="2073"/>
                </a:lnTo>
                <a:lnTo>
                  <a:pt x="4834" y="2072"/>
                </a:lnTo>
                <a:lnTo>
                  <a:pt x="4835" y="2071"/>
                </a:lnTo>
                <a:lnTo>
                  <a:pt x="4835" y="2070"/>
                </a:lnTo>
                <a:lnTo>
                  <a:pt x="4836" y="2072"/>
                </a:lnTo>
                <a:lnTo>
                  <a:pt x="4837" y="2075"/>
                </a:lnTo>
                <a:lnTo>
                  <a:pt x="4834" y="2086"/>
                </a:lnTo>
                <a:lnTo>
                  <a:pt x="4834" y="2086"/>
                </a:lnTo>
                <a:lnTo>
                  <a:pt x="4834" y="2086"/>
                </a:lnTo>
                <a:lnTo>
                  <a:pt x="4827" y="2083"/>
                </a:lnTo>
                <a:lnTo>
                  <a:pt x="4827" y="2086"/>
                </a:lnTo>
                <a:lnTo>
                  <a:pt x="4831" y="2088"/>
                </a:lnTo>
                <a:lnTo>
                  <a:pt x="4834" y="2090"/>
                </a:lnTo>
                <a:lnTo>
                  <a:pt x="4833" y="2093"/>
                </a:lnTo>
                <a:lnTo>
                  <a:pt x="4831" y="2095"/>
                </a:lnTo>
                <a:lnTo>
                  <a:pt x="4831" y="2108"/>
                </a:lnTo>
                <a:lnTo>
                  <a:pt x="4831" y="2109"/>
                </a:lnTo>
                <a:lnTo>
                  <a:pt x="4831" y="2112"/>
                </a:lnTo>
                <a:lnTo>
                  <a:pt x="4833" y="2113"/>
                </a:lnTo>
                <a:lnTo>
                  <a:pt x="4834" y="2114"/>
                </a:lnTo>
                <a:close/>
                <a:moveTo>
                  <a:pt x="4668" y="1879"/>
                </a:moveTo>
                <a:lnTo>
                  <a:pt x="4667" y="1880"/>
                </a:lnTo>
                <a:lnTo>
                  <a:pt x="4667" y="1881"/>
                </a:lnTo>
                <a:lnTo>
                  <a:pt x="4668" y="1881"/>
                </a:lnTo>
                <a:lnTo>
                  <a:pt x="4668" y="1879"/>
                </a:lnTo>
                <a:lnTo>
                  <a:pt x="4668" y="1879"/>
                </a:lnTo>
                <a:close/>
                <a:moveTo>
                  <a:pt x="4292" y="2198"/>
                </a:moveTo>
                <a:lnTo>
                  <a:pt x="4292" y="2198"/>
                </a:lnTo>
                <a:lnTo>
                  <a:pt x="4292" y="2198"/>
                </a:lnTo>
                <a:lnTo>
                  <a:pt x="4290" y="2198"/>
                </a:lnTo>
                <a:lnTo>
                  <a:pt x="4290" y="2199"/>
                </a:lnTo>
                <a:lnTo>
                  <a:pt x="4292" y="2199"/>
                </a:lnTo>
                <a:lnTo>
                  <a:pt x="4292" y="2199"/>
                </a:lnTo>
                <a:lnTo>
                  <a:pt x="4292" y="2198"/>
                </a:lnTo>
                <a:close/>
                <a:moveTo>
                  <a:pt x="4433" y="1921"/>
                </a:moveTo>
                <a:lnTo>
                  <a:pt x="4430" y="1918"/>
                </a:lnTo>
                <a:lnTo>
                  <a:pt x="4431" y="1921"/>
                </a:lnTo>
                <a:lnTo>
                  <a:pt x="4433" y="1921"/>
                </a:lnTo>
                <a:close/>
                <a:moveTo>
                  <a:pt x="4498" y="1917"/>
                </a:moveTo>
                <a:lnTo>
                  <a:pt x="4497" y="1917"/>
                </a:lnTo>
                <a:lnTo>
                  <a:pt x="4497" y="1917"/>
                </a:lnTo>
                <a:lnTo>
                  <a:pt x="4497" y="1917"/>
                </a:lnTo>
                <a:lnTo>
                  <a:pt x="4498" y="1917"/>
                </a:lnTo>
                <a:close/>
                <a:moveTo>
                  <a:pt x="4634" y="2246"/>
                </a:moveTo>
                <a:lnTo>
                  <a:pt x="4632" y="2246"/>
                </a:lnTo>
                <a:lnTo>
                  <a:pt x="4631" y="2246"/>
                </a:lnTo>
                <a:lnTo>
                  <a:pt x="4632" y="2246"/>
                </a:lnTo>
                <a:lnTo>
                  <a:pt x="4633" y="2248"/>
                </a:lnTo>
                <a:lnTo>
                  <a:pt x="4634" y="2250"/>
                </a:lnTo>
                <a:lnTo>
                  <a:pt x="4634" y="2250"/>
                </a:lnTo>
                <a:lnTo>
                  <a:pt x="4634" y="2246"/>
                </a:lnTo>
                <a:close/>
                <a:moveTo>
                  <a:pt x="4835" y="1859"/>
                </a:moveTo>
                <a:lnTo>
                  <a:pt x="4834" y="1859"/>
                </a:lnTo>
                <a:lnTo>
                  <a:pt x="4835" y="1860"/>
                </a:lnTo>
                <a:lnTo>
                  <a:pt x="4835" y="1862"/>
                </a:lnTo>
                <a:lnTo>
                  <a:pt x="4835" y="1862"/>
                </a:lnTo>
                <a:lnTo>
                  <a:pt x="4835" y="1859"/>
                </a:lnTo>
                <a:close/>
                <a:moveTo>
                  <a:pt x="4884" y="1808"/>
                </a:moveTo>
                <a:lnTo>
                  <a:pt x="4884" y="1808"/>
                </a:lnTo>
                <a:lnTo>
                  <a:pt x="4884" y="1809"/>
                </a:lnTo>
                <a:lnTo>
                  <a:pt x="4885" y="1811"/>
                </a:lnTo>
                <a:lnTo>
                  <a:pt x="4887" y="1812"/>
                </a:lnTo>
                <a:lnTo>
                  <a:pt x="4888" y="1809"/>
                </a:lnTo>
                <a:lnTo>
                  <a:pt x="4886" y="1808"/>
                </a:lnTo>
                <a:lnTo>
                  <a:pt x="4884" y="1808"/>
                </a:lnTo>
                <a:close/>
                <a:moveTo>
                  <a:pt x="4898" y="1824"/>
                </a:moveTo>
                <a:lnTo>
                  <a:pt x="4897" y="1824"/>
                </a:lnTo>
                <a:lnTo>
                  <a:pt x="4899" y="1827"/>
                </a:lnTo>
                <a:lnTo>
                  <a:pt x="4899" y="1826"/>
                </a:lnTo>
                <a:lnTo>
                  <a:pt x="4898" y="1824"/>
                </a:lnTo>
                <a:close/>
                <a:moveTo>
                  <a:pt x="4893" y="1812"/>
                </a:moveTo>
                <a:lnTo>
                  <a:pt x="4892" y="1812"/>
                </a:lnTo>
                <a:lnTo>
                  <a:pt x="4892" y="1811"/>
                </a:lnTo>
                <a:lnTo>
                  <a:pt x="4891" y="1813"/>
                </a:lnTo>
                <a:lnTo>
                  <a:pt x="4891" y="1814"/>
                </a:lnTo>
                <a:lnTo>
                  <a:pt x="4893" y="1815"/>
                </a:lnTo>
                <a:lnTo>
                  <a:pt x="4893" y="1812"/>
                </a:lnTo>
                <a:close/>
                <a:moveTo>
                  <a:pt x="4859" y="891"/>
                </a:moveTo>
                <a:lnTo>
                  <a:pt x="4861" y="886"/>
                </a:lnTo>
                <a:lnTo>
                  <a:pt x="4859" y="887"/>
                </a:lnTo>
                <a:lnTo>
                  <a:pt x="4855" y="894"/>
                </a:lnTo>
                <a:lnTo>
                  <a:pt x="4859" y="894"/>
                </a:lnTo>
                <a:lnTo>
                  <a:pt x="4859" y="891"/>
                </a:lnTo>
                <a:close/>
                <a:moveTo>
                  <a:pt x="4903" y="1822"/>
                </a:moveTo>
                <a:lnTo>
                  <a:pt x="4903" y="1820"/>
                </a:lnTo>
                <a:lnTo>
                  <a:pt x="4903" y="1820"/>
                </a:lnTo>
                <a:lnTo>
                  <a:pt x="4901" y="1820"/>
                </a:lnTo>
                <a:lnTo>
                  <a:pt x="4899" y="1820"/>
                </a:lnTo>
                <a:lnTo>
                  <a:pt x="4899" y="1814"/>
                </a:lnTo>
                <a:lnTo>
                  <a:pt x="4898" y="1812"/>
                </a:lnTo>
                <a:lnTo>
                  <a:pt x="4898" y="1812"/>
                </a:lnTo>
                <a:lnTo>
                  <a:pt x="4897" y="1812"/>
                </a:lnTo>
                <a:lnTo>
                  <a:pt x="4894" y="1815"/>
                </a:lnTo>
                <a:lnTo>
                  <a:pt x="4893" y="1817"/>
                </a:lnTo>
                <a:lnTo>
                  <a:pt x="4893" y="1817"/>
                </a:lnTo>
                <a:lnTo>
                  <a:pt x="4895" y="1818"/>
                </a:lnTo>
                <a:lnTo>
                  <a:pt x="4895" y="1818"/>
                </a:lnTo>
                <a:lnTo>
                  <a:pt x="4895" y="1818"/>
                </a:lnTo>
                <a:lnTo>
                  <a:pt x="4895" y="1820"/>
                </a:lnTo>
                <a:lnTo>
                  <a:pt x="4896" y="1820"/>
                </a:lnTo>
                <a:lnTo>
                  <a:pt x="4895" y="1821"/>
                </a:lnTo>
                <a:lnTo>
                  <a:pt x="4893" y="1823"/>
                </a:lnTo>
                <a:lnTo>
                  <a:pt x="4896" y="1823"/>
                </a:lnTo>
                <a:lnTo>
                  <a:pt x="4899" y="1824"/>
                </a:lnTo>
                <a:lnTo>
                  <a:pt x="4904" y="1824"/>
                </a:lnTo>
                <a:lnTo>
                  <a:pt x="4905" y="1824"/>
                </a:lnTo>
                <a:lnTo>
                  <a:pt x="4905" y="1824"/>
                </a:lnTo>
                <a:lnTo>
                  <a:pt x="4904" y="1824"/>
                </a:lnTo>
                <a:lnTo>
                  <a:pt x="4903" y="1824"/>
                </a:lnTo>
                <a:lnTo>
                  <a:pt x="4903" y="1822"/>
                </a:lnTo>
                <a:lnTo>
                  <a:pt x="4902" y="1823"/>
                </a:lnTo>
                <a:lnTo>
                  <a:pt x="4903" y="1822"/>
                </a:lnTo>
                <a:close/>
                <a:moveTo>
                  <a:pt x="4884" y="863"/>
                </a:moveTo>
                <a:lnTo>
                  <a:pt x="4880" y="864"/>
                </a:lnTo>
                <a:lnTo>
                  <a:pt x="4880" y="867"/>
                </a:lnTo>
                <a:lnTo>
                  <a:pt x="4884" y="867"/>
                </a:lnTo>
                <a:lnTo>
                  <a:pt x="4884" y="863"/>
                </a:lnTo>
                <a:close/>
                <a:moveTo>
                  <a:pt x="4905" y="1821"/>
                </a:moveTo>
                <a:lnTo>
                  <a:pt x="4905" y="1821"/>
                </a:lnTo>
                <a:lnTo>
                  <a:pt x="4904" y="1821"/>
                </a:lnTo>
                <a:lnTo>
                  <a:pt x="4905" y="1821"/>
                </a:lnTo>
                <a:close/>
                <a:moveTo>
                  <a:pt x="4891" y="1816"/>
                </a:moveTo>
                <a:lnTo>
                  <a:pt x="4891" y="1818"/>
                </a:lnTo>
                <a:lnTo>
                  <a:pt x="4893" y="1817"/>
                </a:lnTo>
                <a:lnTo>
                  <a:pt x="4892" y="1816"/>
                </a:lnTo>
                <a:lnTo>
                  <a:pt x="4891" y="1816"/>
                </a:lnTo>
                <a:close/>
                <a:moveTo>
                  <a:pt x="4891" y="1801"/>
                </a:moveTo>
                <a:lnTo>
                  <a:pt x="4894" y="1803"/>
                </a:lnTo>
                <a:lnTo>
                  <a:pt x="4897" y="1805"/>
                </a:lnTo>
                <a:lnTo>
                  <a:pt x="4898" y="1804"/>
                </a:lnTo>
                <a:lnTo>
                  <a:pt x="4898" y="1803"/>
                </a:lnTo>
                <a:lnTo>
                  <a:pt x="4893" y="1801"/>
                </a:lnTo>
                <a:lnTo>
                  <a:pt x="4892" y="1798"/>
                </a:lnTo>
                <a:lnTo>
                  <a:pt x="4892" y="1796"/>
                </a:lnTo>
                <a:lnTo>
                  <a:pt x="4889" y="1796"/>
                </a:lnTo>
                <a:lnTo>
                  <a:pt x="4886" y="1796"/>
                </a:lnTo>
                <a:lnTo>
                  <a:pt x="4882" y="1796"/>
                </a:lnTo>
                <a:lnTo>
                  <a:pt x="4886" y="1798"/>
                </a:lnTo>
                <a:lnTo>
                  <a:pt x="4891" y="1801"/>
                </a:lnTo>
                <a:close/>
                <a:moveTo>
                  <a:pt x="4869" y="1803"/>
                </a:moveTo>
                <a:lnTo>
                  <a:pt x="4869" y="1805"/>
                </a:lnTo>
                <a:lnTo>
                  <a:pt x="4872" y="1805"/>
                </a:lnTo>
                <a:lnTo>
                  <a:pt x="4869" y="1803"/>
                </a:lnTo>
                <a:lnTo>
                  <a:pt x="4869" y="1803"/>
                </a:lnTo>
                <a:close/>
                <a:moveTo>
                  <a:pt x="4871" y="1793"/>
                </a:moveTo>
                <a:lnTo>
                  <a:pt x="4871" y="1791"/>
                </a:lnTo>
                <a:lnTo>
                  <a:pt x="4869" y="1788"/>
                </a:lnTo>
                <a:lnTo>
                  <a:pt x="4867" y="1786"/>
                </a:lnTo>
                <a:lnTo>
                  <a:pt x="4867" y="1783"/>
                </a:lnTo>
                <a:lnTo>
                  <a:pt x="4866" y="1782"/>
                </a:lnTo>
                <a:lnTo>
                  <a:pt x="4865" y="1780"/>
                </a:lnTo>
                <a:lnTo>
                  <a:pt x="4864" y="1780"/>
                </a:lnTo>
                <a:lnTo>
                  <a:pt x="4863" y="1780"/>
                </a:lnTo>
                <a:lnTo>
                  <a:pt x="4855" y="1780"/>
                </a:lnTo>
                <a:lnTo>
                  <a:pt x="4855" y="1783"/>
                </a:lnTo>
                <a:lnTo>
                  <a:pt x="4859" y="1786"/>
                </a:lnTo>
                <a:lnTo>
                  <a:pt x="4861" y="1786"/>
                </a:lnTo>
                <a:lnTo>
                  <a:pt x="4863" y="1787"/>
                </a:lnTo>
                <a:lnTo>
                  <a:pt x="4863" y="1791"/>
                </a:lnTo>
                <a:lnTo>
                  <a:pt x="4864" y="1792"/>
                </a:lnTo>
                <a:lnTo>
                  <a:pt x="4865" y="1793"/>
                </a:lnTo>
                <a:lnTo>
                  <a:pt x="4868" y="1794"/>
                </a:lnTo>
                <a:lnTo>
                  <a:pt x="4870" y="1795"/>
                </a:lnTo>
                <a:lnTo>
                  <a:pt x="4871" y="1793"/>
                </a:lnTo>
                <a:close/>
                <a:moveTo>
                  <a:pt x="4872" y="1799"/>
                </a:moveTo>
                <a:lnTo>
                  <a:pt x="4872" y="1800"/>
                </a:lnTo>
                <a:lnTo>
                  <a:pt x="4872" y="1800"/>
                </a:lnTo>
                <a:lnTo>
                  <a:pt x="4872" y="1801"/>
                </a:lnTo>
                <a:lnTo>
                  <a:pt x="4874" y="1800"/>
                </a:lnTo>
                <a:lnTo>
                  <a:pt x="4872" y="1799"/>
                </a:lnTo>
                <a:lnTo>
                  <a:pt x="4872" y="1799"/>
                </a:lnTo>
                <a:close/>
                <a:moveTo>
                  <a:pt x="4870" y="861"/>
                </a:moveTo>
                <a:lnTo>
                  <a:pt x="4869" y="861"/>
                </a:lnTo>
                <a:lnTo>
                  <a:pt x="4870" y="863"/>
                </a:lnTo>
                <a:lnTo>
                  <a:pt x="4873" y="863"/>
                </a:lnTo>
                <a:lnTo>
                  <a:pt x="4870" y="861"/>
                </a:lnTo>
                <a:close/>
                <a:moveTo>
                  <a:pt x="4876" y="867"/>
                </a:moveTo>
                <a:lnTo>
                  <a:pt x="4873" y="872"/>
                </a:lnTo>
                <a:lnTo>
                  <a:pt x="4868" y="872"/>
                </a:lnTo>
                <a:lnTo>
                  <a:pt x="4863" y="873"/>
                </a:lnTo>
                <a:lnTo>
                  <a:pt x="4863" y="879"/>
                </a:lnTo>
                <a:lnTo>
                  <a:pt x="4869" y="877"/>
                </a:lnTo>
                <a:lnTo>
                  <a:pt x="4875" y="875"/>
                </a:lnTo>
                <a:lnTo>
                  <a:pt x="4880" y="870"/>
                </a:lnTo>
                <a:lnTo>
                  <a:pt x="4878" y="865"/>
                </a:lnTo>
                <a:lnTo>
                  <a:pt x="4876" y="867"/>
                </a:lnTo>
                <a:close/>
                <a:moveTo>
                  <a:pt x="4879" y="865"/>
                </a:moveTo>
                <a:lnTo>
                  <a:pt x="4879" y="865"/>
                </a:lnTo>
                <a:lnTo>
                  <a:pt x="4879" y="865"/>
                </a:lnTo>
                <a:lnTo>
                  <a:pt x="4879" y="865"/>
                </a:lnTo>
                <a:close/>
                <a:moveTo>
                  <a:pt x="4835" y="2070"/>
                </a:moveTo>
                <a:lnTo>
                  <a:pt x="4835" y="2070"/>
                </a:lnTo>
                <a:lnTo>
                  <a:pt x="4835" y="2070"/>
                </a:lnTo>
                <a:lnTo>
                  <a:pt x="4835" y="2070"/>
                </a:lnTo>
                <a:lnTo>
                  <a:pt x="4835" y="2070"/>
                </a:lnTo>
                <a:close/>
                <a:moveTo>
                  <a:pt x="4749" y="2383"/>
                </a:moveTo>
                <a:lnTo>
                  <a:pt x="4748" y="2384"/>
                </a:lnTo>
                <a:lnTo>
                  <a:pt x="4747" y="2385"/>
                </a:lnTo>
                <a:lnTo>
                  <a:pt x="4748" y="2387"/>
                </a:lnTo>
                <a:lnTo>
                  <a:pt x="4750" y="2388"/>
                </a:lnTo>
                <a:lnTo>
                  <a:pt x="4751" y="2385"/>
                </a:lnTo>
                <a:lnTo>
                  <a:pt x="4750" y="2383"/>
                </a:lnTo>
                <a:lnTo>
                  <a:pt x="4750" y="2383"/>
                </a:lnTo>
                <a:lnTo>
                  <a:pt x="4749" y="2383"/>
                </a:lnTo>
                <a:close/>
                <a:moveTo>
                  <a:pt x="4606" y="775"/>
                </a:moveTo>
                <a:lnTo>
                  <a:pt x="4606" y="775"/>
                </a:lnTo>
                <a:lnTo>
                  <a:pt x="4606" y="775"/>
                </a:lnTo>
                <a:lnTo>
                  <a:pt x="4606" y="775"/>
                </a:lnTo>
                <a:close/>
                <a:moveTo>
                  <a:pt x="4608" y="794"/>
                </a:moveTo>
                <a:lnTo>
                  <a:pt x="4612" y="792"/>
                </a:lnTo>
                <a:lnTo>
                  <a:pt x="4612" y="792"/>
                </a:lnTo>
                <a:lnTo>
                  <a:pt x="4611" y="792"/>
                </a:lnTo>
                <a:lnTo>
                  <a:pt x="4607" y="794"/>
                </a:lnTo>
                <a:lnTo>
                  <a:pt x="4604" y="796"/>
                </a:lnTo>
                <a:lnTo>
                  <a:pt x="4604" y="796"/>
                </a:lnTo>
                <a:lnTo>
                  <a:pt x="4608" y="794"/>
                </a:lnTo>
                <a:close/>
                <a:moveTo>
                  <a:pt x="4602" y="796"/>
                </a:moveTo>
                <a:lnTo>
                  <a:pt x="4603" y="797"/>
                </a:lnTo>
                <a:lnTo>
                  <a:pt x="4604" y="796"/>
                </a:lnTo>
                <a:lnTo>
                  <a:pt x="4602" y="796"/>
                </a:lnTo>
                <a:close/>
                <a:moveTo>
                  <a:pt x="4606" y="775"/>
                </a:moveTo>
                <a:lnTo>
                  <a:pt x="4601" y="778"/>
                </a:lnTo>
                <a:lnTo>
                  <a:pt x="4596" y="780"/>
                </a:lnTo>
                <a:lnTo>
                  <a:pt x="4602" y="780"/>
                </a:lnTo>
                <a:lnTo>
                  <a:pt x="4606" y="775"/>
                </a:lnTo>
                <a:close/>
                <a:moveTo>
                  <a:pt x="4610" y="786"/>
                </a:moveTo>
                <a:lnTo>
                  <a:pt x="4610" y="786"/>
                </a:lnTo>
                <a:lnTo>
                  <a:pt x="4609" y="789"/>
                </a:lnTo>
                <a:lnTo>
                  <a:pt x="4610" y="790"/>
                </a:lnTo>
                <a:lnTo>
                  <a:pt x="4610" y="790"/>
                </a:lnTo>
                <a:lnTo>
                  <a:pt x="4610" y="786"/>
                </a:lnTo>
                <a:close/>
                <a:moveTo>
                  <a:pt x="4447" y="1118"/>
                </a:moveTo>
                <a:lnTo>
                  <a:pt x="4447" y="1118"/>
                </a:lnTo>
                <a:lnTo>
                  <a:pt x="4445" y="1118"/>
                </a:lnTo>
                <a:lnTo>
                  <a:pt x="4445" y="1122"/>
                </a:lnTo>
                <a:lnTo>
                  <a:pt x="4446" y="1122"/>
                </a:lnTo>
                <a:lnTo>
                  <a:pt x="4447" y="1120"/>
                </a:lnTo>
                <a:lnTo>
                  <a:pt x="4447" y="1118"/>
                </a:lnTo>
                <a:close/>
                <a:moveTo>
                  <a:pt x="4618" y="778"/>
                </a:moveTo>
                <a:lnTo>
                  <a:pt x="4614" y="776"/>
                </a:lnTo>
                <a:lnTo>
                  <a:pt x="4610" y="774"/>
                </a:lnTo>
                <a:lnTo>
                  <a:pt x="4605" y="784"/>
                </a:lnTo>
                <a:lnTo>
                  <a:pt x="4609" y="780"/>
                </a:lnTo>
                <a:lnTo>
                  <a:pt x="4610" y="783"/>
                </a:lnTo>
                <a:lnTo>
                  <a:pt x="4612" y="786"/>
                </a:lnTo>
                <a:lnTo>
                  <a:pt x="4618" y="778"/>
                </a:lnTo>
                <a:close/>
                <a:moveTo>
                  <a:pt x="4602" y="799"/>
                </a:moveTo>
                <a:lnTo>
                  <a:pt x="4604" y="799"/>
                </a:lnTo>
                <a:lnTo>
                  <a:pt x="4605" y="799"/>
                </a:lnTo>
                <a:lnTo>
                  <a:pt x="4603" y="797"/>
                </a:lnTo>
                <a:lnTo>
                  <a:pt x="4602" y="797"/>
                </a:lnTo>
                <a:lnTo>
                  <a:pt x="4602" y="799"/>
                </a:lnTo>
                <a:close/>
                <a:moveTo>
                  <a:pt x="4506" y="1015"/>
                </a:moveTo>
                <a:lnTo>
                  <a:pt x="4506" y="1015"/>
                </a:lnTo>
                <a:lnTo>
                  <a:pt x="4506" y="1015"/>
                </a:lnTo>
                <a:lnTo>
                  <a:pt x="4506" y="1015"/>
                </a:lnTo>
                <a:close/>
                <a:moveTo>
                  <a:pt x="3385" y="1073"/>
                </a:moveTo>
                <a:lnTo>
                  <a:pt x="3390" y="1073"/>
                </a:lnTo>
                <a:lnTo>
                  <a:pt x="3385" y="1071"/>
                </a:lnTo>
                <a:lnTo>
                  <a:pt x="3385" y="1073"/>
                </a:lnTo>
                <a:close/>
                <a:moveTo>
                  <a:pt x="3303" y="965"/>
                </a:moveTo>
                <a:lnTo>
                  <a:pt x="3303" y="965"/>
                </a:lnTo>
                <a:lnTo>
                  <a:pt x="3303" y="965"/>
                </a:lnTo>
                <a:lnTo>
                  <a:pt x="3303" y="965"/>
                </a:lnTo>
                <a:lnTo>
                  <a:pt x="3303" y="965"/>
                </a:lnTo>
                <a:close/>
                <a:moveTo>
                  <a:pt x="3317" y="957"/>
                </a:moveTo>
                <a:lnTo>
                  <a:pt x="3317" y="957"/>
                </a:lnTo>
                <a:lnTo>
                  <a:pt x="3317" y="957"/>
                </a:lnTo>
                <a:lnTo>
                  <a:pt x="3317" y="957"/>
                </a:lnTo>
                <a:close/>
                <a:moveTo>
                  <a:pt x="3194" y="1809"/>
                </a:moveTo>
                <a:lnTo>
                  <a:pt x="3189" y="1813"/>
                </a:lnTo>
                <a:lnTo>
                  <a:pt x="3193" y="1813"/>
                </a:lnTo>
                <a:lnTo>
                  <a:pt x="3194" y="1809"/>
                </a:lnTo>
                <a:close/>
                <a:moveTo>
                  <a:pt x="5373" y="529"/>
                </a:moveTo>
                <a:lnTo>
                  <a:pt x="5373" y="530"/>
                </a:lnTo>
                <a:lnTo>
                  <a:pt x="5366" y="529"/>
                </a:lnTo>
                <a:lnTo>
                  <a:pt x="5360" y="535"/>
                </a:lnTo>
                <a:lnTo>
                  <a:pt x="5361" y="535"/>
                </a:lnTo>
                <a:lnTo>
                  <a:pt x="5361" y="537"/>
                </a:lnTo>
                <a:lnTo>
                  <a:pt x="5360" y="538"/>
                </a:lnTo>
                <a:lnTo>
                  <a:pt x="5347" y="533"/>
                </a:lnTo>
                <a:lnTo>
                  <a:pt x="5354" y="541"/>
                </a:lnTo>
                <a:lnTo>
                  <a:pt x="5352" y="542"/>
                </a:lnTo>
                <a:lnTo>
                  <a:pt x="5348" y="541"/>
                </a:lnTo>
                <a:lnTo>
                  <a:pt x="5342" y="542"/>
                </a:lnTo>
                <a:lnTo>
                  <a:pt x="5342" y="542"/>
                </a:lnTo>
                <a:lnTo>
                  <a:pt x="5343" y="543"/>
                </a:lnTo>
                <a:lnTo>
                  <a:pt x="5340" y="543"/>
                </a:lnTo>
                <a:lnTo>
                  <a:pt x="5342" y="542"/>
                </a:lnTo>
                <a:lnTo>
                  <a:pt x="5338" y="541"/>
                </a:lnTo>
                <a:lnTo>
                  <a:pt x="5336" y="541"/>
                </a:lnTo>
                <a:lnTo>
                  <a:pt x="5335" y="538"/>
                </a:lnTo>
                <a:lnTo>
                  <a:pt x="5329" y="537"/>
                </a:lnTo>
                <a:lnTo>
                  <a:pt x="5331" y="539"/>
                </a:lnTo>
                <a:lnTo>
                  <a:pt x="5333" y="542"/>
                </a:lnTo>
                <a:lnTo>
                  <a:pt x="5334" y="544"/>
                </a:lnTo>
                <a:lnTo>
                  <a:pt x="5335" y="547"/>
                </a:lnTo>
                <a:lnTo>
                  <a:pt x="5337" y="547"/>
                </a:lnTo>
                <a:lnTo>
                  <a:pt x="5336" y="550"/>
                </a:lnTo>
                <a:lnTo>
                  <a:pt x="5337" y="552"/>
                </a:lnTo>
                <a:lnTo>
                  <a:pt x="5335" y="554"/>
                </a:lnTo>
                <a:lnTo>
                  <a:pt x="5333" y="556"/>
                </a:lnTo>
                <a:lnTo>
                  <a:pt x="5329" y="558"/>
                </a:lnTo>
                <a:lnTo>
                  <a:pt x="5327" y="558"/>
                </a:lnTo>
                <a:lnTo>
                  <a:pt x="5329" y="560"/>
                </a:lnTo>
                <a:lnTo>
                  <a:pt x="5326" y="560"/>
                </a:lnTo>
                <a:lnTo>
                  <a:pt x="5324" y="561"/>
                </a:lnTo>
                <a:lnTo>
                  <a:pt x="5333" y="565"/>
                </a:lnTo>
                <a:lnTo>
                  <a:pt x="5334" y="566"/>
                </a:lnTo>
                <a:lnTo>
                  <a:pt x="5335" y="567"/>
                </a:lnTo>
                <a:lnTo>
                  <a:pt x="5332" y="569"/>
                </a:lnTo>
                <a:lnTo>
                  <a:pt x="5328" y="565"/>
                </a:lnTo>
                <a:lnTo>
                  <a:pt x="5327" y="566"/>
                </a:lnTo>
                <a:lnTo>
                  <a:pt x="5325" y="567"/>
                </a:lnTo>
                <a:lnTo>
                  <a:pt x="5325" y="568"/>
                </a:lnTo>
                <a:lnTo>
                  <a:pt x="5325" y="569"/>
                </a:lnTo>
                <a:lnTo>
                  <a:pt x="5325" y="569"/>
                </a:lnTo>
                <a:lnTo>
                  <a:pt x="5323" y="570"/>
                </a:lnTo>
                <a:lnTo>
                  <a:pt x="5322" y="571"/>
                </a:lnTo>
                <a:lnTo>
                  <a:pt x="5320" y="570"/>
                </a:lnTo>
                <a:lnTo>
                  <a:pt x="5319" y="569"/>
                </a:lnTo>
                <a:lnTo>
                  <a:pt x="5320" y="568"/>
                </a:lnTo>
                <a:lnTo>
                  <a:pt x="5322" y="567"/>
                </a:lnTo>
                <a:lnTo>
                  <a:pt x="5320" y="565"/>
                </a:lnTo>
                <a:lnTo>
                  <a:pt x="5319" y="564"/>
                </a:lnTo>
                <a:lnTo>
                  <a:pt x="5321" y="567"/>
                </a:lnTo>
                <a:lnTo>
                  <a:pt x="5315" y="570"/>
                </a:lnTo>
                <a:lnTo>
                  <a:pt x="5313" y="569"/>
                </a:lnTo>
                <a:lnTo>
                  <a:pt x="5310" y="569"/>
                </a:lnTo>
                <a:lnTo>
                  <a:pt x="5310" y="567"/>
                </a:lnTo>
                <a:lnTo>
                  <a:pt x="5309" y="565"/>
                </a:lnTo>
                <a:lnTo>
                  <a:pt x="5304" y="564"/>
                </a:lnTo>
                <a:lnTo>
                  <a:pt x="5299" y="563"/>
                </a:lnTo>
                <a:lnTo>
                  <a:pt x="5289" y="563"/>
                </a:lnTo>
                <a:lnTo>
                  <a:pt x="5289" y="558"/>
                </a:lnTo>
                <a:lnTo>
                  <a:pt x="5283" y="553"/>
                </a:lnTo>
                <a:lnTo>
                  <a:pt x="5285" y="550"/>
                </a:lnTo>
                <a:lnTo>
                  <a:pt x="5284" y="545"/>
                </a:lnTo>
                <a:lnTo>
                  <a:pt x="5281" y="542"/>
                </a:lnTo>
                <a:lnTo>
                  <a:pt x="5266" y="538"/>
                </a:lnTo>
                <a:lnTo>
                  <a:pt x="5263" y="541"/>
                </a:lnTo>
                <a:lnTo>
                  <a:pt x="5260" y="543"/>
                </a:lnTo>
                <a:lnTo>
                  <a:pt x="5247" y="543"/>
                </a:lnTo>
                <a:lnTo>
                  <a:pt x="5247" y="540"/>
                </a:lnTo>
                <a:lnTo>
                  <a:pt x="5248" y="537"/>
                </a:lnTo>
                <a:lnTo>
                  <a:pt x="5243" y="535"/>
                </a:lnTo>
                <a:lnTo>
                  <a:pt x="5241" y="533"/>
                </a:lnTo>
                <a:lnTo>
                  <a:pt x="5240" y="530"/>
                </a:lnTo>
                <a:lnTo>
                  <a:pt x="5241" y="529"/>
                </a:lnTo>
                <a:lnTo>
                  <a:pt x="5245" y="526"/>
                </a:lnTo>
                <a:lnTo>
                  <a:pt x="5245" y="519"/>
                </a:lnTo>
                <a:lnTo>
                  <a:pt x="5240" y="527"/>
                </a:lnTo>
                <a:lnTo>
                  <a:pt x="5236" y="527"/>
                </a:lnTo>
                <a:lnTo>
                  <a:pt x="5234" y="523"/>
                </a:lnTo>
                <a:lnTo>
                  <a:pt x="5232" y="519"/>
                </a:lnTo>
                <a:lnTo>
                  <a:pt x="5232" y="522"/>
                </a:lnTo>
                <a:lnTo>
                  <a:pt x="5230" y="522"/>
                </a:lnTo>
                <a:lnTo>
                  <a:pt x="5235" y="527"/>
                </a:lnTo>
                <a:lnTo>
                  <a:pt x="5234" y="527"/>
                </a:lnTo>
                <a:lnTo>
                  <a:pt x="5228" y="527"/>
                </a:lnTo>
                <a:lnTo>
                  <a:pt x="5228" y="526"/>
                </a:lnTo>
                <a:lnTo>
                  <a:pt x="5227" y="526"/>
                </a:lnTo>
                <a:lnTo>
                  <a:pt x="5224" y="532"/>
                </a:lnTo>
                <a:lnTo>
                  <a:pt x="5228" y="535"/>
                </a:lnTo>
                <a:lnTo>
                  <a:pt x="5232" y="538"/>
                </a:lnTo>
                <a:lnTo>
                  <a:pt x="5232" y="541"/>
                </a:lnTo>
                <a:lnTo>
                  <a:pt x="5228" y="544"/>
                </a:lnTo>
                <a:lnTo>
                  <a:pt x="5228" y="549"/>
                </a:lnTo>
                <a:lnTo>
                  <a:pt x="5228" y="549"/>
                </a:lnTo>
                <a:lnTo>
                  <a:pt x="5228" y="550"/>
                </a:lnTo>
                <a:lnTo>
                  <a:pt x="5224" y="552"/>
                </a:lnTo>
                <a:lnTo>
                  <a:pt x="5218" y="558"/>
                </a:lnTo>
                <a:lnTo>
                  <a:pt x="5205" y="564"/>
                </a:lnTo>
                <a:lnTo>
                  <a:pt x="5206" y="564"/>
                </a:lnTo>
                <a:lnTo>
                  <a:pt x="5208" y="563"/>
                </a:lnTo>
                <a:lnTo>
                  <a:pt x="5190" y="563"/>
                </a:lnTo>
                <a:lnTo>
                  <a:pt x="5189" y="557"/>
                </a:lnTo>
                <a:lnTo>
                  <a:pt x="5183" y="554"/>
                </a:lnTo>
                <a:lnTo>
                  <a:pt x="5182" y="554"/>
                </a:lnTo>
                <a:lnTo>
                  <a:pt x="5184" y="556"/>
                </a:lnTo>
                <a:lnTo>
                  <a:pt x="5187" y="558"/>
                </a:lnTo>
                <a:lnTo>
                  <a:pt x="5182" y="560"/>
                </a:lnTo>
                <a:lnTo>
                  <a:pt x="5177" y="556"/>
                </a:lnTo>
                <a:lnTo>
                  <a:pt x="5174" y="558"/>
                </a:lnTo>
                <a:lnTo>
                  <a:pt x="5171" y="557"/>
                </a:lnTo>
                <a:lnTo>
                  <a:pt x="5169" y="555"/>
                </a:lnTo>
                <a:lnTo>
                  <a:pt x="5167" y="557"/>
                </a:lnTo>
                <a:lnTo>
                  <a:pt x="5166" y="558"/>
                </a:lnTo>
                <a:lnTo>
                  <a:pt x="5167" y="557"/>
                </a:lnTo>
                <a:lnTo>
                  <a:pt x="5169" y="556"/>
                </a:lnTo>
                <a:lnTo>
                  <a:pt x="5171" y="558"/>
                </a:lnTo>
                <a:lnTo>
                  <a:pt x="5174" y="559"/>
                </a:lnTo>
                <a:lnTo>
                  <a:pt x="5174" y="559"/>
                </a:lnTo>
                <a:lnTo>
                  <a:pt x="5171" y="561"/>
                </a:lnTo>
                <a:lnTo>
                  <a:pt x="5168" y="564"/>
                </a:lnTo>
                <a:lnTo>
                  <a:pt x="5168" y="565"/>
                </a:lnTo>
                <a:lnTo>
                  <a:pt x="5171" y="563"/>
                </a:lnTo>
                <a:lnTo>
                  <a:pt x="5174" y="561"/>
                </a:lnTo>
                <a:lnTo>
                  <a:pt x="5178" y="565"/>
                </a:lnTo>
                <a:lnTo>
                  <a:pt x="5182" y="561"/>
                </a:lnTo>
                <a:lnTo>
                  <a:pt x="5189" y="560"/>
                </a:lnTo>
                <a:lnTo>
                  <a:pt x="5187" y="565"/>
                </a:lnTo>
                <a:lnTo>
                  <a:pt x="5190" y="569"/>
                </a:lnTo>
                <a:lnTo>
                  <a:pt x="5197" y="572"/>
                </a:lnTo>
                <a:lnTo>
                  <a:pt x="5200" y="569"/>
                </a:lnTo>
                <a:lnTo>
                  <a:pt x="5200" y="569"/>
                </a:lnTo>
                <a:lnTo>
                  <a:pt x="5200" y="569"/>
                </a:lnTo>
                <a:lnTo>
                  <a:pt x="5201" y="571"/>
                </a:lnTo>
                <a:lnTo>
                  <a:pt x="5204" y="576"/>
                </a:lnTo>
                <a:lnTo>
                  <a:pt x="5202" y="579"/>
                </a:lnTo>
                <a:lnTo>
                  <a:pt x="5205" y="579"/>
                </a:lnTo>
                <a:lnTo>
                  <a:pt x="5206" y="583"/>
                </a:lnTo>
                <a:lnTo>
                  <a:pt x="5208" y="587"/>
                </a:lnTo>
                <a:lnTo>
                  <a:pt x="5205" y="587"/>
                </a:lnTo>
                <a:lnTo>
                  <a:pt x="5201" y="591"/>
                </a:lnTo>
                <a:lnTo>
                  <a:pt x="5208" y="591"/>
                </a:lnTo>
                <a:lnTo>
                  <a:pt x="5208" y="591"/>
                </a:lnTo>
                <a:lnTo>
                  <a:pt x="5208" y="591"/>
                </a:lnTo>
                <a:lnTo>
                  <a:pt x="5206" y="592"/>
                </a:lnTo>
                <a:lnTo>
                  <a:pt x="5205" y="592"/>
                </a:lnTo>
                <a:lnTo>
                  <a:pt x="5209" y="591"/>
                </a:lnTo>
                <a:lnTo>
                  <a:pt x="5208" y="589"/>
                </a:lnTo>
                <a:lnTo>
                  <a:pt x="5208" y="588"/>
                </a:lnTo>
                <a:lnTo>
                  <a:pt x="5209" y="591"/>
                </a:lnTo>
                <a:lnTo>
                  <a:pt x="5210" y="594"/>
                </a:lnTo>
                <a:lnTo>
                  <a:pt x="5208" y="592"/>
                </a:lnTo>
                <a:lnTo>
                  <a:pt x="5208" y="594"/>
                </a:lnTo>
                <a:lnTo>
                  <a:pt x="5216" y="598"/>
                </a:lnTo>
                <a:lnTo>
                  <a:pt x="5216" y="602"/>
                </a:lnTo>
                <a:lnTo>
                  <a:pt x="5212" y="604"/>
                </a:lnTo>
                <a:lnTo>
                  <a:pt x="5216" y="607"/>
                </a:lnTo>
                <a:lnTo>
                  <a:pt x="5216" y="611"/>
                </a:lnTo>
                <a:lnTo>
                  <a:pt x="5214" y="613"/>
                </a:lnTo>
                <a:lnTo>
                  <a:pt x="5211" y="615"/>
                </a:lnTo>
                <a:lnTo>
                  <a:pt x="5212" y="617"/>
                </a:lnTo>
                <a:lnTo>
                  <a:pt x="5213" y="618"/>
                </a:lnTo>
                <a:lnTo>
                  <a:pt x="5212" y="619"/>
                </a:lnTo>
                <a:lnTo>
                  <a:pt x="5211" y="620"/>
                </a:lnTo>
                <a:lnTo>
                  <a:pt x="5204" y="617"/>
                </a:lnTo>
                <a:lnTo>
                  <a:pt x="5196" y="613"/>
                </a:lnTo>
                <a:lnTo>
                  <a:pt x="5187" y="611"/>
                </a:lnTo>
                <a:lnTo>
                  <a:pt x="5177" y="613"/>
                </a:lnTo>
                <a:lnTo>
                  <a:pt x="5171" y="618"/>
                </a:lnTo>
                <a:lnTo>
                  <a:pt x="5160" y="623"/>
                </a:lnTo>
                <a:lnTo>
                  <a:pt x="5150" y="628"/>
                </a:lnTo>
                <a:lnTo>
                  <a:pt x="5146" y="627"/>
                </a:lnTo>
                <a:lnTo>
                  <a:pt x="5147" y="627"/>
                </a:lnTo>
                <a:lnTo>
                  <a:pt x="5149" y="628"/>
                </a:lnTo>
                <a:lnTo>
                  <a:pt x="5147" y="630"/>
                </a:lnTo>
                <a:lnTo>
                  <a:pt x="5146" y="632"/>
                </a:lnTo>
                <a:lnTo>
                  <a:pt x="5140" y="632"/>
                </a:lnTo>
                <a:lnTo>
                  <a:pt x="5138" y="633"/>
                </a:lnTo>
                <a:lnTo>
                  <a:pt x="5137" y="633"/>
                </a:lnTo>
                <a:lnTo>
                  <a:pt x="5135" y="634"/>
                </a:lnTo>
                <a:lnTo>
                  <a:pt x="5132" y="633"/>
                </a:lnTo>
                <a:lnTo>
                  <a:pt x="5131" y="640"/>
                </a:lnTo>
                <a:lnTo>
                  <a:pt x="5130" y="640"/>
                </a:lnTo>
                <a:lnTo>
                  <a:pt x="5126" y="641"/>
                </a:lnTo>
                <a:lnTo>
                  <a:pt x="5123" y="639"/>
                </a:lnTo>
                <a:lnTo>
                  <a:pt x="5119" y="641"/>
                </a:lnTo>
                <a:lnTo>
                  <a:pt x="5123" y="644"/>
                </a:lnTo>
                <a:lnTo>
                  <a:pt x="5119" y="644"/>
                </a:lnTo>
                <a:lnTo>
                  <a:pt x="5121" y="644"/>
                </a:lnTo>
                <a:lnTo>
                  <a:pt x="5117" y="645"/>
                </a:lnTo>
                <a:lnTo>
                  <a:pt x="5112" y="643"/>
                </a:lnTo>
                <a:lnTo>
                  <a:pt x="5112" y="646"/>
                </a:lnTo>
                <a:lnTo>
                  <a:pt x="5116" y="652"/>
                </a:lnTo>
                <a:lnTo>
                  <a:pt x="5112" y="652"/>
                </a:lnTo>
                <a:lnTo>
                  <a:pt x="5111" y="649"/>
                </a:lnTo>
                <a:lnTo>
                  <a:pt x="5111" y="652"/>
                </a:lnTo>
                <a:lnTo>
                  <a:pt x="5108" y="649"/>
                </a:lnTo>
                <a:lnTo>
                  <a:pt x="5108" y="656"/>
                </a:lnTo>
                <a:lnTo>
                  <a:pt x="5100" y="656"/>
                </a:lnTo>
                <a:lnTo>
                  <a:pt x="5100" y="657"/>
                </a:lnTo>
                <a:lnTo>
                  <a:pt x="5094" y="659"/>
                </a:lnTo>
                <a:lnTo>
                  <a:pt x="5088" y="662"/>
                </a:lnTo>
                <a:lnTo>
                  <a:pt x="5088" y="665"/>
                </a:lnTo>
                <a:lnTo>
                  <a:pt x="5088" y="666"/>
                </a:lnTo>
                <a:lnTo>
                  <a:pt x="5089" y="667"/>
                </a:lnTo>
                <a:lnTo>
                  <a:pt x="5087" y="671"/>
                </a:lnTo>
                <a:lnTo>
                  <a:pt x="5086" y="676"/>
                </a:lnTo>
                <a:lnTo>
                  <a:pt x="5085" y="676"/>
                </a:lnTo>
                <a:lnTo>
                  <a:pt x="5078" y="670"/>
                </a:lnTo>
                <a:lnTo>
                  <a:pt x="5075" y="662"/>
                </a:lnTo>
                <a:lnTo>
                  <a:pt x="5064" y="657"/>
                </a:lnTo>
                <a:lnTo>
                  <a:pt x="5064" y="660"/>
                </a:lnTo>
                <a:lnTo>
                  <a:pt x="5053" y="657"/>
                </a:lnTo>
                <a:lnTo>
                  <a:pt x="5038" y="665"/>
                </a:lnTo>
                <a:lnTo>
                  <a:pt x="5031" y="670"/>
                </a:lnTo>
                <a:lnTo>
                  <a:pt x="5024" y="676"/>
                </a:lnTo>
                <a:lnTo>
                  <a:pt x="5026" y="664"/>
                </a:lnTo>
                <a:lnTo>
                  <a:pt x="5023" y="664"/>
                </a:lnTo>
                <a:lnTo>
                  <a:pt x="5012" y="670"/>
                </a:lnTo>
                <a:lnTo>
                  <a:pt x="5012" y="671"/>
                </a:lnTo>
                <a:lnTo>
                  <a:pt x="5010" y="674"/>
                </a:lnTo>
                <a:lnTo>
                  <a:pt x="5008" y="676"/>
                </a:lnTo>
                <a:lnTo>
                  <a:pt x="5008" y="676"/>
                </a:lnTo>
                <a:lnTo>
                  <a:pt x="5008" y="676"/>
                </a:lnTo>
                <a:lnTo>
                  <a:pt x="5006" y="675"/>
                </a:lnTo>
                <a:lnTo>
                  <a:pt x="5004" y="674"/>
                </a:lnTo>
                <a:lnTo>
                  <a:pt x="5000" y="672"/>
                </a:lnTo>
                <a:lnTo>
                  <a:pt x="4996" y="672"/>
                </a:lnTo>
                <a:lnTo>
                  <a:pt x="4996" y="671"/>
                </a:lnTo>
                <a:lnTo>
                  <a:pt x="4994" y="673"/>
                </a:lnTo>
                <a:lnTo>
                  <a:pt x="4993" y="672"/>
                </a:lnTo>
                <a:lnTo>
                  <a:pt x="4989" y="672"/>
                </a:lnTo>
                <a:lnTo>
                  <a:pt x="4990" y="673"/>
                </a:lnTo>
                <a:lnTo>
                  <a:pt x="4987" y="673"/>
                </a:lnTo>
                <a:lnTo>
                  <a:pt x="4983" y="676"/>
                </a:lnTo>
                <a:lnTo>
                  <a:pt x="4983" y="679"/>
                </a:lnTo>
                <a:lnTo>
                  <a:pt x="4980" y="680"/>
                </a:lnTo>
                <a:lnTo>
                  <a:pt x="4984" y="685"/>
                </a:lnTo>
                <a:lnTo>
                  <a:pt x="4981" y="688"/>
                </a:lnTo>
                <a:lnTo>
                  <a:pt x="4978" y="688"/>
                </a:lnTo>
                <a:lnTo>
                  <a:pt x="4981" y="692"/>
                </a:lnTo>
                <a:lnTo>
                  <a:pt x="4978" y="692"/>
                </a:lnTo>
                <a:lnTo>
                  <a:pt x="4977" y="692"/>
                </a:lnTo>
                <a:lnTo>
                  <a:pt x="4978" y="695"/>
                </a:lnTo>
                <a:lnTo>
                  <a:pt x="4970" y="700"/>
                </a:lnTo>
                <a:lnTo>
                  <a:pt x="4966" y="706"/>
                </a:lnTo>
                <a:lnTo>
                  <a:pt x="4964" y="709"/>
                </a:lnTo>
                <a:lnTo>
                  <a:pt x="4963" y="713"/>
                </a:lnTo>
                <a:lnTo>
                  <a:pt x="4964" y="716"/>
                </a:lnTo>
                <a:lnTo>
                  <a:pt x="4965" y="718"/>
                </a:lnTo>
                <a:lnTo>
                  <a:pt x="4967" y="721"/>
                </a:lnTo>
                <a:lnTo>
                  <a:pt x="4967" y="722"/>
                </a:lnTo>
                <a:lnTo>
                  <a:pt x="4970" y="717"/>
                </a:lnTo>
                <a:lnTo>
                  <a:pt x="4979" y="718"/>
                </a:lnTo>
                <a:lnTo>
                  <a:pt x="4979" y="721"/>
                </a:lnTo>
                <a:lnTo>
                  <a:pt x="4979" y="725"/>
                </a:lnTo>
                <a:lnTo>
                  <a:pt x="4973" y="728"/>
                </a:lnTo>
                <a:lnTo>
                  <a:pt x="4975" y="734"/>
                </a:lnTo>
                <a:lnTo>
                  <a:pt x="4975" y="741"/>
                </a:lnTo>
                <a:lnTo>
                  <a:pt x="4977" y="743"/>
                </a:lnTo>
                <a:lnTo>
                  <a:pt x="4981" y="740"/>
                </a:lnTo>
                <a:lnTo>
                  <a:pt x="4983" y="752"/>
                </a:lnTo>
                <a:lnTo>
                  <a:pt x="4977" y="757"/>
                </a:lnTo>
                <a:lnTo>
                  <a:pt x="4971" y="755"/>
                </a:lnTo>
                <a:lnTo>
                  <a:pt x="4971" y="753"/>
                </a:lnTo>
                <a:lnTo>
                  <a:pt x="4969" y="754"/>
                </a:lnTo>
                <a:lnTo>
                  <a:pt x="4965" y="756"/>
                </a:lnTo>
                <a:lnTo>
                  <a:pt x="4959" y="767"/>
                </a:lnTo>
                <a:lnTo>
                  <a:pt x="4960" y="776"/>
                </a:lnTo>
                <a:lnTo>
                  <a:pt x="4962" y="778"/>
                </a:lnTo>
                <a:lnTo>
                  <a:pt x="4963" y="780"/>
                </a:lnTo>
                <a:lnTo>
                  <a:pt x="4963" y="784"/>
                </a:lnTo>
                <a:lnTo>
                  <a:pt x="4961" y="788"/>
                </a:lnTo>
                <a:lnTo>
                  <a:pt x="4959" y="792"/>
                </a:lnTo>
                <a:lnTo>
                  <a:pt x="4953" y="792"/>
                </a:lnTo>
                <a:lnTo>
                  <a:pt x="4952" y="788"/>
                </a:lnTo>
                <a:lnTo>
                  <a:pt x="4948" y="788"/>
                </a:lnTo>
                <a:lnTo>
                  <a:pt x="4945" y="789"/>
                </a:lnTo>
                <a:lnTo>
                  <a:pt x="4935" y="797"/>
                </a:lnTo>
                <a:lnTo>
                  <a:pt x="4934" y="801"/>
                </a:lnTo>
                <a:lnTo>
                  <a:pt x="4932" y="805"/>
                </a:lnTo>
                <a:lnTo>
                  <a:pt x="4932" y="806"/>
                </a:lnTo>
                <a:lnTo>
                  <a:pt x="4931" y="806"/>
                </a:lnTo>
                <a:lnTo>
                  <a:pt x="4931" y="808"/>
                </a:lnTo>
                <a:lnTo>
                  <a:pt x="4933" y="808"/>
                </a:lnTo>
                <a:lnTo>
                  <a:pt x="4934" y="808"/>
                </a:lnTo>
                <a:lnTo>
                  <a:pt x="4934" y="808"/>
                </a:lnTo>
                <a:lnTo>
                  <a:pt x="4934" y="808"/>
                </a:lnTo>
                <a:lnTo>
                  <a:pt x="4935" y="813"/>
                </a:lnTo>
                <a:lnTo>
                  <a:pt x="4935" y="816"/>
                </a:lnTo>
                <a:lnTo>
                  <a:pt x="4932" y="815"/>
                </a:lnTo>
                <a:lnTo>
                  <a:pt x="4929" y="813"/>
                </a:lnTo>
                <a:lnTo>
                  <a:pt x="4922" y="818"/>
                </a:lnTo>
                <a:lnTo>
                  <a:pt x="4919" y="822"/>
                </a:lnTo>
                <a:lnTo>
                  <a:pt x="4919" y="822"/>
                </a:lnTo>
                <a:lnTo>
                  <a:pt x="4919" y="822"/>
                </a:lnTo>
                <a:lnTo>
                  <a:pt x="4917" y="821"/>
                </a:lnTo>
                <a:lnTo>
                  <a:pt x="4914" y="820"/>
                </a:lnTo>
                <a:lnTo>
                  <a:pt x="4911" y="820"/>
                </a:lnTo>
                <a:lnTo>
                  <a:pt x="4911" y="824"/>
                </a:lnTo>
                <a:lnTo>
                  <a:pt x="4914" y="824"/>
                </a:lnTo>
                <a:lnTo>
                  <a:pt x="4914" y="826"/>
                </a:lnTo>
                <a:lnTo>
                  <a:pt x="4913" y="828"/>
                </a:lnTo>
                <a:lnTo>
                  <a:pt x="4912" y="828"/>
                </a:lnTo>
                <a:lnTo>
                  <a:pt x="4911" y="828"/>
                </a:lnTo>
                <a:lnTo>
                  <a:pt x="4911" y="828"/>
                </a:lnTo>
                <a:lnTo>
                  <a:pt x="4911" y="833"/>
                </a:lnTo>
                <a:lnTo>
                  <a:pt x="4909" y="834"/>
                </a:lnTo>
                <a:lnTo>
                  <a:pt x="4907" y="836"/>
                </a:lnTo>
                <a:lnTo>
                  <a:pt x="4907" y="841"/>
                </a:lnTo>
                <a:lnTo>
                  <a:pt x="4887" y="860"/>
                </a:lnTo>
                <a:lnTo>
                  <a:pt x="4887" y="859"/>
                </a:lnTo>
                <a:lnTo>
                  <a:pt x="4885" y="856"/>
                </a:lnTo>
                <a:lnTo>
                  <a:pt x="4883" y="853"/>
                </a:lnTo>
                <a:lnTo>
                  <a:pt x="4883" y="841"/>
                </a:lnTo>
                <a:lnTo>
                  <a:pt x="4880" y="829"/>
                </a:lnTo>
                <a:lnTo>
                  <a:pt x="4880" y="828"/>
                </a:lnTo>
                <a:lnTo>
                  <a:pt x="4878" y="824"/>
                </a:lnTo>
                <a:lnTo>
                  <a:pt x="4874" y="798"/>
                </a:lnTo>
                <a:lnTo>
                  <a:pt x="4870" y="772"/>
                </a:lnTo>
                <a:lnTo>
                  <a:pt x="4871" y="766"/>
                </a:lnTo>
                <a:lnTo>
                  <a:pt x="4873" y="760"/>
                </a:lnTo>
                <a:lnTo>
                  <a:pt x="4876" y="744"/>
                </a:lnTo>
                <a:lnTo>
                  <a:pt x="4884" y="738"/>
                </a:lnTo>
                <a:lnTo>
                  <a:pt x="4884" y="737"/>
                </a:lnTo>
                <a:lnTo>
                  <a:pt x="4885" y="736"/>
                </a:lnTo>
                <a:lnTo>
                  <a:pt x="4887" y="736"/>
                </a:lnTo>
                <a:lnTo>
                  <a:pt x="4889" y="732"/>
                </a:lnTo>
                <a:lnTo>
                  <a:pt x="4891" y="728"/>
                </a:lnTo>
                <a:lnTo>
                  <a:pt x="4891" y="723"/>
                </a:lnTo>
                <a:lnTo>
                  <a:pt x="4887" y="722"/>
                </a:lnTo>
                <a:lnTo>
                  <a:pt x="4892" y="719"/>
                </a:lnTo>
                <a:lnTo>
                  <a:pt x="4893" y="721"/>
                </a:lnTo>
                <a:lnTo>
                  <a:pt x="4894" y="724"/>
                </a:lnTo>
                <a:lnTo>
                  <a:pt x="4898" y="724"/>
                </a:lnTo>
                <a:lnTo>
                  <a:pt x="4900" y="716"/>
                </a:lnTo>
                <a:lnTo>
                  <a:pt x="4911" y="716"/>
                </a:lnTo>
                <a:lnTo>
                  <a:pt x="4932" y="697"/>
                </a:lnTo>
                <a:lnTo>
                  <a:pt x="4932" y="694"/>
                </a:lnTo>
                <a:lnTo>
                  <a:pt x="4933" y="691"/>
                </a:lnTo>
                <a:lnTo>
                  <a:pt x="4940" y="685"/>
                </a:lnTo>
                <a:lnTo>
                  <a:pt x="4942" y="680"/>
                </a:lnTo>
                <a:lnTo>
                  <a:pt x="4944" y="679"/>
                </a:lnTo>
                <a:lnTo>
                  <a:pt x="4947" y="679"/>
                </a:lnTo>
                <a:lnTo>
                  <a:pt x="4956" y="668"/>
                </a:lnTo>
                <a:lnTo>
                  <a:pt x="4958" y="668"/>
                </a:lnTo>
                <a:lnTo>
                  <a:pt x="4959" y="668"/>
                </a:lnTo>
                <a:lnTo>
                  <a:pt x="4959" y="666"/>
                </a:lnTo>
                <a:lnTo>
                  <a:pt x="4959" y="661"/>
                </a:lnTo>
                <a:lnTo>
                  <a:pt x="4968" y="658"/>
                </a:lnTo>
                <a:lnTo>
                  <a:pt x="4976" y="656"/>
                </a:lnTo>
                <a:lnTo>
                  <a:pt x="4977" y="654"/>
                </a:lnTo>
                <a:lnTo>
                  <a:pt x="4987" y="650"/>
                </a:lnTo>
                <a:lnTo>
                  <a:pt x="4987" y="649"/>
                </a:lnTo>
                <a:lnTo>
                  <a:pt x="4986" y="649"/>
                </a:lnTo>
                <a:lnTo>
                  <a:pt x="4984" y="648"/>
                </a:lnTo>
                <a:lnTo>
                  <a:pt x="4992" y="641"/>
                </a:lnTo>
                <a:lnTo>
                  <a:pt x="4992" y="639"/>
                </a:lnTo>
                <a:lnTo>
                  <a:pt x="4991" y="638"/>
                </a:lnTo>
                <a:lnTo>
                  <a:pt x="4991" y="638"/>
                </a:lnTo>
                <a:lnTo>
                  <a:pt x="4993" y="634"/>
                </a:lnTo>
                <a:lnTo>
                  <a:pt x="4993" y="634"/>
                </a:lnTo>
                <a:lnTo>
                  <a:pt x="4993" y="633"/>
                </a:lnTo>
                <a:lnTo>
                  <a:pt x="4995" y="620"/>
                </a:lnTo>
                <a:lnTo>
                  <a:pt x="5001" y="615"/>
                </a:lnTo>
                <a:lnTo>
                  <a:pt x="5011" y="616"/>
                </a:lnTo>
                <a:lnTo>
                  <a:pt x="5013" y="618"/>
                </a:lnTo>
                <a:lnTo>
                  <a:pt x="5011" y="616"/>
                </a:lnTo>
                <a:lnTo>
                  <a:pt x="5018" y="616"/>
                </a:lnTo>
                <a:lnTo>
                  <a:pt x="5013" y="615"/>
                </a:lnTo>
                <a:lnTo>
                  <a:pt x="5008" y="613"/>
                </a:lnTo>
                <a:lnTo>
                  <a:pt x="5003" y="612"/>
                </a:lnTo>
                <a:lnTo>
                  <a:pt x="4999" y="610"/>
                </a:lnTo>
                <a:lnTo>
                  <a:pt x="4991" y="612"/>
                </a:lnTo>
                <a:lnTo>
                  <a:pt x="4981" y="613"/>
                </a:lnTo>
                <a:lnTo>
                  <a:pt x="4980" y="615"/>
                </a:lnTo>
                <a:lnTo>
                  <a:pt x="4983" y="618"/>
                </a:lnTo>
                <a:lnTo>
                  <a:pt x="4979" y="620"/>
                </a:lnTo>
                <a:lnTo>
                  <a:pt x="4979" y="626"/>
                </a:lnTo>
                <a:lnTo>
                  <a:pt x="4977" y="629"/>
                </a:lnTo>
                <a:lnTo>
                  <a:pt x="4984" y="631"/>
                </a:lnTo>
                <a:lnTo>
                  <a:pt x="4981" y="633"/>
                </a:lnTo>
                <a:lnTo>
                  <a:pt x="4979" y="637"/>
                </a:lnTo>
                <a:lnTo>
                  <a:pt x="4979" y="637"/>
                </a:lnTo>
                <a:lnTo>
                  <a:pt x="4979" y="637"/>
                </a:lnTo>
                <a:lnTo>
                  <a:pt x="4976" y="636"/>
                </a:lnTo>
                <a:lnTo>
                  <a:pt x="4973" y="636"/>
                </a:lnTo>
                <a:lnTo>
                  <a:pt x="4975" y="635"/>
                </a:lnTo>
                <a:lnTo>
                  <a:pt x="4975" y="634"/>
                </a:lnTo>
                <a:lnTo>
                  <a:pt x="4976" y="634"/>
                </a:lnTo>
                <a:lnTo>
                  <a:pt x="4970" y="633"/>
                </a:lnTo>
                <a:lnTo>
                  <a:pt x="4959" y="642"/>
                </a:lnTo>
                <a:lnTo>
                  <a:pt x="4948" y="651"/>
                </a:lnTo>
                <a:lnTo>
                  <a:pt x="4947" y="653"/>
                </a:lnTo>
                <a:lnTo>
                  <a:pt x="4947" y="656"/>
                </a:lnTo>
                <a:lnTo>
                  <a:pt x="4940" y="656"/>
                </a:lnTo>
                <a:lnTo>
                  <a:pt x="4940" y="657"/>
                </a:lnTo>
                <a:lnTo>
                  <a:pt x="4939" y="657"/>
                </a:lnTo>
                <a:lnTo>
                  <a:pt x="4940" y="655"/>
                </a:lnTo>
                <a:lnTo>
                  <a:pt x="4937" y="654"/>
                </a:lnTo>
                <a:lnTo>
                  <a:pt x="4939" y="653"/>
                </a:lnTo>
                <a:lnTo>
                  <a:pt x="4940" y="652"/>
                </a:lnTo>
                <a:lnTo>
                  <a:pt x="4937" y="652"/>
                </a:lnTo>
                <a:lnTo>
                  <a:pt x="4935" y="651"/>
                </a:lnTo>
                <a:lnTo>
                  <a:pt x="4932" y="649"/>
                </a:lnTo>
                <a:lnTo>
                  <a:pt x="4932" y="648"/>
                </a:lnTo>
                <a:lnTo>
                  <a:pt x="4931" y="646"/>
                </a:lnTo>
                <a:lnTo>
                  <a:pt x="4931" y="644"/>
                </a:lnTo>
                <a:lnTo>
                  <a:pt x="4933" y="644"/>
                </a:lnTo>
                <a:lnTo>
                  <a:pt x="4939" y="631"/>
                </a:lnTo>
                <a:lnTo>
                  <a:pt x="4939" y="627"/>
                </a:lnTo>
                <a:lnTo>
                  <a:pt x="4933" y="630"/>
                </a:lnTo>
                <a:lnTo>
                  <a:pt x="4928" y="633"/>
                </a:lnTo>
                <a:lnTo>
                  <a:pt x="4926" y="628"/>
                </a:lnTo>
                <a:lnTo>
                  <a:pt x="4925" y="628"/>
                </a:lnTo>
                <a:lnTo>
                  <a:pt x="4916" y="630"/>
                </a:lnTo>
                <a:lnTo>
                  <a:pt x="4907" y="631"/>
                </a:lnTo>
                <a:lnTo>
                  <a:pt x="4899" y="629"/>
                </a:lnTo>
                <a:lnTo>
                  <a:pt x="4894" y="633"/>
                </a:lnTo>
                <a:lnTo>
                  <a:pt x="4888" y="637"/>
                </a:lnTo>
                <a:lnTo>
                  <a:pt x="4887" y="641"/>
                </a:lnTo>
                <a:lnTo>
                  <a:pt x="4887" y="645"/>
                </a:lnTo>
                <a:lnTo>
                  <a:pt x="4883" y="647"/>
                </a:lnTo>
                <a:lnTo>
                  <a:pt x="4878" y="648"/>
                </a:lnTo>
                <a:lnTo>
                  <a:pt x="4876" y="650"/>
                </a:lnTo>
                <a:lnTo>
                  <a:pt x="4876" y="652"/>
                </a:lnTo>
                <a:lnTo>
                  <a:pt x="4875" y="654"/>
                </a:lnTo>
                <a:lnTo>
                  <a:pt x="4862" y="662"/>
                </a:lnTo>
                <a:lnTo>
                  <a:pt x="4858" y="668"/>
                </a:lnTo>
                <a:lnTo>
                  <a:pt x="4854" y="672"/>
                </a:lnTo>
                <a:lnTo>
                  <a:pt x="4853" y="673"/>
                </a:lnTo>
                <a:lnTo>
                  <a:pt x="4851" y="673"/>
                </a:lnTo>
                <a:lnTo>
                  <a:pt x="4852" y="679"/>
                </a:lnTo>
                <a:lnTo>
                  <a:pt x="4847" y="683"/>
                </a:lnTo>
                <a:lnTo>
                  <a:pt x="4847" y="684"/>
                </a:lnTo>
                <a:lnTo>
                  <a:pt x="4855" y="684"/>
                </a:lnTo>
                <a:lnTo>
                  <a:pt x="4855" y="682"/>
                </a:lnTo>
                <a:lnTo>
                  <a:pt x="4854" y="680"/>
                </a:lnTo>
                <a:lnTo>
                  <a:pt x="4862" y="683"/>
                </a:lnTo>
                <a:lnTo>
                  <a:pt x="4866" y="685"/>
                </a:lnTo>
                <a:lnTo>
                  <a:pt x="4865" y="687"/>
                </a:lnTo>
                <a:lnTo>
                  <a:pt x="4865" y="689"/>
                </a:lnTo>
                <a:lnTo>
                  <a:pt x="4859" y="691"/>
                </a:lnTo>
                <a:lnTo>
                  <a:pt x="4857" y="691"/>
                </a:lnTo>
                <a:lnTo>
                  <a:pt x="4854" y="692"/>
                </a:lnTo>
                <a:lnTo>
                  <a:pt x="4854" y="692"/>
                </a:lnTo>
                <a:lnTo>
                  <a:pt x="4852" y="692"/>
                </a:lnTo>
                <a:lnTo>
                  <a:pt x="4848" y="692"/>
                </a:lnTo>
                <a:lnTo>
                  <a:pt x="4846" y="690"/>
                </a:lnTo>
                <a:lnTo>
                  <a:pt x="4845" y="688"/>
                </a:lnTo>
                <a:lnTo>
                  <a:pt x="4839" y="687"/>
                </a:lnTo>
                <a:lnTo>
                  <a:pt x="4836" y="690"/>
                </a:lnTo>
                <a:lnTo>
                  <a:pt x="4834" y="691"/>
                </a:lnTo>
                <a:lnTo>
                  <a:pt x="4833" y="695"/>
                </a:lnTo>
                <a:lnTo>
                  <a:pt x="4828" y="693"/>
                </a:lnTo>
                <a:lnTo>
                  <a:pt x="4824" y="691"/>
                </a:lnTo>
                <a:lnTo>
                  <a:pt x="4823" y="693"/>
                </a:lnTo>
                <a:lnTo>
                  <a:pt x="4821" y="694"/>
                </a:lnTo>
                <a:lnTo>
                  <a:pt x="4821" y="695"/>
                </a:lnTo>
                <a:lnTo>
                  <a:pt x="4820" y="695"/>
                </a:lnTo>
                <a:lnTo>
                  <a:pt x="4815" y="696"/>
                </a:lnTo>
                <a:lnTo>
                  <a:pt x="4810" y="697"/>
                </a:lnTo>
                <a:lnTo>
                  <a:pt x="4806" y="690"/>
                </a:lnTo>
                <a:lnTo>
                  <a:pt x="4814" y="689"/>
                </a:lnTo>
                <a:lnTo>
                  <a:pt x="4822" y="688"/>
                </a:lnTo>
                <a:lnTo>
                  <a:pt x="4816" y="688"/>
                </a:lnTo>
                <a:lnTo>
                  <a:pt x="4815" y="685"/>
                </a:lnTo>
                <a:lnTo>
                  <a:pt x="4814" y="683"/>
                </a:lnTo>
                <a:lnTo>
                  <a:pt x="4810" y="680"/>
                </a:lnTo>
                <a:lnTo>
                  <a:pt x="4803" y="680"/>
                </a:lnTo>
                <a:lnTo>
                  <a:pt x="4803" y="683"/>
                </a:lnTo>
                <a:lnTo>
                  <a:pt x="4801" y="683"/>
                </a:lnTo>
                <a:lnTo>
                  <a:pt x="4799" y="684"/>
                </a:lnTo>
                <a:lnTo>
                  <a:pt x="4799" y="684"/>
                </a:lnTo>
                <a:lnTo>
                  <a:pt x="4796" y="684"/>
                </a:lnTo>
                <a:lnTo>
                  <a:pt x="4800" y="681"/>
                </a:lnTo>
                <a:lnTo>
                  <a:pt x="4792" y="678"/>
                </a:lnTo>
                <a:lnTo>
                  <a:pt x="4784" y="676"/>
                </a:lnTo>
                <a:lnTo>
                  <a:pt x="4776" y="679"/>
                </a:lnTo>
                <a:lnTo>
                  <a:pt x="4777" y="681"/>
                </a:lnTo>
                <a:lnTo>
                  <a:pt x="4777" y="684"/>
                </a:lnTo>
                <a:lnTo>
                  <a:pt x="4775" y="684"/>
                </a:lnTo>
                <a:lnTo>
                  <a:pt x="4774" y="682"/>
                </a:lnTo>
                <a:lnTo>
                  <a:pt x="4773" y="680"/>
                </a:lnTo>
                <a:lnTo>
                  <a:pt x="4772" y="681"/>
                </a:lnTo>
                <a:lnTo>
                  <a:pt x="4771" y="683"/>
                </a:lnTo>
                <a:lnTo>
                  <a:pt x="4771" y="688"/>
                </a:lnTo>
                <a:lnTo>
                  <a:pt x="4763" y="688"/>
                </a:lnTo>
                <a:lnTo>
                  <a:pt x="4763" y="684"/>
                </a:lnTo>
                <a:lnTo>
                  <a:pt x="4759" y="686"/>
                </a:lnTo>
                <a:lnTo>
                  <a:pt x="4755" y="688"/>
                </a:lnTo>
                <a:lnTo>
                  <a:pt x="4747" y="686"/>
                </a:lnTo>
                <a:lnTo>
                  <a:pt x="4740" y="684"/>
                </a:lnTo>
                <a:lnTo>
                  <a:pt x="4735" y="684"/>
                </a:lnTo>
                <a:lnTo>
                  <a:pt x="4735" y="688"/>
                </a:lnTo>
                <a:lnTo>
                  <a:pt x="4733" y="689"/>
                </a:lnTo>
                <a:lnTo>
                  <a:pt x="4731" y="690"/>
                </a:lnTo>
                <a:lnTo>
                  <a:pt x="4729" y="689"/>
                </a:lnTo>
                <a:lnTo>
                  <a:pt x="4728" y="688"/>
                </a:lnTo>
                <a:lnTo>
                  <a:pt x="4728" y="686"/>
                </a:lnTo>
                <a:lnTo>
                  <a:pt x="4729" y="684"/>
                </a:lnTo>
                <a:lnTo>
                  <a:pt x="4701" y="684"/>
                </a:lnTo>
                <a:lnTo>
                  <a:pt x="4696" y="684"/>
                </a:lnTo>
                <a:lnTo>
                  <a:pt x="4691" y="685"/>
                </a:lnTo>
                <a:lnTo>
                  <a:pt x="4683" y="688"/>
                </a:lnTo>
                <a:lnTo>
                  <a:pt x="4676" y="691"/>
                </a:lnTo>
                <a:lnTo>
                  <a:pt x="4669" y="700"/>
                </a:lnTo>
                <a:lnTo>
                  <a:pt x="4655" y="710"/>
                </a:lnTo>
                <a:lnTo>
                  <a:pt x="4651" y="718"/>
                </a:lnTo>
                <a:lnTo>
                  <a:pt x="4645" y="722"/>
                </a:lnTo>
                <a:lnTo>
                  <a:pt x="4637" y="730"/>
                </a:lnTo>
                <a:lnTo>
                  <a:pt x="4632" y="733"/>
                </a:lnTo>
                <a:lnTo>
                  <a:pt x="4630" y="736"/>
                </a:lnTo>
                <a:lnTo>
                  <a:pt x="4629" y="740"/>
                </a:lnTo>
                <a:lnTo>
                  <a:pt x="4624" y="740"/>
                </a:lnTo>
                <a:lnTo>
                  <a:pt x="4619" y="743"/>
                </a:lnTo>
                <a:lnTo>
                  <a:pt x="4614" y="746"/>
                </a:lnTo>
                <a:lnTo>
                  <a:pt x="4614" y="748"/>
                </a:lnTo>
                <a:lnTo>
                  <a:pt x="4610" y="755"/>
                </a:lnTo>
                <a:lnTo>
                  <a:pt x="4602" y="761"/>
                </a:lnTo>
                <a:lnTo>
                  <a:pt x="4593" y="767"/>
                </a:lnTo>
                <a:lnTo>
                  <a:pt x="4591" y="770"/>
                </a:lnTo>
                <a:lnTo>
                  <a:pt x="4590" y="772"/>
                </a:lnTo>
                <a:lnTo>
                  <a:pt x="4585" y="774"/>
                </a:lnTo>
                <a:lnTo>
                  <a:pt x="4579" y="776"/>
                </a:lnTo>
                <a:lnTo>
                  <a:pt x="4576" y="780"/>
                </a:lnTo>
                <a:lnTo>
                  <a:pt x="4576" y="782"/>
                </a:lnTo>
                <a:lnTo>
                  <a:pt x="4577" y="784"/>
                </a:lnTo>
                <a:lnTo>
                  <a:pt x="4580" y="785"/>
                </a:lnTo>
                <a:lnTo>
                  <a:pt x="4583" y="786"/>
                </a:lnTo>
                <a:lnTo>
                  <a:pt x="4598" y="785"/>
                </a:lnTo>
                <a:lnTo>
                  <a:pt x="4598" y="786"/>
                </a:lnTo>
                <a:lnTo>
                  <a:pt x="4597" y="790"/>
                </a:lnTo>
                <a:lnTo>
                  <a:pt x="4598" y="795"/>
                </a:lnTo>
                <a:lnTo>
                  <a:pt x="4596" y="801"/>
                </a:lnTo>
                <a:lnTo>
                  <a:pt x="4597" y="804"/>
                </a:lnTo>
                <a:lnTo>
                  <a:pt x="4604" y="802"/>
                </a:lnTo>
                <a:lnTo>
                  <a:pt x="4605" y="800"/>
                </a:lnTo>
                <a:lnTo>
                  <a:pt x="4607" y="801"/>
                </a:lnTo>
                <a:lnTo>
                  <a:pt x="4609" y="804"/>
                </a:lnTo>
                <a:lnTo>
                  <a:pt x="4609" y="804"/>
                </a:lnTo>
                <a:lnTo>
                  <a:pt x="4609" y="806"/>
                </a:lnTo>
                <a:lnTo>
                  <a:pt x="4604" y="808"/>
                </a:lnTo>
                <a:lnTo>
                  <a:pt x="4605" y="812"/>
                </a:lnTo>
                <a:lnTo>
                  <a:pt x="4616" y="812"/>
                </a:lnTo>
                <a:lnTo>
                  <a:pt x="4619" y="807"/>
                </a:lnTo>
                <a:lnTo>
                  <a:pt x="4621" y="802"/>
                </a:lnTo>
                <a:lnTo>
                  <a:pt x="4622" y="801"/>
                </a:lnTo>
                <a:lnTo>
                  <a:pt x="4622" y="804"/>
                </a:lnTo>
                <a:lnTo>
                  <a:pt x="4621" y="808"/>
                </a:lnTo>
                <a:lnTo>
                  <a:pt x="4619" y="812"/>
                </a:lnTo>
                <a:lnTo>
                  <a:pt x="4623" y="812"/>
                </a:lnTo>
                <a:lnTo>
                  <a:pt x="4624" y="809"/>
                </a:lnTo>
                <a:lnTo>
                  <a:pt x="4624" y="806"/>
                </a:lnTo>
                <a:lnTo>
                  <a:pt x="4628" y="799"/>
                </a:lnTo>
                <a:lnTo>
                  <a:pt x="4626" y="795"/>
                </a:lnTo>
                <a:lnTo>
                  <a:pt x="4633" y="795"/>
                </a:lnTo>
                <a:lnTo>
                  <a:pt x="4635" y="795"/>
                </a:lnTo>
                <a:lnTo>
                  <a:pt x="4638" y="791"/>
                </a:lnTo>
                <a:lnTo>
                  <a:pt x="4646" y="799"/>
                </a:lnTo>
                <a:lnTo>
                  <a:pt x="4646" y="802"/>
                </a:lnTo>
                <a:lnTo>
                  <a:pt x="4651" y="806"/>
                </a:lnTo>
                <a:lnTo>
                  <a:pt x="4660" y="808"/>
                </a:lnTo>
                <a:lnTo>
                  <a:pt x="4658" y="809"/>
                </a:lnTo>
                <a:lnTo>
                  <a:pt x="4657" y="810"/>
                </a:lnTo>
                <a:lnTo>
                  <a:pt x="4660" y="812"/>
                </a:lnTo>
                <a:lnTo>
                  <a:pt x="4662" y="813"/>
                </a:lnTo>
                <a:lnTo>
                  <a:pt x="4662" y="817"/>
                </a:lnTo>
                <a:lnTo>
                  <a:pt x="4662" y="818"/>
                </a:lnTo>
                <a:lnTo>
                  <a:pt x="4662" y="820"/>
                </a:lnTo>
                <a:lnTo>
                  <a:pt x="4654" y="817"/>
                </a:lnTo>
                <a:lnTo>
                  <a:pt x="4662" y="824"/>
                </a:lnTo>
                <a:lnTo>
                  <a:pt x="4664" y="826"/>
                </a:lnTo>
                <a:lnTo>
                  <a:pt x="4661" y="832"/>
                </a:lnTo>
                <a:lnTo>
                  <a:pt x="4666" y="834"/>
                </a:lnTo>
                <a:lnTo>
                  <a:pt x="4666" y="837"/>
                </a:lnTo>
                <a:lnTo>
                  <a:pt x="4664" y="840"/>
                </a:lnTo>
                <a:lnTo>
                  <a:pt x="4664" y="841"/>
                </a:lnTo>
                <a:lnTo>
                  <a:pt x="4660" y="843"/>
                </a:lnTo>
                <a:lnTo>
                  <a:pt x="4654" y="847"/>
                </a:lnTo>
                <a:lnTo>
                  <a:pt x="4654" y="850"/>
                </a:lnTo>
                <a:lnTo>
                  <a:pt x="4655" y="852"/>
                </a:lnTo>
                <a:lnTo>
                  <a:pt x="4657" y="853"/>
                </a:lnTo>
                <a:lnTo>
                  <a:pt x="4654" y="853"/>
                </a:lnTo>
                <a:lnTo>
                  <a:pt x="4654" y="855"/>
                </a:lnTo>
                <a:lnTo>
                  <a:pt x="4654" y="862"/>
                </a:lnTo>
                <a:lnTo>
                  <a:pt x="4652" y="864"/>
                </a:lnTo>
                <a:lnTo>
                  <a:pt x="4650" y="864"/>
                </a:lnTo>
                <a:lnTo>
                  <a:pt x="4650" y="876"/>
                </a:lnTo>
                <a:lnTo>
                  <a:pt x="4653" y="881"/>
                </a:lnTo>
                <a:lnTo>
                  <a:pt x="4655" y="881"/>
                </a:lnTo>
                <a:lnTo>
                  <a:pt x="4652" y="881"/>
                </a:lnTo>
                <a:lnTo>
                  <a:pt x="4650" y="882"/>
                </a:lnTo>
                <a:lnTo>
                  <a:pt x="4651" y="884"/>
                </a:lnTo>
                <a:lnTo>
                  <a:pt x="4652" y="887"/>
                </a:lnTo>
                <a:lnTo>
                  <a:pt x="4649" y="891"/>
                </a:lnTo>
                <a:lnTo>
                  <a:pt x="4646" y="895"/>
                </a:lnTo>
                <a:lnTo>
                  <a:pt x="4646" y="900"/>
                </a:lnTo>
                <a:lnTo>
                  <a:pt x="4647" y="901"/>
                </a:lnTo>
                <a:lnTo>
                  <a:pt x="4649" y="903"/>
                </a:lnTo>
                <a:lnTo>
                  <a:pt x="4647" y="909"/>
                </a:lnTo>
                <a:lnTo>
                  <a:pt x="4641" y="916"/>
                </a:lnTo>
                <a:lnTo>
                  <a:pt x="4635" y="923"/>
                </a:lnTo>
                <a:lnTo>
                  <a:pt x="4631" y="929"/>
                </a:lnTo>
                <a:lnTo>
                  <a:pt x="4627" y="932"/>
                </a:lnTo>
                <a:lnTo>
                  <a:pt x="4624" y="936"/>
                </a:lnTo>
                <a:lnTo>
                  <a:pt x="4623" y="941"/>
                </a:lnTo>
                <a:lnTo>
                  <a:pt x="4621" y="945"/>
                </a:lnTo>
                <a:lnTo>
                  <a:pt x="4619" y="949"/>
                </a:lnTo>
                <a:lnTo>
                  <a:pt x="4617" y="952"/>
                </a:lnTo>
                <a:lnTo>
                  <a:pt x="4593" y="979"/>
                </a:lnTo>
                <a:lnTo>
                  <a:pt x="4591" y="981"/>
                </a:lnTo>
                <a:lnTo>
                  <a:pt x="4590" y="983"/>
                </a:lnTo>
                <a:lnTo>
                  <a:pt x="4584" y="986"/>
                </a:lnTo>
                <a:lnTo>
                  <a:pt x="4582" y="991"/>
                </a:lnTo>
                <a:lnTo>
                  <a:pt x="4578" y="993"/>
                </a:lnTo>
                <a:lnTo>
                  <a:pt x="4578" y="994"/>
                </a:lnTo>
                <a:lnTo>
                  <a:pt x="4578" y="995"/>
                </a:lnTo>
                <a:lnTo>
                  <a:pt x="4578" y="997"/>
                </a:lnTo>
                <a:lnTo>
                  <a:pt x="4575" y="999"/>
                </a:lnTo>
                <a:lnTo>
                  <a:pt x="4573" y="1002"/>
                </a:lnTo>
                <a:lnTo>
                  <a:pt x="4567" y="1005"/>
                </a:lnTo>
                <a:lnTo>
                  <a:pt x="4560" y="1009"/>
                </a:lnTo>
                <a:lnTo>
                  <a:pt x="4557" y="1013"/>
                </a:lnTo>
                <a:lnTo>
                  <a:pt x="4551" y="1015"/>
                </a:lnTo>
                <a:lnTo>
                  <a:pt x="4546" y="1017"/>
                </a:lnTo>
                <a:lnTo>
                  <a:pt x="4542" y="1017"/>
                </a:lnTo>
                <a:lnTo>
                  <a:pt x="4542" y="1014"/>
                </a:lnTo>
                <a:lnTo>
                  <a:pt x="4542" y="1017"/>
                </a:lnTo>
                <a:lnTo>
                  <a:pt x="4541" y="1017"/>
                </a:lnTo>
                <a:lnTo>
                  <a:pt x="4541" y="1017"/>
                </a:lnTo>
                <a:lnTo>
                  <a:pt x="4539" y="1014"/>
                </a:lnTo>
                <a:lnTo>
                  <a:pt x="4537" y="1014"/>
                </a:lnTo>
                <a:lnTo>
                  <a:pt x="4534" y="1013"/>
                </a:lnTo>
                <a:lnTo>
                  <a:pt x="4530" y="1014"/>
                </a:lnTo>
                <a:lnTo>
                  <a:pt x="4530" y="1007"/>
                </a:lnTo>
                <a:lnTo>
                  <a:pt x="4531" y="1005"/>
                </a:lnTo>
                <a:lnTo>
                  <a:pt x="4526" y="1005"/>
                </a:lnTo>
                <a:lnTo>
                  <a:pt x="4519" y="1013"/>
                </a:lnTo>
                <a:lnTo>
                  <a:pt x="4514" y="1014"/>
                </a:lnTo>
                <a:lnTo>
                  <a:pt x="4514" y="1017"/>
                </a:lnTo>
                <a:lnTo>
                  <a:pt x="4513" y="1017"/>
                </a:lnTo>
                <a:lnTo>
                  <a:pt x="4510" y="1016"/>
                </a:lnTo>
                <a:lnTo>
                  <a:pt x="4511" y="1018"/>
                </a:lnTo>
                <a:lnTo>
                  <a:pt x="4513" y="1020"/>
                </a:lnTo>
                <a:lnTo>
                  <a:pt x="4511" y="1022"/>
                </a:lnTo>
                <a:lnTo>
                  <a:pt x="4510" y="1025"/>
                </a:lnTo>
                <a:lnTo>
                  <a:pt x="4510" y="1025"/>
                </a:lnTo>
                <a:lnTo>
                  <a:pt x="4510" y="1025"/>
                </a:lnTo>
                <a:lnTo>
                  <a:pt x="4506" y="1020"/>
                </a:lnTo>
                <a:lnTo>
                  <a:pt x="4506" y="1021"/>
                </a:lnTo>
                <a:lnTo>
                  <a:pt x="4507" y="1023"/>
                </a:lnTo>
                <a:lnTo>
                  <a:pt x="4508" y="1025"/>
                </a:lnTo>
                <a:lnTo>
                  <a:pt x="4505" y="1023"/>
                </a:lnTo>
                <a:lnTo>
                  <a:pt x="4500" y="1029"/>
                </a:lnTo>
                <a:lnTo>
                  <a:pt x="4494" y="1036"/>
                </a:lnTo>
                <a:lnTo>
                  <a:pt x="4494" y="1040"/>
                </a:lnTo>
                <a:lnTo>
                  <a:pt x="4495" y="1040"/>
                </a:lnTo>
                <a:lnTo>
                  <a:pt x="4497" y="1041"/>
                </a:lnTo>
                <a:lnTo>
                  <a:pt x="4496" y="1046"/>
                </a:lnTo>
                <a:lnTo>
                  <a:pt x="4495" y="1051"/>
                </a:lnTo>
                <a:lnTo>
                  <a:pt x="4492" y="1052"/>
                </a:lnTo>
                <a:lnTo>
                  <a:pt x="4489" y="1052"/>
                </a:lnTo>
                <a:lnTo>
                  <a:pt x="4486" y="1056"/>
                </a:lnTo>
                <a:lnTo>
                  <a:pt x="4478" y="1060"/>
                </a:lnTo>
                <a:lnTo>
                  <a:pt x="4478" y="1062"/>
                </a:lnTo>
                <a:lnTo>
                  <a:pt x="4477" y="1065"/>
                </a:lnTo>
                <a:lnTo>
                  <a:pt x="4471" y="1065"/>
                </a:lnTo>
                <a:lnTo>
                  <a:pt x="4470" y="1066"/>
                </a:lnTo>
                <a:lnTo>
                  <a:pt x="4470" y="1067"/>
                </a:lnTo>
                <a:lnTo>
                  <a:pt x="4464" y="1069"/>
                </a:lnTo>
                <a:lnTo>
                  <a:pt x="4465" y="1073"/>
                </a:lnTo>
                <a:lnTo>
                  <a:pt x="4465" y="1077"/>
                </a:lnTo>
                <a:lnTo>
                  <a:pt x="4465" y="1077"/>
                </a:lnTo>
                <a:lnTo>
                  <a:pt x="4465" y="1077"/>
                </a:lnTo>
                <a:lnTo>
                  <a:pt x="4465" y="1077"/>
                </a:lnTo>
                <a:lnTo>
                  <a:pt x="4464" y="1077"/>
                </a:lnTo>
                <a:lnTo>
                  <a:pt x="4461" y="1077"/>
                </a:lnTo>
                <a:lnTo>
                  <a:pt x="4461" y="1079"/>
                </a:lnTo>
                <a:lnTo>
                  <a:pt x="4468" y="1081"/>
                </a:lnTo>
                <a:lnTo>
                  <a:pt x="4472" y="1085"/>
                </a:lnTo>
                <a:lnTo>
                  <a:pt x="4477" y="1089"/>
                </a:lnTo>
                <a:lnTo>
                  <a:pt x="4478" y="1089"/>
                </a:lnTo>
                <a:lnTo>
                  <a:pt x="4478" y="1089"/>
                </a:lnTo>
                <a:lnTo>
                  <a:pt x="4478" y="1089"/>
                </a:lnTo>
                <a:lnTo>
                  <a:pt x="4481" y="1097"/>
                </a:lnTo>
                <a:lnTo>
                  <a:pt x="4485" y="1100"/>
                </a:lnTo>
                <a:lnTo>
                  <a:pt x="4488" y="1104"/>
                </a:lnTo>
                <a:lnTo>
                  <a:pt x="4494" y="1116"/>
                </a:lnTo>
                <a:lnTo>
                  <a:pt x="4494" y="1120"/>
                </a:lnTo>
                <a:lnTo>
                  <a:pt x="4491" y="1131"/>
                </a:lnTo>
                <a:lnTo>
                  <a:pt x="4494" y="1133"/>
                </a:lnTo>
                <a:lnTo>
                  <a:pt x="4494" y="1131"/>
                </a:lnTo>
                <a:lnTo>
                  <a:pt x="4494" y="1139"/>
                </a:lnTo>
                <a:lnTo>
                  <a:pt x="4492" y="1144"/>
                </a:lnTo>
                <a:lnTo>
                  <a:pt x="4489" y="1150"/>
                </a:lnTo>
                <a:lnTo>
                  <a:pt x="4484" y="1150"/>
                </a:lnTo>
                <a:lnTo>
                  <a:pt x="4483" y="1148"/>
                </a:lnTo>
                <a:lnTo>
                  <a:pt x="4481" y="1146"/>
                </a:lnTo>
                <a:lnTo>
                  <a:pt x="4478" y="1149"/>
                </a:lnTo>
                <a:lnTo>
                  <a:pt x="4478" y="1149"/>
                </a:lnTo>
                <a:lnTo>
                  <a:pt x="4477" y="1150"/>
                </a:lnTo>
                <a:lnTo>
                  <a:pt x="4477" y="1150"/>
                </a:lnTo>
                <a:lnTo>
                  <a:pt x="4474" y="1150"/>
                </a:lnTo>
                <a:lnTo>
                  <a:pt x="4473" y="1149"/>
                </a:lnTo>
                <a:lnTo>
                  <a:pt x="4469" y="1150"/>
                </a:lnTo>
                <a:lnTo>
                  <a:pt x="4466" y="1150"/>
                </a:lnTo>
                <a:lnTo>
                  <a:pt x="4466" y="1150"/>
                </a:lnTo>
                <a:lnTo>
                  <a:pt x="4465" y="1150"/>
                </a:lnTo>
                <a:lnTo>
                  <a:pt x="4465" y="1150"/>
                </a:lnTo>
                <a:lnTo>
                  <a:pt x="4465" y="1152"/>
                </a:lnTo>
                <a:lnTo>
                  <a:pt x="4465" y="1152"/>
                </a:lnTo>
                <a:lnTo>
                  <a:pt x="4465" y="1153"/>
                </a:lnTo>
                <a:lnTo>
                  <a:pt x="4465" y="1153"/>
                </a:lnTo>
                <a:lnTo>
                  <a:pt x="4465" y="1155"/>
                </a:lnTo>
                <a:lnTo>
                  <a:pt x="4465" y="1156"/>
                </a:lnTo>
                <a:lnTo>
                  <a:pt x="4464" y="1157"/>
                </a:lnTo>
                <a:lnTo>
                  <a:pt x="4463" y="1158"/>
                </a:lnTo>
                <a:lnTo>
                  <a:pt x="4461" y="1158"/>
                </a:lnTo>
                <a:lnTo>
                  <a:pt x="4461" y="1158"/>
                </a:lnTo>
                <a:lnTo>
                  <a:pt x="4460" y="1158"/>
                </a:lnTo>
                <a:lnTo>
                  <a:pt x="4461" y="1158"/>
                </a:lnTo>
                <a:lnTo>
                  <a:pt x="4460" y="1158"/>
                </a:lnTo>
                <a:lnTo>
                  <a:pt x="4461" y="1157"/>
                </a:lnTo>
                <a:lnTo>
                  <a:pt x="4461" y="1156"/>
                </a:lnTo>
                <a:lnTo>
                  <a:pt x="4461" y="1153"/>
                </a:lnTo>
                <a:lnTo>
                  <a:pt x="4457" y="1156"/>
                </a:lnTo>
                <a:lnTo>
                  <a:pt x="4458" y="1157"/>
                </a:lnTo>
                <a:lnTo>
                  <a:pt x="4457" y="1158"/>
                </a:lnTo>
                <a:lnTo>
                  <a:pt x="4457" y="1157"/>
                </a:lnTo>
                <a:lnTo>
                  <a:pt x="4456" y="1156"/>
                </a:lnTo>
                <a:lnTo>
                  <a:pt x="4453" y="1158"/>
                </a:lnTo>
                <a:lnTo>
                  <a:pt x="4453" y="1158"/>
                </a:lnTo>
                <a:lnTo>
                  <a:pt x="4453" y="1158"/>
                </a:lnTo>
                <a:lnTo>
                  <a:pt x="4452" y="1159"/>
                </a:lnTo>
                <a:lnTo>
                  <a:pt x="4451" y="1159"/>
                </a:lnTo>
                <a:lnTo>
                  <a:pt x="4450" y="1158"/>
                </a:lnTo>
                <a:lnTo>
                  <a:pt x="4450" y="1159"/>
                </a:lnTo>
                <a:lnTo>
                  <a:pt x="4447" y="1162"/>
                </a:lnTo>
                <a:lnTo>
                  <a:pt x="4444" y="1162"/>
                </a:lnTo>
                <a:lnTo>
                  <a:pt x="4448" y="1157"/>
                </a:lnTo>
                <a:lnTo>
                  <a:pt x="4450" y="1157"/>
                </a:lnTo>
                <a:lnTo>
                  <a:pt x="4451" y="1158"/>
                </a:lnTo>
                <a:lnTo>
                  <a:pt x="4452" y="1158"/>
                </a:lnTo>
                <a:lnTo>
                  <a:pt x="4450" y="1154"/>
                </a:lnTo>
                <a:lnTo>
                  <a:pt x="4451" y="1152"/>
                </a:lnTo>
                <a:lnTo>
                  <a:pt x="4449" y="1150"/>
                </a:lnTo>
                <a:lnTo>
                  <a:pt x="4449" y="1149"/>
                </a:lnTo>
                <a:lnTo>
                  <a:pt x="4447" y="1150"/>
                </a:lnTo>
                <a:lnTo>
                  <a:pt x="4445" y="1150"/>
                </a:lnTo>
                <a:lnTo>
                  <a:pt x="4445" y="1148"/>
                </a:lnTo>
                <a:lnTo>
                  <a:pt x="4447" y="1147"/>
                </a:lnTo>
                <a:lnTo>
                  <a:pt x="4449" y="1145"/>
                </a:lnTo>
                <a:lnTo>
                  <a:pt x="4449" y="1142"/>
                </a:lnTo>
                <a:lnTo>
                  <a:pt x="4450" y="1142"/>
                </a:lnTo>
                <a:lnTo>
                  <a:pt x="4451" y="1142"/>
                </a:lnTo>
                <a:lnTo>
                  <a:pt x="4452" y="1140"/>
                </a:lnTo>
                <a:lnTo>
                  <a:pt x="4454" y="1139"/>
                </a:lnTo>
                <a:lnTo>
                  <a:pt x="4452" y="1139"/>
                </a:lnTo>
                <a:lnTo>
                  <a:pt x="4451" y="1139"/>
                </a:lnTo>
                <a:lnTo>
                  <a:pt x="4456" y="1138"/>
                </a:lnTo>
                <a:lnTo>
                  <a:pt x="4449" y="1138"/>
                </a:lnTo>
                <a:lnTo>
                  <a:pt x="4449" y="1133"/>
                </a:lnTo>
                <a:lnTo>
                  <a:pt x="4451" y="1133"/>
                </a:lnTo>
                <a:lnTo>
                  <a:pt x="4452" y="1132"/>
                </a:lnTo>
                <a:lnTo>
                  <a:pt x="4449" y="1130"/>
                </a:lnTo>
                <a:lnTo>
                  <a:pt x="4449" y="1122"/>
                </a:lnTo>
                <a:lnTo>
                  <a:pt x="4449" y="1119"/>
                </a:lnTo>
                <a:lnTo>
                  <a:pt x="4449" y="1116"/>
                </a:lnTo>
                <a:lnTo>
                  <a:pt x="4449" y="1114"/>
                </a:lnTo>
                <a:lnTo>
                  <a:pt x="4449" y="1112"/>
                </a:lnTo>
                <a:lnTo>
                  <a:pt x="4453" y="1113"/>
                </a:lnTo>
                <a:lnTo>
                  <a:pt x="4452" y="1114"/>
                </a:lnTo>
                <a:lnTo>
                  <a:pt x="4451" y="1114"/>
                </a:lnTo>
                <a:lnTo>
                  <a:pt x="4450" y="1114"/>
                </a:lnTo>
                <a:lnTo>
                  <a:pt x="4450" y="1114"/>
                </a:lnTo>
                <a:lnTo>
                  <a:pt x="4450" y="1116"/>
                </a:lnTo>
                <a:lnTo>
                  <a:pt x="4454" y="1116"/>
                </a:lnTo>
                <a:lnTo>
                  <a:pt x="4454" y="1114"/>
                </a:lnTo>
                <a:lnTo>
                  <a:pt x="4454" y="1114"/>
                </a:lnTo>
                <a:lnTo>
                  <a:pt x="4453" y="1113"/>
                </a:lnTo>
                <a:lnTo>
                  <a:pt x="4455" y="1114"/>
                </a:lnTo>
                <a:lnTo>
                  <a:pt x="4455" y="1114"/>
                </a:lnTo>
                <a:lnTo>
                  <a:pt x="4456" y="1112"/>
                </a:lnTo>
                <a:lnTo>
                  <a:pt x="4453" y="1113"/>
                </a:lnTo>
                <a:lnTo>
                  <a:pt x="4452" y="1109"/>
                </a:lnTo>
                <a:lnTo>
                  <a:pt x="4450" y="1104"/>
                </a:lnTo>
                <a:lnTo>
                  <a:pt x="4449" y="1104"/>
                </a:lnTo>
                <a:lnTo>
                  <a:pt x="4449" y="1104"/>
                </a:lnTo>
                <a:lnTo>
                  <a:pt x="4449" y="1103"/>
                </a:lnTo>
                <a:lnTo>
                  <a:pt x="4449" y="1103"/>
                </a:lnTo>
                <a:lnTo>
                  <a:pt x="4448" y="1102"/>
                </a:lnTo>
                <a:lnTo>
                  <a:pt x="4445" y="1104"/>
                </a:lnTo>
                <a:lnTo>
                  <a:pt x="4445" y="1105"/>
                </a:lnTo>
                <a:lnTo>
                  <a:pt x="4441" y="1102"/>
                </a:lnTo>
                <a:lnTo>
                  <a:pt x="4441" y="1104"/>
                </a:lnTo>
                <a:lnTo>
                  <a:pt x="4440" y="1102"/>
                </a:lnTo>
                <a:lnTo>
                  <a:pt x="4439" y="1100"/>
                </a:lnTo>
                <a:lnTo>
                  <a:pt x="4438" y="1099"/>
                </a:lnTo>
                <a:lnTo>
                  <a:pt x="4439" y="1101"/>
                </a:lnTo>
                <a:lnTo>
                  <a:pt x="4439" y="1102"/>
                </a:lnTo>
                <a:lnTo>
                  <a:pt x="4436" y="1104"/>
                </a:lnTo>
                <a:lnTo>
                  <a:pt x="4433" y="1105"/>
                </a:lnTo>
                <a:lnTo>
                  <a:pt x="4436" y="1102"/>
                </a:lnTo>
                <a:lnTo>
                  <a:pt x="4429" y="1101"/>
                </a:lnTo>
                <a:lnTo>
                  <a:pt x="4433" y="1099"/>
                </a:lnTo>
                <a:lnTo>
                  <a:pt x="4428" y="1098"/>
                </a:lnTo>
                <a:lnTo>
                  <a:pt x="4424" y="1098"/>
                </a:lnTo>
                <a:lnTo>
                  <a:pt x="4428" y="1096"/>
                </a:lnTo>
                <a:lnTo>
                  <a:pt x="4428" y="1093"/>
                </a:lnTo>
                <a:lnTo>
                  <a:pt x="4429" y="1091"/>
                </a:lnTo>
                <a:lnTo>
                  <a:pt x="4434" y="1087"/>
                </a:lnTo>
                <a:lnTo>
                  <a:pt x="4433" y="1086"/>
                </a:lnTo>
                <a:lnTo>
                  <a:pt x="4432" y="1086"/>
                </a:lnTo>
                <a:lnTo>
                  <a:pt x="4435" y="1077"/>
                </a:lnTo>
                <a:lnTo>
                  <a:pt x="4433" y="1075"/>
                </a:lnTo>
                <a:lnTo>
                  <a:pt x="4435" y="1073"/>
                </a:lnTo>
                <a:lnTo>
                  <a:pt x="4430" y="1073"/>
                </a:lnTo>
                <a:lnTo>
                  <a:pt x="4427" y="1071"/>
                </a:lnTo>
                <a:lnTo>
                  <a:pt x="4425" y="1069"/>
                </a:lnTo>
                <a:lnTo>
                  <a:pt x="4425" y="1070"/>
                </a:lnTo>
                <a:lnTo>
                  <a:pt x="4425" y="1071"/>
                </a:lnTo>
                <a:lnTo>
                  <a:pt x="4424" y="1071"/>
                </a:lnTo>
                <a:lnTo>
                  <a:pt x="4423" y="1070"/>
                </a:lnTo>
                <a:lnTo>
                  <a:pt x="4422" y="1069"/>
                </a:lnTo>
                <a:lnTo>
                  <a:pt x="4419" y="1065"/>
                </a:lnTo>
                <a:lnTo>
                  <a:pt x="4420" y="1064"/>
                </a:lnTo>
                <a:lnTo>
                  <a:pt x="4421" y="1062"/>
                </a:lnTo>
                <a:lnTo>
                  <a:pt x="4428" y="1056"/>
                </a:lnTo>
                <a:lnTo>
                  <a:pt x="4429" y="1058"/>
                </a:lnTo>
                <a:lnTo>
                  <a:pt x="4429" y="1056"/>
                </a:lnTo>
                <a:lnTo>
                  <a:pt x="4432" y="1054"/>
                </a:lnTo>
                <a:lnTo>
                  <a:pt x="4435" y="1052"/>
                </a:lnTo>
                <a:lnTo>
                  <a:pt x="4437" y="1051"/>
                </a:lnTo>
                <a:lnTo>
                  <a:pt x="4439" y="1049"/>
                </a:lnTo>
                <a:lnTo>
                  <a:pt x="4438" y="1049"/>
                </a:lnTo>
                <a:lnTo>
                  <a:pt x="4435" y="1049"/>
                </a:lnTo>
                <a:lnTo>
                  <a:pt x="4433" y="1049"/>
                </a:lnTo>
                <a:lnTo>
                  <a:pt x="4429" y="1051"/>
                </a:lnTo>
                <a:lnTo>
                  <a:pt x="4425" y="1053"/>
                </a:lnTo>
                <a:lnTo>
                  <a:pt x="4425" y="1053"/>
                </a:lnTo>
                <a:lnTo>
                  <a:pt x="4425" y="1053"/>
                </a:lnTo>
                <a:lnTo>
                  <a:pt x="4423" y="1056"/>
                </a:lnTo>
                <a:lnTo>
                  <a:pt x="4420" y="1059"/>
                </a:lnTo>
                <a:lnTo>
                  <a:pt x="4418" y="1061"/>
                </a:lnTo>
                <a:lnTo>
                  <a:pt x="4417" y="1062"/>
                </a:lnTo>
                <a:lnTo>
                  <a:pt x="4416" y="1064"/>
                </a:lnTo>
                <a:lnTo>
                  <a:pt x="4415" y="1065"/>
                </a:lnTo>
                <a:lnTo>
                  <a:pt x="4409" y="1065"/>
                </a:lnTo>
                <a:lnTo>
                  <a:pt x="4404" y="1067"/>
                </a:lnTo>
                <a:lnTo>
                  <a:pt x="4403" y="1065"/>
                </a:lnTo>
                <a:lnTo>
                  <a:pt x="4402" y="1064"/>
                </a:lnTo>
                <a:lnTo>
                  <a:pt x="4403" y="1068"/>
                </a:lnTo>
                <a:lnTo>
                  <a:pt x="4390" y="1073"/>
                </a:lnTo>
                <a:lnTo>
                  <a:pt x="4383" y="1081"/>
                </a:lnTo>
                <a:lnTo>
                  <a:pt x="4377" y="1081"/>
                </a:lnTo>
                <a:lnTo>
                  <a:pt x="4377" y="1082"/>
                </a:lnTo>
                <a:lnTo>
                  <a:pt x="4369" y="1083"/>
                </a:lnTo>
                <a:lnTo>
                  <a:pt x="4369" y="1080"/>
                </a:lnTo>
                <a:lnTo>
                  <a:pt x="4378" y="1078"/>
                </a:lnTo>
                <a:lnTo>
                  <a:pt x="4378" y="1076"/>
                </a:lnTo>
                <a:lnTo>
                  <a:pt x="4380" y="1074"/>
                </a:lnTo>
                <a:lnTo>
                  <a:pt x="4382" y="1073"/>
                </a:lnTo>
                <a:lnTo>
                  <a:pt x="4378" y="1073"/>
                </a:lnTo>
                <a:lnTo>
                  <a:pt x="4375" y="1072"/>
                </a:lnTo>
                <a:lnTo>
                  <a:pt x="4376" y="1071"/>
                </a:lnTo>
                <a:lnTo>
                  <a:pt x="4372" y="1068"/>
                </a:lnTo>
                <a:lnTo>
                  <a:pt x="4378" y="1067"/>
                </a:lnTo>
                <a:lnTo>
                  <a:pt x="4376" y="1064"/>
                </a:lnTo>
                <a:lnTo>
                  <a:pt x="4383" y="1062"/>
                </a:lnTo>
                <a:lnTo>
                  <a:pt x="4389" y="1053"/>
                </a:lnTo>
                <a:lnTo>
                  <a:pt x="4385" y="1048"/>
                </a:lnTo>
                <a:lnTo>
                  <a:pt x="4372" y="1045"/>
                </a:lnTo>
                <a:lnTo>
                  <a:pt x="4371" y="1047"/>
                </a:lnTo>
                <a:lnTo>
                  <a:pt x="4370" y="1049"/>
                </a:lnTo>
                <a:lnTo>
                  <a:pt x="4368" y="1049"/>
                </a:lnTo>
                <a:lnTo>
                  <a:pt x="4366" y="1049"/>
                </a:lnTo>
                <a:lnTo>
                  <a:pt x="4365" y="1052"/>
                </a:lnTo>
                <a:lnTo>
                  <a:pt x="4363" y="1055"/>
                </a:lnTo>
                <a:lnTo>
                  <a:pt x="4362" y="1057"/>
                </a:lnTo>
                <a:lnTo>
                  <a:pt x="4355" y="1060"/>
                </a:lnTo>
                <a:lnTo>
                  <a:pt x="4349" y="1064"/>
                </a:lnTo>
                <a:lnTo>
                  <a:pt x="4347" y="1065"/>
                </a:lnTo>
                <a:lnTo>
                  <a:pt x="4345" y="1066"/>
                </a:lnTo>
                <a:lnTo>
                  <a:pt x="4345" y="1069"/>
                </a:lnTo>
                <a:lnTo>
                  <a:pt x="4344" y="1072"/>
                </a:lnTo>
                <a:lnTo>
                  <a:pt x="4342" y="1075"/>
                </a:lnTo>
                <a:lnTo>
                  <a:pt x="4334" y="1077"/>
                </a:lnTo>
                <a:lnTo>
                  <a:pt x="4331" y="1079"/>
                </a:lnTo>
                <a:lnTo>
                  <a:pt x="4326" y="1076"/>
                </a:lnTo>
                <a:lnTo>
                  <a:pt x="4323" y="1078"/>
                </a:lnTo>
                <a:lnTo>
                  <a:pt x="4320" y="1086"/>
                </a:lnTo>
                <a:lnTo>
                  <a:pt x="4323" y="1092"/>
                </a:lnTo>
                <a:lnTo>
                  <a:pt x="4325" y="1094"/>
                </a:lnTo>
                <a:lnTo>
                  <a:pt x="4328" y="1098"/>
                </a:lnTo>
                <a:lnTo>
                  <a:pt x="4338" y="1098"/>
                </a:lnTo>
                <a:lnTo>
                  <a:pt x="4340" y="1099"/>
                </a:lnTo>
                <a:lnTo>
                  <a:pt x="4342" y="1100"/>
                </a:lnTo>
                <a:lnTo>
                  <a:pt x="4339" y="1110"/>
                </a:lnTo>
                <a:lnTo>
                  <a:pt x="4342" y="1112"/>
                </a:lnTo>
                <a:lnTo>
                  <a:pt x="4344" y="1114"/>
                </a:lnTo>
                <a:lnTo>
                  <a:pt x="4352" y="1114"/>
                </a:lnTo>
                <a:lnTo>
                  <a:pt x="4353" y="1112"/>
                </a:lnTo>
                <a:lnTo>
                  <a:pt x="4353" y="1111"/>
                </a:lnTo>
                <a:lnTo>
                  <a:pt x="4353" y="1107"/>
                </a:lnTo>
                <a:lnTo>
                  <a:pt x="4366" y="1099"/>
                </a:lnTo>
                <a:lnTo>
                  <a:pt x="4367" y="1100"/>
                </a:lnTo>
                <a:lnTo>
                  <a:pt x="4368" y="1101"/>
                </a:lnTo>
                <a:lnTo>
                  <a:pt x="4370" y="1103"/>
                </a:lnTo>
                <a:lnTo>
                  <a:pt x="4371" y="1105"/>
                </a:lnTo>
                <a:lnTo>
                  <a:pt x="4378" y="1108"/>
                </a:lnTo>
                <a:lnTo>
                  <a:pt x="4385" y="1106"/>
                </a:lnTo>
                <a:lnTo>
                  <a:pt x="4387" y="1110"/>
                </a:lnTo>
                <a:lnTo>
                  <a:pt x="4392" y="1110"/>
                </a:lnTo>
                <a:lnTo>
                  <a:pt x="4394" y="1112"/>
                </a:lnTo>
                <a:lnTo>
                  <a:pt x="4391" y="1112"/>
                </a:lnTo>
                <a:lnTo>
                  <a:pt x="4389" y="1113"/>
                </a:lnTo>
                <a:lnTo>
                  <a:pt x="4389" y="1116"/>
                </a:lnTo>
                <a:lnTo>
                  <a:pt x="4385" y="1117"/>
                </a:lnTo>
                <a:lnTo>
                  <a:pt x="4385" y="1116"/>
                </a:lnTo>
                <a:lnTo>
                  <a:pt x="4384" y="1115"/>
                </a:lnTo>
                <a:lnTo>
                  <a:pt x="4384" y="1114"/>
                </a:lnTo>
                <a:lnTo>
                  <a:pt x="4381" y="1116"/>
                </a:lnTo>
                <a:lnTo>
                  <a:pt x="4378" y="1118"/>
                </a:lnTo>
                <a:lnTo>
                  <a:pt x="4377" y="1118"/>
                </a:lnTo>
                <a:lnTo>
                  <a:pt x="4377" y="1117"/>
                </a:lnTo>
                <a:lnTo>
                  <a:pt x="4374" y="1120"/>
                </a:lnTo>
                <a:lnTo>
                  <a:pt x="4370" y="1122"/>
                </a:lnTo>
                <a:lnTo>
                  <a:pt x="4368" y="1126"/>
                </a:lnTo>
                <a:lnTo>
                  <a:pt x="4367" y="1126"/>
                </a:lnTo>
                <a:lnTo>
                  <a:pt x="4366" y="1126"/>
                </a:lnTo>
                <a:lnTo>
                  <a:pt x="4361" y="1126"/>
                </a:lnTo>
                <a:lnTo>
                  <a:pt x="4361" y="1129"/>
                </a:lnTo>
                <a:lnTo>
                  <a:pt x="4358" y="1131"/>
                </a:lnTo>
                <a:lnTo>
                  <a:pt x="4359" y="1133"/>
                </a:lnTo>
                <a:lnTo>
                  <a:pt x="4356" y="1135"/>
                </a:lnTo>
                <a:lnTo>
                  <a:pt x="4353" y="1137"/>
                </a:lnTo>
                <a:lnTo>
                  <a:pt x="4353" y="1137"/>
                </a:lnTo>
                <a:lnTo>
                  <a:pt x="4352" y="1138"/>
                </a:lnTo>
                <a:lnTo>
                  <a:pt x="4350" y="1139"/>
                </a:lnTo>
                <a:lnTo>
                  <a:pt x="4345" y="1150"/>
                </a:lnTo>
                <a:lnTo>
                  <a:pt x="4344" y="1150"/>
                </a:lnTo>
                <a:lnTo>
                  <a:pt x="4343" y="1151"/>
                </a:lnTo>
                <a:lnTo>
                  <a:pt x="4344" y="1153"/>
                </a:lnTo>
                <a:lnTo>
                  <a:pt x="4346" y="1153"/>
                </a:lnTo>
                <a:lnTo>
                  <a:pt x="4348" y="1154"/>
                </a:lnTo>
                <a:lnTo>
                  <a:pt x="4350" y="1157"/>
                </a:lnTo>
                <a:lnTo>
                  <a:pt x="4358" y="1160"/>
                </a:lnTo>
                <a:lnTo>
                  <a:pt x="4360" y="1172"/>
                </a:lnTo>
                <a:lnTo>
                  <a:pt x="4365" y="1183"/>
                </a:lnTo>
                <a:lnTo>
                  <a:pt x="4365" y="1188"/>
                </a:lnTo>
                <a:lnTo>
                  <a:pt x="4369" y="1191"/>
                </a:lnTo>
                <a:lnTo>
                  <a:pt x="4373" y="1194"/>
                </a:lnTo>
                <a:lnTo>
                  <a:pt x="4373" y="1196"/>
                </a:lnTo>
                <a:lnTo>
                  <a:pt x="4377" y="1198"/>
                </a:lnTo>
                <a:lnTo>
                  <a:pt x="4381" y="1199"/>
                </a:lnTo>
                <a:lnTo>
                  <a:pt x="4381" y="1201"/>
                </a:lnTo>
                <a:lnTo>
                  <a:pt x="4381" y="1203"/>
                </a:lnTo>
                <a:lnTo>
                  <a:pt x="4381" y="1205"/>
                </a:lnTo>
                <a:lnTo>
                  <a:pt x="4378" y="1204"/>
                </a:lnTo>
                <a:lnTo>
                  <a:pt x="4375" y="1202"/>
                </a:lnTo>
                <a:lnTo>
                  <a:pt x="4378" y="1205"/>
                </a:lnTo>
                <a:lnTo>
                  <a:pt x="4381" y="1208"/>
                </a:lnTo>
                <a:lnTo>
                  <a:pt x="4381" y="1208"/>
                </a:lnTo>
                <a:lnTo>
                  <a:pt x="4381" y="1208"/>
                </a:lnTo>
                <a:lnTo>
                  <a:pt x="4377" y="1206"/>
                </a:lnTo>
                <a:lnTo>
                  <a:pt x="4374" y="1205"/>
                </a:lnTo>
                <a:lnTo>
                  <a:pt x="4375" y="1206"/>
                </a:lnTo>
                <a:lnTo>
                  <a:pt x="4372" y="1206"/>
                </a:lnTo>
                <a:lnTo>
                  <a:pt x="4378" y="1210"/>
                </a:lnTo>
                <a:lnTo>
                  <a:pt x="4381" y="1216"/>
                </a:lnTo>
                <a:lnTo>
                  <a:pt x="4381" y="1222"/>
                </a:lnTo>
                <a:lnTo>
                  <a:pt x="4376" y="1222"/>
                </a:lnTo>
                <a:lnTo>
                  <a:pt x="4373" y="1223"/>
                </a:lnTo>
                <a:lnTo>
                  <a:pt x="4370" y="1223"/>
                </a:lnTo>
                <a:lnTo>
                  <a:pt x="4368" y="1226"/>
                </a:lnTo>
                <a:lnTo>
                  <a:pt x="4366" y="1230"/>
                </a:lnTo>
                <a:lnTo>
                  <a:pt x="4363" y="1230"/>
                </a:lnTo>
                <a:lnTo>
                  <a:pt x="4362" y="1230"/>
                </a:lnTo>
                <a:lnTo>
                  <a:pt x="4364" y="1230"/>
                </a:lnTo>
                <a:lnTo>
                  <a:pt x="4366" y="1231"/>
                </a:lnTo>
                <a:lnTo>
                  <a:pt x="4371" y="1229"/>
                </a:lnTo>
                <a:lnTo>
                  <a:pt x="4375" y="1228"/>
                </a:lnTo>
                <a:lnTo>
                  <a:pt x="4377" y="1231"/>
                </a:lnTo>
                <a:lnTo>
                  <a:pt x="4379" y="1234"/>
                </a:lnTo>
                <a:lnTo>
                  <a:pt x="4385" y="1236"/>
                </a:lnTo>
                <a:lnTo>
                  <a:pt x="4385" y="1238"/>
                </a:lnTo>
                <a:lnTo>
                  <a:pt x="4384" y="1238"/>
                </a:lnTo>
                <a:lnTo>
                  <a:pt x="4384" y="1237"/>
                </a:lnTo>
                <a:lnTo>
                  <a:pt x="4384" y="1237"/>
                </a:lnTo>
                <a:lnTo>
                  <a:pt x="4384" y="1238"/>
                </a:lnTo>
                <a:lnTo>
                  <a:pt x="4383" y="1238"/>
                </a:lnTo>
                <a:lnTo>
                  <a:pt x="4384" y="1237"/>
                </a:lnTo>
                <a:lnTo>
                  <a:pt x="4382" y="1239"/>
                </a:lnTo>
                <a:lnTo>
                  <a:pt x="4382" y="1239"/>
                </a:lnTo>
                <a:lnTo>
                  <a:pt x="4383" y="1241"/>
                </a:lnTo>
                <a:lnTo>
                  <a:pt x="4383" y="1243"/>
                </a:lnTo>
                <a:lnTo>
                  <a:pt x="4383" y="1245"/>
                </a:lnTo>
                <a:lnTo>
                  <a:pt x="4382" y="1244"/>
                </a:lnTo>
                <a:lnTo>
                  <a:pt x="4381" y="1242"/>
                </a:lnTo>
                <a:lnTo>
                  <a:pt x="4381" y="1246"/>
                </a:lnTo>
                <a:lnTo>
                  <a:pt x="4379" y="1245"/>
                </a:lnTo>
                <a:lnTo>
                  <a:pt x="4377" y="1244"/>
                </a:lnTo>
                <a:lnTo>
                  <a:pt x="4375" y="1246"/>
                </a:lnTo>
                <a:lnTo>
                  <a:pt x="4377" y="1248"/>
                </a:lnTo>
                <a:lnTo>
                  <a:pt x="4377" y="1250"/>
                </a:lnTo>
                <a:lnTo>
                  <a:pt x="4376" y="1250"/>
                </a:lnTo>
                <a:lnTo>
                  <a:pt x="4379" y="1253"/>
                </a:lnTo>
                <a:lnTo>
                  <a:pt x="4378" y="1254"/>
                </a:lnTo>
                <a:lnTo>
                  <a:pt x="4376" y="1254"/>
                </a:lnTo>
                <a:lnTo>
                  <a:pt x="4379" y="1259"/>
                </a:lnTo>
                <a:lnTo>
                  <a:pt x="4378" y="1260"/>
                </a:lnTo>
                <a:lnTo>
                  <a:pt x="4376" y="1259"/>
                </a:lnTo>
                <a:lnTo>
                  <a:pt x="4374" y="1261"/>
                </a:lnTo>
                <a:lnTo>
                  <a:pt x="4373" y="1263"/>
                </a:lnTo>
                <a:lnTo>
                  <a:pt x="4373" y="1262"/>
                </a:lnTo>
                <a:lnTo>
                  <a:pt x="4373" y="1262"/>
                </a:lnTo>
                <a:lnTo>
                  <a:pt x="4373" y="1261"/>
                </a:lnTo>
                <a:lnTo>
                  <a:pt x="4373" y="1261"/>
                </a:lnTo>
                <a:lnTo>
                  <a:pt x="4372" y="1260"/>
                </a:lnTo>
                <a:lnTo>
                  <a:pt x="4372" y="1261"/>
                </a:lnTo>
                <a:lnTo>
                  <a:pt x="4372" y="1260"/>
                </a:lnTo>
                <a:lnTo>
                  <a:pt x="4370" y="1263"/>
                </a:lnTo>
                <a:lnTo>
                  <a:pt x="4368" y="1266"/>
                </a:lnTo>
                <a:lnTo>
                  <a:pt x="4365" y="1266"/>
                </a:lnTo>
                <a:lnTo>
                  <a:pt x="4365" y="1268"/>
                </a:lnTo>
                <a:lnTo>
                  <a:pt x="4362" y="1271"/>
                </a:lnTo>
                <a:lnTo>
                  <a:pt x="4364" y="1273"/>
                </a:lnTo>
                <a:lnTo>
                  <a:pt x="4364" y="1275"/>
                </a:lnTo>
                <a:lnTo>
                  <a:pt x="4363" y="1276"/>
                </a:lnTo>
                <a:lnTo>
                  <a:pt x="4362" y="1277"/>
                </a:lnTo>
                <a:lnTo>
                  <a:pt x="4361" y="1277"/>
                </a:lnTo>
                <a:lnTo>
                  <a:pt x="4360" y="1278"/>
                </a:lnTo>
                <a:lnTo>
                  <a:pt x="4358" y="1278"/>
                </a:lnTo>
                <a:lnTo>
                  <a:pt x="4362" y="1282"/>
                </a:lnTo>
                <a:lnTo>
                  <a:pt x="4357" y="1282"/>
                </a:lnTo>
                <a:lnTo>
                  <a:pt x="4357" y="1286"/>
                </a:lnTo>
                <a:lnTo>
                  <a:pt x="4357" y="1286"/>
                </a:lnTo>
                <a:lnTo>
                  <a:pt x="4357" y="1286"/>
                </a:lnTo>
                <a:lnTo>
                  <a:pt x="4357" y="1287"/>
                </a:lnTo>
                <a:lnTo>
                  <a:pt x="4355" y="1288"/>
                </a:lnTo>
                <a:lnTo>
                  <a:pt x="4353" y="1288"/>
                </a:lnTo>
                <a:lnTo>
                  <a:pt x="4355" y="1286"/>
                </a:lnTo>
                <a:lnTo>
                  <a:pt x="4353" y="1286"/>
                </a:lnTo>
                <a:lnTo>
                  <a:pt x="4353" y="1287"/>
                </a:lnTo>
                <a:lnTo>
                  <a:pt x="4353" y="1287"/>
                </a:lnTo>
                <a:lnTo>
                  <a:pt x="4353" y="1287"/>
                </a:lnTo>
                <a:lnTo>
                  <a:pt x="4353" y="1286"/>
                </a:lnTo>
                <a:lnTo>
                  <a:pt x="4352" y="1286"/>
                </a:lnTo>
                <a:lnTo>
                  <a:pt x="4351" y="1286"/>
                </a:lnTo>
                <a:lnTo>
                  <a:pt x="4351" y="1286"/>
                </a:lnTo>
                <a:lnTo>
                  <a:pt x="4350" y="1285"/>
                </a:lnTo>
                <a:lnTo>
                  <a:pt x="4349" y="1284"/>
                </a:lnTo>
                <a:lnTo>
                  <a:pt x="4349" y="1290"/>
                </a:lnTo>
                <a:lnTo>
                  <a:pt x="4350" y="1290"/>
                </a:lnTo>
                <a:lnTo>
                  <a:pt x="4349" y="1291"/>
                </a:lnTo>
                <a:lnTo>
                  <a:pt x="4350" y="1292"/>
                </a:lnTo>
                <a:lnTo>
                  <a:pt x="4349" y="1295"/>
                </a:lnTo>
                <a:lnTo>
                  <a:pt x="4349" y="1296"/>
                </a:lnTo>
                <a:lnTo>
                  <a:pt x="4349" y="1295"/>
                </a:lnTo>
                <a:lnTo>
                  <a:pt x="4350" y="1296"/>
                </a:lnTo>
                <a:lnTo>
                  <a:pt x="4350" y="1297"/>
                </a:lnTo>
                <a:lnTo>
                  <a:pt x="4350" y="1298"/>
                </a:lnTo>
                <a:lnTo>
                  <a:pt x="4349" y="1298"/>
                </a:lnTo>
                <a:lnTo>
                  <a:pt x="4349" y="1306"/>
                </a:lnTo>
                <a:lnTo>
                  <a:pt x="4349" y="1306"/>
                </a:lnTo>
                <a:lnTo>
                  <a:pt x="4345" y="1303"/>
                </a:lnTo>
                <a:lnTo>
                  <a:pt x="4344" y="1305"/>
                </a:lnTo>
                <a:lnTo>
                  <a:pt x="4343" y="1307"/>
                </a:lnTo>
                <a:lnTo>
                  <a:pt x="4344" y="1308"/>
                </a:lnTo>
                <a:lnTo>
                  <a:pt x="4345" y="1309"/>
                </a:lnTo>
                <a:lnTo>
                  <a:pt x="4343" y="1310"/>
                </a:lnTo>
                <a:lnTo>
                  <a:pt x="4341" y="1311"/>
                </a:lnTo>
                <a:lnTo>
                  <a:pt x="4341" y="1310"/>
                </a:lnTo>
                <a:lnTo>
                  <a:pt x="4343" y="1310"/>
                </a:lnTo>
                <a:lnTo>
                  <a:pt x="4342" y="1310"/>
                </a:lnTo>
                <a:lnTo>
                  <a:pt x="4341" y="1310"/>
                </a:lnTo>
                <a:lnTo>
                  <a:pt x="4339" y="1311"/>
                </a:lnTo>
                <a:lnTo>
                  <a:pt x="4337" y="1312"/>
                </a:lnTo>
                <a:lnTo>
                  <a:pt x="4339" y="1313"/>
                </a:lnTo>
                <a:lnTo>
                  <a:pt x="4340" y="1314"/>
                </a:lnTo>
                <a:lnTo>
                  <a:pt x="4333" y="1315"/>
                </a:lnTo>
                <a:lnTo>
                  <a:pt x="4333" y="1318"/>
                </a:lnTo>
                <a:lnTo>
                  <a:pt x="4338" y="1318"/>
                </a:lnTo>
                <a:lnTo>
                  <a:pt x="4333" y="1319"/>
                </a:lnTo>
                <a:lnTo>
                  <a:pt x="4333" y="1318"/>
                </a:lnTo>
                <a:lnTo>
                  <a:pt x="4332" y="1319"/>
                </a:lnTo>
                <a:lnTo>
                  <a:pt x="4330" y="1321"/>
                </a:lnTo>
                <a:lnTo>
                  <a:pt x="4328" y="1319"/>
                </a:lnTo>
                <a:lnTo>
                  <a:pt x="4326" y="1322"/>
                </a:lnTo>
                <a:lnTo>
                  <a:pt x="4327" y="1323"/>
                </a:lnTo>
                <a:lnTo>
                  <a:pt x="4328" y="1325"/>
                </a:lnTo>
                <a:lnTo>
                  <a:pt x="4325" y="1327"/>
                </a:lnTo>
                <a:lnTo>
                  <a:pt x="4323" y="1329"/>
                </a:lnTo>
                <a:lnTo>
                  <a:pt x="4324" y="1329"/>
                </a:lnTo>
                <a:lnTo>
                  <a:pt x="4322" y="1330"/>
                </a:lnTo>
                <a:lnTo>
                  <a:pt x="4320" y="1332"/>
                </a:lnTo>
                <a:lnTo>
                  <a:pt x="4318" y="1333"/>
                </a:lnTo>
                <a:lnTo>
                  <a:pt x="4318" y="1334"/>
                </a:lnTo>
                <a:lnTo>
                  <a:pt x="4319" y="1336"/>
                </a:lnTo>
                <a:lnTo>
                  <a:pt x="4317" y="1339"/>
                </a:lnTo>
                <a:lnTo>
                  <a:pt x="4316" y="1339"/>
                </a:lnTo>
                <a:lnTo>
                  <a:pt x="4316" y="1337"/>
                </a:lnTo>
                <a:lnTo>
                  <a:pt x="4316" y="1333"/>
                </a:lnTo>
                <a:lnTo>
                  <a:pt x="4316" y="1333"/>
                </a:lnTo>
                <a:lnTo>
                  <a:pt x="4316" y="1334"/>
                </a:lnTo>
                <a:lnTo>
                  <a:pt x="4315" y="1334"/>
                </a:lnTo>
                <a:lnTo>
                  <a:pt x="4314" y="1336"/>
                </a:lnTo>
                <a:lnTo>
                  <a:pt x="4313" y="1334"/>
                </a:lnTo>
                <a:lnTo>
                  <a:pt x="4311" y="1334"/>
                </a:lnTo>
                <a:lnTo>
                  <a:pt x="4308" y="1341"/>
                </a:lnTo>
                <a:lnTo>
                  <a:pt x="4309" y="1343"/>
                </a:lnTo>
                <a:lnTo>
                  <a:pt x="4301" y="1343"/>
                </a:lnTo>
                <a:lnTo>
                  <a:pt x="4301" y="1346"/>
                </a:lnTo>
                <a:lnTo>
                  <a:pt x="4301" y="1346"/>
                </a:lnTo>
                <a:lnTo>
                  <a:pt x="4301" y="1347"/>
                </a:lnTo>
                <a:lnTo>
                  <a:pt x="4294" y="1349"/>
                </a:lnTo>
                <a:lnTo>
                  <a:pt x="4292" y="1347"/>
                </a:lnTo>
                <a:lnTo>
                  <a:pt x="4289" y="1347"/>
                </a:lnTo>
                <a:lnTo>
                  <a:pt x="4289" y="1351"/>
                </a:lnTo>
                <a:lnTo>
                  <a:pt x="4283" y="1349"/>
                </a:lnTo>
                <a:lnTo>
                  <a:pt x="4277" y="1351"/>
                </a:lnTo>
                <a:lnTo>
                  <a:pt x="4277" y="1349"/>
                </a:lnTo>
                <a:lnTo>
                  <a:pt x="4276" y="1350"/>
                </a:lnTo>
                <a:lnTo>
                  <a:pt x="4275" y="1351"/>
                </a:lnTo>
                <a:lnTo>
                  <a:pt x="4278" y="1355"/>
                </a:lnTo>
                <a:lnTo>
                  <a:pt x="4275" y="1355"/>
                </a:lnTo>
                <a:lnTo>
                  <a:pt x="4275" y="1355"/>
                </a:lnTo>
                <a:lnTo>
                  <a:pt x="4274" y="1355"/>
                </a:lnTo>
                <a:lnTo>
                  <a:pt x="4269" y="1356"/>
                </a:lnTo>
                <a:lnTo>
                  <a:pt x="4269" y="1357"/>
                </a:lnTo>
                <a:lnTo>
                  <a:pt x="4266" y="1357"/>
                </a:lnTo>
                <a:lnTo>
                  <a:pt x="4269" y="1356"/>
                </a:lnTo>
                <a:lnTo>
                  <a:pt x="4270" y="1355"/>
                </a:lnTo>
                <a:lnTo>
                  <a:pt x="4266" y="1355"/>
                </a:lnTo>
                <a:lnTo>
                  <a:pt x="4264" y="1350"/>
                </a:lnTo>
                <a:lnTo>
                  <a:pt x="4263" y="1348"/>
                </a:lnTo>
                <a:lnTo>
                  <a:pt x="4261" y="1347"/>
                </a:lnTo>
                <a:lnTo>
                  <a:pt x="4257" y="1344"/>
                </a:lnTo>
                <a:lnTo>
                  <a:pt x="4257" y="1347"/>
                </a:lnTo>
                <a:lnTo>
                  <a:pt x="4260" y="1347"/>
                </a:lnTo>
                <a:lnTo>
                  <a:pt x="4258" y="1350"/>
                </a:lnTo>
                <a:lnTo>
                  <a:pt x="4257" y="1353"/>
                </a:lnTo>
                <a:lnTo>
                  <a:pt x="4257" y="1357"/>
                </a:lnTo>
                <a:lnTo>
                  <a:pt x="4257" y="1363"/>
                </a:lnTo>
                <a:lnTo>
                  <a:pt x="4257" y="1363"/>
                </a:lnTo>
                <a:lnTo>
                  <a:pt x="4253" y="1363"/>
                </a:lnTo>
                <a:lnTo>
                  <a:pt x="4253" y="1357"/>
                </a:lnTo>
                <a:lnTo>
                  <a:pt x="4252" y="1362"/>
                </a:lnTo>
                <a:lnTo>
                  <a:pt x="4252" y="1362"/>
                </a:lnTo>
                <a:lnTo>
                  <a:pt x="4250" y="1364"/>
                </a:lnTo>
                <a:lnTo>
                  <a:pt x="4248" y="1365"/>
                </a:lnTo>
                <a:lnTo>
                  <a:pt x="4248" y="1365"/>
                </a:lnTo>
                <a:lnTo>
                  <a:pt x="4247" y="1364"/>
                </a:lnTo>
                <a:lnTo>
                  <a:pt x="4246" y="1365"/>
                </a:lnTo>
                <a:lnTo>
                  <a:pt x="4245" y="1365"/>
                </a:lnTo>
                <a:lnTo>
                  <a:pt x="4241" y="1364"/>
                </a:lnTo>
                <a:lnTo>
                  <a:pt x="4238" y="1362"/>
                </a:lnTo>
                <a:lnTo>
                  <a:pt x="4238" y="1364"/>
                </a:lnTo>
                <a:lnTo>
                  <a:pt x="4239" y="1365"/>
                </a:lnTo>
                <a:lnTo>
                  <a:pt x="4238" y="1366"/>
                </a:lnTo>
                <a:lnTo>
                  <a:pt x="4238" y="1368"/>
                </a:lnTo>
                <a:lnTo>
                  <a:pt x="4234" y="1364"/>
                </a:lnTo>
                <a:lnTo>
                  <a:pt x="4236" y="1368"/>
                </a:lnTo>
                <a:lnTo>
                  <a:pt x="4234" y="1369"/>
                </a:lnTo>
                <a:lnTo>
                  <a:pt x="4230" y="1370"/>
                </a:lnTo>
                <a:lnTo>
                  <a:pt x="4226" y="1371"/>
                </a:lnTo>
                <a:lnTo>
                  <a:pt x="4226" y="1370"/>
                </a:lnTo>
                <a:lnTo>
                  <a:pt x="4226" y="1370"/>
                </a:lnTo>
                <a:lnTo>
                  <a:pt x="4226" y="1370"/>
                </a:lnTo>
                <a:lnTo>
                  <a:pt x="4226" y="1371"/>
                </a:lnTo>
                <a:lnTo>
                  <a:pt x="4225" y="1371"/>
                </a:lnTo>
                <a:lnTo>
                  <a:pt x="4225" y="1369"/>
                </a:lnTo>
                <a:lnTo>
                  <a:pt x="4222" y="1371"/>
                </a:lnTo>
                <a:lnTo>
                  <a:pt x="4216" y="1371"/>
                </a:lnTo>
                <a:lnTo>
                  <a:pt x="4216" y="1374"/>
                </a:lnTo>
                <a:lnTo>
                  <a:pt x="4217" y="1375"/>
                </a:lnTo>
                <a:lnTo>
                  <a:pt x="4216" y="1374"/>
                </a:lnTo>
                <a:lnTo>
                  <a:pt x="4214" y="1374"/>
                </a:lnTo>
                <a:lnTo>
                  <a:pt x="4211" y="1375"/>
                </a:lnTo>
                <a:lnTo>
                  <a:pt x="4208" y="1376"/>
                </a:lnTo>
                <a:lnTo>
                  <a:pt x="4208" y="1383"/>
                </a:lnTo>
                <a:lnTo>
                  <a:pt x="4212" y="1383"/>
                </a:lnTo>
                <a:lnTo>
                  <a:pt x="4212" y="1382"/>
                </a:lnTo>
                <a:lnTo>
                  <a:pt x="4217" y="1387"/>
                </a:lnTo>
                <a:lnTo>
                  <a:pt x="4214" y="1391"/>
                </a:lnTo>
                <a:lnTo>
                  <a:pt x="4210" y="1391"/>
                </a:lnTo>
                <a:lnTo>
                  <a:pt x="4204" y="1391"/>
                </a:lnTo>
                <a:lnTo>
                  <a:pt x="4204" y="1387"/>
                </a:lnTo>
                <a:lnTo>
                  <a:pt x="4207" y="1386"/>
                </a:lnTo>
                <a:lnTo>
                  <a:pt x="4210" y="1385"/>
                </a:lnTo>
                <a:lnTo>
                  <a:pt x="4206" y="1382"/>
                </a:lnTo>
                <a:lnTo>
                  <a:pt x="4205" y="1381"/>
                </a:lnTo>
                <a:lnTo>
                  <a:pt x="4205" y="1379"/>
                </a:lnTo>
                <a:lnTo>
                  <a:pt x="4205" y="1376"/>
                </a:lnTo>
                <a:lnTo>
                  <a:pt x="4206" y="1373"/>
                </a:lnTo>
                <a:lnTo>
                  <a:pt x="4210" y="1371"/>
                </a:lnTo>
                <a:lnTo>
                  <a:pt x="4206" y="1371"/>
                </a:lnTo>
                <a:lnTo>
                  <a:pt x="4205" y="1371"/>
                </a:lnTo>
                <a:lnTo>
                  <a:pt x="4200" y="1365"/>
                </a:lnTo>
                <a:lnTo>
                  <a:pt x="4200" y="1368"/>
                </a:lnTo>
                <a:lnTo>
                  <a:pt x="4200" y="1369"/>
                </a:lnTo>
                <a:lnTo>
                  <a:pt x="4193" y="1370"/>
                </a:lnTo>
                <a:lnTo>
                  <a:pt x="4193" y="1371"/>
                </a:lnTo>
                <a:lnTo>
                  <a:pt x="4192" y="1371"/>
                </a:lnTo>
                <a:lnTo>
                  <a:pt x="4192" y="1371"/>
                </a:lnTo>
                <a:lnTo>
                  <a:pt x="4192" y="1371"/>
                </a:lnTo>
                <a:lnTo>
                  <a:pt x="4192" y="1370"/>
                </a:lnTo>
                <a:lnTo>
                  <a:pt x="4192" y="1367"/>
                </a:lnTo>
                <a:lnTo>
                  <a:pt x="4192" y="1367"/>
                </a:lnTo>
                <a:lnTo>
                  <a:pt x="4191" y="1365"/>
                </a:lnTo>
                <a:lnTo>
                  <a:pt x="4191" y="1365"/>
                </a:lnTo>
                <a:lnTo>
                  <a:pt x="4191" y="1363"/>
                </a:lnTo>
                <a:lnTo>
                  <a:pt x="4184" y="1363"/>
                </a:lnTo>
                <a:lnTo>
                  <a:pt x="4184" y="1364"/>
                </a:lnTo>
                <a:lnTo>
                  <a:pt x="4186" y="1364"/>
                </a:lnTo>
                <a:lnTo>
                  <a:pt x="4188" y="1365"/>
                </a:lnTo>
                <a:lnTo>
                  <a:pt x="4188" y="1366"/>
                </a:lnTo>
                <a:lnTo>
                  <a:pt x="4187" y="1367"/>
                </a:lnTo>
                <a:lnTo>
                  <a:pt x="4186" y="1366"/>
                </a:lnTo>
                <a:lnTo>
                  <a:pt x="4186" y="1365"/>
                </a:lnTo>
                <a:lnTo>
                  <a:pt x="4185" y="1366"/>
                </a:lnTo>
                <a:lnTo>
                  <a:pt x="4185" y="1367"/>
                </a:lnTo>
                <a:lnTo>
                  <a:pt x="4184" y="1367"/>
                </a:lnTo>
                <a:lnTo>
                  <a:pt x="4184" y="1368"/>
                </a:lnTo>
                <a:lnTo>
                  <a:pt x="4180" y="1369"/>
                </a:lnTo>
                <a:lnTo>
                  <a:pt x="4181" y="1369"/>
                </a:lnTo>
                <a:lnTo>
                  <a:pt x="4180" y="1370"/>
                </a:lnTo>
                <a:lnTo>
                  <a:pt x="4180" y="1370"/>
                </a:lnTo>
                <a:lnTo>
                  <a:pt x="4178" y="1371"/>
                </a:lnTo>
                <a:lnTo>
                  <a:pt x="4177" y="1371"/>
                </a:lnTo>
                <a:lnTo>
                  <a:pt x="4176" y="1371"/>
                </a:lnTo>
                <a:lnTo>
                  <a:pt x="4175" y="1371"/>
                </a:lnTo>
                <a:lnTo>
                  <a:pt x="4174" y="1371"/>
                </a:lnTo>
                <a:lnTo>
                  <a:pt x="4175" y="1371"/>
                </a:lnTo>
                <a:lnTo>
                  <a:pt x="4172" y="1373"/>
                </a:lnTo>
                <a:lnTo>
                  <a:pt x="4172" y="1373"/>
                </a:lnTo>
                <a:lnTo>
                  <a:pt x="4171" y="1375"/>
                </a:lnTo>
                <a:lnTo>
                  <a:pt x="4169" y="1376"/>
                </a:lnTo>
                <a:lnTo>
                  <a:pt x="4168" y="1377"/>
                </a:lnTo>
                <a:lnTo>
                  <a:pt x="4168" y="1376"/>
                </a:lnTo>
                <a:lnTo>
                  <a:pt x="4167" y="1375"/>
                </a:lnTo>
                <a:lnTo>
                  <a:pt x="4164" y="1375"/>
                </a:lnTo>
                <a:lnTo>
                  <a:pt x="4164" y="1379"/>
                </a:lnTo>
                <a:lnTo>
                  <a:pt x="4163" y="1379"/>
                </a:lnTo>
                <a:lnTo>
                  <a:pt x="4162" y="1379"/>
                </a:lnTo>
                <a:lnTo>
                  <a:pt x="4163" y="1381"/>
                </a:lnTo>
                <a:lnTo>
                  <a:pt x="4163" y="1383"/>
                </a:lnTo>
                <a:lnTo>
                  <a:pt x="4160" y="1383"/>
                </a:lnTo>
                <a:lnTo>
                  <a:pt x="4160" y="1386"/>
                </a:lnTo>
                <a:lnTo>
                  <a:pt x="4150" y="1392"/>
                </a:lnTo>
                <a:lnTo>
                  <a:pt x="4149" y="1394"/>
                </a:lnTo>
                <a:lnTo>
                  <a:pt x="4148" y="1397"/>
                </a:lnTo>
                <a:lnTo>
                  <a:pt x="4148" y="1401"/>
                </a:lnTo>
                <a:lnTo>
                  <a:pt x="4147" y="1404"/>
                </a:lnTo>
                <a:lnTo>
                  <a:pt x="4146" y="1406"/>
                </a:lnTo>
                <a:lnTo>
                  <a:pt x="4151" y="1416"/>
                </a:lnTo>
                <a:lnTo>
                  <a:pt x="4155" y="1419"/>
                </a:lnTo>
                <a:lnTo>
                  <a:pt x="4159" y="1423"/>
                </a:lnTo>
                <a:lnTo>
                  <a:pt x="4158" y="1425"/>
                </a:lnTo>
                <a:lnTo>
                  <a:pt x="4157" y="1427"/>
                </a:lnTo>
                <a:lnTo>
                  <a:pt x="4162" y="1432"/>
                </a:lnTo>
                <a:lnTo>
                  <a:pt x="4165" y="1434"/>
                </a:lnTo>
                <a:lnTo>
                  <a:pt x="4168" y="1435"/>
                </a:lnTo>
                <a:lnTo>
                  <a:pt x="4168" y="1439"/>
                </a:lnTo>
                <a:lnTo>
                  <a:pt x="4174" y="1447"/>
                </a:lnTo>
                <a:lnTo>
                  <a:pt x="4175" y="1446"/>
                </a:lnTo>
                <a:lnTo>
                  <a:pt x="4177" y="1446"/>
                </a:lnTo>
                <a:lnTo>
                  <a:pt x="4178" y="1451"/>
                </a:lnTo>
                <a:lnTo>
                  <a:pt x="4181" y="1451"/>
                </a:lnTo>
                <a:lnTo>
                  <a:pt x="4183" y="1450"/>
                </a:lnTo>
                <a:lnTo>
                  <a:pt x="4184" y="1450"/>
                </a:lnTo>
                <a:lnTo>
                  <a:pt x="4184" y="1449"/>
                </a:lnTo>
                <a:lnTo>
                  <a:pt x="4184" y="1449"/>
                </a:lnTo>
                <a:lnTo>
                  <a:pt x="4185" y="1451"/>
                </a:lnTo>
                <a:lnTo>
                  <a:pt x="4184" y="1451"/>
                </a:lnTo>
                <a:lnTo>
                  <a:pt x="4184" y="1451"/>
                </a:lnTo>
                <a:lnTo>
                  <a:pt x="4185" y="1453"/>
                </a:lnTo>
                <a:lnTo>
                  <a:pt x="4191" y="1463"/>
                </a:lnTo>
                <a:lnTo>
                  <a:pt x="4192" y="1463"/>
                </a:lnTo>
                <a:lnTo>
                  <a:pt x="4194" y="1474"/>
                </a:lnTo>
                <a:lnTo>
                  <a:pt x="4196" y="1486"/>
                </a:lnTo>
                <a:lnTo>
                  <a:pt x="4196" y="1486"/>
                </a:lnTo>
                <a:lnTo>
                  <a:pt x="4198" y="1486"/>
                </a:lnTo>
                <a:lnTo>
                  <a:pt x="4199" y="1487"/>
                </a:lnTo>
                <a:lnTo>
                  <a:pt x="4199" y="1487"/>
                </a:lnTo>
                <a:lnTo>
                  <a:pt x="4196" y="1487"/>
                </a:lnTo>
                <a:lnTo>
                  <a:pt x="4196" y="1492"/>
                </a:lnTo>
                <a:lnTo>
                  <a:pt x="4201" y="1501"/>
                </a:lnTo>
                <a:lnTo>
                  <a:pt x="4199" y="1504"/>
                </a:lnTo>
                <a:lnTo>
                  <a:pt x="4199" y="1506"/>
                </a:lnTo>
                <a:lnTo>
                  <a:pt x="4199" y="1509"/>
                </a:lnTo>
                <a:lnTo>
                  <a:pt x="4198" y="1508"/>
                </a:lnTo>
                <a:lnTo>
                  <a:pt x="4197" y="1508"/>
                </a:lnTo>
                <a:lnTo>
                  <a:pt x="4198" y="1514"/>
                </a:lnTo>
                <a:lnTo>
                  <a:pt x="4197" y="1515"/>
                </a:lnTo>
                <a:lnTo>
                  <a:pt x="4196" y="1515"/>
                </a:lnTo>
                <a:lnTo>
                  <a:pt x="4196" y="1515"/>
                </a:lnTo>
                <a:lnTo>
                  <a:pt x="4197" y="1515"/>
                </a:lnTo>
                <a:lnTo>
                  <a:pt x="4197" y="1516"/>
                </a:lnTo>
                <a:lnTo>
                  <a:pt x="4199" y="1519"/>
                </a:lnTo>
                <a:lnTo>
                  <a:pt x="4197" y="1523"/>
                </a:lnTo>
                <a:lnTo>
                  <a:pt x="4192" y="1523"/>
                </a:lnTo>
                <a:lnTo>
                  <a:pt x="4192" y="1527"/>
                </a:lnTo>
                <a:lnTo>
                  <a:pt x="4192" y="1527"/>
                </a:lnTo>
                <a:lnTo>
                  <a:pt x="4182" y="1533"/>
                </a:lnTo>
                <a:lnTo>
                  <a:pt x="4181" y="1535"/>
                </a:lnTo>
                <a:lnTo>
                  <a:pt x="4178" y="1535"/>
                </a:lnTo>
                <a:lnTo>
                  <a:pt x="4173" y="1537"/>
                </a:lnTo>
                <a:lnTo>
                  <a:pt x="4169" y="1539"/>
                </a:lnTo>
                <a:lnTo>
                  <a:pt x="4167" y="1538"/>
                </a:lnTo>
                <a:lnTo>
                  <a:pt x="4167" y="1537"/>
                </a:lnTo>
                <a:lnTo>
                  <a:pt x="4164" y="1536"/>
                </a:lnTo>
                <a:lnTo>
                  <a:pt x="4164" y="1535"/>
                </a:lnTo>
                <a:lnTo>
                  <a:pt x="4160" y="1533"/>
                </a:lnTo>
                <a:lnTo>
                  <a:pt x="4160" y="1536"/>
                </a:lnTo>
                <a:lnTo>
                  <a:pt x="4162" y="1540"/>
                </a:lnTo>
                <a:lnTo>
                  <a:pt x="4163" y="1543"/>
                </a:lnTo>
                <a:lnTo>
                  <a:pt x="4160" y="1543"/>
                </a:lnTo>
                <a:lnTo>
                  <a:pt x="4160" y="1544"/>
                </a:lnTo>
                <a:lnTo>
                  <a:pt x="4160" y="1544"/>
                </a:lnTo>
                <a:lnTo>
                  <a:pt x="4162" y="1544"/>
                </a:lnTo>
                <a:lnTo>
                  <a:pt x="4162" y="1545"/>
                </a:lnTo>
                <a:lnTo>
                  <a:pt x="4162" y="1545"/>
                </a:lnTo>
                <a:lnTo>
                  <a:pt x="4161" y="1547"/>
                </a:lnTo>
                <a:lnTo>
                  <a:pt x="4158" y="1543"/>
                </a:lnTo>
                <a:lnTo>
                  <a:pt x="4157" y="1543"/>
                </a:lnTo>
                <a:lnTo>
                  <a:pt x="4157" y="1543"/>
                </a:lnTo>
                <a:lnTo>
                  <a:pt x="4157" y="1544"/>
                </a:lnTo>
                <a:lnTo>
                  <a:pt x="4160" y="1548"/>
                </a:lnTo>
                <a:lnTo>
                  <a:pt x="4160" y="1550"/>
                </a:lnTo>
                <a:lnTo>
                  <a:pt x="4156" y="1551"/>
                </a:lnTo>
                <a:lnTo>
                  <a:pt x="4152" y="1548"/>
                </a:lnTo>
                <a:lnTo>
                  <a:pt x="4148" y="1544"/>
                </a:lnTo>
                <a:lnTo>
                  <a:pt x="4152" y="1550"/>
                </a:lnTo>
                <a:lnTo>
                  <a:pt x="4152" y="1553"/>
                </a:lnTo>
                <a:lnTo>
                  <a:pt x="4143" y="1556"/>
                </a:lnTo>
                <a:lnTo>
                  <a:pt x="4143" y="1560"/>
                </a:lnTo>
                <a:lnTo>
                  <a:pt x="4141" y="1563"/>
                </a:lnTo>
                <a:lnTo>
                  <a:pt x="4140" y="1565"/>
                </a:lnTo>
                <a:lnTo>
                  <a:pt x="4138" y="1567"/>
                </a:lnTo>
                <a:lnTo>
                  <a:pt x="4134" y="1567"/>
                </a:lnTo>
                <a:lnTo>
                  <a:pt x="4135" y="1565"/>
                </a:lnTo>
                <a:lnTo>
                  <a:pt x="4135" y="1563"/>
                </a:lnTo>
                <a:lnTo>
                  <a:pt x="4132" y="1562"/>
                </a:lnTo>
                <a:lnTo>
                  <a:pt x="4132" y="1548"/>
                </a:lnTo>
                <a:lnTo>
                  <a:pt x="4135" y="1546"/>
                </a:lnTo>
                <a:lnTo>
                  <a:pt x="4138" y="1545"/>
                </a:lnTo>
                <a:lnTo>
                  <a:pt x="4139" y="1546"/>
                </a:lnTo>
                <a:lnTo>
                  <a:pt x="4140" y="1547"/>
                </a:lnTo>
                <a:lnTo>
                  <a:pt x="4140" y="1545"/>
                </a:lnTo>
                <a:lnTo>
                  <a:pt x="4135" y="1540"/>
                </a:lnTo>
                <a:lnTo>
                  <a:pt x="4134" y="1541"/>
                </a:lnTo>
                <a:lnTo>
                  <a:pt x="4133" y="1542"/>
                </a:lnTo>
                <a:lnTo>
                  <a:pt x="4131" y="1540"/>
                </a:lnTo>
                <a:lnTo>
                  <a:pt x="4130" y="1539"/>
                </a:lnTo>
                <a:lnTo>
                  <a:pt x="4131" y="1538"/>
                </a:lnTo>
                <a:lnTo>
                  <a:pt x="4133" y="1536"/>
                </a:lnTo>
                <a:lnTo>
                  <a:pt x="4135" y="1536"/>
                </a:lnTo>
                <a:lnTo>
                  <a:pt x="4136" y="1535"/>
                </a:lnTo>
                <a:lnTo>
                  <a:pt x="4136" y="1534"/>
                </a:lnTo>
                <a:lnTo>
                  <a:pt x="4136" y="1533"/>
                </a:lnTo>
                <a:lnTo>
                  <a:pt x="4136" y="1532"/>
                </a:lnTo>
                <a:lnTo>
                  <a:pt x="4135" y="1534"/>
                </a:lnTo>
                <a:lnTo>
                  <a:pt x="4133" y="1535"/>
                </a:lnTo>
                <a:lnTo>
                  <a:pt x="4130" y="1535"/>
                </a:lnTo>
                <a:lnTo>
                  <a:pt x="4128" y="1538"/>
                </a:lnTo>
                <a:lnTo>
                  <a:pt x="4128" y="1538"/>
                </a:lnTo>
                <a:lnTo>
                  <a:pt x="4128" y="1538"/>
                </a:lnTo>
                <a:lnTo>
                  <a:pt x="4125" y="1535"/>
                </a:lnTo>
                <a:lnTo>
                  <a:pt x="4122" y="1535"/>
                </a:lnTo>
                <a:lnTo>
                  <a:pt x="4116" y="1536"/>
                </a:lnTo>
                <a:lnTo>
                  <a:pt x="4113" y="1534"/>
                </a:lnTo>
                <a:lnTo>
                  <a:pt x="4116" y="1532"/>
                </a:lnTo>
                <a:lnTo>
                  <a:pt x="4116" y="1530"/>
                </a:lnTo>
                <a:lnTo>
                  <a:pt x="4113" y="1527"/>
                </a:lnTo>
                <a:lnTo>
                  <a:pt x="4113" y="1531"/>
                </a:lnTo>
                <a:lnTo>
                  <a:pt x="4110" y="1531"/>
                </a:lnTo>
                <a:lnTo>
                  <a:pt x="4108" y="1524"/>
                </a:lnTo>
                <a:lnTo>
                  <a:pt x="4106" y="1519"/>
                </a:lnTo>
                <a:lnTo>
                  <a:pt x="4106" y="1519"/>
                </a:lnTo>
                <a:lnTo>
                  <a:pt x="4105" y="1519"/>
                </a:lnTo>
                <a:lnTo>
                  <a:pt x="4104" y="1519"/>
                </a:lnTo>
                <a:lnTo>
                  <a:pt x="4104" y="1517"/>
                </a:lnTo>
                <a:lnTo>
                  <a:pt x="4105" y="1518"/>
                </a:lnTo>
                <a:lnTo>
                  <a:pt x="4106" y="1518"/>
                </a:lnTo>
                <a:lnTo>
                  <a:pt x="4105" y="1515"/>
                </a:lnTo>
                <a:lnTo>
                  <a:pt x="4105" y="1516"/>
                </a:lnTo>
                <a:lnTo>
                  <a:pt x="4104" y="1517"/>
                </a:lnTo>
                <a:lnTo>
                  <a:pt x="4104" y="1517"/>
                </a:lnTo>
                <a:lnTo>
                  <a:pt x="4104" y="1516"/>
                </a:lnTo>
                <a:lnTo>
                  <a:pt x="4103" y="1511"/>
                </a:lnTo>
                <a:lnTo>
                  <a:pt x="4101" y="1511"/>
                </a:lnTo>
                <a:lnTo>
                  <a:pt x="4100" y="1511"/>
                </a:lnTo>
                <a:lnTo>
                  <a:pt x="4100" y="1511"/>
                </a:lnTo>
                <a:lnTo>
                  <a:pt x="4097" y="1511"/>
                </a:lnTo>
                <a:lnTo>
                  <a:pt x="4096" y="1509"/>
                </a:lnTo>
                <a:lnTo>
                  <a:pt x="4096" y="1507"/>
                </a:lnTo>
                <a:lnTo>
                  <a:pt x="4093" y="1507"/>
                </a:lnTo>
                <a:lnTo>
                  <a:pt x="4090" y="1504"/>
                </a:lnTo>
                <a:lnTo>
                  <a:pt x="4085" y="1507"/>
                </a:lnTo>
                <a:lnTo>
                  <a:pt x="4081" y="1507"/>
                </a:lnTo>
                <a:lnTo>
                  <a:pt x="4080" y="1506"/>
                </a:lnTo>
                <a:lnTo>
                  <a:pt x="4080" y="1506"/>
                </a:lnTo>
                <a:lnTo>
                  <a:pt x="4080" y="1506"/>
                </a:lnTo>
                <a:lnTo>
                  <a:pt x="4079" y="1505"/>
                </a:lnTo>
                <a:lnTo>
                  <a:pt x="4078" y="1504"/>
                </a:lnTo>
                <a:lnTo>
                  <a:pt x="4078" y="1498"/>
                </a:lnTo>
                <a:lnTo>
                  <a:pt x="4079" y="1491"/>
                </a:lnTo>
                <a:lnTo>
                  <a:pt x="4073" y="1491"/>
                </a:lnTo>
                <a:lnTo>
                  <a:pt x="4066" y="1493"/>
                </a:lnTo>
                <a:lnTo>
                  <a:pt x="4065" y="1495"/>
                </a:lnTo>
                <a:lnTo>
                  <a:pt x="4066" y="1497"/>
                </a:lnTo>
                <a:lnTo>
                  <a:pt x="4064" y="1504"/>
                </a:lnTo>
                <a:lnTo>
                  <a:pt x="4064" y="1511"/>
                </a:lnTo>
                <a:lnTo>
                  <a:pt x="4058" y="1522"/>
                </a:lnTo>
                <a:lnTo>
                  <a:pt x="4056" y="1531"/>
                </a:lnTo>
                <a:lnTo>
                  <a:pt x="4048" y="1539"/>
                </a:lnTo>
                <a:lnTo>
                  <a:pt x="4048" y="1549"/>
                </a:lnTo>
                <a:lnTo>
                  <a:pt x="4053" y="1555"/>
                </a:lnTo>
                <a:lnTo>
                  <a:pt x="4055" y="1555"/>
                </a:lnTo>
                <a:lnTo>
                  <a:pt x="4054" y="1556"/>
                </a:lnTo>
                <a:lnTo>
                  <a:pt x="4056" y="1557"/>
                </a:lnTo>
                <a:lnTo>
                  <a:pt x="4063" y="1556"/>
                </a:lnTo>
                <a:lnTo>
                  <a:pt x="4066" y="1568"/>
                </a:lnTo>
                <a:lnTo>
                  <a:pt x="4066" y="1571"/>
                </a:lnTo>
                <a:lnTo>
                  <a:pt x="4067" y="1571"/>
                </a:lnTo>
                <a:lnTo>
                  <a:pt x="4069" y="1579"/>
                </a:lnTo>
                <a:lnTo>
                  <a:pt x="4067" y="1579"/>
                </a:lnTo>
                <a:lnTo>
                  <a:pt x="4066" y="1579"/>
                </a:lnTo>
                <a:lnTo>
                  <a:pt x="4067" y="1584"/>
                </a:lnTo>
                <a:lnTo>
                  <a:pt x="4071" y="1588"/>
                </a:lnTo>
                <a:lnTo>
                  <a:pt x="4073" y="1588"/>
                </a:lnTo>
                <a:lnTo>
                  <a:pt x="4074" y="1588"/>
                </a:lnTo>
                <a:lnTo>
                  <a:pt x="4075" y="1590"/>
                </a:lnTo>
                <a:lnTo>
                  <a:pt x="4077" y="1592"/>
                </a:lnTo>
                <a:lnTo>
                  <a:pt x="4079" y="1596"/>
                </a:lnTo>
                <a:lnTo>
                  <a:pt x="4084" y="1596"/>
                </a:lnTo>
                <a:lnTo>
                  <a:pt x="4084" y="1591"/>
                </a:lnTo>
                <a:lnTo>
                  <a:pt x="4088" y="1593"/>
                </a:lnTo>
                <a:lnTo>
                  <a:pt x="4090" y="1600"/>
                </a:lnTo>
                <a:lnTo>
                  <a:pt x="4094" y="1604"/>
                </a:lnTo>
                <a:lnTo>
                  <a:pt x="4095" y="1604"/>
                </a:lnTo>
                <a:lnTo>
                  <a:pt x="4098" y="1604"/>
                </a:lnTo>
                <a:lnTo>
                  <a:pt x="4101" y="1606"/>
                </a:lnTo>
                <a:lnTo>
                  <a:pt x="4109" y="1611"/>
                </a:lnTo>
                <a:lnTo>
                  <a:pt x="4114" y="1620"/>
                </a:lnTo>
                <a:lnTo>
                  <a:pt x="4114" y="1624"/>
                </a:lnTo>
                <a:lnTo>
                  <a:pt x="4115" y="1628"/>
                </a:lnTo>
                <a:lnTo>
                  <a:pt x="4113" y="1633"/>
                </a:lnTo>
                <a:lnTo>
                  <a:pt x="4111" y="1639"/>
                </a:lnTo>
                <a:lnTo>
                  <a:pt x="4113" y="1640"/>
                </a:lnTo>
                <a:lnTo>
                  <a:pt x="4115" y="1642"/>
                </a:lnTo>
                <a:lnTo>
                  <a:pt x="4114" y="1646"/>
                </a:lnTo>
                <a:lnTo>
                  <a:pt x="4114" y="1650"/>
                </a:lnTo>
                <a:lnTo>
                  <a:pt x="4115" y="1652"/>
                </a:lnTo>
                <a:lnTo>
                  <a:pt x="4117" y="1654"/>
                </a:lnTo>
                <a:lnTo>
                  <a:pt x="4118" y="1655"/>
                </a:lnTo>
                <a:lnTo>
                  <a:pt x="4120" y="1655"/>
                </a:lnTo>
                <a:lnTo>
                  <a:pt x="4122" y="1662"/>
                </a:lnTo>
                <a:lnTo>
                  <a:pt x="4124" y="1669"/>
                </a:lnTo>
                <a:lnTo>
                  <a:pt x="4124" y="1676"/>
                </a:lnTo>
                <a:lnTo>
                  <a:pt x="4126" y="1676"/>
                </a:lnTo>
                <a:lnTo>
                  <a:pt x="4125" y="1678"/>
                </a:lnTo>
                <a:lnTo>
                  <a:pt x="4123" y="1679"/>
                </a:lnTo>
                <a:lnTo>
                  <a:pt x="4123" y="1678"/>
                </a:lnTo>
                <a:lnTo>
                  <a:pt x="4123" y="1676"/>
                </a:lnTo>
                <a:lnTo>
                  <a:pt x="4123" y="1676"/>
                </a:lnTo>
                <a:lnTo>
                  <a:pt x="4123" y="1676"/>
                </a:lnTo>
                <a:lnTo>
                  <a:pt x="4123" y="1676"/>
                </a:lnTo>
                <a:lnTo>
                  <a:pt x="4123" y="1676"/>
                </a:lnTo>
                <a:lnTo>
                  <a:pt x="4123" y="1676"/>
                </a:lnTo>
                <a:lnTo>
                  <a:pt x="4120" y="1670"/>
                </a:lnTo>
                <a:lnTo>
                  <a:pt x="4120" y="1674"/>
                </a:lnTo>
                <a:lnTo>
                  <a:pt x="4120" y="1674"/>
                </a:lnTo>
                <a:lnTo>
                  <a:pt x="4118" y="1671"/>
                </a:lnTo>
                <a:lnTo>
                  <a:pt x="4115" y="1675"/>
                </a:lnTo>
                <a:lnTo>
                  <a:pt x="4115" y="1675"/>
                </a:lnTo>
                <a:lnTo>
                  <a:pt x="4114" y="1673"/>
                </a:lnTo>
                <a:lnTo>
                  <a:pt x="4114" y="1671"/>
                </a:lnTo>
                <a:lnTo>
                  <a:pt x="4104" y="1667"/>
                </a:lnTo>
                <a:lnTo>
                  <a:pt x="4101" y="1664"/>
                </a:lnTo>
                <a:lnTo>
                  <a:pt x="4096" y="1660"/>
                </a:lnTo>
                <a:lnTo>
                  <a:pt x="4089" y="1655"/>
                </a:lnTo>
                <a:lnTo>
                  <a:pt x="4084" y="1652"/>
                </a:lnTo>
                <a:lnTo>
                  <a:pt x="4085" y="1649"/>
                </a:lnTo>
                <a:lnTo>
                  <a:pt x="4084" y="1646"/>
                </a:lnTo>
                <a:lnTo>
                  <a:pt x="4081" y="1644"/>
                </a:lnTo>
                <a:lnTo>
                  <a:pt x="4078" y="1642"/>
                </a:lnTo>
                <a:lnTo>
                  <a:pt x="4075" y="1640"/>
                </a:lnTo>
                <a:lnTo>
                  <a:pt x="4077" y="1640"/>
                </a:lnTo>
                <a:lnTo>
                  <a:pt x="4073" y="1638"/>
                </a:lnTo>
                <a:lnTo>
                  <a:pt x="4075" y="1636"/>
                </a:lnTo>
                <a:lnTo>
                  <a:pt x="4077" y="1636"/>
                </a:lnTo>
                <a:lnTo>
                  <a:pt x="4072" y="1631"/>
                </a:lnTo>
                <a:lnTo>
                  <a:pt x="4072" y="1622"/>
                </a:lnTo>
                <a:lnTo>
                  <a:pt x="4070" y="1619"/>
                </a:lnTo>
                <a:lnTo>
                  <a:pt x="4068" y="1616"/>
                </a:lnTo>
                <a:lnTo>
                  <a:pt x="4070" y="1615"/>
                </a:lnTo>
                <a:lnTo>
                  <a:pt x="4068" y="1603"/>
                </a:lnTo>
                <a:lnTo>
                  <a:pt x="4065" y="1599"/>
                </a:lnTo>
                <a:lnTo>
                  <a:pt x="4064" y="1599"/>
                </a:lnTo>
                <a:lnTo>
                  <a:pt x="4064" y="1599"/>
                </a:lnTo>
                <a:lnTo>
                  <a:pt x="4065" y="1599"/>
                </a:lnTo>
                <a:lnTo>
                  <a:pt x="4060" y="1594"/>
                </a:lnTo>
                <a:lnTo>
                  <a:pt x="4062" y="1592"/>
                </a:lnTo>
                <a:lnTo>
                  <a:pt x="4058" y="1592"/>
                </a:lnTo>
                <a:lnTo>
                  <a:pt x="4056" y="1587"/>
                </a:lnTo>
                <a:lnTo>
                  <a:pt x="4054" y="1581"/>
                </a:lnTo>
                <a:lnTo>
                  <a:pt x="4053" y="1581"/>
                </a:lnTo>
                <a:lnTo>
                  <a:pt x="4051" y="1579"/>
                </a:lnTo>
                <a:lnTo>
                  <a:pt x="4048" y="1579"/>
                </a:lnTo>
                <a:lnTo>
                  <a:pt x="4048" y="1577"/>
                </a:lnTo>
                <a:lnTo>
                  <a:pt x="4048" y="1576"/>
                </a:lnTo>
                <a:lnTo>
                  <a:pt x="4047" y="1576"/>
                </a:lnTo>
                <a:lnTo>
                  <a:pt x="4046" y="1573"/>
                </a:lnTo>
                <a:lnTo>
                  <a:pt x="4044" y="1571"/>
                </a:lnTo>
                <a:lnTo>
                  <a:pt x="4044" y="1568"/>
                </a:lnTo>
                <a:lnTo>
                  <a:pt x="4040" y="1571"/>
                </a:lnTo>
                <a:lnTo>
                  <a:pt x="4040" y="1572"/>
                </a:lnTo>
                <a:lnTo>
                  <a:pt x="4036" y="1571"/>
                </a:lnTo>
                <a:lnTo>
                  <a:pt x="4036" y="1567"/>
                </a:lnTo>
                <a:lnTo>
                  <a:pt x="4040" y="1563"/>
                </a:lnTo>
                <a:lnTo>
                  <a:pt x="4036" y="1563"/>
                </a:lnTo>
                <a:lnTo>
                  <a:pt x="4036" y="1556"/>
                </a:lnTo>
                <a:lnTo>
                  <a:pt x="4037" y="1559"/>
                </a:lnTo>
                <a:lnTo>
                  <a:pt x="4038" y="1556"/>
                </a:lnTo>
                <a:lnTo>
                  <a:pt x="4044" y="1539"/>
                </a:lnTo>
                <a:lnTo>
                  <a:pt x="4044" y="1537"/>
                </a:lnTo>
                <a:lnTo>
                  <a:pt x="4044" y="1536"/>
                </a:lnTo>
                <a:lnTo>
                  <a:pt x="4042" y="1542"/>
                </a:lnTo>
                <a:lnTo>
                  <a:pt x="4043" y="1531"/>
                </a:lnTo>
                <a:lnTo>
                  <a:pt x="4044" y="1531"/>
                </a:lnTo>
                <a:lnTo>
                  <a:pt x="4044" y="1531"/>
                </a:lnTo>
                <a:lnTo>
                  <a:pt x="4044" y="1534"/>
                </a:lnTo>
                <a:lnTo>
                  <a:pt x="4044" y="1534"/>
                </a:lnTo>
                <a:lnTo>
                  <a:pt x="4049" y="1531"/>
                </a:lnTo>
                <a:lnTo>
                  <a:pt x="4054" y="1529"/>
                </a:lnTo>
                <a:lnTo>
                  <a:pt x="4059" y="1517"/>
                </a:lnTo>
                <a:lnTo>
                  <a:pt x="4058" y="1514"/>
                </a:lnTo>
                <a:lnTo>
                  <a:pt x="4051" y="1525"/>
                </a:lnTo>
                <a:lnTo>
                  <a:pt x="4045" y="1529"/>
                </a:lnTo>
                <a:lnTo>
                  <a:pt x="4048" y="1519"/>
                </a:lnTo>
                <a:lnTo>
                  <a:pt x="4048" y="1519"/>
                </a:lnTo>
                <a:lnTo>
                  <a:pt x="4047" y="1515"/>
                </a:lnTo>
                <a:lnTo>
                  <a:pt x="4044" y="1516"/>
                </a:lnTo>
                <a:lnTo>
                  <a:pt x="4044" y="1516"/>
                </a:lnTo>
                <a:lnTo>
                  <a:pt x="4044" y="1515"/>
                </a:lnTo>
                <a:lnTo>
                  <a:pt x="4043" y="1515"/>
                </a:lnTo>
                <a:lnTo>
                  <a:pt x="4044" y="1516"/>
                </a:lnTo>
                <a:lnTo>
                  <a:pt x="4044" y="1519"/>
                </a:lnTo>
                <a:lnTo>
                  <a:pt x="4043" y="1519"/>
                </a:lnTo>
                <a:lnTo>
                  <a:pt x="4042" y="1516"/>
                </a:lnTo>
                <a:lnTo>
                  <a:pt x="4041" y="1514"/>
                </a:lnTo>
                <a:lnTo>
                  <a:pt x="4040" y="1515"/>
                </a:lnTo>
                <a:lnTo>
                  <a:pt x="4040" y="1515"/>
                </a:lnTo>
                <a:lnTo>
                  <a:pt x="4040" y="1509"/>
                </a:lnTo>
                <a:lnTo>
                  <a:pt x="4042" y="1511"/>
                </a:lnTo>
                <a:lnTo>
                  <a:pt x="4044" y="1512"/>
                </a:lnTo>
                <a:lnTo>
                  <a:pt x="4044" y="1512"/>
                </a:lnTo>
                <a:lnTo>
                  <a:pt x="4044" y="1511"/>
                </a:lnTo>
                <a:lnTo>
                  <a:pt x="4044" y="1507"/>
                </a:lnTo>
                <a:lnTo>
                  <a:pt x="4044" y="1507"/>
                </a:lnTo>
                <a:lnTo>
                  <a:pt x="4045" y="1502"/>
                </a:lnTo>
                <a:lnTo>
                  <a:pt x="4044" y="1493"/>
                </a:lnTo>
                <a:lnTo>
                  <a:pt x="4041" y="1484"/>
                </a:lnTo>
                <a:lnTo>
                  <a:pt x="4039" y="1479"/>
                </a:lnTo>
                <a:lnTo>
                  <a:pt x="4037" y="1487"/>
                </a:lnTo>
                <a:lnTo>
                  <a:pt x="4036" y="1487"/>
                </a:lnTo>
                <a:lnTo>
                  <a:pt x="4036" y="1478"/>
                </a:lnTo>
                <a:lnTo>
                  <a:pt x="4032" y="1467"/>
                </a:lnTo>
                <a:lnTo>
                  <a:pt x="4032" y="1460"/>
                </a:lnTo>
                <a:lnTo>
                  <a:pt x="4032" y="1453"/>
                </a:lnTo>
                <a:lnTo>
                  <a:pt x="4029" y="1449"/>
                </a:lnTo>
                <a:lnTo>
                  <a:pt x="4028" y="1447"/>
                </a:lnTo>
                <a:lnTo>
                  <a:pt x="4028" y="1448"/>
                </a:lnTo>
                <a:lnTo>
                  <a:pt x="4028" y="1444"/>
                </a:lnTo>
                <a:lnTo>
                  <a:pt x="4028" y="1443"/>
                </a:lnTo>
                <a:lnTo>
                  <a:pt x="4029" y="1443"/>
                </a:lnTo>
                <a:lnTo>
                  <a:pt x="4029" y="1446"/>
                </a:lnTo>
                <a:lnTo>
                  <a:pt x="4028" y="1443"/>
                </a:lnTo>
                <a:lnTo>
                  <a:pt x="4027" y="1443"/>
                </a:lnTo>
                <a:lnTo>
                  <a:pt x="4023" y="1433"/>
                </a:lnTo>
                <a:lnTo>
                  <a:pt x="4022" y="1430"/>
                </a:lnTo>
                <a:lnTo>
                  <a:pt x="4021" y="1428"/>
                </a:lnTo>
                <a:lnTo>
                  <a:pt x="4020" y="1430"/>
                </a:lnTo>
                <a:lnTo>
                  <a:pt x="4019" y="1433"/>
                </a:lnTo>
                <a:lnTo>
                  <a:pt x="4020" y="1434"/>
                </a:lnTo>
                <a:lnTo>
                  <a:pt x="4021" y="1435"/>
                </a:lnTo>
                <a:lnTo>
                  <a:pt x="4020" y="1437"/>
                </a:lnTo>
                <a:lnTo>
                  <a:pt x="4019" y="1439"/>
                </a:lnTo>
                <a:lnTo>
                  <a:pt x="4015" y="1443"/>
                </a:lnTo>
                <a:lnTo>
                  <a:pt x="4012" y="1443"/>
                </a:lnTo>
                <a:lnTo>
                  <a:pt x="4008" y="1441"/>
                </a:lnTo>
                <a:lnTo>
                  <a:pt x="4008" y="1447"/>
                </a:lnTo>
                <a:lnTo>
                  <a:pt x="4004" y="1447"/>
                </a:lnTo>
                <a:lnTo>
                  <a:pt x="4004" y="1446"/>
                </a:lnTo>
                <a:lnTo>
                  <a:pt x="4003" y="1449"/>
                </a:lnTo>
                <a:lnTo>
                  <a:pt x="4002" y="1452"/>
                </a:lnTo>
                <a:lnTo>
                  <a:pt x="4000" y="1455"/>
                </a:lnTo>
                <a:lnTo>
                  <a:pt x="3997" y="1455"/>
                </a:lnTo>
                <a:lnTo>
                  <a:pt x="3996" y="1455"/>
                </a:lnTo>
                <a:lnTo>
                  <a:pt x="3996" y="1449"/>
                </a:lnTo>
                <a:lnTo>
                  <a:pt x="3994" y="1455"/>
                </a:lnTo>
                <a:lnTo>
                  <a:pt x="3988" y="1455"/>
                </a:lnTo>
                <a:lnTo>
                  <a:pt x="3988" y="1451"/>
                </a:lnTo>
                <a:lnTo>
                  <a:pt x="3988" y="1451"/>
                </a:lnTo>
                <a:lnTo>
                  <a:pt x="3988" y="1451"/>
                </a:lnTo>
                <a:lnTo>
                  <a:pt x="3989" y="1450"/>
                </a:lnTo>
                <a:lnTo>
                  <a:pt x="3990" y="1448"/>
                </a:lnTo>
                <a:lnTo>
                  <a:pt x="3989" y="1449"/>
                </a:lnTo>
                <a:lnTo>
                  <a:pt x="3989" y="1449"/>
                </a:lnTo>
                <a:lnTo>
                  <a:pt x="3988" y="1447"/>
                </a:lnTo>
                <a:lnTo>
                  <a:pt x="3984" y="1447"/>
                </a:lnTo>
                <a:lnTo>
                  <a:pt x="3984" y="1449"/>
                </a:lnTo>
                <a:lnTo>
                  <a:pt x="3988" y="1448"/>
                </a:lnTo>
                <a:lnTo>
                  <a:pt x="3988" y="1449"/>
                </a:lnTo>
                <a:lnTo>
                  <a:pt x="3984" y="1453"/>
                </a:lnTo>
                <a:lnTo>
                  <a:pt x="3984" y="1450"/>
                </a:lnTo>
                <a:lnTo>
                  <a:pt x="3985" y="1449"/>
                </a:lnTo>
                <a:lnTo>
                  <a:pt x="3980" y="1450"/>
                </a:lnTo>
                <a:lnTo>
                  <a:pt x="3980" y="1446"/>
                </a:lnTo>
                <a:lnTo>
                  <a:pt x="3986" y="1426"/>
                </a:lnTo>
                <a:lnTo>
                  <a:pt x="3983" y="1415"/>
                </a:lnTo>
                <a:lnTo>
                  <a:pt x="3980" y="1412"/>
                </a:lnTo>
                <a:lnTo>
                  <a:pt x="3980" y="1408"/>
                </a:lnTo>
                <a:lnTo>
                  <a:pt x="3982" y="1407"/>
                </a:lnTo>
                <a:lnTo>
                  <a:pt x="3976" y="1407"/>
                </a:lnTo>
                <a:lnTo>
                  <a:pt x="3976" y="1407"/>
                </a:lnTo>
                <a:lnTo>
                  <a:pt x="3974" y="1406"/>
                </a:lnTo>
                <a:lnTo>
                  <a:pt x="3972" y="1401"/>
                </a:lnTo>
                <a:lnTo>
                  <a:pt x="3975" y="1403"/>
                </a:lnTo>
                <a:lnTo>
                  <a:pt x="3976" y="1403"/>
                </a:lnTo>
                <a:lnTo>
                  <a:pt x="3976" y="1403"/>
                </a:lnTo>
                <a:lnTo>
                  <a:pt x="3977" y="1403"/>
                </a:lnTo>
                <a:lnTo>
                  <a:pt x="3976" y="1402"/>
                </a:lnTo>
                <a:lnTo>
                  <a:pt x="3977" y="1403"/>
                </a:lnTo>
                <a:lnTo>
                  <a:pt x="3979" y="1403"/>
                </a:lnTo>
                <a:lnTo>
                  <a:pt x="3978" y="1402"/>
                </a:lnTo>
                <a:lnTo>
                  <a:pt x="3976" y="1400"/>
                </a:lnTo>
                <a:lnTo>
                  <a:pt x="3976" y="1402"/>
                </a:lnTo>
                <a:lnTo>
                  <a:pt x="3974" y="1399"/>
                </a:lnTo>
                <a:lnTo>
                  <a:pt x="3975" y="1399"/>
                </a:lnTo>
                <a:lnTo>
                  <a:pt x="3979" y="1401"/>
                </a:lnTo>
                <a:lnTo>
                  <a:pt x="3977" y="1396"/>
                </a:lnTo>
                <a:lnTo>
                  <a:pt x="3975" y="1394"/>
                </a:lnTo>
                <a:lnTo>
                  <a:pt x="3975" y="1392"/>
                </a:lnTo>
                <a:lnTo>
                  <a:pt x="3971" y="1391"/>
                </a:lnTo>
                <a:lnTo>
                  <a:pt x="3967" y="1391"/>
                </a:lnTo>
                <a:lnTo>
                  <a:pt x="3967" y="1394"/>
                </a:lnTo>
                <a:lnTo>
                  <a:pt x="3963" y="1391"/>
                </a:lnTo>
                <a:lnTo>
                  <a:pt x="3967" y="1391"/>
                </a:lnTo>
                <a:lnTo>
                  <a:pt x="3967" y="1391"/>
                </a:lnTo>
                <a:lnTo>
                  <a:pt x="3963" y="1387"/>
                </a:lnTo>
                <a:lnTo>
                  <a:pt x="3966" y="1381"/>
                </a:lnTo>
                <a:lnTo>
                  <a:pt x="3962" y="1388"/>
                </a:lnTo>
                <a:lnTo>
                  <a:pt x="3958" y="1385"/>
                </a:lnTo>
                <a:lnTo>
                  <a:pt x="3959" y="1384"/>
                </a:lnTo>
                <a:lnTo>
                  <a:pt x="3959" y="1384"/>
                </a:lnTo>
                <a:lnTo>
                  <a:pt x="3956" y="1379"/>
                </a:lnTo>
                <a:lnTo>
                  <a:pt x="3955" y="1373"/>
                </a:lnTo>
                <a:lnTo>
                  <a:pt x="3952" y="1370"/>
                </a:lnTo>
                <a:lnTo>
                  <a:pt x="3952" y="1369"/>
                </a:lnTo>
                <a:lnTo>
                  <a:pt x="3950" y="1370"/>
                </a:lnTo>
                <a:lnTo>
                  <a:pt x="3951" y="1373"/>
                </a:lnTo>
                <a:lnTo>
                  <a:pt x="3951" y="1377"/>
                </a:lnTo>
                <a:lnTo>
                  <a:pt x="3949" y="1371"/>
                </a:lnTo>
                <a:lnTo>
                  <a:pt x="3948" y="1369"/>
                </a:lnTo>
                <a:lnTo>
                  <a:pt x="3950" y="1365"/>
                </a:lnTo>
                <a:lnTo>
                  <a:pt x="3946" y="1363"/>
                </a:lnTo>
                <a:lnTo>
                  <a:pt x="3947" y="1363"/>
                </a:lnTo>
                <a:lnTo>
                  <a:pt x="3945" y="1352"/>
                </a:lnTo>
                <a:lnTo>
                  <a:pt x="3940" y="1348"/>
                </a:lnTo>
                <a:lnTo>
                  <a:pt x="3937" y="1351"/>
                </a:lnTo>
                <a:lnTo>
                  <a:pt x="3936" y="1351"/>
                </a:lnTo>
                <a:lnTo>
                  <a:pt x="3935" y="1351"/>
                </a:lnTo>
                <a:lnTo>
                  <a:pt x="3935" y="1351"/>
                </a:lnTo>
                <a:lnTo>
                  <a:pt x="3934" y="1351"/>
                </a:lnTo>
                <a:lnTo>
                  <a:pt x="3931" y="1349"/>
                </a:lnTo>
                <a:lnTo>
                  <a:pt x="3929" y="1347"/>
                </a:lnTo>
                <a:lnTo>
                  <a:pt x="3929" y="1347"/>
                </a:lnTo>
                <a:lnTo>
                  <a:pt x="3929" y="1347"/>
                </a:lnTo>
                <a:lnTo>
                  <a:pt x="3929" y="1348"/>
                </a:lnTo>
                <a:lnTo>
                  <a:pt x="3928" y="1347"/>
                </a:lnTo>
                <a:lnTo>
                  <a:pt x="3928" y="1347"/>
                </a:lnTo>
                <a:lnTo>
                  <a:pt x="3927" y="1348"/>
                </a:lnTo>
                <a:lnTo>
                  <a:pt x="3927" y="1347"/>
                </a:lnTo>
                <a:lnTo>
                  <a:pt x="3926" y="1347"/>
                </a:lnTo>
                <a:lnTo>
                  <a:pt x="3923" y="1347"/>
                </a:lnTo>
                <a:lnTo>
                  <a:pt x="3923" y="1348"/>
                </a:lnTo>
                <a:lnTo>
                  <a:pt x="3926" y="1351"/>
                </a:lnTo>
                <a:lnTo>
                  <a:pt x="3927" y="1352"/>
                </a:lnTo>
                <a:lnTo>
                  <a:pt x="3927" y="1355"/>
                </a:lnTo>
                <a:lnTo>
                  <a:pt x="3927" y="1356"/>
                </a:lnTo>
                <a:lnTo>
                  <a:pt x="3924" y="1358"/>
                </a:lnTo>
                <a:lnTo>
                  <a:pt x="3925" y="1363"/>
                </a:lnTo>
                <a:lnTo>
                  <a:pt x="3923" y="1363"/>
                </a:lnTo>
                <a:lnTo>
                  <a:pt x="3921" y="1363"/>
                </a:lnTo>
                <a:lnTo>
                  <a:pt x="3923" y="1358"/>
                </a:lnTo>
                <a:lnTo>
                  <a:pt x="3922" y="1359"/>
                </a:lnTo>
                <a:lnTo>
                  <a:pt x="3922" y="1359"/>
                </a:lnTo>
                <a:lnTo>
                  <a:pt x="3922" y="1359"/>
                </a:lnTo>
                <a:lnTo>
                  <a:pt x="3919" y="1358"/>
                </a:lnTo>
                <a:lnTo>
                  <a:pt x="3915" y="1356"/>
                </a:lnTo>
                <a:lnTo>
                  <a:pt x="3915" y="1359"/>
                </a:lnTo>
                <a:lnTo>
                  <a:pt x="3913" y="1363"/>
                </a:lnTo>
                <a:lnTo>
                  <a:pt x="3913" y="1363"/>
                </a:lnTo>
                <a:lnTo>
                  <a:pt x="3911" y="1367"/>
                </a:lnTo>
                <a:lnTo>
                  <a:pt x="3907" y="1367"/>
                </a:lnTo>
                <a:lnTo>
                  <a:pt x="3907" y="1362"/>
                </a:lnTo>
                <a:lnTo>
                  <a:pt x="3907" y="1359"/>
                </a:lnTo>
                <a:lnTo>
                  <a:pt x="3907" y="1358"/>
                </a:lnTo>
                <a:lnTo>
                  <a:pt x="3903" y="1344"/>
                </a:lnTo>
                <a:lnTo>
                  <a:pt x="3906" y="1341"/>
                </a:lnTo>
                <a:lnTo>
                  <a:pt x="3904" y="1341"/>
                </a:lnTo>
                <a:lnTo>
                  <a:pt x="3903" y="1344"/>
                </a:lnTo>
                <a:lnTo>
                  <a:pt x="3906" y="1357"/>
                </a:lnTo>
                <a:lnTo>
                  <a:pt x="3905" y="1360"/>
                </a:lnTo>
                <a:lnTo>
                  <a:pt x="3906" y="1366"/>
                </a:lnTo>
                <a:lnTo>
                  <a:pt x="3903" y="1367"/>
                </a:lnTo>
                <a:lnTo>
                  <a:pt x="3900" y="1368"/>
                </a:lnTo>
                <a:lnTo>
                  <a:pt x="3901" y="1365"/>
                </a:lnTo>
                <a:lnTo>
                  <a:pt x="3902" y="1363"/>
                </a:lnTo>
                <a:lnTo>
                  <a:pt x="3899" y="1363"/>
                </a:lnTo>
                <a:lnTo>
                  <a:pt x="3899" y="1363"/>
                </a:lnTo>
                <a:lnTo>
                  <a:pt x="3899" y="1364"/>
                </a:lnTo>
                <a:lnTo>
                  <a:pt x="3898" y="1367"/>
                </a:lnTo>
                <a:lnTo>
                  <a:pt x="3897" y="1367"/>
                </a:lnTo>
                <a:lnTo>
                  <a:pt x="3895" y="1367"/>
                </a:lnTo>
                <a:lnTo>
                  <a:pt x="3893" y="1365"/>
                </a:lnTo>
                <a:lnTo>
                  <a:pt x="3893" y="1364"/>
                </a:lnTo>
                <a:lnTo>
                  <a:pt x="3892" y="1361"/>
                </a:lnTo>
                <a:lnTo>
                  <a:pt x="3888" y="1363"/>
                </a:lnTo>
                <a:lnTo>
                  <a:pt x="3880" y="1367"/>
                </a:lnTo>
                <a:lnTo>
                  <a:pt x="3876" y="1369"/>
                </a:lnTo>
                <a:lnTo>
                  <a:pt x="3873" y="1372"/>
                </a:lnTo>
                <a:lnTo>
                  <a:pt x="3876" y="1379"/>
                </a:lnTo>
                <a:lnTo>
                  <a:pt x="3875" y="1379"/>
                </a:lnTo>
                <a:lnTo>
                  <a:pt x="3875" y="1382"/>
                </a:lnTo>
                <a:lnTo>
                  <a:pt x="3871" y="1383"/>
                </a:lnTo>
                <a:lnTo>
                  <a:pt x="3871" y="1385"/>
                </a:lnTo>
                <a:lnTo>
                  <a:pt x="3869" y="1387"/>
                </a:lnTo>
                <a:lnTo>
                  <a:pt x="3867" y="1389"/>
                </a:lnTo>
                <a:lnTo>
                  <a:pt x="3867" y="1390"/>
                </a:lnTo>
                <a:lnTo>
                  <a:pt x="3865" y="1389"/>
                </a:lnTo>
                <a:lnTo>
                  <a:pt x="3866" y="1391"/>
                </a:lnTo>
                <a:lnTo>
                  <a:pt x="3867" y="1393"/>
                </a:lnTo>
                <a:lnTo>
                  <a:pt x="3854" y="1397"/>
                </a:lnTo>
                <a:lnTo>
                  <a:pt x="3855" y="1394"/>
                </a:lnTo>
                <a:lnTo>
                  <a:pt x="3854" y="1393"/>
                </a:lnTo>
                <a:lnTo>
                  <a:pt x="3850" y="1395"/>
                </a:lnTo>
                <a:lnTo>
                  <a:pt x="3849" y="1398"/>
                </a:lnTo>
                <a:lnTo>
                  <a:pt x="3850" y="1398"/>
                </a:lnTo>
                <a:lnTo>
                  <a:pt x="3851" y="1397"/>
                </a:lnTo>
                <a:lnTo>
                  <a:pt x="3851" y="1397"/>
                </a:lnTo>
                <a:lnTo>
                  <a:pt x="3843" y="1407"/>
                </a:lnTo>
                <a:lnTo>
                  <a:pt x="3843" y="1407"/>
                </a:lnTo>
                <a:lnTo>
                  <a:pt x="3843" y="1407"/>
                </a:lnTo>
                <a:lnTo>
                  <a:pt x="3835" y="1416"/>
                </a:lnTo>
                <a:lnTo>
                  <a:pt x="3828" y="1421"/>
                </a:lnTo>
                <a:lnTo>
                  <a:pt x="3825" y="1425"/>
                </a:lnTo>
                <a:lnTo>
                  <a:pt x="3822" y="1428"/>
                </a:lnTo>
                <a:lnTo>
                  <a:pt x="3809" y="1437"/>
                </a:lnTo>
                <a:lnTo>
                  <a:pt x="3808" y="1439"/>
                </a:lnTo>
                <a:lnTo>
                  <a:pt x="3809" y="1440"/>
                </a:lnTo>
                <a:lnTo>
                  <a:pt x="3808" y="1445"/>
                </a:lnTo>
                <a:lnTo>
                  <a:pt x="3800" y="1451"/>
                </a:lnTo>
                <a:lnTo>
                  <a:pt x="3794" y="1451"/>
                </a:lnTo>
                <a:lnTo>
                  <a:pt x="3791" y="1457"/>
                </a:lnTo>
                <a:lnTo>
                  <a:pt x="3787" y="1454"/>
                </a:lnTo>
                <a:lnTo>
                  <a:pt x="3787" y="1455"/>
                </a:lnTo>
                <a:lnTo>
                  <a:pt x="3786" y="1454"/>
                </a:lnTo>
                <a:lnTo>
                  <a:pt x="3780" y="1458"/>
                </a:lnTo>
                <a:lnTo>
                  <a:pt x="3776" y="1468"/>
                </a:lnTo>
                <a:lnTo>
                  <a:pt x="3778" y="1474"/>
                </a:lnTo>
                <a:lnTo>
                  <a:pt x="3776" y="1481"/>
                </a:lnTo>
                <a:lnTo>
                  <a:pt x="3778" y="1487"/>
                </a:lnTo>
                <a:lnTo>
                  <a:pt x="3780" y="1493"/>
                </a:lnTo>
                <a:lnTo>
                  <a:pt x="3778" y="1487"/>
                </a:lnTo>
                <a:lnTo>
                  <a:pt x="3776" y="1490"/>
                </a:lnTo>
                <a:lnTo>
                  <a:pt x="3780" y="1494"/>
                </a:lnTo>
                <a:lnTo>
                  <a:pt x="3778" y="1508"/>
                </a:lnTo>
                <a:lnTo>
                  <a:pt x="3773" y="1514"/>
                </a:lnTo>
                <a:lnTo>
                  <a:pt x="3771" y="1519"/>
                </a:lnTo>
                <a:lnTo>
                  <a:pt x="3771" y="1528"/>
                </a:lnTo>
                <a:lnTo>
                  <a:pt x="3771" y="1543"/>
                </a:lnTo>
                <a:lnTo>
                  <a:pt x="3766" y="1543"/>
                </a:lnTo>
                <a:lnTo>
                  <a:pt x="3765" y="1545"/>
                </a:lnTo>
                <a:lnTo>
                  <a:pt x="3759" y="1552"/>
                </a:lnTo>
                <a:lnTo>
                  <a:pt x="3761" y="1555"/>
                </a:lnTo>
                <a:lnTo>
                  <a:pt x="3753" y="1558"/>
                </a:lnTo>
                <a:lnTo>
                  <a:pt x="3750" y="1561"/>
                </a:lnTo>
                <a:lnTo>
                  <a:pt x="3748" y="1569"/>
                </a:lnTo>
                <a:lnTo>
                  <a:pt x="3740" y="1575"/>
                </a:lnTo>
                <a:lnTo>
                  <a:pt x="3737" y="1575"/>
                </a:lnTo>
                <a:lnTo>
                  <a:pt x="3732" y="1569"/>
                </a:lnTo>
                <a:lnTo>
                  <a:pt x="3726" y="1563"/>
                </a:lnTo>
                <a:lnTo>
                  <a:pt x="3728" y="1563"/>
                </a:lnTo>
                <a:lnTo>
                  <a:pt x="3726" y="1563"/>
                </a:lnTo>
                <a:lnTo>
                  <a:pt x="3723" y="1557"/>
                </a:lnTo>
                <a:lnTo>
                  <a:pt x="3721" y="1550"/>
                </a:lnTo>
                <a:lnTo>
                  <a:pt x="3719" y="1544"/>
                </a:lnTo>
                <a:lnTo>
                  <a:pt x="3719" y="1543"/>
                </a:lnTo>
                <a:lnTo>
                  <a:pt x="3719" y="1542"/>
                </a:lnTo>
                <a:lnTo>
                  <a:pt x="3720" y="1543"/>
                </a:lnTo>
                <a:lnTo>
                  <a:pt x="3721" y="1543"/>
                </a:lnTo>
                <a:lnTo>
                  <a:pt x="3713" y="1521"/>
                </a:lnTo>
                <a:lnTo>
                  <a:pt x="3705" y="1514"/>
                </a:lnTo>
                <a:lnTo>
                  <a:pt x="3697" y="1501"/>
                </a:lnTo>
                <a:lnTo>
                  <a:pt x="3690" y="1475"/>
                </a:lnTo>
                <a:lnTo>
                  <a:pt x="3690" y="1474"/>
                </a:lnTo>
                <a:lnTo>
                  <a:pt x="3690" y="1474"/>
                </a:lnTo>
                <a:lnTo>
                  <a:pt x="3690" y="1471"/>
                </a:lnTo>
                <a:lnTo>
                  <a:pt x="3686" y="1463"/>
                </a:lnTo>
                <a:lnTo>
                  <a:pt x="3685" y="1461"/>
                </a:lnTo>
                <a:lnTo>
                  <a:pt x="3681" y="1452"/>
                </a:lnTo>
                <a:lnTo>
                  <a:pt x="3677" y="1436"/>
                </a:lnTo>
                <a:lnTo>
                  <a:pt x="3674" y="1424"/>
                </a:lnTo>
                <a:lnTo>
                  <a:pt x="3670" y="1412"/>
                </a:lnTo>
                <a:lnTo>
                  <a:pt x="3670" y="1411"/>
                </a:lnTo>
                <a:lnTo>
                  <a:pt x="3672" y="1411"/>
                </a:lnTo>
                <a:lnTo>
                  <a:pt x="3675" y="1411"/>
                </a:lnTo>
                <a:lnTo>
                  <a:pt x="3672" y="1409"/>
                </a:lnTo>
                <a:lnTo>
                  <a:pt x="3675" y="1405"/>
                </a:lnTo>
                <a:lnTo>
                  <a:pt x="3672" y="1404"/>
                </a:lnTo>
                <a:lnTo>
                  <a:pt x="3671" y="1407"/>
                </a:lnTo>
                <a:lnTo>
                  <a:pt x="3670" y="1407"/>
                </a:lnTo>
                <a:lnTo>
                  <a:pt x="3670" y="1406"/>
                </a:lnTo>
                <a:lnTo>
                  <a:pt x="3670" y="1402"/>
                </a:lnTo>
                <a:lnTo>
                  <a:pt x="3668" y="1401"/>
                </a:lnTo>
                <a:lnTo>
                  <a:pt x="3666" y="1400"/>
                </a:lnTo>
                <a:lnTo>
                  <a:pt x="3666" y="1394"/>
                </a:lnTo>
                <a:lnTo>
                  <a:pt x="3670" y="1378"/>
                </a:lnTo>
                <a:lnTo>
                  <a:pt x="3670" y="1377"/>
                </a:lnTo>
                <a:lnTo>
                  <a:pt x="3670" y="1375"/>
                </a:lnTo>
                <a:lnTo>
                  <a:pt x="3668" y="1375"/>
                </a:lnTo>
                <a:lnTo>
                  <a:pt x="3669" y="1372"/>
                </a:lnTo>
                <a:lnTo>
                  <a:pt x="3668" y="1369"/>
                </a:lnTo>
                <a:lnTo>
                  <a:pt x="3671" y="1366"/>
                </a:lnTo>
                <a:lnTo>
                  <a:pt x="3676" y="1363"/>
                </a:lnTo>
                <a:lnTo>
                  <a:pt x="3666" y="1367"/>
                </a:lnTo>
                <a:lnTo>
                  <a:pt x="3668" y="1364"/>
                </a:lnTo>
                <a:lnTo>
                  <a:pt x="3669" y="1363"/>
                </a:lnTo>
                <a:lnTo>
                  <a:pt x="3668" y="1363"/>
                </a:lnTo>
                <a:lnTo>
                  <a:pt x="3666" y="1363"/>
                </a:lnTo>
                <a:lnTo>
                  <a:pt x="3668" y="1359"/>
                </a:lnTo>
                <a:lnTo>
                  <a:pt x="3662" y="1359"/>
                </a:lnTo>
                <a:lnTo>
                  <a:pt x="3665" y="1360"/>
                </a:lnTo>
                <a:lnTo>
                  <a:pt x="3664" y="1361"/>
                </a:lnTo>
                <a:lnTo>
                  <a:pt x="3661" y="1363"/>
                </a:lnTo>
                <a:lnTo>
                  <a:pt x="3664" y="1366"/>
                </a:lnTo>
                <a:lnTo>
                  <a:pt x="3662" y="1372"/>
                </a:lnTo>
                <a:lnTo>
                  <a:pt x="3652" y="1377"/>
                </a:lnTo>
                <a:lnTo>
                  <a:pt x="3643" y="1381"/>
                </a:lnTo>
                <a:lnTo>
                  <a:pt x="3631" y="1374"/>
                </a:lnTo>
                <a:lnTo>
                  <a:pt x="3616" y="1355"/>
                </a:lnTo>
                <a:lnTo>
                  <a:pt x="3617" y="1352"/>
                </a:lnTo>
                <a:lnTo>
                  <a:pt x="3620" y="1355"/>
                </a:lnTo>
                <a:lnTo>
                  <a:pt x="3626" y="1353"/>
                </a:lnTo>
                <a:lnTo>
                  <a:pt x="3631" y="1351"/>
                </a:lnTo>
                <a:lnTo>
                  <a:pt x="3633" y="1347"/>
                </a:lnTo>
                <a:lnTo>
                  <a:pt x="3634" y="1344"/>
                </a:lnTo>
                <a:lnTo>
                  <a:pt x="3627" y="1345"/>
                </a:lnTo>
                <a:lnTo>
                  <a:pt x="3627" y="1347"/>
                </a:lnTo>
                <a:lnTo>
                  <a:pt x="3620" y="1345"/>
                </a:lnTo>
                <a:lnTo>
                  <a:pt x="3615" y="1343"/>
                </a:lnTo>
                <a:lnTo>
                  <a:pt x="3610" y="1340"/>
                </a:lnTo>
                <a:lnTo>
                  <a:pt x="3608" y="1339"/>
                </a:lnTo>
                <a:lnTo>
                  <a:pt x="3606" y="1337"/>
                </a:lnTo>
                <a:lnTo>
                  <a:pt x="3606" y="1334"/>
                </a:lnTo>
                <a:lnTo>
                  <a:pt x="3604" y="1334"/>
                </a:lnTo>
                <a:lnTo>
                  <a:pt x="3601" y="1334"/>
                </a:lnTo>
                <a:lnTo>
                  <a:pt x="3599" y="1331"/>
                </a:lnTo>
                <a:lnTo>
                  <a:pt x="3599" y="1330"/>
                </a:lnTo>
                <a:lnTo>
                  <a:pt x="3598" y="1330"/>
                </a:lnTo>
                <a:lnTo>
                  <a:pt x="3598" y="1334"/>
                </a:lnTo>
                <a:lnTo>
                  <a:pt x="3597" y="1334"/>
                </a:lnTo>
                <a:lnTo>
                  <a:pt x="3593" y="1331"/>
                </a:lnTo>
                <a:lnTo>
                  <a:pt x="3592" y="1328"/>
                </a:lnTo>
                <a:lnTo>
                  <a:pt x="3590" y="1325"/>
                </a:lnTo>
                <a:lnTo>
                  <a:pt x="3587" y="1318"/>
                </a:lnTo>
                <a:lnTo>
                  <a:pt x="3589" y="1317"/>
                </a:lnTo>
                <a:lnTo>
                  <a:pt x="3582" y="1314"/>
                </a:lnTo>
                <a:lnTo>
                  <a:pt x="3582" y="1310"/>
                </a:lnTo>
                <a:lnTo>
                  <a:pt x="3578" y="1306"/>
                </a:lnTo>
                <a:lnTo>
                  <a:pt x="3578" y="1305"/>
                </a:lnTo>
                <a:lnTo>
                  <a:pt x="3576" y="1305"/>
                </a:lnTo>
                <a:lnTo>
                  <a:pt x="3579" y="1310"/>
                </a:lnTo>
                <a:lnTo>
                  <a:pt x="3554" y="1310"/>
                </a:lnTo>
                <a:lnTo>
                  <a:pt x="3552" y="1312"/>
                </a:lnTo>
                <a:lnTo>
                  <a:pt x="3550" y="1309"/>
                </a:lnTo>
                <a:lnTo>
                  <a:pt x="3542" y="1306"/>
                </a:lnTo>
                <a:lnTo>
                  <a:pt x="3543" y="1310"/>
                </a:lnTo>
                <a:lnTo>
                  <a:pt x="3539" y="1310"/>
                </a:lnTo>
                <a:lnTo>
                  <a:pt x="3537" y="1310"/>
                </a:lnTo>
                <a:lnTo>
                  <a:pt x="3535" y="1309"/>
                </a:lnTo>
                <a:lnTo>
                  <a:pt x="3526" y="1310"/>
                </a:lnTo>
                <a:lnTo>
                  <a:pt x="3516" y="1312"/>
                </a:lnTo>
                <a:lnTo>
                  <a:pt x="3512" y="1314"/>
                </a:lnTo>
                <a:lnTo>
                  <a:pt x="3510" y="1314"/>
                </a:lnTo>
                <a:lnTo>
                  <a:pt x="3512" y="1310"/>
                </a:lnTo>
                <a:lnTo>
                  <a:pt x="3509" y="1310"/>
                </a:lnTo>
                <a:lnTo>
                  <a:pt x="3510" y="1302"/>
                </a:lnTo>
                <a:lnTo>
                  <a:pt x="3510" y="1302"/>
                </a:lnTo>
                <a:lnTo>
                  <a:pt x="3510" y="1294"/>
                </a:lnTo>
                <a:lnTo>
                  <a:pt x="3516" y="1290"/>
                </a:lnTo>
                <a:lnTo>
                  <a:pt x="3518" y="1290"/>
                </a:lnTo>
                <a:lnTo>
                  <a:pt x="3518" y="1288"/>
                </a:lnTo>
                <a:lnTo>
                  <a:pt x="3521" y="1290"/>
                </a:lnTo>
                <a:lnTo>
                  <a:pt x="3527" y="1290"/>
                </a:lnTo>
                <a:lnTo>
                  <a:pt x="3530" y="1290"/>
                </a:lnTo>
                <a:lnTo>
                  <a:pt x="3532" y="1282"/>
                </a:lnTo>
                <a:lnTo>
                  <a:pt x="3529" y="1282"/>
                </a:lnTo>
                <a:lnTo>
                  <a:pt x="3528" y="1286"/>
                </a:lnTo>
                <a:lnTo>
                  <a:pt x="3524" y="1286"/>
                </a:lnTo>
                <a:lnTo>
                  <a:pt x="3518" y="1286"/>
                </a:lnTo>
                <a:lnTo>
                  <a:pt x="3514" y="1287"/>
                </a:lnTo>
                <a:lnTo>
                  <a:pt x="3514" y="1290"/>
                </a:lnTo>
                <a:lnTo>
                  <a:pt x="3514" y="1290"/>
                </a:lnTo>
                <a:lnTo>
                  <a:pt x="3506" y="1293"/>
                </a:lnTo>
                <a:lnTo>
                  <a:pt x="3506" y="1302"/>
                </a:lnTo>
                <a:lnTo>
                  <a:pt x="3507" y="1302"/>
                </a:lnTo>
                <a:lnTo>
                  <a:pt x="3506" y="1305"/>
                </a:lnTo>
                <a:lnTo>
                  <a:pt x="3506" y="1309"/>
                </a:lnTo>
                <a:lnTo>
                  <a:pt x="3503" y="1310"/>
                </a:lnTo>
                <a:lnTo>
                  <a:pt x="3492" y="1308"/>
                </a:lnTo>
                <a:lnTo>
                  <a:pt x="3491" y="1306"/>
                </a:lnTo>
                <a:lnTo>
                  <a:pt x="3491" y="1304"/>
                </a:lnTo>
                <a:lnTo>
                  <a:pt x="3488" y="1305"/>
                </a:lnTo>
                <a:lnTo>
                  <a:pt x="3490" y="1308"/>
                </a:lnTo>
                <a:lnTo>
                  <a:pt x="3488" y="1307"/>
                </a:lnTo>
                <a:lnTo>
                  <a:pt x="3487" y="1306"/>
                </a:lnTo>
                <a:lnTo>
                  <a:pt x="3477" y="1306"/>
                </a:lnTo>
                <a:lnTo>
                  <a:pt x="3476" y="1306"/>
                </a:lnTo>
                <a:lnTo>
                  <a:pt x="3470" y="1307"/>
                </a:lnTo>
                <a:lnTo>
                  <a:pt x="3467" y="1306"/>
                </a:lnTo>
                <a:lnTo>
                  <a:pt x="3460" y="1306"/>
                </a:lnTo>
                <a:lnTo>
                  <a:pt x="3457" y="1306"/>
                </a:lnTo>
                <a:lnTo>
                  <a:pt x="3455" y="1303"/>
                </a:lnTo>
                <a:lnTo>
                  <a:pt x="3444" y="1299"/>
                </a:lnTo>
                <a:lnTo>
                  <a:pt x="3442" y="1294"/>
                </a:lnTo>
                <a:lnTo>
                  <a:pt x="3439" y="1283"/>
                </a:lnTo>
                <a:lnTo>
                  <a:pt x="3437" y="1282"/>
                </a:lnTo>
                <a:lnTo>
                  <a:pt x="3436" y="1282"/>
                </a:lnTo>
                <a:lnTo>
                  <a:pt x="3435" y="1282"/>
                </a:lnTo>
                <a:lnTo>
                  <a:pt x="3429" y="1282"/>
                </a:lnTo>
                <a:lnTo>
                  <a:pt x="3427" y="1284"/>
                </a:lnTo>
                <a:lnTo>
                  <a:pt x="3425" y="1285"/>
                </a:lnTo>
                <a:lnTo>
                  <a:pt x="3419" y="1286"/>
                </a:lnTo>
                <a:lnTo>
                  <a:pt x="3418" y="1286"/>
                </a:lnTo>
                <a:lnTo>
                  <a:pt x="3407" y="1289"/>
                </a:lnTo>
                <a:lnTo>
                  <a:pt x="3402" y="1286"/>
                </a:lnTo>
                <a:lnTo>
                  <a:pt x="3397" y="1286"/>
                </a:lnTo>
                <a:lnTo>
                  <a:pt x="3397" y="1286"/>
                </a:lnTo>
                <a:lnTo>
                  <a:pt x="3396" y="1286"/>
                </a:lnTo>
                <a:lnTo>
                  <a:pt x="3393" y="1286"/>
                </a:lnTo>
                <a:lnTo>
                  <a:pt x="3386" y="1280"/>
                </a:lnTo>
                <a:lnTo>
                  <a:pt x="3373" y="1275"/>
                </a:lnTo>
                <a:lnTo>
                  <a:pt x="3373" y="1274"/>
                </a:lnTo>
                <a:lnTo>
                  <a:pt x="3373" y="1271"/>
                </a:lnTo>
                <a:lnTo>
                  <a:pt x="3372" y="1270"/>
                </a:lnTo>
                <a:lnTo>
                  <a:pt x="3369" y="1270"/>
                </a:lnTo>
                <a:lnTo>
                  <a:pt x="3362" y="1270"/>
                </a:lnTo>
                <a:lnTo>
                  <a:pt x="3360" y="1266"/>
                </a:lnTo>
                <a:lnTo>
                  <a:pt x="3357" y="1259"/>
                </a:lnTo>
                <a:lnTo>
                  <a:pt x="3353" y="1255"/>
                </a:lnTo>
                <a:lnTo>
                  <a:pt x="3353" y="1252"/>
                </a:lnTo>
                <a:lnTo>
                  <a:pt x="3352" y="1250"/>
                </a:lnTo>
                <a:lnTo>
                  <a:pt x="3349" y="1250"/>
                </a:lnTo>
                <a:lnTo>
                  <a:pt x="3349" y="1247"/>
                </a:lnTo>
                <a:lnTo>
                  <a:pt x="3345" y="1245"/>
                </a:lnTo>
                <a:lnTo>
                  <a:pt x="3345" y="1240"/>
                </a:lnTo>
                <a:lnTo>
                  <a:pt x="3339" y="1232"/>
                </a:lnTo>
                <a:lnTo>
                  <a:pt x="3338" y="1228"/>
                </a:lnTo>
                <a:lnTo>
                  <a:pt x="3329" y="1230"/>
                </a:lnTo>
                <a:lnTo>
                  <a:pt x="3329" y="1229"/>
                </a:lnTo>
                <a:lnTo>
                  <a:pt x="3324" y="1228"/>
                </a:lnTo>
                <a:lnTo>
                  <a:pt x="3325" y="1226"/>
                </a:lnTo>
                <a:lnTo>
                  <a:pt x="3327" y="1226"/>
                </a:lnTo>
                <a:lnTo>
                  <a:pt x="3330" y="1225"/>
                </a:lnTo>
                <a:lnTo>
                  <a:pt x="3325" y="1222"/>
                </a:lnTo>
                <a:lnTo>
                  <a:pt x="3323" y="1226"/>
                </a:lnTo>
                <a:lnTo>
                  <a:pt x="3325" y="1231"/>
                </a:lnTo>
                <a:lnTo>
                  <a:pt x="3318" y="1234"/>
                </a:lnTo>
                <a:lnTo>
                  <a:pt x="3313" y="1234"/>
                </a:lnTo>
                <a:lnTo>
                  <a:pt x="3313" y="1230"/>
                </a:lnTo>
                <a:lnTo>
                  <a:pt x="3312" y="1230"/>
                </a:lnTo>
                <a:lnTo>
                  <a:pt x="3309" y="1230"/>
                </a:lnTo>
                <a:lnTo>
                  <a:pt x="3300" y="1230"/>
                </a:lnTo>
                <a:lnTo>
                  <a:pt x="3299" y="1234"/>
                </a:lnTo>
                <a:lnTo>
                  <a:pt x="3305" y="1234"/>
                </a:lnTo>
                <a:lnTo>
                  <a:pt x="3309" y="1234"/>
                </a:lnTo>
                <a:lnTo>
                  <a:pt x="3309" y="1235"/>
                </a:lnTo>
                <a:lnTo>
                  <a:pt x="3309" y="1238"/>
                </a:lnTo>
                <a:lnTo>
                  <a:pt x="3312" y="1238"/>
                </a:lnTo>
                <a:lnTo>
                  <a:pt x="3315" y="1239"/>
                </a:lnTo>
                <a:lnTo>
                  <a:pt x="3313" y="1241"/>
                </a:lnTo>
                <a:lnTo>
                  <a:pt x="3313" y="1241"/>
                </a:lnTo>
                <a:lnTo>
                  <a:pt x="3313" y="1241"/>
                </a:lnTo>
                <a:lnTo>
                  <a:pt x="3310" y="1240"/>
                </a:lnTo>
                <a:lnTo>
                  <a:pt x="3305" y="1246"/>
                </a:lnTo>
                <a:lnTo>
                  <a:pt x="3310" y="1246"/>
                </a:lnTo>
                <a:lnTo>
                  <a:pt x="3315" y="1258"/>
                </a:lnTo>
                <a:lnTo>
                  <a:pt x="3316" y="1258"/>
                </a:lnTo>
                <a:lnTo>
                  <a:pt x="3317" y="1264"/>
                </a:lnTo>
                <a:lnTo>
                  <a:pt x="3321" y="1266"/>
                </a:lnTo>
                <a:lnTo>
                  <a:pt x="3321" y="1267"/>
                </a:lnTo>
                <a:lnTo>
                  <a:pt x="3321" y="1270"/>
                </a:lnTo>
                <a:lnTo>
                  <a:pt x="3325" y="1271"/>
                </a:lnTo>
                <a:lnTo>
                  <a:pt x="3325" y="1274"/>
                </a:lnTo>
                <a:lnTo>
                  <a:pt x="3325" y="1274"/>
                </a:lnTo>
                <a:lnTo>
                  <a:pt x="3329" y="1278"/>
                </a:lnTo>
                <a:lnTo>
                  <a:pt x="3331" y="1275"/>
                </a:lnTo>
                <a:lnTo>
                  <a:pt x="3335" y="1279"/>
                </a:lnTo>
                <a:lnTo>
                  <a:pt x="3340" y="1286"/>
                </a:lnTo>
                <a:lnTo>
                  <a:pt x="3337" y="1285"/>
                </a:lnTo>
                <a:lnTo>
                  <a:pt x="3337" y="1287"/>
                </a:lnTo>
                <a:lnTo>
                  <a:pt x="3339" y="1290"/>
                </a:lnTo>
                <a:lnTo>
                  <a:pt x="3342" y="1291"/>
                </a:lnTo>
                <a:lnTo>
                  <a:pt x="3340" y="1293"/>
                </a:lnTo>
                <a:lnTo>
                  <a:pt x="3337" y="1293"/>
                </a:lnTo>
                <a:lnTo>
                  <a:pt x="3337" y="1296"/>
                </a:lnTo>
                <a:lnTo>
                  <a:pt x="3341" y="1302"/>
                </a:lnTo>
                <a:lnTo>
                  <a:pt x="3340" y="1301"/>
                </a:lnTo>
                <a:lnTo>
                  <a:pt x="3345" y="1306"/>
                </a:lnTo>
                <a:lnTo>
                  <a:pt x="3347" y="1311"/>
                </a:lnTo>
                <a:lnTo>
                  <a:pt x="3350" y="1316"/>
                </a:lnTo>
                <a:lnTo>
                  <a:pt x="3351" y="1319"/>
                </a:lnTo>
                <a:lnTo>
                  <a:pt x="3351" y="1319"/>
                </a:lnTo>
                <a:lnTo>
                  <a:pt x="3351" y="1317"/>
                </a:lnTo>
                <a:lnTo>
                  <a:pt x="3348" y="1306"/>
                </a:lnTo>
                <a:lnTo>
                  <a:pt x="3349" y="1306"/>
                </a:lnTo>
                <a:lnTo>
                  <a:pt x="3349" y="1303"/>
                </a:lnTo>
                <a:lnTo>
                  <a:pt x="3351" y="1302"/>
                </a:lnTo>
                <a:lnTo>
                  <a:pt x="3354" y="1294"/>
                </a:lnTo>
                <a:lnTo>
                  <a:pt x="3358" y="1293"/>
                </a:lnTo>
                <a:lnTo>
                  <a:pt x="3359" y="1297"/>
                </a:lnTo>
                <a:lnTo>
                  <a:pt x="3361" y="1298"/>
                </a:lnTo>
                <a:lnTo>
                  <a:pt x="3361" y="1302"/>
                </a:lnTo>
                <a:lnTo>
                  <a:pt x="3361" y="1306"/>
                </a:lnTo>
                <a:lnTo>
                  <a:pt x="3361" y="1308"/>
                </a:lnTo>
                <a:lnTo>
                  <a:pt x="3361" y="1312"/>
                </a:lnTo>
                <a:lnTo>
                  <a:pt x="3360" y="1321"/>
                </a:lnTo>
                <a:lnTo>
                  <a:pt x="3358" y="1319"/>
                </a:lnTo>
                <a:lnTo>
                  <a:pt x="3358" y="1319"/>
                </a:lnTo>
                <a:lnTo>
                  <a:pt x="3358" y="1319"/>
                </a:lnTo>
                <a:lnTo>
                  <a:pt x="3356" y="1322"/>
                </a:lnTo>
                <a:lnTo>
                  <a:pt x="3361" y="1324"/>
                </a:lnTo>
                <a:lnTo>
                  <a:pt x="3361" y="1325"/>
                </a:lnTo>
                <a:lnTo>
                  <a:pt x="3362" y="1326"/>
                </a:lnTo>
                <a:lnTo>
                  <a:pt x="3365" y="1326"/>
                </a:lnTo>
                <a:lnTo>
                  <a:pt x="3368" y="1329"/>
                </a:lnTo>
                <a:lnTo>
                  <a:pt x="3371" y="1329"/>
                </a:lnTo>
                <a:lnTo>
                  <a:pt x="3375" y="1328"/>
                </a:lnTo>
                <a:lnTo>
                  <a:pt x="3378" y="1324"/>
                </a:lnTo>
                <a:lnTo>
                  <a:pt x="3392" y="1328"/>
                </a:lnTo>
                <a:lnTo>
                  <a:pt x="3399" y="1325"/>
                </a:lnTo>
                <a:lnTo>
                  <a:pt x="3401" y="1324"/>
                </a:lnTo>
                <a:lnTo>
                  <a:pt x="3401" y="1322"/>
                </a:lnTo>
                <a:lnTo>
                  <a:pt x="3406" y="1322"/>
                </a:lnTo>
                <a:lnTo>
                  <a:pt x="3408" y="1317"/>
                </a:lnTo>
                <a:lnTo>
                  <a:pt x="3415" y="1310"/>
                </a:lnTo>
                <a:lnTo>
                  <a:pt x="3419" y="1302"/>
                </a:lnTo>
                <a:lnTo>
                  <a:pt x="3422" y="1302"/>
                </a:lnTo>
                <a:lnTo>
                  <a:pt x="3425" y="1301"/>
                </a:lnTo>
                <a:lnTo>
                  <a:pt x="3428" y="1294"/>
                </a:lnTo>
                <a:lnTo>
                  <a:pt x="3427" y="1293"/>
                </a:lnTo>
                <a:lnTo>
                  <a:pt x="3428" y="1289"/>
                </a:lnTo>
                <a:lnTo>
                  <a:pt x="3429" y="1290"/>
                </a:lnTo>
                <a:lnTo>
                  <a:pt x="3429" y="1289"/>
                </a:lnTo>
                <a:lnTo>
                  <a:pt x="3434" y="1290"/>
                </a:lnTo>
                <a:lnTo>
                  <a:pt x="3429" y="1290"/>
                </a:lnTo>
                <a:lnTo>
                  <a:pt x="3429" y="1294"/>
                </a:lnTo>
                <a:lnTo>
                  <a:pt x="3430" y="1294"/>
                </a:lnTo>
                <a:lnTo>
                  <a:pt x="3431" y="1294"/>
                </a:lnTo>
                <a:lnTo>
                  <a:pt x="3433" y="1294"/>
                </a:lnTo>
                <a:lnTo>
                  <a:pt x="3431" y="1297"/>
                </a:lnTo>
                <a:lnTo>
                  <a:pt x="3430" y="1302"/>
                </a:lnTo>
                <a:lnTo>
                  <a:pt x="3429" y="1302"/>
                </a:lnTo>
                <a:lnTo>
                  <a:pt x="3429" y="1312"/>
                </a:lnTo>
                <a:lnTo>
                  <a:pt x="3429" y="1313"/>
                </a:lnTo>
                <a:lnTo>
                  <a:pt x="3435" y="1320"/>
                </a:lnTo>
                <a:lnTo>
                  <a:pt x="3443" y="1329"/>
                </a:lnTo>
                <a:lnTo>
                  <a:pt x="3459" y="1334"/>
                </a:lnTo>
                <a:lnTo>
                  <a:pt x="3464" y="1334"/>
                </a:lnTo>
                <a:lnTo>
                  <a:pt x="3473" y="1350"/>
                </a:lnTo>
                <a:lnTo>
                  <a:pt x="3478" y="1351"/>
                </a:lnTo>
                <a:lnTo>
                  <a:pt x="3478" y="1356"/>
                </a:lnTo>
                <a:lnTo>
                  <a:pt x="3473" y="1369"/>
                </a:lnTo>
                <a:lnTo>
                  <a:pt x="3467" y="1376"/>
                </a:lnTo>
                <a:lnTo>
                  <a:pt x="3463" y="1383"/>
                </a:lnTo>
                <a:lnTo>
                  <a:pt x="3458" y="1386"/>
                </a:lnTo>
                <a:lnTo>
                  <a:pt x="3459" y="1383"/>
                </a:lnTo>
                <a:lnTo>
                  <a:pt x="3458" y="1383"/>
                </a:lnTo>
                <a:lnTo>
                  <a:pt x="3452" y="1387"/>
                </a:lnTo>
                <a:lnTo>
                  <a:pt x="3449" y="1395"/>
                </a:lnTo>
                <a:lnTo>
                  <a:pt x="3452" y="1407"/>
                </a:lnTo>
                <a:lnTo>
                  <a:pt x="3443" y="1409"/>
                </a:lnTo>
                <a:lnTo>
                  <a:pt x="3437" y="1410"/>
                </a:lnTo>
                <a:lnTo>
                  <a:pt x="3436" y="1414"/>
                </a:lnTo>
                <a:lnTo>
                  <a:pt x="3434" y="1420"/>
                </a:lnTo>
                <a:lnTo>
                  <a:pt x="3430" y="1424"/>
                </a:lnTo>
                <a:lnTo>
                  <a:pt x="3418" y="1425"/>
                </a:lnTo>
                <a:lnTo>
                  <a:pt x="3415" y="1430"/>
                </a:lnTo>
                <a:lnTo>
                  <a:pt x="3416" y="1433"/>
                </a:lnTo>
                <a:lnTo>
                  <a:pt x="3412" y="1437"/>
                </a:lnTo>
                <a:lnTo>
                  <a:pt x="3408" y="1441"/>
                </a:lnTo>
                <a:lnTo>
                  <a:pt x="3405" y="1439"/>
                </a:lnTo>
                <a:lnTo>
                  <a:pt x="3399" y="1439"/>
                </a:lnTo>
                <a:lnTo>
                  <a:pt x="3392" y="1443"/>
                </a:lnTo>
                <a:lnTo>
                  <a:pt x="3385" y="1444"/>
                </a:lnTo>
                <a:lnTo>
                  <a:pt x="3384" y="1441"/>
                </a:lnTo>
                <a:lnTo>
                  <a:pt x="3376" y="1445"/>
                </a:lnTo>
                <a:lnTo>
                  <a:pt x="3370" y="1446"/>
                </a:lnTo>
                <a:lnTo>
                  <a:pt x="3369" y="1451"/>
                </a:lnTo>
                <a:lnTo>
                  <a:pt x="3369" y="1457"/>
                </a:lnTo>
                <a:lnTo>
                  <a:pt x="3357" y="1463"/>
                </a:lnTo>
                <a:lnTo>
                  <a:pt x="3346" y="1467"/>
                </a:lnTo>
                <a:lnTo>
                  <a:pt x="3340" y="1471"/>
                </a:lnTo>
                <a:lnTo>
                  <a:pt x="3336" y="1471"/>
                </a:lnTo>
                <a:lnTo>
                  <a:pt x="3325" y="1475"/>
                </a:lnTo>
                <a:lnTo>
                  <a:pt x="3324" y="1475"/>
                </a:lnTo>
                <a:lnTo>
                  <a:pt x="3323" y="1477"/>
                </a:lnTo>
                <a:lnTo>
                  <a:pt x="3320" y="1480"/>
                </a:lnTo>
                <a:lnTo>
                  <a:pt x="3313" y="1483"/>
                </a:lnTo>
                <a:lnTo>
                  <a:pt x="3309" y="1480"/>
                </a:lnTo>
                <a:lnTo>
                  <a:pt x="3301" y="1488"/>
                </a:lnTo>
                <a:lnTo>
                  <a:pt x="3290" y="1490"/>
                </a:lnTo>
                <a:lnTo>
                  <a:pt x="3275" y="1491"/>
                </a:lnTo>
                <a:lnTo>
                  <a:pt x="3273" y="1493"/>
                </a:lnTo>
                <a:lnTo>
                  <a:pt x="3271" y="1495"/>
                </a:lnTo>
                <a:lnTo>
                  <a:pt x="3265" y="1496"/>
                </a:lnTo>
                <a:lnTo>
                  <a:pt x="3265" y="1503"/>
                </a:lnTo>
                <a:lnTo>
                  <a:pt x="3261" y="1503"/>
                </a:lnTo>
                <a:lnTo>
                  <a:pt x="3261" y="1499"/>
                </a:lnTo>
                <a:lnTo>
                  <a:pt x="3258" y="1498"/>
                </a:lnTo>
                <a:lnTo>
                  <a:pt x="3256" y="1502"/>
                </a:lnTo>
                <a:lnTo>
                  <a:pt x="3250" y="1503"/>
                </a:lnTo>
                <a:lnTo>
                  <a:pt x="3244" y="1500"/>
                </a:lnTo>
                <a:lnTo>
                  <a:pt x="3241" y="1502"/>
                </a:lnTo>
                <a:lnTo>
                  <a:pt x="3241" y="1498"/>
                </a:lnTo>
                <a:lnTo>
                  <a:pt x="3237" y="1494"/>
                </a:lnTo>
                <a:lnTo>
                  <a:pt x="3237" y="1485"/>
                </a:lnTo>
                <a:lnTo>
                  <a:pt x="3237" y="1483"/>
                </a:lnTo>
                <a:lnTo>
                  <a:pt x="3236" y="1475"/>
                </a:lnTo>
                <a:lnTo>
                  <a:pt x="3233" y="1468"/>
                </a:lnTo>
                <a:lnTo>
                  <a:pt x="3233" y="1465"/>
                </a:lnTo>
                <a:lnTo>
                  <a:pt x="3231" y="1463"/>
                </a:lnTo>
                <a:lnTo>
                  <a:pt x="3229" y="1462"/>
                </a:lnTo>
                <a:lnTo>
                  <a:pt x="3229" y="1461"/>
                </a:lnTo>
                <a:lnTo>
                  <a:pt x="3232" y="1462"/>
                </a:lnTo>
                <a:lnTo>
                  <a:pt x="3231" y="1456"/>
                </a:lnTo>
                <a:lnTo>
                  <a:pt x="3233" y="1452"/>
                </a:lnTo>
                <a:lnTo>
                  <a:pt x="3233" y="1445"/>
                </a:lnTo>
                <a:lnTo>
                  <a:pt x="3232" y="1444"/>
                </a:lnTo>
                <a:lnTo>
                  <a:pt x="3229" y="1442"/>
                </a:lnTo>
                <a:lnTo>
                  <a:pt x="3229" y="1440"/>
                </a:lnTo>
                <a:lnTo>
                  <a:pt x="3227" y="1438"/>
                </a:lnTo>
                <a:lnTo>
                  <a:pt x="3228" y="1439"/>
                </a:lnTo>
                <a:lnTo>
                  <a:pt x="3227" y="1439"/>
                </a:lnTo>
                <a:lnTo>
                  <a:pt x="3225" y="1439"/>
                </a:lnTo>
                <a:lnTo>
                  <a:pt x="3225" y="1431"/>
                </a:lnTo>
                <a:lnTo>
                  <a:pt x="3221" y="1428"/>
                </a:lnTo>
                <a:lnTo>
                  <a:pt x="3217" y="1425"/>
                </a:lnTo>
                <a:lnTo>
                  <a:pt x="3213" y="1417"/>
                </a:lnTo>
                <a:lnTo>
                  <a:pt x="3209" y="1413"/>
                </a:lnTo>
                <a:lnTo>
                  <a:pt x="3209" y="1411"/>
                </a:lnTo>
                <a:lnTo>
                  <a:pt x="3209" y="1408"/>
                </a:lnTo>
                <a:lnTo>
                  <a:pt x="3209" y="1407"/>
                </a:lnTo>
                <a:lnTo>
                  <a:pt x="3208" y="1406"/>
                </a:lnTo>
                <a:lnTo>
                  <a:pt x="3206" y="1402"/>
                </a:lnTo>
                <a:lnTo>
                  <a:pt x="3205" y="1398"/>
                </a:lnTo>
                <a:lnTo>
                  <a:pt x="3205" y="1396"/>
                </a:lnTo>
                <a:lnTo>
                  <a:pt x="3195" y="1391"/>
                </a:lnTo>
                <a:lnTo>
                  <a:pt x="3192" y="1391"/>
                </a:lnTo>
                <a:lnTo>
                  <a:pt x="3190" y="1387"/>
                </a:lnTo>
                <a:lnTo>
                  <a:pt x="3186" y="1380"/>
                </a:lnTo>
                <a:lnTo>
                  <a:pt x="3180" y="1375"/>
                </a:lnTo>
                <a:lnTo>
                  <a:pt x="3180" y="1372"/>
                </a:lnTo>
                <a:lnTo>
                  <a:pt x="3180" y="1369"/>
                </a:lnTo>
                <a:lnTo>
                  <a:pt x="3178" y="1364"/>
                </a:lnTo>
                <a:lnTo>
                  <a:pt x="3180" y="1355"/>
                </a:lnTo>
                <a:lnTo>
                  <a:pt x="3180" y="1353"/>
                </a:lnTo>
                <a:lnTo>
                  <a:pt x="3179" y="1352"/>
                </a:lnTo>
                <a:lnTo>
                  <a:pt x="3175" y="1342"/>
                </a:lnTo>
                <a:lnTo>
                  <a:pt x="3172" y="1332"/>
                </a:lnTo>
                <a:lnTo>
                  <a:pt x="3167" y="1328"/>
                </a:lnTo>
                <a:lnTo>
                  <a:pt x="3156" y="1322"/>
                </a:lnTo>
                <a:lnTo>
                  <a:pt x="3153" y="1314"/>
                </a:lnTo>
                <a:lnTo>
                  <a:pt x="3154" y="1314"/>
                </a:lnTo>
                <a:lnTo>
                  <a:pt x="3153" y="1309"/>
                </a:lnTo>
                <a:lnTo>
                  <a:pt x="3150" y="1301"/>
                </a:lnTo>
                <a:lnTo>
                  <a:pt x="3146" y="1298"/>
                </a:lnTo>
                <a:lnTo>
                  <a:pt x="3145" y="1297"/>
                </a:lnTo>
                <a:lnTo>
                  <a:pt x="3146" y="1296"/>
                </a:lnTo>
                <a:lnTo>
                  <a:pt x="3143" y="1293"/>
                </a:lnTo>
                <a:lnTo>
                  <a:pt x="3138" y="1286"/>
                </a:lnTo>
                <a:lnTo>
                  <a:pt x="3124" y="1262"/>
                </a:lnTo>
                <a:lnTo>
                  <a:pt x="3117" y="1261"/>
                </a:lnTo>
                <a:lnTo>
                  <a:pt x="3116" y="1262"/>
                </a:lnTo>
                <a:lnTo>
                  <a:pt x="3114" y="1261"/>
                </a:lnTo>
                <a:lnTo>
                  <a:pt x="3117" y="1254"/>
                </a:lnTo>
                <a:lnTo>
                  <a:pt x="3119" y="1241"/>
                </a:lnTo>
                <a:lnTo>
                  <a:pt x="3117" y="1242"/>
                </a:lnTo>
                <a:lnTo>
                  <a:pt x="3115" y="1253"/>
                </a:lnTo>
                <a:lnTo>
                  <a:pt x="3112" y="1259"/>
                </a:lnTo>
                <a:lnTo>
                  <a:pt x="3112" y="1264"/>
                </a:lnTo>
                <a:lnTo>
                  <a:pt x="3108" y="1269"/>
                </a:lnTo>
                <a:lnTo>
                  <a:pt x="3101" y="1264"/>
                </a:lnTo>
                <a:lnTo>
                  <a:pt x="3092" y="1256"/>
                </a:lnTo>
                <a:lnTo>
                  <a:pt x="3092" y="1248"/>
                </a:lnTo>
                <a:lnTo>
                  <a:pt x="3088" y="1241"/>
                </a:lnTo>
                <a:lnTo>
                  <a:pt x="3085" y="1231"/>
                </a:lnTo>
                <a:lnTo>
                  <a:pt x="3082" y="1239"/>
                </a:lnTo>
                <a:lnTo>
                  <a:pt x="3085" y="1242"/>
                </a:lnTo>
                <a:lnTo>
                  <a:pt x="3087" y="1251"/>
                </a:lnTo>
                <a:lnTo>
                  <a:pt x="3094" y="1260"/>
                </a:lnTo>
                <a:lnTo>
                  <a:pt x="3100" y="1265"/>
                </a:lnTo>
                <a:lnTo>
                  <a:pt x="3100" y="1270"/>
                </a:lnTo>
                <a:lnTo>
                  <a:pt x="3096" y="1270"/>
                </a:lnTo>
                <a:lnTo>
                  <a:pt x="3096" y="1271"/>
                </a:lnTo>
                <a:lnTo>
                  <a:pt x="3100" y="1274"/>
                </a:lnTo>
                <a:lnTo>
                  <a:pt x="3103" y="1276"/>
                </a:lnTo>
                <a:lnTo>
                  <a:pt x="3104" y="1282"/>
                </a:lnTo>
                <a:lnTo>
                  <a:pt x="3104" y="1286"/>
                </a:lnTo>
                <a:lnTo>
                  <a:pt x="3113" y="1302"/>
                </a:lnTo>
                <a:lnTo>
                  <a:pt x="3122" y="1320"/>
                </a:lnTo>
                <a:lnTo>
                  <a:pt x="3134" y="1330"/>
                </a:lnTo>
                <a:lnTo>
                  <a:pt x="3128" y="1330"/>
                </a:lnTo>
                <a:lnTo>
                  <a:pt x="3128" y="1337"/>
                </a:lnTo>
                <a:lnTo>
                  <a:pt x="3131" y="1346"/>
                </a:lnTo>
                <a:lnTo>
                  <a:pt x="3134" y="1349"/>
                </a:lnTo>
                <a:lnTo>
                  <a:pt x="3136" y="1350"/>
                </a:lnTo>
                <a:lnTo>
                  <a:pt x="3139" y="1351"/>
                </a:lnTo>
                <a:lnTo>
                  <a:pt x="3143" y="1357"/>
                </a:lnTo>
                <a:lnTo>
                  <a:pt x="3145" y="1359"/>
                </a:lnTo>
                <a:lnTo>
                  <a:pt x="3150" y="1359"/>
                </a:lnTo>
                <a:lnTo>
                  <a:pt x="3151" y="1366"/>
                </a:lnTo>
                <a:lnTo>
                  <a:pt x="3156" y="1373"/>
                </a:lnTo>
                <a:lnTo>
                  <a:pt x="3156" y="1375"/>
                </a:lnTo>
                <a:lnTo>
                  <a:pt x="3155" y="1374"/>
                </a:lnTo>
                <a:lnTo>
                  <a:pt x="3151" y="1372"/>
                </a:lnTo>
                <a:lnTo>
                  <a:pt x="3152" y="1382"/>
                </a:lnTo>
                <a:lnTo>
                  <a:pt x="3152" y="1387"/>
                </a:lnTo>
                <a:lnTo>
                  <a:pt x="3155" y="1397"/>
                </a:lnTo>
                <a:lnTo>
                  <a:pt x="3158" y="1409"/>
                </a:lnTo>
                <a:lnTo>
                  <a:pt x="3159" y="1409"/>
                </a:lnTo>
                <a:lnTo>
                  <a:pt x="3159" y="1410"/>
                </a:lnTo>
                <a:lnTo>
                  <a:pt x="3163" y="1412"/>
                </a:lnTo>
                <a:lnTo>
                  <a:pt x="3167" y="1416"/>
                </a:lnTo>
                <a:lnTo>
                  <a:pt x="3174" y="1420"/>
                </a:lnTo>
                <a:lnTo>
                  <a:pt x="3175" y="1421"/>
                </a:lnTo>
                <a:lnTo>
                  <a:pt x="3173" y="1425"/>
                </a:lnTo>
                <a:lnTo>
                  <a:pt x="3178" y="1435"/>
                </a:lnTo>
                <a:lnTo>
                  <a:pt x="3182" y="1453"/>
                </a:lnTo>
                <a:lnTo>
                  <a:pt x="3183" y="1456"/>
                </a:lnTo>
                <a:lnTo>
                  <a:pt x="3185" y="1460"/>
                </a:lnTo>
                <a:lnTo>
                  <a:pt x="3186" y="1462"/>
                </a:lnTo>
                <a:lnTo>
                  <a:pt x="3187" y="1464"/>
                </a:lnTo>
                <a:lnTo>
                  <a:pt x="3188" y="1467"/>
                </a:lnTo>
                <a:lnTo>
                  <a:pt x="3188" y="1469"/>
                </a:lnTo>
                <a:lnTo>
                  <a:pt x="3188" y="1467"/>
                </a:lnTo>
                <a:lnTo>
                  <a:pt x="3188" y="1464"/>
                </a:lnTo>
                <a:lnTo>
                  <a:pt x="3191" y="1463"/>
                </a:lnTo>
                <a:lnTo>
                  <a:pt x="3192" y="1463"/>
                </a:lnTo>
                <a:lnTo>
                  <a:pt x="3192" y="1463"/>
                </a:lnTo>
                <a:lnTo>
                  <a:pt x="3193" y="1465"/>
                </a:lnTo>
                <a:lnTo>
                  <a:pt x="3194" y="1469"/>
                </a:lnTo>
                <a:lnTo>
                  <a:pt x="3196" y="1471"/>
                </a:lnTo>
                <a:lnTo>
                  <a:pt x="3200" y="1469"/>
                </a:lnTo>
                <a:lnTo>
                  <a:pt x="3202" y="1471"/>
                </a:lnTo>
                <a:lnTo>
                  <a:pt x="3204" y="1474"/>
                </a:lnTo>
                <a:lnTo>
                  <a:pt x="3207" y="1475"/>
                </a:lnTo>
                <a:lnTo>
                  <a:pt x="3209" y="1475"/>
                </a:lnTo>
                <a:lnTo>
                  <a:pt x="3216" y="1486"/>
                </a:lnTo>
                <a:lnTo>
                  <a:pt x="3219" y="1487"/>
                </a:lnTo>
                <a:lnTo>
                  <a:pt x="3223" y="1491"/>
                </a:lnTo>
                <a:lnTo>
                  <a:pt x="3224" y="1491"/>
                </a:lnTo>
                <a:lnTo>
                  <a:pt x="3226" y="1497"/>
                </a:lnTo>
                <a:lnTo>
                  <a:pt x="3231" y="1498"/>
                </a:lnTo>
                <a:lnTo>
                  <a:pt x="3233" y="1502"/>
                </a:lnTo>
                <a:lnTo>
                  <a:pt x="3233" y="1503"/>
                </a:lnTo>
                <a:lnTo>
                  <a:pt x="3234" y="1502"/>
                </a:lnTo>
                <a:lnTo>
                  <a:pt x="3235" y="1502"/>
                </a:lnTo>
                <a:lnTo>
                  <a:pt x="3237" y="1499"/>
                </a:lnTo>
                <a:lnTo>
                  <a:pt x="3237" y="1499"/>
                </a:lnTo>
                <a:lnTo>
                  <a:pt x="3237" y="1499"/>
                </a:lnTo>
                <a:lnTo>
                  <a:pt x="3241" y="1507"/>
                </a:lnTo>
                <a:lnTo>
                  <a:pt x="3242" y="1514"/>
                </a:lnTo>
                <a:lnTo>
                  <a:pt x="3237" y="1519"/>
                </a:lnTo>
                <a:lnTo>
                  <a:pt x="3235" y="1519"/>
                </a:lnTo>
                <a:lnTo>
                  <a:pt x="3232" y="1523"/>
                </a:lnTo>
                <a:lnTo>
                  <a:pt x="3229" y="1523"/>
                </a:lnTo>
                <a:lnTo>
                  <a:pt x="3231" y="1524"/>
                </a:lnTo>
                <a:lnTo>
                  <a:pt x="3233" y="1523"/>
                </a:lnTo>
                <a:lnTo>
                  <a:pt x="3236" y="1523"/>
                </a:lnTo>
                <a:lnTo>
                  <a:pt x="3238" y="1523"/>
                </a:lnTo>
                <a:lnTo>
                  <a:pt x="3239" y="1522"/>
                </a:lnTo>
                <a:lnTo>
                  <a:pt x="3240" y="1518"/>
                </a:lnTo>
                <a:lnTo>
                  <a:pt x="3244" y="1520"/>
                </a:lnTo>
                <a:lnTo>
                  <a:pt x="3249" y="1529"/>
                </a:lnTo>
                <a:lnTo>
                  <a:pt x="3258" y="1533"/>
                </a:lnTo>
                <a:lnTo>
                  <a:pt x="3265" y="1535"/>
                </a:lnTo>
                <a:lnTo>
                  <a:pt x="3271" y="1532"/>
                </a:lnTo>
                <a:lnTo>
                  <a:pt x="3278" y="1528"/>
                </a:lnTo>
                <a:lnTo>
                  <a:pt x="3282" y="1529"/>
                </a:lnTo>
                <a:lnTo>
                  <a:pt x="3287" y="1531"/>
                </a:lnTo>
                <a:lnTo>
                  <a:pt x="3302" y="1527"/>
                </a:lnTo>
                <a:lnTo>
                  <a:pt x="3306" y="1527"/>
                </a:lnTo>
                <a:lnTo>
                  <a:pt x="3313" y="1527"/>
                </a:lnTo>
                <a:lnTo>
                  <a:pt x="3317" y="1522"/>
                </a:lnTo>
                <a:lnTo>
                  <a:pt x="3324" y="1522"/>
                </a:lnTo>
                <a:lnTo>
                  <a:pt x="3330" y="1520"/>
                </a:lnTo>
                <a:lnTo>
                  <a:pt x="3333" y="1519"/>
                </a:lnTo>
                <a:lnTo>
                  <a:pt x="3339" y="1519"/>
                </a:lnTo>
                <a:lnTo>
                  <a:pt x="3344" y="1516"/>
                </a:lnTo>
                <a:lnTo>
                  <a:pt x="3348" y="1512"/>
                </a:lnTo>
                <a:lnTo>
                  <a:pt x="3350" y="1509"/>
                </a:lnTo>
                <a:lnTo>
                  <a:pt x="3357" y="1512"/>
                </a:lnTo>
                <a:lnTo>
                  <a:pt x="3353" y="1520"/>
                </a:lnTo>
                <a:lnTo>
                  <a:pt x="3353" y="1522"/>
                </a:lnTo>
                <a:lnTo>
                  <a:pt x="3353" y="1523"/>
                </a:lnTo>
                <a:lnTo>
                  <a:pt x="3353" y="1524"/>
                </a:lnTo>
                <a:lnTo>
                  <a:pt x="3353" y="1531"/>
                </a:lnTo>
                <a:lnTo>
                  <a:pt x="3355" y="1531"/>
                </a:lnTo>
                <a:lnTo>
                  <a:pt x="3356" y="1531"/>
                </a:lnTo>
                <a:lnTo>
                  <a:pt x="3357" y="1533"/>
                </a:lnTo>
                <a:lnTo>
                  <a:pt x="3357" y="1533"/>
                </a:lnTo>
                <a:lnTo>
                  <a:pt x="3352" y="1535"/>
                </a:lnTo>
                <a:lnTo>
                  <a:pt x="3351" y="1550"/>
                </a:lnTo>
                <a:lnTo>
                  <a:pt x="3344" y="1558"/>
                </a:lnTo>
                <a:lnTo>
                  <a:pt x="3341" y="1568"/>
                </a:lnTo>
                <a:lnTo>
                  <a:pt x="3336" y="1570"/>
                </a:lnTo>
                <a:lnTo>
                  <a:pt x="3336" y="1574"/>
                </a:lnTo>
                <a:lnTo>
                  <a:pt x="3336" y="1577"/>
                </a:lnTo>
                <a:lnTo>
                  <a:pt x="3331" y="1584"/>
                </a:lnTo>
                <a:lnTo>
                  <a:pt x="3326" y="1590"/>
                </a:lnTo>
                <a:lnTo>
                  <a:pt x="3325" y="1599"/>
                </a:lnTo>
                <a:lnTo>
                  <a:pt x="3310" y="1624"/>
                </a:lnTo>
                <a:lnTo>
                  <a:pt x="3280" y="1655"/>
                </a:lnTo>
                <a:lnTo>
                  <a:pt x="3259" y="1667"/>
                </a:lnTo>
                <a:lnTo>
                  <a:pt x="3244" y="1682"/>
                </a:lnTo>
                <a:lnTo>
                  <a:pt x="3224" y="1704"/>
                </a:lnTo>
                <a:lnTo>
                  <a:pt x="3221" y="1710"/>
                </a:lnTo>
                <a:lnTo>
                  <a:pt x="3218" y="1715"/>
                </a:lnTo>
                <a:lnTo>
                  <a:pt x="3209" y="1704"/>
                </a:lnTo>
                <a:lnTo>
                  <a:pt x="3209" y="1649"/>
                </a:lnTo>
                <a:lnTo>
                  <a:pt x="3214" y="1644"/>
                </a:lnTo>
                <a:lnTo>
                  <a:pt x="3219" y="1635"/>
                </a:lnTo>
                <a:lnTo>
                  <a:pt x="3218" y="1635"/>
                </a:lnTo>
                <a:lnTo>
                  <a:pt x="3211" y="1644"/>
                </a:lnTo>
                <a:lnTo>
                  <a:pt x="3205" y="1649"/>
                </a:lnTo>
                <a:lnTo>
                  <a:pt x="3205" y="1708"/>
                </a:lnTo>
                <a:lnTo>
                  <a:pt x="3214" y="1719"/>
                </a:lnTo>
                <a:lnTo>
                  <a:pt x="3212" y="1723"/>
                </a:lnTo>
                <a:lnTo>
                  <a:pt x="3205" y="1724"/>
                </a:lnTo>
                <a:lnTo>
                  <a:pt x="3205" y="1728"/>
                </a:lnTo>
                <a:lnTo>
                  <a:pt x="3205" y="1730"/>
                </a:lnTo>
                <a:lnTo>
                  <a:pt x="3202" y="1736"/>
                </a:lnTo>
                <a:lnTo>
                  <a:pt x="3201" y="1736"/>
                </a:lnTo>
                <a:lnTo>
                  <a:pt x="3196" y="1736"/>
                </a:lnTo>
                <a:lnTo>
                  <a:pt x="3194" y="1743"/>
                </a:lnTo>
                <a:lnTo>
                  <a:pt x="3191" y="1744"/>
                </a:lnTo>
                <a:lnTo>
                  <a:pt x="3183" y="1765"/>
                </a:lnTo>
                <a:lnTo>
                  <a:pt x="3184" y="1767"/>
                </a:lnTo>
                <a:lnTo>
                  <a:pt x="3182" y="1768"/>
                </a:lnTo>
                <a:lnTo>
                  <a:pt x="3182" y="1768"/>
                </a:lnTo>
                <a:lnTo>
                  <a:pt x="3180" y="1768"/>
                </a:lnTo>
                <a:lnTo>
                  <a:pt x="3180" y="1768"/>
                </a:lnTo>
                <a:lnTo>
                  <a:pt x="3176" y="1786"/>
                </a:lnTo>
                <a:lnTo>
                  <a:pt x="3180" y="1791"/>
                </a:lnTo>
                <a:lnTo>
                  <a:pt x="3181" y="1792"/>
                </a:lnTo>
                <a:lnTo>
                  <a:pt x="3189" y="1800"/>
                </a:lnTo>
                <a:lnTo>
                  <a:pt x="3184" y="1809"/>
                </a:lnTo>
                <a:lnTo>
                  <a:pt x="3184" y="1811"/>
                </a:lnTo>
                <a:lnTo>
                  <a:pt x="3188" y="1812"/>
                </a:lnTo>
                <a:lnTo>
                  <a:pt x="3188" y="1813"/>
                </a:lnTo>
                <a:lnTo>
                  <a:pt x="3184" y="1820"/>
                </a:lnTo>
                <a:lnTo>
                  <a:pt x="3186" y="1828"/>
                </a:lnTo>
                <a:lnTo>
                  <a:pt x="3188" y="1833"/>
                </a:lnTo>
                <a:lnTo>
                  <a:pt x="3186" y="1833"/>
                </a:lnTo>
                <a:lnTo>
                  <a:pt x="3188" y="1834"/>
                </a:lnTo>
                <a:lnTo>
                  <a:pt x="3191" y="1847"/>
                </a:lnTo>
                <a:lnTo>
                  <a:pt x="3192" y="1849"/>
                </a:lnTo>
                <a:lnTo>
                  <a:pt x="3192" y="1849"/>
                </a:lnTo>
                <a:lnTo>
                  <a:pt x="3195" y="1849"/>
                </a:lnTo>
                <a:lnTo>
                  <a:pt x="3196" y="1849"/>
                </a:lnTo>
                <a:lnTo>
                  <a:pt x="3196" y="1849"/>
                </a:lnTo>
                <a:lnTo>
                  <a:pt x="3196" y="1849"/>
                </a:lnTo>
                <a:lnTo>
                  <a:pt x="3199" y="1849"/>
                </a:lnTo>
                <a:lnTo>
                  <a:pt x="3200" y="1849"/>
                </a:lnTo>
                <a:lnTo>
                  <a:pt x="3202" y="1851"/>
                </a:lnTo>
                <a:lnTo>
                  <a:pt x="3204" y="1853"/>
                </a:lnTo>
                <a:lnTo>
                  <a:pt x="3200" y="1856"/>
                </a:lnTo>
                <a:lnTo>
                  <a:pt x="3200" y="1857"/>
                </a:lnTo>
                <a:lnTo>
                  <a:pt x="3196" y="1857"/>
                </a:lnTo>
                <a:lnTo>
                  <a:pt x="3196" y="1861"/>
                </a:lnTo>
                <a:lnTo>
                  <a:pt x="3200" y="1861"/>
                </a:lnTo>
                <a:lnTo>
                  <a:pt x="3195" y="1865"/>
                </a:lnTo>
                <a:lnTo>
                  <a:pt x="3196" y="1865"/>
                </a:lnTo>
                <a:lnTo>
                  <a:pt x="3196" y="1867"/>
                </a:lnTo>
                <a:lnTo>
                  <a:pt x="3196" y="1872"/>
                </a:lnTo>
                <a:lnTo>
                  <a:pt x="3196" y="1881"/>
                </a:lnTo>
                <a:lnTo>
                  <a:pt x="3200" y="1884"/>
                </a:lnTo>
                <a:lnTo>
                  <a:pt x="3200" y="1886"/>
                </a:lnTo>
                <a:lnTo>
                  <a:pt x="3198" y="1887"/>
                </a:lnTo>
                <a:lnTo>
                  <a:pt x="3200" y="1889"/>
                </a:lnTo>
                <a:lnTo>
                  <a:pt x="3201" y="1887"/>
                </a:lnTo>
                <a:lnTo>
                  <a:pt x="3201" y="1887"/>
                </a:lnTo>
                <a:lnTo>
                  <a:pt x="3201" y="1887"/>
                </a:lnTo>
                <a:lnTo>
                  <a:pt x="3200" y="1895"/>
                </a:lnTo>
                <a:lnTo>
                  <a:pt x="3201" y="1904"/>
                </a:lnTo>
                <a:lnTo>
                  <a:pt x="3200" y="1907"/>
                </a:lnTo>
                <a:lnTo>
                  <a:pt x="3200" y="1909"/>
                </a:lnTo>
                <a:lnTo>
                  <a:pt x="3201" y="1909"/>
                </a:lnTo>
                <a:lnTo>
                  <a:pt x="3201" y="1910"/>
                </a:lnTo>
                <a:lnTo>
                  <a:pt x="3200" y="1910"/>
                </a:lnTo>
                <a:lnTo>
                  <a:pt x="3201" y="1910"/>
                </a:lnTo>
                <a:lnTo>
                  <a:pt x="3201" y="1909"/>
                </a:lnTo>
                <a:lnTo>
                  <a:pt x="3201" y="1913"/>
                </a:lnTo>
                <a:lnTo>
                  <a:pt x="3201" y="1921"/>
                </a:lnTo>
                <a:lnTo>
                  <a:pt x="3200" y="1921"/>
                </a:lnTo>
                <a:lnTo>
                  <a:pt x="3201" y="1922"/>
                </a:lnTo>
                <a:lnTo>
                  <a:pt x="3201" y="1923"/>
                </a:lnTo>
                <a:lnTo>
                  <a:pt x="3200" y="1925"/>
                </a:lnTo>
                <a:lnTo>
                  <a:pt x="3193" y="1933"/>
                </a:lnTo>
                <a:lnTo>
                  <a:pt x="3191" y="1936"/>
                </a:lnTo>
                <a:lnTo>
                  <a:pt x="3188" y="1938"/>
                </a:lnTo>
                <a:lnTo>
                  <a:pt x="3188" y="1940"/>
                </a:lnTo>
                <a:lnTo>
                  <a:pt x="3188" y="1941"/>
                </a:lnTo>
                <a:lnTo>
                  <a:pt x="3183" y="1944"/>
                </a:lnTo>
                <a:lnTo>
                  <a:pt x="3179" y="1946"/>
                </a:lnTo>
                <a:lnTo>
                  <a:pt x="3178" y="1947"/>
                </a:lnTo>
                <a:lnTo>
                  <a:pt x="3178" y="1948"/>
                </a:lnTo>
                <a:lnTo>
                  <a:pt x="3160" y="1955"/>
                </a:lnTo>
                <a:lnTo>
                  <a:pt x="3152" y="1961"/>
                </a:lnTo>
                <a:lnTo>
                  <a:pt x="3150" y="1962"/>
                </a:lnTo>
                <a:lnTo>
                  <a:pt x="3148" y="1964"/>
                </a:lnTo>
                <a:lnTo>
                  <a:pt x="3147" y="1963"/>
                </a:lnTo>
                <a:lnTo>
                  <a:pt x="3146" y="1963"/>
                </a:lnTo>
                <a:lnTo>
                  <a:pt x="3147" y="1965"/>
                </a:lnTo>
                <a:lnTo>
                  <a:pt x="3148" y="1967"/>
                </a:lnTo>
                <a:lnTo>
                  <a:pt x="3143" y="1974"/>
                </a:lnTo>
                <a:lnTo>
                  <a:pt x="3139" y="1981"/>
                </a:lnTo>
                <a:lnTo>
                  <a:pt x="3136" y="1981"/>
                </a:lnTo>
                <a:lnTo>
                  <a:pt x="3118" y="1996"/>
                </a:lnTo>
                <a:lnTo>
                  <a:pt x="3115" y="1989"/>
                </a:lnTo>
                <a:lnTo>
                  <a:pt x="3116" y="1992"/>
                </a:lnTo>
                <a:lnTo>
                  <a:pt x="3116" y="1998"/>
                </a:lnTo>
                <a:lnTo>
                  <a:pt x="3114" y="2002"/>
                </a:lnTo>
                <a:lnTo>
                  <a:pt x="3120" y="2010"/>
                </a:lnTo>
                <a:lnTo>
                  <a:pt x="3120" y="2016"/>
                </a:lnTo>
                <a:lnTo>
                  <a:pt x="3124" y="2020"/>
                </a:lnTo>
                <a:lnTo>
                  <a:pt x="3124" y="2033"/>
                </a:lnTo>
                <a:lnTo>
                  <a:pt x="3126" y="2033"/>
                </a:lnTo>
                <a:lnTo>
                  <a:pt x="3128" y="2028"/>
                </a:lnTo>
                <a:lnTo>
                  <a:pt x="3128" y="2030"/>
                </a:lnTo>
                <a:lnTo>
                  <a:pt x="3128" y="2040"/>
                </a:lnTo>
                <a:lnTo>
                  <a:pt x="3128" y="2045"/>
                </a:lnTo>
                <a:lnTo>
                  <a:pt x="3130" y="2045"/>
                </a:lnTo>
                <a:lnTo>
                  <a:pt x="3128" y="2046"/>
                </a:lnTo>
                <a:lnTo>
                  <a:pt x="3124" y="2056"/>
                </a:lnTo>
                <a:lnTo>
                  <a:pt x="3124" y="2058"/>
                </a:lnTo>
                <a:lnTo>
                  <a:pt x="3128" y="2055"/>
                </a:lnTo>
                <a:lnTo>
                  <a:pt x="3128" y="2059"/>
                </a:lnTo>
                <a:lnTo>
                  <a:pt x="3120" y="2067"/>
                </a:lnTo>
                <a:lnTo>
                  <a:pt x="3102" y="2077"/>
                </a:lnTo>
                <a:lnTo>
                  <a:pt x="3090" y="2086"/>
                </a:lnTo>
                <a:lnTo>
                  <a:pt x="3086" y="2090"/>
                </a:lnTo>
                <a:lnTo>
                  <a:pt x="3091" y="2095"/>
                </a:lnTo>
                <a:lnTo>
                  <a:pt x="3092" y="2093"/>
                </a:lnTo>
                <a:lnTo>
                  <a:pt x="3091" y="2106"/>
                </a:lnTo>
                <a:lnTo>
                  <a:pt x="3092" y="2106"/>
                </a:lnTo>
                <a:lnTo>
                  <a:pt x="3084" y="2132"/>
                </a:lnTo>
                <a:lnTo>
                  <a:pt x="3080" y="2138"/>
                </a:lnTo>
                <a:lnTo>
                  <a:pt x="3077" y="2138"/>
                </a:lnTo>
                <a:lnTo>
                  <a:pt x="3069" y="2146"/>
                </a:lnTo>
                <a:lnTo>
                  <a:pt x="3067" y="2148"/>
                </a:lnTo>
                <a:lnTo>
                  <a:pt x="3065" y="2152"/>
                </a:lnTo>
                <a:lnTo>
                  <a:pt x="3058" y="2164"/>
                </a:lnTo>
                <a:lnTo>
                  <a:pt x="3050" y="2175"/>
                </a:lnTo>
                <a:lnTo>
                  <a:pt x="3045" y="2178"/>
                </a:lnTo>
                <a:lnTo>
                  <a:pt x="3041" y="2181"/>
                </a:lnTo>
                <a:lnTo>
                  <a:pt x="3027" y="2196"/>
                </a:lnTo>
                <a:lnTo>
                  <a:pt x="3020" y="2203"/>
                </a:lnTo>
                <a:lnTo>
                  <a:pt x="3006" y="2212"/>
                </a:lnTo>
                <a:lnTo>
                  <a:pt x="2999" y="2218"/>
                </a:lnTo>
                <a:lnTo>
                  <a:pt x="2987" y="2218"/>
                </a:lnTo>
                <a:lnTo>
                  <a:pt x="2986" y="2221"/>
                </a:lnTo>
                <a:lnTo>
                  <a:pt x="2987" y="2222"/>
                </a:lnTo>
                <a:lnTo>
                  <a:pt x="2976" y="2222"/>
                </a:lnTo>
                <a:lnTo>
                  <a:pt x="2975" y="2225"/>
                </a:lnTo>
                <a:lnTo>
                  <a:pt x="2957" y="2222"/>
                </a:lnTo>
                <a:lnTo>
                  <a:pt x="2953" y="2222"/>
                </a:lnTo>
                <a:lnTo>
                  <a:pt x="2952" y="2222"/>
                </a:lnTo>
                <a:lnTo>
                  <a:pt x="2940" y="2219"/>
                </a:lnTo>
                <a:lnTo>
                  <a:pt x="2933" y="2221"/>
                </a:lnTo>
                <a:lnTo>
                  <a:pt x="2928" y="2226"/>
                </a:lnTo>
                <a:lnTo>
                  <a:pt x="2925" y="2226"/>
                </a:lnTo>
                <a:lnTo>
                  <a:pt x="2922" y="2226"/>
                </a:lnTo>
                <a:lnTo>
                  <a:pt x="2915" y="2226"/>
                </a:lnTo>
                <a:lnTo>
                  <a:pt x="2914" y="2230"/>
                </a:lnTo>
                <a:lnTo>
                  <a:pt x="2909" y="2230"/>
                </a:lnTo>
                <a:lnTo>
                  <a:pt x="2903" y="2234"/>
                </a:lnTo>
                <a:lnTo>
                  <a:pt x="2898" y="2234"/>
                </a:lnTo>
                <a:lnTo>
                  <a:pt x="2891" y="2229"/>
                </a:lnTo>
                <a:lnTo>
                  <a:pt x="2891" y="2226"/>
                </a:lnTo>
                <a:lnTo>
                  <a:pt x="2891" y="2226"/>
                </a:lnTo>
                <a:lnTo>
                  <a:pt x="2883" y="2226"/>
                </a:lnTo>
                <a:lnTo>
                  <a:pt x="2883" y="2222"/>
                </a:lnTo>
                <a:lnTo>
                  <a:pt x="2879" y="2222"/>
                </a:lnTo>
                <a:lnTo>
                  <a:pt x="2879" y="2225"/>
                </a:lnTo>
                <a:lnTo>
                  <a:pt x="2877" y="2224"/>
                </a:lnTo>
                <a:lnTo>
                  <a:pt x="2876" y="2219"/>
                </a:lnTo>
                <a:lnTo>
                  <a:pt x="2879" y="2218"/>
                </a:lnTo>
                <a:lnTo>
                  <a:pt x="2879" y="2214"/>
                </a:lnTo>
                <a:lnTo>
                  <a:pt x="2873" y="2206"/>
                </a:lnTo>
                <a:lnTo>
                  <a:pt x="2872" y="2206"/>
                </a:lnTo>
                <a:lnTo>
                  <a:pt x="2870" y="2200"/>
                </a:lnTo>
                <a:lnTo>
                  <a:pt x="2873" y="2198"/>
                </a:lnTo>
                <a:lnTo>
                  <a:pt x="2875" y="2199"/>
                </a:lnTo>
                <a:lnTo>
                  <a:pt x="2877" y="2196"/>
                </a:lnTo>
                <a:lnTo>
                  <a:pt x="2878" y="2191"/>
                </a:lnTo>
                <a:lnTo>
                  <a:pt x="2877" y="2184"/>
                </a:lnTo>
                <a:lnTo>
                  <a:pt x="2862" y="2158"/>
                </a:lnTo>
                <a:lnTo>
                  <a:pt x="2855" y="2139"/>
                </a:lnTo>
                <a:lnTo>
                  <a:pt x="2852" y="2135"/>
                </a:lnTo>
                <a:lnTo>
                  <a:pt x="2852" y="2133"/>
                </a:lnTo>
                <a:lnTo>
                  <a:pt x="2851" y="2133"/>
                </a:lnTo>
                <a:lnTo>
                  <a:pt x="2850" y="2132"/>
                </a:lnTo>
                <a:lnTo>
                  <a:pt x="2840" y="2125"/>
                </a:lnTo>
                <a:lnTo>
                  <a:pt x="2833" y="2113"/>
                </a:lnTo>
                <a:lnTo>
                  <a:pt x="2831" y="2107"/>
                </a:lnTo>
                <a:lnTo>
                  <a:pt x="2829" y="2103"/>
                </a:lnTo>
                <a:lnTo>
                  <a:pt x="2831" y="2102"/>
                </a:lnTo>
                <a:lnTo>
                  <a:pt x="2829" y="2098"/>
                </a:lnTo>
                <a:lnTo>
                  <a:pt x="2827" y="2098"/>
                </a:lnTo>
                <a:lnTo>
                  <a:pt x="2827" y="2092"/>
                </a:lnTo>
                <a:lnTo>
                  <a:pt x="2827" y="2087"/>
                </a:lnTo>
                <a:lnTo>
                  <a:pt x="2827" y="2076"/>
                </a:lnTo>
                <a:lnTo>
                  <a:pt x="2819" y="2060"/>
                </a:lnTo>
                <a:lnTo>
                  <a:pt x="2819" y="2049"/>
                </a:lnTo>
                <a:lnTo>
                  <a:pt x="2825" y="2049"/>
                </a:lnTo>
                <a:lnTo>
                  <a:pt x="2824" y="2045"/>
                </a:lnTo>
                <a:lnTo>
                  <a:pt x="2819" y="2045"/>
                </a:lnTo>
                <a:lnTo>
                  <a:pt x="2819" y="2039"/>
                </a:lnTo>
                <a:lnTo>
                  <a:pt x="2819" y="2036"/>
                </a:lnTo>
                <a:lnTo>
                  <a:pt x="2819" y="2033"/>
                </a:lnTo>
                <a:lnTo>
                  <a:pt x="2813" y="2025"/>
                </a:lnTo>
                <a:lnTo>
                  <a:pt x="2812" y="2020"/>
                </a:lnTo>
                <a:lnTo>
                  <a:pt x="2805" y="2009"/>
                </a:lnTo>
                <a:lnTo>
                  <a:pt x="2801" y="2000"/>
                </a:lnTo>
                <a:lnTo>
                  <a:pt x="2790" y="1980"/>
                </a:lnTo>
                <a:lnTo>
                  <a:pt x="2782" y="1972"/>
                </a:lnTo>
                <a:lnTo>
                  <a:pt x="2779" y="1967"/>
                </a:lnTo>
                <a:lnTo>
                  <a:pt x="2779" y="1959"/>
                </a:lnTo>
                <a:lnTo>
                  <a:pt x="2779" y="1954"/>
                </a:lnTo>
                <a:lnTo>
                  <a:pt x="2779" y="1953"/>
                </a:lnTo>
                <a:lnTo>
                  <a:pt x="2779" y="1943"/>
                </a:lnTo>
                <a:lnTo>
                  <a:pt x="2779" y="1934"/>
                </a:lnTo>
                <a:lnTo>
                  <a:pt x="2779" y="1933"/>
                </a:lnTo>
                <a:lnTo>
                  <a:pt x="2782" y="1930"/>
                </a:lnTo>
                <a:lnTo>
                  <a:pt x="2785" y="1923"/>
                </a:lnTo>
                <a:lnTo>
                  <a:pt x="2787" y="1916"/>
                </a:lnTo>
                <a:lnTo>
                  <a:pt x="2787" y="1907"/>
                </a:lnTo>
                <a:lnTo>
                  <a:pt x="2791" y="1903"/>
                </a:lnTo>
                <a:lnTo>
                  <a:pt x="2791" y="1895"/>
                </a:lnTo>
                <a:lnTo>
                  <a:pt x="2795" y="1889"/>
                </a:lnTo>
                <a:lnTo>
                  <a:pt x="2795" y="1885"/>
                </a:lnTo>
                <a:lnTo>
                  <a:pt x="2803" y="1882"/>
                </a:lnTo>
                <a:lnTo>
                  <a:pt x="2809" y="1870"/>
                </a:lnTo>
                <a:lnTo>
                  <a:pt x="2811" y="1859"/>
                </a:lnTo>
                <a:lnTo>
                  <a:pt x="2807" y="1856"/>
                </a:lnTo>
                <a:lnTo>
                  <a:pt x="2807" y="1854"/>
                </a:lnTo>
                <a:lnTo>
                  <a:pt x="2804" y="1850"/>
                </a:lnTo>
                <a:lnTo>
                  <a:pt x="2798" y="1830"/>
                </a:lnTo>
                <a:lnTo>
                  <a:pt x="2803" y="1823"/>
                </a:lnTo>
                <a:lnTo>
                  <a:pt x="2803" y="1819"/>
                </a:lnTo>
                <a:lnTo>
                  <a:pt x="2795" y="1803"/>
                </a:lnTo>
                <a:lnTo>
                  <a:pt x="2795" y="1798"/>
                </a:lnTo>
                <a:lnTo>
                  <a:pt x="2791" y="1793"/>
                </a:lnTo>
                <a:lnTo>
                  <a:pt x="2787" y="1785"/>
                </a:lnTo>
                <a:lnTo>
                  <a:pt x="2787" y="1780"/>
                </a:lnTo>
                <a:lnTo>
                  <a:pt x="2786" y="1778"/>
                </a:lnTo>
                <a:lnTo>
                  <a:pt x="2787" y="1776"/>
                </a:lnTo>
                <a:lnTo>
                  <a:pt x="2784" y="1769"/>
                </a:lnTo>
                <a:lnTo>
                  <a:pt x="2788" y="1768"/>
                </a:lnTo>
                <a:lnTo>
                  <a:pt x="2788" y="1768"/>
                </a:lnTo>
                <a:lnTo>
                  <a:pt x="2783" y="1762"/>
                </a:lnTo>
                <a:lnTo>
                  <a:pt x="2783" y="1759"/>
                </a:lnTo>
                <a:lnTo>
                  <a:pt x="2775" y="1750"/>
                </a:lnTo>
                <a:lnTo>
                  <a:pt x="2777" y="1747"/>
                </a:lnTo>
                <a:lnTo>
                  <a:pt x="2782" y="1744"/>
                </a:lnTo>
                <a:lnTo>
                  <a:pt x="2781" y="1744"/>
                </a:lnTo>
                <a:lnTo>
                  <a:pt x="2775" y="1746"/>
                </a:lnTo>
                <a:lnTo>
                  <a:pt x="2774" y="1749"/>
                </a:lnTo>
                <a:lnTo>
                  <a:pt x="2763" y="1738"/>
                </a:lnTo>
                <a:lnTo>
                  <a:pt x="2755" y="1732"/>
                </a:lnTo>
                <a:lnTo>
                  <a:pt x="2754" y="1732"/>
                </a:lnTo>
                <a:lnTo>
                  <a:pt x="2750" y="1730"/>
                </a:lnTo>
                <a:lnTo>
                  <a:pt x="2746" y="1724"/>
                </a:lnTo>
                <a:lnTo>
                  <a:pt x="2749" y="1724"/>
                </a:lnTo>
                <a:lnTo>
                  <a:pt x="2745" y="1720"/>
                </a:lnTo>
                <a:lnTo>
                  <a:pt x="2747" y="1720"/>
                </a:lnTo>
                <a:lnTo>
                  <a:pt x="2747" y="1716"/>
                </a:lnTo>
                <a:lnTo>
                  <a:pt x="2747" y="1714"/>
                </a:lnTo>
                <a:lnTo>
                  <a:pt x="2745" y="1716"/>
                </a:lnTo>
                <a:lnTo>
                  <a:pt x="2745" y="1715"/>
                </a:lnTo>
                <a:lnTo>
                  <a:pt x="2746" y="1711"/>
                </a:lnTo>
                <a:lnTo>
                  <a:pt x="2745" y="1712"/>
                </a:lnTo>
                <a:lnTo>
                  <a:pt x="2742" y="1711"/>
                </a:lnTo>
                <a:lnTo>
                  <a:pt x="2742" y="1711"/>
                </a:lnTo>
                <a:lnTo>
                  <a:pt x="2741" y="1711"/>
                </a:lnTo>
                <a:lnTo>
                  <a:pt x="2736" y="1702"/>
                </a:lnTo>
                <a:lnTo>
                  <a:pt x="2740" y="1705"/>
                </a:lnTo>
                <a:lnTo>
                  <a:pt x="2741" y="1704"/>
                </a:lnTo>
                <a:lnTo>
                  <a:pt x="2743" y="1705"/>
                </a:lnTo>
                <a:lnTo>
                  <a:pt x="2743" y="1702"/>
                </a:lnTo>
                <a:lnTo>
                  <a:pt x="2742" y="1702"/>
                </a:lnTo>
                <a:lnTo>
                  <a:pt x="2743" y="1699"/>
                </a:lnTo>
                <a:lnTo>
                  <a:pt x="2743" y="1688"/>
                </a:lnTo>
                <a:lnTo>
                  <a:pt x="2747" y="1692"/>
                </a:lnTo>
                <a:lnTo>
                  <a:pt x="2753" y="1693"/>
                </a:lnTo>
                <a:lnTo>
                  <a:pt x="2754" y="1692"/>
                </a:lnTo>
                <a:lnTo>
                  <a:pt x="2747" y="1689"/>
                </a:lnTo>
                <a:lnTo>
                  <a:pt x="2743" y="1686"/>
                </a:lnTo>
                <a:lnTo>
                  <a:pt x="2743" y="1685"/>
                </a:lnTo>
                <a:lnTo>
                  <a:pt x="2747" y="1684"/>
                </a:lnTo>
                <a:lnTo>
                  <a:pt x="2747" y="1680"/>
                </a:lnTo>
                <a:lnTo>
                  <a:pt x="2749" y="1680"/>
                </a:lnTo>
                <a:lnTo>
                  <a:pt x="2751" y="1680"/>
                </a:lnTo>
                <a:lnTo>
                  <a:pt x="2751" y="1676"/>
                </a:lnTo>
                <a:lnTo>
                  <a:pt x="2752" y="1676"/>
                </a:lnTo>
                <a:lnTo>
                  <a:pt x="2747" y="1674"/>
                </a:lnTo>
                <a:lnTo>
                  <a:pt x="2751" y="1663"/>
                </a:lnTo>
                <a:lnTo>
                  <a:pt x="2751" y="1656"/>
                </a:lnTo>
                <a:lnTo>
                  <a:pt x="2754" y="1658"/>
                </a:lnTo>
                <a:lnTo>
                  <a:pt x="2760" y="1649"/>
                </a:lnTo>
                <a:lnTo>
                  <a:pt x="2757" y="1648"/>
                </a:lnTo>
                <a:lnTo>
                  <a:pt x="2754" y="1642"/>
                </a:lnTo>
                <a:lnTo>
                  <a:pt x="2753" y="1638"/>
                </a:lnTo>
                <a:lnTo>
                  <a:pt x="2754" y="1637"/>
                </a:lnTo>
                <a:lnTo>
                  <a:pt x="2752" y="1633"/>
                </a:lnTo>
                <a:lnTo>
                  <a:pt x="2753" y="1636"/>
                </a:lnTo>
                <a:lnTo>
                  <a:pt x="2752" y="1637"/>
                </a:lnTo>
                <a:lnTo>
                  <a:pt x="2745" y="1633"/>
                </a:lnTo>
                <a:lnTo>
                  <a:pt x="2742" y="1627"/>
                </a:lnTo>
                <a:lnTo>
                  <a:pt x="2739" y="1626"/>
                </a:lnTo>
                <a:lnTo>
                  <a:pt x="2739" y="1630"/>
                </a:lnTo>
                <a:lnTo>
                  <a:pt x="2736" y="1627"/>
                </a:lnTo>
                <a:lnTo>
                  <a:pt x="2738" y="1626"/>
                </a:lnTo>
                <a:lnTo>
                  <a:pt x="2735" y="1622"/>
                </a:lnTo>
                <a:lnTo>
                  <a:pt x="2736" y="1626"/>
                </a:lnTo>
                <a:lnTo>
                  <a:pt x="2735" y="1627"/>
                </a:lnTo>
                <a:lnTo>
                  <a:pt x="2726" y="1630"/>
                </a:lnTo>
                <a:lnTo>
                  <a:pt x="2723" y="1627"/>
                </a:lnTo>
                <a:lnTo>
                  <a:pt x="2724" y="1628"/>
                </a:lnTo>
                <a:lnTo>
                  <a:pt x="2721" y="1628"/>
                </a:lnTo>
                <a:lnTo>
                  <a:pt x="2721" y="1627"/>
                </a:lnTo>
                <a:lnTo>
                  <a:pt x="2720" y="1628"/>
                </a:lnTo>
                <a:lnTo>
                  <a:pt x="2717" y="1627"/>
                </a:lnTo>
                <a:lnTo>
                  <a:pt x="2719" y="1632"/>
                </a:lnTo>
                <a:lnTo>
                  <a:pt x="2717" y="1632"/>
                </a:lnTo>
                <a:lnTo>
                  <a:pt x="2714" y="1632"/>
                </a:lnTo>
                <a:lnTo>
                  <a:pt x="2712" y="1632"/>
                </a:lnTo>
                <a:lnTo>
                  <a:pt x="2706" y="1634"/>
                </a:lnTo>
                <a:lnTo>
                  <a:pt x="2708" y="1632"/>
                </a:lnTo>
                <a:lnTo>
                  <a:pt x="2706" y="1632"/>
                </a:lnTo>
                <a:lnTo>
                  <a:pt x="2704" y="1632"/>
                </a:lnTo>
                <a:lnTo>
                  <a:pt x="2702" y="1632"/>
                </a:lnTo>
                <a:lnTo>
                  <a:pt x="2697" y="1630"/>
                </a:lnTo>
                <a:lnTo>
                  <a:pt x="2694" y="1622"/>
                </a:lnTo>
                <a:lnTo>
                  <a:pt x="2691" y="1618"/>
                </a:lnTo>
                <a:lnTo>
                  <a:pt x="2691" y="1615"/>
                </a:lnTo>
                <a:lnTo>
                  <a:pt x="2691" y="1615"/>
                </a:lnTo>
                <a:lnTo>
                  <a:pt x="2690" y="1614"/>
                </a:lnTo>
                <a:lnTo>
                  <a:pt x="2686" y="1606"/>
                </a:lnTo>
                <a:lnTo>
                  <a:pt x="2680" y="1602"/>
                </a:lnTo>
                <a:lnTo>
                  <a:pt x="2665" y="1600"/>
                </a:lnTo>
                <a:lnTo>
                  <a:pt x="2664" y="1604"/>
                </a:lnTo>
                <a:lnTo>
                  <a:pt x="2654" y="1604"/>
                </a:lnTo>
                <a:lnTo>
                  <a:pt x="2654" y="1589"/>
                </a:lnTo>
                <a:lnTo>
                  <a:pt x="2653" y="1577"/>
                </a:lnTo>
                <a:lnTo>
                  <a:pt x="2654" y="1559"/>
                </a:lnTo>
                <a:lnTo>
                  <a:pt x="2653" y="1559"/>
                </a:lnTo>
                <a:lnTo>
                  <a:pt x="2651" y="1576"/>
                </a:lnTo>
                <a:lnTo>
                  <a:pt x="2650" y="1587"/>
                </a:lnTo>
                <a:lnTo>
                  <a:pt x="2650" y="1598"/>
                </a:lnTo>
                <a:lnTo>
                  <a:pt x="2636" y="1600"/>
                </a:lnTo>
                <a:lnTo>
                  <a:pt x="2638" y="1598"/>
                </a:lnTo>
                <a:lnTo>
                  <a:pt x="2634" y="1593"/>
                </a:lnTo>
                <a:lnTo>
                  <a:pt x="2634" y="1588"/>
                </a:lnTo>
                <a:lnTo>
                  <a:pt x="2630" y="1588"/>
                </a:lnTo>
                <a:lnTo>
                  <a:pt x="2630" y="1592"/>
                </a:lnTo>
                <a:lnTo>
                  <a:pt x="2635" y="1598"/>
                </a:lnTo>
                <a:lnTo>
                  <a:pt x="2635" y="1599"/>
                </a:lnTo>
                <a:lnTo>
                  <a:pt x="2631" y="1600"/>
                </a:lnTo>
                <a:lnTo>
                  <a:pt x="2631" y="1601"/>
                </a:lnTo>
                <a:lnTo>
                  <a:pt x="2629" y="1608"/>
                </a:lnTo>
                <a:lnTo>
                  <a:pt x="2623" y="1608"/>
                </a:lnTo>
                <a:lnTo>
                  <a:pt x="2618" y="1608"/>
                </a:lnTo>
                <a:lnTo>
                  <a:pt x="2603" y="1614"/>
                </a:lnTo>
                <a:lnTo>
                  <a:pt x="2588" y="1617"/>
                </a:lnTo>
                <a:lnTo>
                  <a:pt x="2582" y="1622"/>
                </a:lnTo>
                <a:lnTo>
                  <a:pt x="2579" y="1618"/>
                </a:lnTo>
                <a:lnTo>
                  <a:pt x="2570" y="1616"/>
                </a:lnTo>
                <a:lnTo>
                  <a:pt x="2570" y="1620"/>
                </a:lnTo>
                <a:lnTo>
                  <a:pt x="2569" y="1620"/>
                </a:lnTo>
                <a:lnTo>
                  <a:pt x="2562" y="1614"/>
                </a:lnTo>
                <a:lnTo>
                  <a:pt x="2562" y="1616"/>
                </a:lnTo>
                <a:lnTo>
                  <a:pt x="2555" y="1616"/>
                </a:lnTo>
                <a:lnTo>
                  <a:pt x="2558" y="1616"/>
                </a:lnTo>
                <a:lnTo>
                  <a:pt x="2546" y="1614"/>
                </a:lnTo>
                <a:lnTo>
                  <a:pt x="2542" y="1617"/>
                </a:lnTo>
                <a:lnTo>
                  <a:pt x="2540" y="1616"/>
                </a:lnTo>
                <a:lnTo>
                  <a:pt x="2538" y="1616"/>
                </a:lnTo>
                <a:lnTo>
                  <a:pt x="2539" y="1616"/>
                </a:lnTo>
                <a:lnTo>
                  <a:pt x="2536" y="1617"/>
                </a:lnTo>
                <a:lnTo>
                  <a:pt x="2534" y="1620"/>
                </a:lnTo>
                <a:lnTo>
                  <a:pt x="2534" y="1620"/>
                </a:lnTo>
                <a:lnTo>
                  <a:pt x="2534" y="1617"/>
                </a:lnTo>
                <a:lnTo>
                  <a:pt x="2526" y="1618"/>
                </a:lnTo>
                <a:lnTo>
                  <a:pt x="2504" y="1627"/>
                </a:lnTo>
                <a:lnTo>
                  <a:pt x="2501" y="1619"/>
                </a:lnTo>
                <a:lnTo>
                  <a:pt x="2505" y="1612"/>
                </a:lnTo>
                <a:lnTo>
                  <a:pt x="2503" y="1611"/>
                </a:lnTo>
                <a:lnTo>
                  <a:pt x="2502" y="1610"/>
                </a:lnTo>
                <a:lnTo>
                  <a:pt x="2502" y="1610"/>
                </a:lnTo>
                <a:lnTo>
                  <a:pt x="2502" y="1611"/>
                </a:lnTo>
                <a:lnTo>
                  <a:pt x="2504" y="1612"/>
                </a:lnTo>
                <a:lnTo>
                  <a:pt x="2501" y="1619"/>
                </a:lnTo>
                <a:lnTo>
                  <a:pt x="2503" y="1627"/>
                </a:lnTo>
                <a:lnTo>
                  <a:pt x="2492" y="1624"/>
                </a:lnTo>
                <a:lnTo>
                  <a:pt x="2480" y="1618"/>
                </a:lnTo>
                <a:lnTo>
                  <a:pt x="2464" y="1600"/>
                </a:lnTo>
                <a:lnTo>
                  <a:pt x="2458" y="1600"/>
                </a:lnTo>
                <a:lnTo>
                  <a:pt x="2456" y="1597"/>
                </a:lnTo>
                <a:lnTo>
                  <a:pt x="2451" y="1593"/>
                </a:lnTo>
                <a:lnTo>
                  <a:pt x="2448" y="1589"/>
                </a:lnTo>
                <a:lnTo>
                  <a:pt x="2451" y="1586"/>
                </a:lnTo>
                <a:lnTo>
                  <a:pt x="2455" y="1581"/>
                </a:lnTo>
                <a:lnTo>
                  <a:pt x="2458" y="1576"/>
                </a:lnTo>
                <a:lnTo>
                  <a:pt x="2458" y="1575"/>
                </a:lnTo>
                <a:lnTo>
                  <a:pt x="2454" y="1579"/>
                </a:lnTo>
                <a:lnTo>
                  <a:pt x="2449" y="1584"/>
                </a:lnTo>
                <a:lnTo>
                  <a:pt x="2447" y="1589"/>
                </a:lnTo>
                <a:lnTo>
                  <a:pt x="2440" y="1587"/>
                </a:lnTo>
                <a:lnTo>
                  <a:pt x="2432" y="1581"/>
                </a:lnTo>
                <a:lnTo>
                  <a:pt x="2432" y="1579"/>
                </a:lnTo>
                <a:lnTo>
                  <a:pt x="2430" y="1579"/>
                </a:lnTo>
                <a:lnTo>
                  <a:pt x="2430" y="1579"/>
                </a:lnTo>
                <a:lnTo>
                  <a:pt x="2425" y="1575"/>
                </a:lnTo>
                <a:lnTo>
                  <a:pt x="2426" y="1573"/>
                </a:lnTo>
                <a:lnTo>
                  <a:pt x="2425" y="1568"/>
                </a:lnTo>
                <a:lnTo>
                  <a:pt x="2424" y="1570"/>
                </a:lnTo>
                <a:lnTo>
                  <a:pt x="2421" y="1567"/>
                </a:lnTo>
                <a:lnTo>
                  <a:pt x="2417" y="1567"/>
                </a:lnTo>
                <a:lnTo>
                  <a:pt x="2417" y="1563"/>
                </a:lnTo>
                <a:lnTo>
                  <a:pt x="2424" y="1563"/>
                </a:lnTo>
                <a:lnTo>
                  <a:pt x="2420" y="1559"/>
                </a:lnTo>
                <a:lnTo>
                  <a:pt x="2417" y="1559"/>
                </a:lnTo>
                <a:lnTo>
                  <a:pt x="2417" y="1554"/>
                </a:lnTo>
                <a:lnTo>
                  <a:pt x="2414" y="1550"/>
                </a:lnTo>
                <a:lnTo>
                  <a:pt x="2413" y="1548"/>
                </a:lnTo>
                <a:lnTo>
                  <a:pt x="2413" y="1547"/>
                </a:lnTo>
                <a:lnTo>
                  <a:pt x="2412" y="1547"/>
                </a:lnTo>
                <a:lnTo>
                  <a:pt x="2414" y="1544"/>
                </a:lnTo>
                <a:lnTo>
                  <a:pt x="2411" y="1546"/>
                </a:lnTo>
                <a:lnTo>
                  <a:pt x="2403" y="1540"/>
                </a:lnTo>
                <a:lnTo>
                  <a:pt x="2401" y="1539"/>
                </a:lnTo>
                <a:lnTo>
                  <a:pt x="2399" y="1539"/>
                </a:lnTo>
                <a:lnTo>
                  <a:pt x="2401" y="1533"/>
                </a:lnTo>
                <a:lnTo>
                  <a:pt x="2397" y="1535"/>
                </a:lnTo>
                <a:lnTo>
                  <a:pt x="2396" y="1531"/>
                </a:lnTo>
                <a:lnTo>
                  <a:pt x="2397" y="1531"/>
                </a:lnTo>
                <a:lnTo>
                  <a:pt x="2396" y="1531"/>
                </a:lnTo>
                <a:lnTo>
                  <a:pt x="2395" y="1531"/>
                </a:lnTo>
                <a:lnTo>
                  <a:pt x="2393" y="1533"/>
                </a:lnTo>
                <a:lnTo>
                  <a:pt x="2393" y="1531"/>
                </a:lnTo>
                <a:lnTo>
                  <a:pt x="2390" y="1531"/>
                </a:lnTo>
                <a:lnTo>
                  <a:pt x="2389" y="1531"/>
                </a:lnTo>
                <a:lnTo>
                  <a:pt x="2389" y="1530"/>
                </a:lnTo>
                <a:lnTo>
                  <a:pt x="2389" y="1530"/>
                </a:lnTo>
                <a:lnTo>
                  <a:pt x="2389" y="1526"/>
                </a:lnTo>
                <a:lnTo>
                  <a:pt x="2389" y="1525"/>
                </a:lnTo>
                <a:lnTo>
                  <a:pt x="2390" y="1524"/>
                </a:lnTo>
                <a:lnTo>
                  <a:pt x="2387" y="1526"/>
                </a:lnTo>
                <a:lnTo>
                  <a:pt x="2390" y="1523"/>
                </a:lnTo>
                <a:lnTo>
                  <a:pt x="2393" y="1523"/>
                </a:lnTo>
                <a:lnTo>
                  <a:pt x="2390" y="1521"/>
                </a:lnTo>
                <a:lnTo>
                  <a:pt x="2389" y="1521"/>
                </a:lnTo>
                <a:lnTo>
                  <a:pt x="2389" y="1523"/>
                </a:lnTo>
                <a:lnTo>
                  <a:pt x="2387" y="1523"/>
                </a:lnTo>
                <a:lnTo>
                  <a:pt x="2389" y="1519"/>
                </a:lnTo>
                <a:lnTo>
                  <a:pt x="2392" y="1519"/>
                </a:lnTo>
                <a:lnTo>
                  <a:pt x="2394" y="1520"/>
                </a:lnTo>
                <a:lnTo>
                  <a:pt x="2393" y="1517"/>
                </a:lnTo>
                <a:lnTo>
                  <a:pt x="2394" y="1515"/>
                </a:lnTo>
                <a:lnTo>
                  <a:pt x="2392" y="1517"/>
                </a:lnTo>
                <a:lnTo>
                  <a:pt x="2389" y="1515"/>
                </a:lnTo>
                <a:lnTo>
                  <a:pt x="2386" y="1519"/>
                </a:lnTo>
                <a:lnTo>
                  <a:pt x="2382" y="1519"/>
                </a:lnTo>
                <a:lnTo>
                  <a:pt x="2382" y="1515"/>
                </a:lnTo>
                <a:lnTo>
                  <a:pt x="2376" y="1516"/>
                </a:lnTo>
                <a:lnTo>
                  <a:pt x="2373" y="1518"/>
                </a:lnTo>
                <a:lnTo>
                  <a:pt x="2373" y="1516"/>
                </a:lnTo>
                <a:lnTo>
                  <a:pt x="2374" y="1514"/>
                </a:lnTo>
                <a:lnTo>
                  <a:pt x="2379" y="1510"/>
                </a:lnTo>
                <a:lnTo>
                  <a:pt x="2372" y="1511"/>
                </a:lnTo>
                <a:lnTo>
                  <a:pt x="2370" y="1510"/>
                </a:lnTo>
                <a:lnTo>
                  <a:pt x="2373" y="1509"/>
                </a:lnTo>
                <a:lnTo>
                  <a:pt x="2370" y="1509"/>
                </a:lnTo>
                <a:lnTo>
                  <a:pt x="2368" y="1509"/>
                </a:lnTo>
                <a:lnTo>
                  <a:pt x="2369" y="1506"/>
                </a:lnTo>
                <a:lnTo>
                  <a:pt x="2369" y="1499"/>
                </a:lnTo>
                <a:lnTo>
                  <a:pt x="2371" y="1499"/>
                </a:lnTo>
                <a:lnTo>
                  <a:pt x="2370" y="1495"/>
                </a:lnTo>
                <a:lnTo>
                  <a:pt x="2372" y="1491"/>
                </a:lnTo>
                <a:lnTo>
                  <a:pt x="2369" y="1491"/>
                </a:lnTo>
                <a:lnTo>
                  <a:pt x="2369" y="1487"/>
                </a:lnTo>
                <a:lnTo>
                  <a:pt x="2369" y="1485"/>
                </a:lnTo>
                <a:lnTo>
                  <a:pt x="2375" y="1483"/>
                </a:lnTo>
                <a:lnTo>
                  <a:pt x="2372" y="1483"/>
                </a:lnTo>
                <a:lnTo>
                  <a:pt x="2371" y="1483"/>
                </a:lnTo>
                <a:lnTo>
                  <a:pt x="2368" y="1483"/>
                </a:lnTo>
                <a:lnTo>
                  <a:pt x="2364" y="1475"/>
                </a:lnTo>
                <a:lnTo>
                  <a:pt x="2360" y="1475"/>
                </a:lnTo>
                <a:lnTo>
                  <a:pt x="2359" y="1475"/>
                </a:lnTo>
                <a:lnTo>
                  <a:pt x="2363" y="1470"/>
                </a:lnTo>
                <a:lnTo>
                  <a:pt x="2367" y="1463"/>
                </a:lnTo>
                <a:lnTo>
                  <a:pt x="2369" y="1455"/>
                </a:lnTo>
                <a:lnTo>
                  <a:pt x="2369" y="1450"/>
                </a:lnTo>
                <a:lnTo>
                  <a:pt x="2369" y="1449"/>
                </a:lnTo>
                <a:lnTo>
                  <a:pt x="2369" y="1450"/>
                </a:lnTo>
                <a:lnTo>
                  <a:pt x="2369" y="1442"/>
                </a:lnTo>
                <a:lnTo>
                  <a:pt x="2377" y="1427"/>
                </a:lnTo>
                <a:lnTo>
                  <a:pt x="2377" y="1415"/>
                </a:lnTo>
                <a:lnTo>
                  <a:pt x="2377" y="1409"/>
                </a:lnTo>
                <a:lnTo>
                  <a:pt x="2372" y="1400"/>
                </a:lnTo>
                <a:lnTo>
                  <a:pt x="2374" y="1397"/>
                </a:lnTo>
                <a:lnTo>
                  <a:pt x="2371" y="1395"/>
                </a:lnTo>
                <a:lnTo>
                  <a:pt x="2373" y="1394"/>
                </a:lnTo>
                <a:lnTo>
                  <a:pt x="2373" y="1395"/>
                </a:lnTo>
                <a:lnTo>
                  <a:pt x="2374" y="1394"/>
                </a:lnTo>
                <a:lnTo>
                  <a:pt x="2376" y="1387"/>
                </a:lnTo>
                <a:lnTo>
                  <a:pt x="2370" y="1382"/>
                </a:lnTo>
                <a:lnTo>
                  <a:pt x="2370" y="1382"/>
                </a:lnTo>
                <a:lnTo>
                  <a:pt x="2367" y="1375"/>
                </a:lnTo>
                <a:lnTo>
                  <a:pt x="2367" y="1371"/>
                </a:lnTo>
                <a:lnTo>
                  <a:pt x="2361" y="1377"/>
                </a:lnTo>
                <a:lnTo>
                  <a:pt x="2361" y="1374"/>
                </a:lnTo>
                <a:lnTo>
                  <a:pt x="2365" y="1359"/>
                </a:lnTo>
                <a:lnTo>
                  <a:pt x="2370" y="1356"/>
                </a:lnTo>
                <a:lnTo>
                  <a:pt x="2372" y="1354"/>
                </a:lnTo>
                <a:lnTo>
                  <a:pt x="2378" y="1339"/>
                </a:lnTo>
                <a:lnTo>
                  <a:pt x="2381" y="1331"/>
                </a:lnTo>
                <a:lnTo>
                  <a:pt x="2381" y="1329"/>
                </a:lnTo>
                <a:lnTo>
                  <a:pt x="2397" y="1318"/>
                </a:lnTo>
                <a:lnTo>
                  <a:pt x="2398" y="1305"/>
                </a:lnTo>
                <a:lnTo>
                  <a:pt x="2401" y="1298"/>
                </a:lnTo>
                <a:lnTo>
                  <a:pt x="2401" y="1294"/>
                </a:lnTo>
                <a:lnTo>
                  <a:pt x="2416" y="1287"/>
                </a:lnTo>
                <a:lnTo>
                  <a:pt x="2421" y="1274"/>
                </a:lnTo>
                <a:lnTo>
                  <a:pt x="2420" y="1274"/>
                </a:lnTo>
                <a:lnTo>
                  <a:pt x="2426" y="1267"/>
                </a:lnTo>
                <a:lnTo>
                  <a:pt x="2438" y="1264"/>
                </a:lnTo>
                <a:lnTo>
                  <a:pt x="2446" y="1260"/>
                </a:lnTo>
                <a:lnTo>
                  <a:pt x="2451" y="1253"/>
                </a:lnTo>
                <a:lnTo>
                  <a:pt x="2460" y="1250"/>
                </a:lnTo>
                <a:lnTo>
                  <a:pt x="2464" y="1242"/>
                </a:lnTo>
                <a:lnTo>
                  <a:pt x="2472" y="1230"/>
                </a:lnTo>
                <a:lnTo>
                  <a:pt x="2473" y="1225"/>
                </a:lnTo>
                <a:lnTo>
                  <a:pt x="2470" y="1222"/>
                </a:lnTo>
                <a:lnTo>
                  <a:pt x="2470" y="1210"/>
                </a:lnTo>
                <a:lnTo>
                  <a:pt x="2471" y="1203"/>
                </a:lnTo>
                <a:lnTo>
                  <a:pt x="2478" y="1197"/>
                </a:lnTo>
                <a:lnTo>
                  <a:pt x="2478" y="1191"/>
                </a:lnTo>
                <a:lnTo>
                  <a:pt x="2487" y="1179"/>
                </a:lnTo>
                <a:lnTo>
                  <a:pt x="2505" y="1173"/>
                </a:lnTo>
                <a:lnTo>
                  <a:pt x="2513" y="1165"/>
                </a:lnTo>
                <a:lnTo>
                  <a:pt x="2521" y="1153"/>
                </a:lnTo>
                <a:lnTo>
                  <a:pt x="2526" y="1136"/>
                </a:lnTo>
                <a:lnTo>
                  <a:pt x="2531" y="1134"/>
                </a:lnTo>
                <a:lnTo>
                  <a:pt x="2525" y="1130"/>
                </a:lnTo>
                <a:lnTo>
                  <a:pt x="2521" y="1125"/>
                </a:lnTo>
                <a:lnTo>
                  <a:pt x="2522" y="1123"/>
                </a:lnTo>
                <a:lnTo>
                  <a:pt x="2518" y="1120"/>
                </a:lnTo>
                <a:lnTo>
                  <a:pt x="2518" y="1119"/>
                </a:lnTo>
                <a:lnTo>
                  <a:pt x="2513" y="1114"/>
                </a:lnTo>
                <a:lnTo>
                  <a:pt x="2508" y="1114"/>
                </a:lnTo>
                <a:lnTo>
                  <a:pt x="2501" y="1116"/>
                </a:lnTo>
                <a:lnTo>
                  <a:pt x="2489" y="1113"/>
                </a:lnTo>
                <a:lnTo>
                  <a:pt x="2484" y="1115"/>
                </a:lnTo>
                <a:lnTo>
                  <a:pt x="2486" y="1107"/>
                </a:lnTo>
                <a:lnTo>
                  <a:pt x="2486" y="1091"/>
                </a:lnTo>
                <a:lnTo>
                  <a:pt x="2489" y="1089"/>
                </a:lnTo>
                <a:lnTo>
                  <a:pt x="2486" y="1088"/>
                </a:lnTo>
                <a:lnTo>
                  <a:pt x="2483" y="1092"/>
                </a:lnTo>
                <a:lnTo>
                  <a:pt x="2482" y="1089"/>
                </a:lnTo>
                <a:lnTo>
                  <a:pt x="2483" y="1089"/>
                </a:lnTo>
                <a:lnTo>
                  <a:pt x="2485" y="1086"/>
                </a:lnTo>
                <a:lnTo>
                  <a:pt x="2485" y="1080"/>
                </a:lnTo>
                <a:lnTo>
                  <a:pt x="2483" y="1085"/>
                </a:lnTo>
                <a:lnTo>
                  <a:pt x="2478" y="1085"/>
                </a:lnTo>
                <a:lnTo>
                  <a:pt x="2478" y="1073"/>
                </a:lnTo>
                <a:lnTo>
                  <a:pt x="2482" y="1068"/>
                </a:lnTo>
                <a:lnTo>
                  <a:pt x="2485" y="1051"/>
                </a:lnTo>
                <a:lnTo>
                  <a:pt x="2486" y="1048"/>
                </a:lnTo>
                <a:lnTo>
                  <a:pt x="2486" y="1047"/>
                </a:lnTo>
                <a:lnTo>
                  <a:pt x="2486" y="1042"/>
                </a:lnTo>
                <a:lnTo>
                  <a:pt x="2484" y="1029"/>
                </a:lnTo>
                <a:lnTo>
                  <a:pt x="2486" y="1026"/>
                </a:lnTo>
                <a:lnTo>
                  <a:pt x="2484" y="1026"/>
                </a:lnTo>
                <a:lnTo>
                  <a:pt x="2482" y="1028"/>
                </a:lnTo>
                <a:lnTo>
                  <a:pt x="2482" y="1025"/>
                </a:lnTo>
                <a:lnTo>
                  <a:pt x="2488" y="1020"/>
                </a:lnTo>
                <a:lnTo>
                  <a:pt x="2484" y="1022"/>
                </a:lnTo>
                <a:lnTo>
                  <a:pt x="2484" y="1021"/>
                </a:lnTo>
                <a:lnTo>
                  <a:pt x="2485" y="1021"/>
                </a:lnTo>
                <a:lnTo>
                  <a:pt x="2485" y="1021"/>
                </a:lnTo>
                <a:lnTo>
                  <a:pt x="2485" y="1021"/>
                </a:lnTo>
                <a:lnTo>
                  <a:pt x="2484" y="1021"/>
                </a:lnTo>
                <a:lnTo>
                  <a:pt x="2487" y="1015"/>
                </a:lnTo>
                <a:lnTo>
                  <a:pt x="2482" y="1017"/>
                </a:lnTo>
                <a:lnTo>
                  <a:pt x="2482" y="1014"/>
                </a:lnTo>
                <a:lnTo>
                  <a:pt x="2482" y="1011"/>
                </a:lnTo>
                <a:lnTo>
                  <a:pt x="2478" y="1014"/>
                </a:lnTo>
                <a:lnTo>
                  <a:pt x="2478" y="1010"/>
                </a:lnTo>
                <a:lnTo>
                  <a:pt x="2478" y="1008"/>
                </a:lnTo>
                <a:lnTo>
                  <a:pt x="2478" y="1005"/>
                </a:lnTo>
                <a:lnTo>
                  <a:pt x="2483" y="1003"/>
                </a:lnTo>
                <a:lnTo>
                  <a:pt x="2488" y="1004"/>
                </a:lnTo>
                <a:lnTo>
                  <a:pt x="2492" y="1000"/>
                </a:lnTo>
                <a:lnTo>
                  <a:pt x="2494" y="999"/>
                </a:lnTo>
                <a:lnTo>
                  <a:pt x="2498" y="995"/>
                </a:lnTo>
                <a:lnTo>
                  <a:pt x="2499" y="997"/>
                </a:lnTo>
                <a:lnTo>
                  <a:pt x="2505" y="997"/>
                </a:lnTo>
                <a:lnTo>
                  <a:pt x="2508" y="1001"/>
                </a:lnTo>
                <a:lnTo>
                  <a:pt x="2511" y="1001"/>
                </a:lnTo>
                <a:lnTo>
                  <a:pt x="2513" y="998"/>
                </a:lnTo>
                <a:lnTo>
                  <a:pt x="2526" y="999"/>
                </a:lnTo>
                <a:lnTo>
                  <a:pt x="2529" y="997"/>
                </a:lnTo>
                <a:lnTo>
                  <a:pt x="2530" y="999"/>
                </a:lnTo>
                <a:lnTo>
                  <a:pt x="2548" y="1000"/>
                </a:lnTo>
                <a:lnTo>
                  <a:pt x="2561" y="999"/>
                </a:lnTo>
                <a:lnTo>
                  <a:pt x="2567" y="1002"/>
                </a:lnTo>
                <a:lnTo>
                  <a:pt x="2571" y="1000"/>
                </a:lnTo>
                <a:lnTo>
                  <a:pt x="2580" y="1003"/>
                </a:lnTo>
                <a:lnTo>
                  <a:pt x="2587" y="1003"/>
                </a:lnTo>
                <a:lnTo>
                  <a:pt x="2586" y="1002"/>
                </a:lnTo>
                <a:lnTo>
                  <a:pt x="2590" y="1001"/>
                </a:lnTo>
                <a:lnTo>
                  <a:pt x="2591" y="997"/>
                </a:lnTo>
                <a:lnTo>
                  <a:pt x="2595" y="980"/>
                </a:lnTo>
                <a:lnTo>
                  <a:pt x="2598" y="977"/>
                </a:lnTo>
                <a:lnTo>
                  <a:pt x="2595" y="976"/>
                </a:lnTo>
                <a:lnTo>
                  <a:pt x="2594" y="977"/>
                </a:lnTo>
                <a:lnTo>
                  <a:pt x="2594" y="976"/>
                </a:lnTo>
                <a:lnTo>
                  <a:pt x="2595" y="976"/>
                </a:lnTo>
                <a:lnTo>
                  <a:pt x="2596" y="961"/>
                </a:lnTo>
                <a:lnTo>
                  <a:pt x="2602" y="965"/>
                </a:lnTo>
                <a:lnTo>
                  <a:pt x="2604" y="974"/>
                </a:lnTo>
                <a:lnTo>
                  <a:pt x="2601" y="962"/>
                </a:lnTo>
                <a:lnTo>
                  <a:pt x="2594" y="960"/>
                </a:lnTo>
                <a:lnTo>
                  <a:pt x="2593" y="956"/>
                </a:lnTo>
                <a:lnTo>
                  <a:pt x="2594" y="958"/>
                </a:lnTo>
                <a:lnTo>
                  <a:pt x="2594" y="956"/>
                </a:lnTo>
                <a:lnTo>
                  <a:pt x="2594" y="956"/>
                </a:lnTo>
                <a:lnTo>
                  <a:pt x="2594" y="954"/>
                </a:lnTo>
                <a:lnTo>
                  <a:pt x="2594" y="956"/>
                </a:lnTo>
                <a:lnTo>
                  <a:pt x="2591" y="953"/>
                </a:lnTo>
                <a:lnTo>
                  <a:pt x="2594" y="954"/>
                </a:lnTo>
                <a:lnTo>
                  <a:pt x="2594" y="948"/>
                </a:lnTo>
                <a:lnTo>
                  <a:pt x="2585" y="945"/>
                </a:lnTo>
                <a:lnTo>
                  <a:pt x="2583" y="938"/>
                </a:lnTo>
                <a:lnTo>
                  <a:pt x="2584" y="934"/>
                </a:lnTo>
                <a:lnTo>
                  <a:pt x="2580" y="933"/>
                </a:lnTo>
                <a:lnTo>
                  <a:pt x="2583" y="933"/>
                </a:lnTo>
                <a:lnTo>
                  <a:pt x="2586" y="933"/>
                </a:lnTo>
                <a:lnTo>
                  <a:pt x="2583" y="929"/>
                </a:lnTo>
                <a:lnTo>
                  <a:pt x="2578" y="930"/>
                </a:lnTo>
                <a:lnTo>
                  <a:pt x="2574" y="927"/>
                </a:lnTo>
                <a:lnTo>
                  <a:pt x="2574" y="929"/>
                </a:lnTo>
                <a:lnTo>
                  <a:pt x="2570" y="929"/>
                </a:lnTo>
                <a:lnTo>
                  <a:pt x="2570" y="925"/>
                </a:lnTo>
                <a:lnTo>
                  <a:pt x="2566" y="925"/>
                </a:lnTo>
                <a:lnTo>
                  <a:pt x="2566" y="925"/>
                </a:lnTo>
                <a:lnTo>
                  <a:pt x="2564" y="922"/>
                </a:lnTo>
                <a:lnTo>
                  <a:pt x="2553" y="918"/>
                </a:lnTo>
                <a:lnTo>
                  <a:pt x="2546" y="920"/>
                </a:lnTo>
                <a:lnTo>
                  <a:pt x="2546" y="916"/>
                </a:lnTo>
                <a:lnTo>
                  <a:pt x="2542" y="915"/>
                </a:lnTo>
                <a:lnTo>
                  <a:pt x="2549" y="915"/>
                </a:lnTo>
                <a:lnTo>
                  <a:pt x="2548" y="913"/>
                </a:lnTo>
                <a:lnTo>
                  <a:pt x="2547" y="913"/>
                </a:lnTo>
                <a:lnTo>
                  <a:pt x="2544" y="911"/>
                </a:lnTo>
                <a:lnTo>
                  <a:pt x="2545" y="909"/>
                </a:lnTo>
                <a:lnTo>
                  <a:pt x="2542" y="907"/>
                </a:lnTo>
                <a:lnTo>
                  <a:pt x="2542" y="905"/>
                </a:lnTo>
                <a:lnTo>
                  <a:pt x="2548" y="904"/>
                </a:lnTo>
                <a:lnTo>
                  <a:pt x="2560" y="902"/>
                </a:lnTo>
                <a:lnTo>
                  <a:pt x="2561" y="900"/>
                </a:lnTo>
                <a:lnTo>
                  <a:pt x="2565" y="899"/>
                </a:lnTo>
                <a:lnTo>
                  <a:pt x="2573" y="906"/>
                </a:lnTo>
                <a:lnTo>
                  <a:pt x="2578" y="902"/>
                </a:lnTo>
                <a:lnTo>
                  <a:pt x="2582" y="905"/>
                </a:lnTo>
                <a:lnTo>
                  <a:pt x="2582" y="905"/>
                </a:lnTo>
                <a:lnTo>
                  <a:pt x="2593" y="905"/>
                </a:lnTo>
                <a:lnTo>
                  <a:pt x="2590" y="902"/>
                </a:lnTo>
                <a:lnTo>
                  <a:pt x="2588" y="891"/>
                </a:lnTo>
                <a:lnTo>
                  <a:pt x="2586" y="888"/>
                </a:lnTo>
                <a:lnTo>
                  <a:pt x="2585" y="884"/>
                </a:lnTo>
                <a:lnTo>
                  <a:pt x="2584" y="882"/>
                </a:lnTo>
                <a:lnTo>
                  <a:pt x="2595" y="884"/>
                </a:lnTo>
                <a:lnTo>
                  <a:pt x="2593" y="885"/>
                </a:lnTo>
                <a:lnTo>
                  <a:pt x="2596" y="888"/>
                </a:lnTo>
                <a:lnTo>
                  <a:pt x="2609" y="890"/>
                </a:lnTo>
                <a:lnTo>
                  <a:pt x="2619" y="887"/>
                </a:lnTo>
                <a:lnTo>
                  <a:pt x="2614" y="885"/>
                </a:lnTo>
                <a:lnTo>
                  <a:pt x="2616" y="882"/>
                </a:lnTo>
                <a:lnTo>
                  <a:pt x="2628" y="879"/>
                </a:lnTo>
                <a:lnTo>
                  <a:pt x="2632" y="873"/>
                </a:lnTo>
                <a:lnTo>
                  <a:pt x="2634" y="868"/>
                </a:lnTo>
                <a:lnTo>
                  <a:pt x="2634" y="858"/>
                </a:lnTo>
                <a:lnTo>
                  <a:pt x="2648" y="856"/>
                </a:lnTo>
                <a:lnTo>
                  <a:pt x="2650" y="857"/>
                </a:lnTo>
                <a:lnTo>
                  <a:pt x="2658" y="852"/>
                </a:lnTo>
                <a:lnTo>
                  <a:pt x="2658" y="856"/>
                </a:lnTo>
                <a:lnTo>
                  <a:pt x="2662" y="854"/>
                </a:lnTo>
                <a:lnTo>
                  <a:pt x="2665" y="856"/>
                </a:lnTo>
                <a:lnTo>
                  <a:pt x="2670" y="854"/>
                </a:lnTo>
                <a:lnTo>
                  <a:pt x="2670" y="853"/>
                </a:lnTo>
                <a:lnTo>
                  <a:pt x="2670" y="853"/>
                </a:lnTo>
                <a:lnTo>
                  <a:pt x="2666" y="851"/>
                </a:lnTo>
                <a:lnTo>
                  <a:pt x="2662" y="853"/>
                </a:lnTo>
                <a:lnTo>
                  <a:pt x="2662" y="849"/>
                </a:lnTo>
                <a:lnTo>
                  <a:pt x="2671" y="853"/>
                </a:lnTo>
                <a:lnTo>
                  <a:pt x="2673" y="853"/>
                </a:lnTo>
                <a:lnTo>
                  <a:pt x="2674" y="854"/>
                </a:lnTo>
                <a:lnTo>
                  <a:pt x="2674" y="853"/>
                </a:lnTo>
                <a:lnTo>
                  <a:pt x="2673" y="853"/>
                </a:lnTo>
                <a:lnTo>
                  <a:pt x="2672" y="852"/>
                </a:lnTo>
                <a:lnTo>
                  <a:pt x="2674" y="852"/>
                </a:lnTo>
                <a:lnTo>
                  <a:pt x="2674" y="852"/>
                </a:lnTo>
                <a:lnTo>
                  <a:pt x="2674" y="853"/>
                </a:lnTo>
                <a:lnTo>
                  <a:pt x="2675" y="853"/>
                </a:lnTo>
                <a:lnTo>
                  <a:pt x="2673" y="851"/>
                </a:lnTo>
                <a:lnTo>
                  <a:pt x="2674" y="851"/>
                </a:lnTo>
                <a:lnTo>
                  <a:pt x="2675" y="850"/>
                </a:lnTo>
                <a:lnTo>
                  <a:pt x="2672" y="849"/>
                </a:lnTo>
                <a:lnTo>
                  <a:pt x="2675" y="849"/>
                </a:lnTo>
                <a:lnTo>
                  <a:pt x="2669" y="844"/>
                </a:lnTo>
                <a:lnTo>
                  <a:pt x="2675" y="847"/>
                </a:lnTo>
                <a:lnTo>
                  <a:pt x="2671" y="844"/>
                </a:lnTo>
                <a:lnTo>
                  <a:pt x="2674" y="844"/>
                </a:lnTo>
                <a:lnTo>
                  <a:pt x="2672" y="839"/>
                </a:lnTo>
                <a:lnTo>
                  <a:pt x="2679" y="835"/>
                </a:lnTo>
                <a:lnTo>
                  <a:pt x="2682" y="828"/>
                </a:lnTo>
                <a:lnTo>
                  <a:pt x="2682" y="828"/>
                </a:lnTo>
                <a:lnTo>
                  <a:pt x="2682" y="829"/>
                </a:lnTo>
                <a:lnTo>
                  <a:pt x="2688" y="832"/>
                </a:lnTo>
                <a:lnTo>
                  <a:pt x="2690" y="832"/>
                </a:lnTo>
                <a:lnTo>
                  <a:pt x="2694" y="834"/>
                </a:lnTo>
                <a:lnTo>
                  <a:pt x="2692" y="831"/>
                </a:lnTo>
                <a:lnTo>
                  <a:pt x="2694" y="830"/>
                </a:lnTo>
                <a:lnTo>
                  <a:pt x="2698" y="828"/>
                </a:lnTo>
                <a:lnTo>
                  <a:pt x="2695" y="828"/>
                </a:lnTo>
                <a:lnTo>
                  <a:pt x="2695" y="828"/>
                </a:lnTo>
                <a:lnTo>
                  <a:pt x="2695" y="824"/>
                </a:lnTo>
                <a:lnTo>
                  <a:pt x="2696" y="823"/>
                </a:lnTo>
                <a:lnTo>
                  <a:pt x="2691" y="821"/>
                </a:lnTo>
                <a:lnTo>
                  <a:pt x="2691" y="818"/>
                </a:lnTo>
                <a:lnTo>
                  <a:pt x="2687" y="820"/>
                </a:lnTo>
                <a:lnTo>
                  <a:pt x="2698" y="814"/>
                </a:lnTo>
                <a:lnTo>
                  <a:pt x="2702" y="813"/>
                </a:lnTo>
                <a:lnTo>
                  <a:pt x="2713" y="810"/>
                </a:lnTo>
                <a:lnTo>
                  <a:pt x="2716" y="812"/>
                </a:lnTo>
                <a:lnTo>
                  <a:pt x="2719" y="808"/>
                </a:lnTo>
                <a:lnTo>
                  <a:pt x="2720" y="808"/>
                </a:lnTo>
                <a:lnTo>
                  <a:pt x="2730" y="808"/>
                </a:lnTo>
                <a:lnTo>
                  <a:pt x="2731" y="810"/>
                </a:lnTo>
                <a:lnTo>
                  <a:pt x="2731" y="808"/>
                </a:lnTo>
                <a:lnTo>
                  <a:pt x="2735" y="808"/>
                </a:lnTo>
                <a:lnTo>
                  <a:pt x="2735" y="808"/>
                </a:lnTo>
                <a:lnTo>
                  <a:pt x="2735" y="812"/>
                </a:lnTo>
                <a:lnTo>
                  <a:pt x="2738" y="809"/>
                </a:lnTo>
                <a:lnTo>
                  <a:pt x="2737" y="807"/>
                </a:lnTo>
                <a:lnTo>
                  <a:pt x="2741" y="804"/>
                </a:lnTo>
                <a:lnTo>
                  <a:pt x="2748" y="804"/>
                </a:lnTo>
                <a:lnTo>
                  <a:pt x="2753" y="808"/>
                </a:lnTo>
                <a:lnTo>
                  <a:pt x="2749" y="802"/>
                </a:lnTo>
                <a:lnTo>
                  <a:pt x="2743" y="801"/>
                </a:lnTo>
                <a:lnTo>
                  <a:pt x="2742" y="798"/>
                </a:lnTo>
                <a:lnTo>
                  <a:pt x="2745" y="797"/>
                </a:lnTo>
                <a:lnTo>
                  <a:pt x="2742" y="796"/>
                </a:lnTo>
                <a:lnTo>
                  <a:pt x="2741" y="796"/>
                </a:lnTo>
                <a:lnTo>
                  <a:pt x="2739" y="792"/>
                </a:lnTo>
                <a:lnTo>
                  <a:pt x="2745" y="789"/>
                </a:lnTo>
                <a:lnTo>
                  <a:pt x="2739" y="780"/>
                </a:lnTo>
                <a:lnTo>
                  <a:pt x="2741" y="780"/>
                </a:lnTo>
                <a:lnTo>
                  <a:pt x="2739" y="780"/>
                </a:lnTo>
                <a:lnTo>
                  <a:pt x="2739" y="778"/>
                </a:lnTo>
                <a:lnTo>
                  <a:pt x="2741" y="777"/>
                </a:lnTo>
                <a:lnTo>
                  <a:pt x="2740" y="776"/>
                </a:lnTo>
                <a:lnTo>
                  <a:pt x="2739" y="772"/>
                </a:lnTo>
                <a:lnTo>
                  <a:pt x="2739" y="772"/>
                </a:lnTo>
                <a:lnTo>
                  <a:pt x="2737" y="772"/>
                </a:lnTo>
                <a:lnTo>
                  <a:pt x="2736" y="772"/>
                </a:lnTo>
                <a:lnTo>
                  <a:pt x="2735" y="772"/>
                </a:lnTo>
                <a:lnTo>
                  <a:pt x="2737" y="772"/>
                </a:lnTo>
                <a:lnTo>
                  <a:pt x="2736" y="772"/>
                </a:lnTo>
                <a:lnTo>
                  <a:pt x="2731" y="769"/>
                </a:lnTo>
                <a:lnTo>
                  <a:pt x="2731" y="765"/>
                </a:lnTo>
                <a:lnTo>
                  <a:pt x="2731" y="763"/>
                </a:lnTo>
                <a:lnTo>
                  <a:pt x="2735" y="762"/>
                </a:lnTo>
                <a:lnTo>
                  <a:pt x="2734" y="760"/>
                </a:lnTo>
                <a:lnTo>
                  <a:pt x="2731" y="760"/>
                </a:lnTo>
                <a:lnTo>
                  <a:pt x="2731" y="745"/>
                </a:lnTo>
                <a:lnTo>
                  <a:pt x="2740" y="749"/>
                </a:lnTo>
                <a:lnTo>
                  <a:pt x="2741" y="747"/>
                </a:lnTo>
                <a:lnTo>
                  <a:pt x="2740" y="746"/>
                </a:lnTo>
                <a:lnTo>
                  <a:pt x="2743" y="743"/>
                </a:lnTo>
                <a:lnTo>
                  <a:pt x="2743" y="739"/>
                </a:lnTo>
                <a:lnTo>
                  <a:pt x="2747" y="738"/>
                </a:lnTo>
                <a:lnTo>
                  <a:pt x="2746" y="736"/>
                </a:lnTo>
                <a:lnTo>
                  <a:pt x="2749" y="736"/>
                </a:lnTo>
                <a:lnTo>
                  <a:pt x="2757" y="725"/>
                </a:lnTo>
                <a:lnTo>
                  <a:pt x="2767" y="722"/>
                </a:lnTo>
                <a:lnTo>
                  <a:pt x="2765" y="725"/>
                </a:lnTo>
                <a:lnTo>
                  <a:pt x="2766" y="733"/>
                </a:lnTo>
                <a:lnTo>
                  <a:pt x="2763" y="738"/>
                </a:lnTo>
                <a:lnTo>
                  <a:pt x="2763" y="743"/>
                </a:lnTo>
                <a:lnTo>
                  <a:pt x="2757" y="747"/>
                </a:lnTo>
                <a:lnTo>
                  <a:pt x="2764" y="745"/>
                </a:lnTo>
                <a:lnTo>
                  <a:pt x="2762" y="750"/>
                </a:lnTo>
                <a:lnTo>
                  <a:pt x="2764" y="748"/>
                </a:lnTo>
                <a:lnTo>
                  <a:pt x="2771" y="748"/>
                </a:lnTo>
                <a:lnTo>
                  <a:pt x="2773" y="750"/>
                </a:lnTo>
                <a:lnTo>
                  <a:pt x="2769" y="757"/>
                </a:lnTo>
                <a:lnTo>
                  <a:pt x="2767" y="754"/>
                </a:lnTo>
                <a:lnTo>
                  <a:pt x="2766" y="758"/>
                </a:lnTo>
                <a:lnTo>
                  <a:pt x="2762" y="754"/>
                </a:lnTo>
                <a:lnTo>
                  <a:pt x="2759" y="757"/>
                </a:lnTo>
                <a:lnTo>
                  <a:pt x="2759" y="759"/>
                </a:lnTo>
                <a:lnTo>
                  <a:pt x="2759" y="764"/>
                </a:lnTo>
                <a:lnTo>
                  <a:pt x="2755" y="764"/>
                </a:lnTo>
                <a:lnTo>
                  <a:pt x="2755" y="768"/>
                </a:lnTo>
                <a:lnTo>
                  <a:pt x="2752" y="768"/>
                </a:lnTo>
                <a:lnTo>
                  <a:pt x="2756" y="769"/>
                </a:lnTo>
                <a:lnTo>
                  <a:pt x="2753" y="769"/>
                </a:lnTo>
                <a:lnTo>
                  <a:pt x="2763" y="767"/>
                </a:lnTo>
                <a:lnTo>
                  <a:pt x="2763" y="769"/>
                </a:lnTo>
                <a:lnTo>
                  <a:pt x="2763" y="770"/>
                </a:lnTo>
                <a:lnTo>
                  <a:pt x="2765" y="769"/>
                </a:lnTo>
                <a:lnTo>
                  <a:pt x="2766" y="767"/>
                </a:lnTo>
                <a:lnTo>
                  <a:pt x="2767" y="773"/>
                </a:lnTo>
                <a:lnTo>
                  <a:pt x="2767" y="780"/>
                </a:lnTo>
                <a:lnTo>
                  <a:pt x="2767" y="780"/>
                </a:lnTo>
                <a:lnTo>
                  <a:pt x="2760" y="780"/>
                </a:lnTo>
                <a:lnTo>
                  <a:pt x="2753" y="770"/>
                </a:lnTo>
                <a:lnTo>
                  <a:pt x="2752" y="770"/>
                </a:lnTo>
                <a:lnTo>
                  <a:pt x="2753" y="776"/>
                </a:lnTo>
                <a:lnTo>
                  <a:pt x="2751" y="777"/>
                </a:lnTo>
                <a:lnTo>
                  <a:pt x="2756" y="782"/>
                </a:lnTo>
                <a:lnTo>
                  <a:pt x="2755" y="782"/>
                </a:lnTo>
                <a:lnTo>
                  <a:pt x="2759" y="784"/>
                </a:lnTo>
                <a:lnTo>
                  <a:pt x="2759" y="786"/>
                </a:lnTo>
                <a:lnTo>
                  <a:pt x="2757" y="790"/>
                </a:lnTo>
                <a:lnTo>
                  <a:pt x="2761" y="790"/>
                </a:lnTo>
                <a:lnTo>
                  <a:pt x="2768" y="792"/>
                </a:lnTo>
                <a:lnTo>
                  <a:pt x="2775" y="792"/>
                </a:lnTo>
                <a:lnTo>
                  <a:pt x="2775" y="795"/>
                </a:lnTo>
                <a:lnTo>
                  <a:pt x="2770" y="800"/>
                </a:lnTo>
                <a:lnTo>
                  <a:pt x="2771" y="800"/>
                </a:lnTo>
                <a:lnTo>
                  <a:pt x="2770" y="803"/>
                </a:lnTo>
                <a:lnTo>
                  <a:pt x="2775" y="798"/>
                </a:lnTo>
                <a:lnTo>
                  <a:pt x="2780" y="801"/>
                </a:lnTo>
                <a:lnTo>
                  <a:pt x="2783" y="796"/>
                </a:lnTo>
                <a:lnTo>
                  <a:pt x="2789" y="796"/>
                </a:lnTo>
                <a:lnTo>
                  <a:pt x="2793" y="793"/>
                </a:lnTo>
                <a:lnTo>
                  <a:pt x="2793" y="794"/>
                </a:lnTo>
                <a:lnTo>
                  <a:pt x="2795" y="792"/>
                </a:lnTo>
                <a:lnTo>
                  <a:pt x="2795" y="792"/>
                </a:lnTo>
                <a:lnTo>
                  <a:pt x="2796" y="791"/>
                </a:lnTo>
                <a:lnTo>
                  <a:pt x="2796" y="791"/>
                </a:lnTo>
                <a:lnTo>
                  <a:pt x="2802" y="790"/>
                </a:lnTo>
                <a:lnTo>
                  <a:pt x="2807" y="796"/>
                </a:lnTo>
                <a:lnTo>
                  <a:pt x="2807" y="796"/>
                </a:lnTo>
                <a:lnTo>
                  <a:pt x="2807" y="796"/>
                </a:lnTo>
                <a:lnTo>
                  <a:pt x="2808" y="797"/>
                </a:lnTo>
                <a:lnTo>
                  <a:pt x="2812" y="795"/>
                </a:lnTo>
                <a:lnTo>
                  <a:pt x="2815" y="801"/>
                </a:lnTo>
                <a:lnTo>
                  <a:pt x="2815" y="802"/>
                </a:lnTo>
                <a:lnTo>
                  <a:pt x="2819" y="805"/>
                </a:lnTo>
                <a:lnTo>
                  <a:pt x="2819" y="812"/>
                </a:lnTo>
                <a:lnTo>
                  <a:pt x="2819" y="817"/>
                </a:lnTo>
                <a:lnTo>
                  <a:pt x="2815" y="820"/>
                </a:lnTo>
                <a:lnTo>
                  <a:pt x="2815" y="822"/>
                </a:lnTo>
                <a:lnTo>
                  <a:pt x="2824" y="828"/>
                </a:lnTo>
                <a:lnTo>
                  <a:pt x="2824" y="832"/>
                </a:lnTo>
                <a:lnTo>
                  <a:pt x="2824" y="832"/>
                </a:lnTo>
                <a:lnTo>
                  <a:pt x="2826" y="829"/>
                </a:lnTo>
                <a:lnTo>
                  <a:pt x="2819" y="822"/>
                </a:lnTo>
                <a:lnTo>
                  <a:pt x="2819" y="821"/>
                </a:lnTo>
                <a:lnTo>
                  <a:pt x="2823" y="818"/>
                </a:lnTo>
                <a:lnTo>
                  <a:pt x="2823" y="813"/>
                </a:lnTo>
                <a:lnTo>
                  <a:pt x="2822" y="808"/>
                </a:lnTo>
                <a:lnTo>
                  <a:pt x="2824" y="808"/>
                </a:lnTo>
                <a:lnTo>
                  <a:pt x="2826" y="805"/>
                </a:lnTo>
                <a:lnTo>
                  <a:pt x="2819" y="803"/>
                </a:lnTo>
                <a:lnTo>
                  <a:pt x="2819" y="802"/>
                </a:lnTo>
                <a:lnTo>
                  <a:pt x="2848" y="794"/>
                </a:lnTo>
                <a:lnTo>
                  <a:pt x="2854" y="788"/>
                </a:lnTo>
                <a:lnTo>
                  <a:pt x="2875" y="784"/>
                </a:lnTo>
                <a:lnTo>
                  <a:pt x="2881" y="784"/>
                </a:lnTo>
                <a:lnTo>
                  <a:pt x="2885" y="787"/>
                </a:lnTo>
                <a:lnTo>
                  <a:pt x="2881" y="785"/>
                </a:lnTo>
                <a:lnTo>
                  <a:pt x="2883" y="791"/>
                </a:lnTo>
                <a:lnTo>
                  <a:pt x="2887" y="792"/>
                </a:lnTo>
                <a:lnTo>
                  <a:pt x="2898" y="791"/>
                </a:lnTo>
                <a:lnTo>
                  <a:pt x="2896" y="790"/>
                </a:lnTo>
                <a:lnTo>
                  <a:pt x="2900" y="786"/>
                </a:lnTo>
                <a:lnTo>
                  <a:pt x="2898" y="792"/>
                </a:lnTo>
                <a:lnTo>
                  <a:pt x="2899" y="792"/>
                </a:lnTo>
                <a:lnTo>
                  <a:pt x="2900" y="792"/>
                </a:lnTo>
                <a:lnTo>
                  <a:pt x="2899" y="792"/>
                </a:lnTo>
                <a:lnTo>
                  <a:pt x="2909" y="788"/>
                </a:lnTo>
                <a:lnTo>
                  <a:pt x="2904" y="788"/>
                </a:lnTo>
                <a:lnTo>
                  <a:pt x="2902" y="785"/>
                </a:lnTo>
                <a:lnTo>
                  <a:pt x="2900" y="786"/>
                </a:lnTo>
                <a:lnTo>
                  <a:pt x="2902" y="780"/>
                </a:lnTo>
                <a:lnTo>
                  <a:pt x="2909" y="780"/>
                </a:lnTo>
                <a:lnTo>
                  <a:pt x="2915" y="776"/>
                </a:lnTo>
                <a:lnTo>
                  <a:pt x="2918" y="776"/>
                </a:lnTo>
                <a:lnTo>
                  <a:pt x="2911" y="780"/>
                </a:lnTo>
                <a:lnTo>
                  <a:pt x="2919" y="780"/>
                </a:lnTo>
                <a:lnTo>
                  <a:pt x="2919" y="776"/>
                </a:lnTo>
                <a:lnTo>
                  <a:pt x="2919" y="774"/>
                </a:lnTo>
                <a:lnTo>
                  <a:pt x="2919" y="771"/>
                </a:lnTo>
                <a:lnTo>
                  <a:pt x="2919" y="768"/>
                </a:lnTo>
                <a:lnTo>
                  <a:pt x="2915" y="763"/>
                </a:lnTo>
                <a:lnTo>
                  <a:pt x="2915" y="760"/>
                </a:lnTo>
                <a:lnTo>
                  <a:pt x="2920" y="760"/>
                </a:lnTo>
                <a:lnTo>
                  <a:pt x="2921" y="756"/>
                </a:lnTo>
                <a:lnTo>
                  <a:pt x="2921" y="756"/>
                </a:lnTo>
                <a:lnTo>
                  <a:pt x="2919" y="756"/>
                </a:lnTo>
                <a:lnTo>
                  <a:pt x="2919" y="746"/>
                </a:lnTo>
                <a:lnTo>
                  <a:pt x="2919" y="742"/>
                </a:lnTo>
                <a:lnTo>
                  <a:pt x="2920" y="744"/>
                </a:lnTo>
                <a:lnTo>
                  <a:pt x="2920" y="737"/>
                </a:lnTo>
                <a:lnTo>
                  <a:pt x="2924" y="734"/>
                </a:lnTo>
                <a:lnTo>
                  <a:pt x="2925" y="727"/>
                </a:lnTo>
                <a:lnTo>
                  <a:pt x="2931" y="723"/>
                </a:lnTo>
                <a:lnTo>
                  <a:pt x="2944" y="718"/>
                </a:lnTo>
                <a:lnTo>
                  <a:pt x="2944" y="720"/>
                </a:lnTo>
                <a:lnTo>
                  <a:pt x="2951" y="725"/>
                </a:lnTo>
                <a:lnTo>
                  <a:pt x="2952" y="731"/>
                </a:lnTo>
                <a:lnTo>
                  <a:pt x="2960" y="734"/>
                </a:lnTo>
                <a:lnTo>
                  <a:pt x="2970" y="729"/>
                </a:lnTo>
                <a:lnTo>
                  <a:pt x="2969" y="716"/>
                </a:lnTo>
                <a:lnTo>
                  <a:pt x="2978" y="712"/>
                </a:lnTo>
                <a:lnTo>
                  <a:pt x="2978" y="711"/>
                </a:lnTo>
                <a:lnTo>
                  <a:pt x="2967" y="715"/>
                </a:lnTo>
                <a:lnTo>
                  <a:pt x="2969" y="706"/>
                </a:lnTo>
                <a:lnTo>
                  <a:pt x="2967" y="705"/>
                </a:lnTo>
                <a:lnTo>
                  <a:pt x="2963" y="707"/>
                </a:lnTo>
                <a:lnTo>
                  <a:pt x="2958" y="705"/>
                </a:lnTo>
                <a:lnTo>
                  <a:pt x="2956" y="700"/>
                </a:lnTo>
                <a:lnTo>
                  <a:pt x="2956" y="698"/>
                </a:lnTo>
                <a:lnTo>
                  <a:pt x="2959" y="697"/>
                </a:lnTo>
                <a:lnTo>
                  <a:pt x="2952" y="696"/>
                </a:lnTo>
                <a:lnTo>
                  <a:pt x="2952" y="693"/>
                </a:lnTo>
                <a:lnTo>
                  <a:pt x="2956" y="692"/>
                </a:lnTo>
                <a:lnTo>
                  <a:pt x="2952" y="690"/>
                </a:lnTo>
                <a:lnTo>
                  <a:pt x="2952" y="687"/>
                </a:lnTo>
                <a:lnTo>
                  <a:pt x="2960" y="686"/>
                </a:lnTo>
                <a:lnTo>
                  <a:pt x="2963" y="683"/>
                </a:lnTo>
                <a:lnTo>
                  <a:pt x="2964" y="684"/>
                </a:lnTo>
                <a:lnTo>
                  <a:pt x="2965" y="681"/>
                </a:lnTo>
                <a:lnTo>
                  <a:pt x="2968" y="683"/>
                </a:lnTo>
                <a:lnTo>
                  <a:pt x="2968" y="679"/>
                </a:lnTo>
                <a:lnTo>
                  <a:pt x="2979" y="681"/>
                </a:lnTo>
                <a:lnTo>
                  <a:pt x="2983" y="678"/>
                </a:lnTo>
                <a:lnTo>
                  <a:pt x="2985" y="679"/>
                </a:lnTo>
                <a:lnTo>
                  <a:pt x="2986" y="679"/>
                </a:lnTo>
                <a:lnTo>
                  <a:pt x="2986" y="678"/>
                </a:lnTo>
                <a:lnTo>
                  <a:pt x="2995" y="681"/>
                </a:lnTo>
                <a:lnTo>
                  <a:pt x="3003" y="684"/>
                </a:lnTo>
                <a:lnTo>
                  <a:pt x="3015" y="684"/>
                </a:lnTo>
                <a:lnTo>
                  <a:pt x="3017" y="681"/>
                </a:lnTo>
                <a:lnTo>
                  <a:pt x="3016" y="682"/>
                </a:lnTo>
                <a:lnTo>
                  <a:pt x="3016" y="680"/>
                </a:lnTo>
                <a:lnTo>
                  <a:pt x="3017" y="678"/>
                </a:lnTo>
                <a:lnTo>
                  <a:pt x="3018" y="677"/>
                </a:lnTo>
                <a:lnTo>
                  <a:pt x="3019" y="677"/>
                </a:lnTo>
                <a:lnTo>
                  <a:pt x="3019" y="676"/>
                </a:lnTo>
                <a:lnTo>
                  <a:pt x="3022" y="677"/>
                </a:lnTo>
                <a:lnTo>
                  <a:pt x="3024" y="679"/>
                </a:lnTo>
                <a:lnTo>
                  <a:pt x="3026" y="673"/>
                </a:lnTo>
                <a:lnTo>
                  <a:pt x="3031" y="676"/>
                </a:lnTo>
                <a:lnTo>
                  <a:pt x="3035" y="671"/>
                </a:lnTo>
                <a:lnTo>
                  <a:pt x="3049" y="673"/>
                </a:lnTo>
                <a:lnTo>
                  <a:pt x="3051" y="672"/>
                </a:lnTo>
                <a:lnTo>
                  <a:pt x="3044" y="671"/>
                </a:lnTo>
                <a:lnTo>
                  <a:pt x="3044" y="668"/>
                </a:lnTo>
                <a:lnTo>
                  <a:pt x="3034" y="668"/>
                </a:lnTo>
                <a:lnTo>
                  <a:pt x="3029" y="665"/>
                </a:lnTo>
                <a:lnTo>
                  <a:pt x="3030" y="668"/>
                </a:lnTo>
                <a:lnTo>
                  <a:pt x="3024" y="668"/>
                </a:lnTo>
                <a:lnTo>
                  <a:pt x="3024" y="662"/>
                </a:lnTo>
                <a:lnTo>
                  <a:pt x="3025" y="662"/>
                </a:lnTo>
                <a:lnTo>
                  <a:pt x="3026" y="661"/>
                </a:lnTo>
                <a:lnTo>
                  <a:pt x="3025" y="660"/>
                </a:lnTo>
                <a:lnTo>
                  <a:pt x="3028" y="661"/>
                </a:lnTo>
                <a:lnTo>
                  <a:pt x="3028" y="657"/>
                </a:lnTo>
                <a:lnTo>
                  <a:pt x="3028" y="654"/>
                </a:lnTo>
                <a:lnTo>
                  <a:pt x="3021" y="660"/>
                </a:lnTo>
                <a:lnTo>
                  <a:pt x="3019" y="660"/>
                </a:lnTo>
                <a:lnTo>
                  <a:pt x="3017" y="662"/>
                </a:lnTo>
                <a:lnTo>
                  <a:pt x="3012" y="663"/>
                </a:lnTo>
                <a:lnTo>
                  <a:pt x="3008" y="661"/>
                </a:lnTo>
                <a:lnTo>
                  <a:pt x="3004" y="664"/>
                </a:lnTo>
                <a:lnTo>
                  <a:pt x="2998" y="664"/>
                </a:lnTo>
                <a:lnTo>
                  <a:pt x="2995" y="665"/>
                </a:lnTo>
                <a:lnTo>
                  <a:pt x="2988" y="663"/>
                </a:lnTo>
                <a:lnTo>
                  <a:pt x="2988" y="666"/>
                </a:lnTo>
                <a:lnTo>
                  <a:pt x="2990" y="668"/>
                </a:lnTo>
                <a:lnTo>
                  <a:pt x="2987" y="667"/>
                </a:lnTo>
                <a:lnTo>
                  <a:pt x="2989" y="668"/>
                </a:lnTo>
                <a:lnTo>
                  <a:pt x="2987" y="668"/>
                </a:lnTo>
                <a:lnTo>
                  <a:pt x="2986" y="665"/>
                </a:lnTo>
                <a:lnTo>
                  <a:pt x="2984" y="668"/>
                </a:lnTo>
                <a:lnTo>
                  <a:pt x="2972" y="671"/>
                </a:lnTo>
                <a:lnTo>
                  <a:pt x="2970" y="673"/>
                </a:lnTo>
                <a:lnTo>
                  <a:pt x="2967" y="671"/>
                </a:lnTo>
                <a:lnTo>
                  <a:pt x="2954" y="674"/>
                </a:lnTo>
                <a:lnTo>
                  <a:pt x="2955" y="673"/>
                </a:lnTo>
                <a:lnTo>
                  <a:pt x="2956" y="671"/>
                </a:lnTo>
                <a:lnTo>
                  <a:pt x="2951" y="675"/>
                </a:lnTo>
                <a:lnTo>
                  <a:pt x="2950" y="676"/>
                </a:lnTo>
                <a:lnTo>
                  <a:pt x="2951" y="676"/>
                </a:lnTo>
                <a:lnTo>
                  <a:pt x="2950" y="676"/>
                </a:lnTo>
                <a:lnTo>
                  <a:pt x="2950" y="676"/>
                </a:lnTo>
                <a:lnTo>
                  <a:pt x="2946" y="678"/>
                </a:lnTo>
                <a:lnTo>
                  <a:pt x="2949" y="675"/>
                </a:lnTo>
                <a:lnTo>
                  <a:pt x="2949" y="675"/>
                </a:lnTo>
                <a:lnTo>
                  <a:pt x="2949" y="675"/>
                </a:lnTo>
                <a:lnTo>
                  <a:pt x="2952" y="673"/>
                </a:lnTo>
                <a:lnTo>
                  <a:pt x="2950" y="674"/>
                </a:lnTo>
                <a:lnTo>
                  <a:pt x="2949" y="674"/>
                </a:lnTo>
                <a:lnTo>
                  <a:pt x="2948" y="673"/>
                </a:lnTo>
                <a:lnTo>
                  <a:pt x="2946" y="670"/>
                </a:lnTo>
                <a:lnTo>
                  <a:pt x="2950" y="667"/>
                </a:lnTo>
                <a:lnTo>
                  <a:pt x="2942" y="668"/>
                </a:lnTo>
                <a:lnTo>
                  <a:pt x="2944" y="668"/>
                </a:lnTo>
                <a:lnTo>
                  <a:pt x="2944" y="669"/>
                </a:lnTo>
                <a:lnTo>
                  <a:pt x="2944" y="671"/>
                </a:lnTo>
                <a:lnTo>
                  <a:pt x="2942" y="676"/>
                </a:lnTo>
                <a:lnTo>
                  <a:pt x="2939" y="676"/>
                </a:lnTo>
                <a:lnTo>
                  <a:pt x="2939" y="672"/>
                </a:lnTo>
                <a:lnTo>
                  <a:pt x="2939" y="672"/>
                </a:lnTo>
                <a:lnTo>
                  <a:pt x="2939" y="673"/>
                </a:lnTo>
                <a:lnTo>
                  <a:pt x="2939" y="672"/>
                </a:lnTo>
                <a:lnTo>
                  <a:pt x="2939" y="672"/>
                </a:lnTo>
                <a:lnTo>
                  <a:pt x="2939" y="668"/>
                </a:lnTo>
                <a:lnTo>
                  <a:pt x="2942" y="665"/>
                </a:lnTo>
                <a:lnTo>
                  <a:pt x="2931" y="663"/>
                </a:lnTo>
                <a:lnTo>
                  <a:pt x="2931" y="663"/>
                </a:lnTo>
                <a:lnTo>
                  <a:pt x="2927" y="663"/>
                </a:lnTo>
                <a:lnTo>
                  <a:pt x="2927" y="660"/>
                </a:lnTo>
                <a:lnTo>
                  <a:pt x="2925" y="662"/>
                </a:lnTo>
                <a:lnTo>
                  <a:pt x="2923" y="658"/>
                </a:lnTo>
                <a:lnTo>
                  <a:pt x="2923" y="652"/>
                </a:lnTo>
                <a:lnTo>
                  <a:pt x="2927" y="644"/>
                </a:lnTo>
                <a:lnTo>
                  <a:pt x="2925" y="640"/>
                </a:lnTo>
                <a:lnTo>
                  <a:pt x="2928" y="640"/>
                </a:lnTo>
                <a:lnTo>
                  <a:pt x="2922" y="629"/>
                </a:lnTo>
                <a:lnTo>
                  <a:pt x="2923" y="624"/>
                </a:lnTo>
                <a:lnTo>
                  <a:pt x="2923" y="621"/>
                </a:lnTo>
                <a:lnTo>
                  <a:pt x="2919" y="617"/>
                </a:lnTo>
                <a:lnTo>
                  <a:pt x="2919" y="613"/>
                </a:lnTo>
                <a:lnTo>
                  <a:pt x="2919" y="610"/>
                </a:lnTo>
                <a:lnTo>
                  <a:pt x="2923" y="608"/>
                </a:lnTo>
                <a:lnTo>
                  <a:pt x="2925" y="608"/>
                </a:lnTo>
                <a:lnTo>
                  <a:pt x="2928" y="608"/>
                </a:lnTo>
                <a:lnTo>
                  <a:pt x="2925" y="599"/>
                </a:lnTo>
                <a:lnTo>
                  <a:pt x="2932" y="599"/>
                </a:lnTo>
                <a:lnTo>
                  <a:pt x="2932" y="600"/>
                </a:lnTo>
                <a:lnTo>
                  <a:pt x="2935" y="598"/>
                </a:lnTo>
                <a:lnTo>
                  <a:pt x="2935" y="598"/>
                </a:lnTo>
                <a:lnTo>
                  <a:pt x="2934" y="595"/>
                </a:lnTo>
                <a:lnTo>
                  <a:pt x="2935" y="595"/>
                </a:lnTo>
                <a:lnTo>
                  <a:pt x="2935" y="595"/>
                </a:lnTo>
                <a:lnTo>
                  <a:pt x="2934" y="592"/>
                </a:lnTo>
                <a:lnTo>
                  <a:pt x="2937" y="592"/>
                </a:lnTo>
                <a:lnTo>
                  <a:pt x="2939" y="593"/>
                </a:lnTo>
                <a:lnTo>
                  <a:pt x="2942" y="587"/>
                </a:lnTo>
                <a:lnTo>
                  <a:pt x="2945" y="589"/>
                </a:lnTo>
                <a:lnTo>
                  <a:pt x="2946" y="585"/>
                </a:lnTo>
                <a:lnTo>
                  <a:pt x="2953" y="583"/>
                </a:lnTo>
                <a:lnTo>
                  <a:pt x="2954" y="579"/>
                </a:lnTo>
                <a:lnTo>
                  <a:pt x="2958" y="579"/>
                </a:lnTo>
                <a:lnTo>
                  <a:pt x="2962" y="571"/>
                </a:lnTo>
                <a:lnTo>
                  <a:pt x="2967" y="567"/>
                </a:lnTo>
                <a:lnTo>
                  <a:pt x="2970" y="560"/>
                </a:lnTo>
                <a:lnTo>
                  <a:pt x="2978" y="559"/>
                </a:lnTo>
                <a:lnTo>
                  <a:pt x="2980" y="560"/>
                </a:lnTo>
                <a:lnTo>
                  <a:pt x="2982" y="559"/>
                </a:lnTo>
                <a:lnTo>
                  <a:pt x="2979" y="559"/>
                </a:lnTo>
                <a:lnTo>
                  <a:pt x="2982" y="559"/>
                </a:lnTo>
                <a:lnTo>
                  <a:pt x="2980" y="553"/>
                </a:lnTo>
                <a:lnTo>
                  <a:pt x="2982" y="546"/>
                </a:lnTo>
                <a:lnTo>
                  <a:pt x="2980" y="544"/>
                </a:lnTo>
                <a:lnTo>
                  <a:pt x="2972" y="541"/>
                </a:lnTo>
                <a:lnTo>
                  <a:pt x="2970" y="537"/>
                </a:lnTo>
                <a:lnTo>
                  <a:pt x="2972" y="535"/>
                </a:lnTo>
                <a:lnTo>
                  <a:pt x="2968" y="537"/>
                </a:lnTo>
                <a:lnTo>
                  <a:pt x="2965" y="536"/>
                </a:lnTo>
                <a:lnTo>
                  <a:pt x="2964" y="532"/>
                </a:lnTo>
                <a:lnTo>
                  <a:pt x="2958" y="533"/>
                </a:lnTo>
                <a:lnTo>
                  <a:pt x="2950" y="533"/>
                </a:lnTo>
                <a:lnTo>
                  <a:pt x="2947" y="536"/>
                </a:lnTo>
                <a:lnTo>
                  <a:pt x="2939" y="531"/>
                </a:lnTo>
                <a:lnTo>
                  <a:pt x="2939" y="533"/>
                </a:lnTo>
                <a:lnTo>
                  <a:pt x="2939" y="535"/>
                </a:lnTo>
                <a:lnTo>
                  <a:pt x="2938" y="535"/>
                </a:lnTo>
                <a:lnTo>
                  <a:pt x="2935" y="539"/>
                </a:lnTo>
                <a:lnTo>
                  <a:pt x="2928" y="536"/>
                </a:lnTo>
                <a:lnTo>
                  <a:pt x="2935" y="539"/>
                </a:lnTo>
                <a:lnTo>
                  <a:pt x="2931" y="542"/>
                </a:lnTo>
                <a:lnTo>
                  <a:pt x="2933" y="544"/>
                </a:lnTo>
                <a:lnTo>
                  <a:pt x="2931" y="547"/>
                </a:lnTo>
                <a:lnTo>
                  <a:pt x="2927" y="547"/>
                </a:lnTo>
                <a:lnTo>
                  <a:pt x="2927" y="547"/>
                </a:lnTo>
                <a:lnTo>
                  <a:pt x="2926" y="547"/>
                </a:lnTo>
                <a:lnTo>
                  <a:pt x="2925" y="547"/>
                </a:lnTo>
                <a:lnTo>
                  <a:pt x="2926" y="548"/>
                </a:lnTo>
                <a:lnTo>
                  <a:pt x="2924" y="552"/>
                </a:lnTo>
                <a:lnTo>
                  <a:pt x="2919" y="554"/>
                </a:lnTo>
                <a:lnTo>
                  <a:pt x="2919" y="559"/>
                </a:lnTo>
                <a:lnTo>
                  <a:pt x="2923" y="559"/>
                </a:lnTo>
                <a:lnTo>
                  <a:pt x="2923" y="563"/>
                </a:lnTo>
                <a:lnTo>
                  <a:pt x="2920" y="563"/>
                </a:lnTo>
                <a:lnTo>
                  <a:pt x="2923" y="564"/>
                </a:lnTo>
                <a:lnTo>
                  <a:pt x="2923" y="567"/>
                </a:lnTo>
                <a:lnTo>
                  <a:pt x="2917" y="574"/>
                </a:lnTo>
                <a:lnTo>
                  <a:pt x="2916" y="580"/>
                </a:lnTo>
                <a:lnTo>
                  <a:pt x="2911" y="582"/>
                </a:lnTo>
                <a:lnTo>
                  <a:pt x="2909" y="586"/>
                </a:lnTo>
                <a:lnTo>
                  <a:pt x="2902" y="586"/>
                </a:lnTo>
                <a:lnTo>
                  <a:pt x="2899" y="590"/>
                </a:lnTo>
                <a:lnTo>
                  <a:pt x="2895" y="589"/>
                </a:lnTo>
                <a:lnTo>
                  <a:pt x="2895" y="591"/>
                </a:lnTo>
                <a:lnTo>
                  <a:pt x="2891" y="591"/>
                </a:lnTo>
                <a:lnTo>
                  <a:pt x="2891" y="594"/>
                </a:lnTo>
                <a:lnTo>
                  <a:pt x="2887" y="595"/>
                </a:lnTo>
                <a:lnTo>
                  <a:pt x="2887" y="597"/>
                </a:lnTo>
                <a:lnTo>
                  <a:pt x="2888" y="599"/>
                </a:lnTo>
                <a:lnTo>
                  <a:pt x="2886" y="599"/>
                </a:lnTo>
                <a:lnTo>
                  <a:pt x="2885" y="599"/>
                </a:lnTo>
                <a:lnTo>
                  <a:pt x="2879" y="603"/>
                </a:lnTo>
                <a:lnTo>
                  <a:pt x="2883" y="603"/>
                </a:lnTo>
                <a:lnTo>
                  <a:pt x="2879" y="608"/>
                </a:lnTo>
                <a:lnTo>
                  <a:pt x="2875" y="607"/>
                </a:lnTo>
                <a:lnTo>
                  <a:pt x="2876" y="608"/>
                </a:lnTo>
                <a:lnTo>
                  <a:pt x="2877" y="608"/>
                </a:lnTo>
                <a:lnTo>
                  <a:pt x="2876" y="612"/>
                </a:lnTo>
                <a:lnTo>
                  <a:pt x="2875" y="612"/>
                </a:lnTo>
                <a:lnTo>
                  <a:pt x="2875" y="613"/>
                </a:lnTo>
                <a:lnTo>
                  <a:pt x="2870" y="614"/>
                </a:lnTo>
                <a:lnTo>
                  <a:pt x="2863" y="613"/>
                </a:lnTo>
                <a:lnTo>
                  <a:pt x="2863" y="614"/>
                </a:lnTo>
                <a:lnTo>
                  <a:pt x="2863" y="618"/>
                </a:lnTo>
                <a:lnTo>
                  <a:pt x="2871" y="620"/>
                </a:lnTo>
                <a:lnTo>
                  <a:pt x="2867" y="620"/>
                </a:lnTo>
                <a:lnTo>
                  <a:pt x="2867" y="628"/>
                </a:lnTo>
                <a:lnTo>
                  <a:pt x="2863" y="628"/>
                </a:lnTo>
                <a:lnTo>
                  <a:pt x="2863" y="629"/>
                </a:lnTo>
                <a:lnTo>
                  <a:pt x="2867" y="633"/>
                </a:lnTo>
                <a:lnTo>
                  <a:pt x="2867" y="634"/>
                </a:lnTo>
                <a:lnTo>
                  <a:pt x="2863" y="633"/>
                </a:lnTo>
                <a:lnTo>
                  <a:pt x="2862" y="634"/>
                </a:lnTo>
                <a:lnTo>
                  <a:pt x="2864" y="638"/>
                </a:lnTo>
                <a:lnTo>
                  <a:pt x="2861" y="639"/>
                </a:lnTo>
                <a:lnTo>
                  <a:pt x="2864" y="641"/>
                </a:lnTo>
                <a:lnTo>
                  <a:pt x="2863" y="649"/>
                </a:lnTo>
                <a:lnTo>
                  <a:pt x="2863" y="652"/>
                </a:lnTo>
                <a:lnTo>
                  <a:pt x="2863" y="656"/>
                </a:lnTo>
                <a:lnTo>
                  <a:pt x="2868" y="657"/>
                </a:lnTo>
                <a:lnTo>
                  <a:pt x="2871" y="661"/>
                </a:lnTo>
                <a:lnTo>
                  <a:pt x="2875" y="659"/>
                </a:lnTo>
                <a:lnTo>
                  <a:pt x="2879" y="668"/>
                </a:lnTo>
                <a:lnTo>
                  <a:pt x="2879" y="668"/>
                </a:lnTo>
                <a:lnTo>
                  <a:pt x="2879" y="667"/>
                </a:lnTo>
                <a:lnTo>
                  <a:pt x="2885" y="668"/>
                </a:lnTo>
                <a:lnTo>
                  <a:pt x="2887" y="672"/>
                </a:lnTo>
                <a:lnTo>
                  <a:pt x="2887" y="673"/>
                </a:lnTo>
                <a:lnTo>
                  <a:pt x="2887" y="676"/>
                </a:lnTo>
                <a:lnTo>
                  <a:pt x="2887" y="673"/>
                </a:lnTo>
                <a:lnTo>
                  <a:pt x="2886" y="676"/>
                </a:lnTo>
                <a:lnTo>
                  <a:pt x="2890" y="677"/>
                </a:lnTo>
                <a:lnTo>
                  <a:pt x="2879" y="683"/>
                </a:lnTo>
                <a:lnTo>
                  <a:pt x="2879" y="684"/>
                </a:lnTo>
                <a:lnTo>
                  <a:pt x="2882" y="685"/>
                </a:lnTo>
                <a:lnTo>
                  <a:pt x="2879" y="686"/>
                </a:lnTo>
                <a:lnTo>
                  <a:pt x="2879" y="684"/>
                </a:lnTo>
                <a:lnTo>
                  <a:pt x="2877" y="684"/>
                </a:lnTo>
                <a:lnTo>
                  <a:pt x="2875" y="685"/>
                </a:lnTo>
                <a:lnTo>
                  <a:pt x="2871" y="684"/>
                </a:lnTo>
                <a:lnTo>
                  <a:pt x="2871" y="683"/>
                </a:lnTo>
                <a:lnTo>
                  <a:pt x="2871" y="682"/>
                </a:lnTo>
                <a:lnTo>
                  <a:pt x="2870" y="684"/>
                </a:lnTo>
                <a:lnTo>
                  <a:pt x="2868" y="683"/>
                </a:lnTo>
                <a:lnTo>
                  <a:pt x="2863" y="679"/>
                </a:lnTo>
                <a:lnTo>
                  <a:pt x="2863" y="683"/>
                </a:lnTo>
                <a:lnTo>
                  <a:pt x="2851" y="681"/>
                </a:lnTo>
                <a:lnTo>
                  <a:pt x="2851" y="684"/>
                </a:lnTo>
                <a:lnTo>
                  <a:pt x="2857" y="684"/>
                </a:lnTo>
                <a:lnTo>
                  <a:pt x="2858" y="684"/>
                </a:lnTo>
                <a:lnTo>
                  <a:pt x="2863" y="685"/>
                </a:lnTo>
                <a:lnTo>
                  <a:pt x="2868" y="686"/>
                </a:lnTo>
                <a:lnTo>
                  <a:pt x="2868" y="684"/>
                </a:lnTo>
                <a:lnTo>
                  <a:pt x="2872" y="689"/>
                </a:lnTo>
                <a:lnTo>
                  <a:pt x="2875" y="689"/>
                </a:lnTo>
                <a:lnTo>
                  <a:pt x="2875" y="691"/>
                </a:lnTo>
                <a:lnTo>
                  <a:pt x="2874" y="692"/>
                </a:lnTo>
                <a:lnTo>
                  <a:pt x="2875" y="698"/>
                </a:lnTo>
                <a:lnTo>
                  <a:pt x="2871" y="689"/>
                </a:lnTo>
                <a:lnTo>
                  <a:pt x="2869" y="696"/>
                </a:lnTo>
                <a:lnTo>
                  <a:pt x="2865" y="700"/>
                </a:lnTo>
                <a:lnTo>
                  <a:pt x="2862" y="700"/>
                </a:lnTo>
                <a:lnTo>
                  <a:pt x="2863" y="701"/>
                </a:lnTo>
                <a:lnTo>
                  <a:pt x="2860" y="704"/>
                </a:lnTo>
                <a:lnTo>
                  <a:pt x="2855" y="704"/>
                </a:lnTo>
                <a:lnTo>
                  <a:pt x="2860" y="708"/>
                </a:lnTo>
                <a:lnTo>
                  <a:pt x="2852" y="708"/>
                </a:lnTo>
                <a:lnTo>
                  <a:pt x="2857" y="709"/>
                </a:lnTo>
                <a:lnTo>
                  <a:pt x="2858" y="711"/>
                </a:lnTo>
                <a:lnTo>
                  <a:pt x="2857" y="716"/>
                </a:lnTo>
                <a:lnTo>
                  <a:pt x="2855" y="716"/>
                </a:lnTo>
                <a:lnTo>
                  <a:pt x="2857" y="719"/>
                </a:lnTo>
                <a:lnTo>
                  <a:pt x="2853" y="715"/>
                </a:lnTo>
                <a:lnTo>
                  <a:pt x="2857" y="721"/>
                </a:lnTo>
                <a:lnTo>
                  <a:pt x="2852" y="718"/>
                </a:lnTo>
                <a:lnTo>
                  <a:pt x="2857" y="722"/>
                </a:lnTo>
                <a:lnTo>
                  <a:pt x="2854" y="724"/>
                </a:lnTo>
                <a:lnTo>
                  <a:pt x="2856" y="726"/>
                </a:lnTo>
                <a:lnTo>
                  <a:pt x="2851" y="730"/>
                </a:lnTo>
                <a:lnTo>
                  <a:pt x="2851" y="734"/>
                </a:lnTo>
                <a:lnTo>
                  <a:pt x="2854" y="735"/>
                </a:lnTo>
                <a:lnTo>
                  <a:pt x="2853" y="737"/>
                </a:lnTo>
                <a:lnTo>
                  <a:pt x="2852" y="744"/>
                </a:lnTo>
                <a:lnTo>
                  <a:pt x="2844" y="757"/>
                </a:lnTo>
                <a:lnTo>
                  <a:pt x="2842" y="756"/>
                </a:lnTo>
                <a:lnTo>
                  <a:pt x="2827" y="756"/>
                </a:lnTo>
                <a:lnTo>
                  <a:pt x="2827" y="758"/>
                </a:lnTo>
                <a:lnTo>
                  <a:pt x="2823" y="757"/>
                </a:lnTo>
                <a:lnTo>
                  <a:pt x="2819" y="762"/>
                </a:lnTo>
                <a:lnTo>
                  <a:pt x="2819" y="764"/>
                </a:lnTo>
                <a:lnTo>
                  <a:pt x="2823" y="769"/>
                </a:lnTo>
                <a:lnTo>
                  <a:pt x="2821" y="773"/>
                </a:lnTo>
                <a:lnTo>
                  <a:pt x="2814" y="771"/>
                </a:lnTo>
                <a:lnTo>
                  <a:pt x="2808" y="776"/>
                </a:lnTo>
                <a:lnTo>
                  <a:pt x="2803" y="776"/>
                </a:lnTo>
                <a:lnTo>
                  <a:pt x="2802" y="770"/>
                </a:lnTo>
                <a:lnTo>
                  <a:pt x="2804" y="764"/>
                </a:lnTo>
                <a:lnTo>
                  <a:pt x="2795" y="752"/>
                </a:lnTo>
                <a:lnTo>
                  <a:pt x="2801" y="753"/>
                </a:lnTo>
                <a:lnTo>
                  <a:pt x="2797" y="750"/>
                </a:lnTo>
                <a:lnTo>
                  <a:pt x="2799" y="748"/>
                </a:lnTo>
                <a:lnTo>
                  <a:pt x="2799" y="748"/>
                </a:lnTo>
                <a:lnTo>
                  <a:pt x="2799" y="748"/>
                </a:lnTo>
                <a:lnTo>
                  <a:pt x="2796" y="742"/>
                </a:lnTo>
                <a:lnTo>
                  <a:pt x="2792" y="738"/>
                </a:lnTo>
                <a:lnTo>
                  <a:pt x="2787" y="732"/>
                </a:lnTo>
                <a:lnTo>
                  <a:pt x="2787" y="730"/>
                </a:lnTo>
                <a:lnTo>
                  <a:pt x="2787" y="729"/>
                </a:lnTo>
                <a:lnTo>
                  <a:pt x="2787" y="726"/>
                </a:lnTo>
                <a:lnTo>
                  <a:pt x="2787" y="724"/>
                </a:lnTo>
                <a:lnTo>
                  <a:pt x="2783" y="724"/>
                </a:lnTo>
                <a:lnTo>
                  <a:pt x="2783" y="719"/>
                </a:lnTo>
                <a:lnTo>
                  <a:pt x="2783" y="715"/>
                </a:lnTo>
                <a:lnTo>
                  <a:pt x="2779" y="718"/>
                </a:lnTo>
                <a:lnTo>
                  <a:pt x="2779" y="715"/>
                </a:lnTo>
                <a:lnTo>
                  <a:pt x="2784" y="714"/>
                </a:lnTo>
                <a:lnTo>
                  <a:pt x="2779" y="714"/>
                </a:lnTo>
                <a:lnTo>
                  <a:pt x="2779" y="711"/>
                </a:lnTo>
                <a:lnTo>
                  <a:pt x="2781" y="710"/>
                </a:lnTo>
                <a:lnTo>
                  <a:pt x="2775" y="707"/>
                </a:lnTo>
                <a:lnTo>
                  <a:pt x="2775" y="700"/>
                </a:lnTo>
                <a:lnTo>
                  <a:pt x="2775" y="698"/>
                </a:lnTo>
                <a:lnTo>
                  <a:pt x="2775" y="696"/>
                </a:lnTo>
                <a:lnTo>
                  <a:pt x="2775" y="694"/>
                </a:lnTo>
                <a:lnTo>
                  <a:pt x="2776" y="694"/>
                </a:lnTo>
                <a:lnTo>
                  <a:pt x="2776" y="692"/>
                </a:lnTo>
                <a:lnTo>
                  <a:pt x="2768" y="690"/>
                </a:lnTo>
                <a:lnTo>
                  <a:pt x="2764" y="678"/>
                </a:lnTo>
                <a:lnTo>
                  <a:pt x="2765" y="675"/>
                </a:lnTo>
                <a:lnTo>
                  <a:pt x="2768" y="677"/>
                </a:lnTo>
                <a:lnTo>
                  <a:pt x="2765" y="674"/>
                </a:lnTo>
                <a:lnTo>
                  <a:pt x="2762" y="675"/>
                </a:lnTo>
                <a:lnTo>
                  <a:pt x="2763" y="682"/>
                </a:lnTo>
                <a:lnTo>
                  <a:pt x="2763" y="684"/>
                </a:lnTo>
                <a:lnTo>
                  <a:pt x="2763" y="684"/>
                </a:lnTo>
                <a:lnTo>
                  <a:pt x="2763" y="684"/>
                </a:lnTo>
                <a:lnTo>
                  <a:pt x="2763" y="687"/>
                </a:lnTo>
                <a:lnTo>
                  <a:pt x="2764" y="692"/>
                </a:lnTo>
                <a:lnTo>
                  <a:pt x="2761" y="692"/>
                </a:lnTo>
                <a:lnTo>
                  <a:pt x="2760" y="695"/>
                </a:lnTo>
                <a:lnTo>
                  <a:pt x="2755" y="696"/>
                </a:lnTo>
                <a:lnTo>
                  <a:pt x="2750" y="692"/>
                </a:lnTo>
                <a:lnTo>
                  <a:pt x="2750" y="696"/>
                </a:lnTo>
                <a:lnTo>
                  <a:pt x="2733" y="710"/>
                </a:lnTo>
                <a:lnTo>
                  <a:pt x="2727" y="712"/>
                </a:lnTo>
                <a:lnTo>
                  <a:pt x="2727" y="713"/>
                </a:lnTo>
                <a:lnTo>
                  <a:pt x="2711" y="717"/>
                </a:lnTo>
                <a:lnTo>
                  <a:pt x="2710" y="716"/>
                </a:lnTo>
                <a:lnTo>
                  <a:pt x="2706" y="716"/>
                </a:lnTo>
                <a:lnTo>
                  <a:pt x="2709" y="713"/>
                </a:lnTo>
                <a:lnTo>
                  <a:pt x="2704" y="710"/>
                </a:lnTo>
                <a:lnTo>
                  <a:pt x="2699" y="709"/>
                </a:lnTo>
                <a:lnTo>
                  <a:pt x="2698" y="708"/>
                </a:lnTo>
                <a:lnTo>
                  <a:pt x="2694" y="708"/>
                </a:lnTo>
                <a:lnTo>
                  <a:pt x="2687" y="701"/>
                </a:lnTo>
                <a:lnTo>
                  <a:pt x="2687" y="693"/>
                </a:lnTo>
                <a:lnTo>
                  <a:pt x="2701" y="700"/>
                </a:lnTo>
                <a:lnTo>
                  <a:pt x="2701" y="700"/>
                </a:lnTo>
                <a:lnTo>
                  <a:pt x="2699" y="698"/>
                </a:lnTo>
                <a:lnTo>
                  <a:pt x="2695" y="693"/>
                </a:lnTo>
                <a:lnTo>
                  <a:pt x="2701" y="689"/>
                </a:lnTo>
                <a:lnTo>
                  <a:pt x="2700" y="688"/>
                </a:lnTo>
                <a:lnTo>
                  <a:pt x="2699" y="689"/>
                </a:lnTo>
                <a:lnTo>
                  <a:pt x="2699" y="688"/>
                </a:lnTo>
                <a:lnTo>
                  <a:pt x="2699" y="688"/>
                </a:lnTo>
                <a:lnTo>
                  <a:pt x="2699" y="688"/>
                </a:lnTo>
                <a:lnTo>
                  <a:pt x="2699" y="688"/>
                </a:lnTo>
                <a:lnTo>
                  <a:pt x="2695" y="688"/>
                </a:lnTo>
                <a:lnTo>
                  <a:pt x="2693" y="688"/>
                </a:lnTo>
                <a:lnTo>
                  <a:pt x="2692" y="688"/>
                </a:lnTo>
                <a:lnTo>
                  <a:pt x="2693" y="686"/>
                </a:lnTo>
                <a:lnTo>
                  <a:pt x="2691" y="687"/>
                </a:lnTo>
                <a:lnTo>
                  <a:pt x="2692" y="688"/>
                </a:lnTo>
                <a:lnTo>
                  <a:pt x="2691" y="688"/>
                </a:lnTo>
                <a:lnTo>
                  <a:pt x="2691" y="688"/>
                </a:lnTo>
                <a:lnTo>
                  <a:pt x="2691" y="688"/>
                </a:lnTo>
                <a:lnTo>
                  <a:pt x="2687" y="687"/>
                </a:lnTo>
                <a:lnTo>
                  <a:pt x="2687" y="686"/>
                </a:lnTo>
                <a:lnTo>
                  <a:pt x="2687" y="686"/>
                </a:lnTo>
                <a:lnTo>
                  <a:pt x="2683" y="685"/>
                </a:lnTo>
                <a:lnTo>
                  <a:pt x="2686" y="681"/>
                </a:lnTo>
                <a:lnTo>
                  <a:pt x="2687" y="682"/>
                </a:lnTo>
                <a:lnTo>
                  <a:pt x="2687" y="685"/>
                </a:lnTo>
                <a:lnTo>
                  <a:pt x="2691" y="681"/>
                </a:lnTo>
                <a:lnTo>
                  <a:pt x="2697" y="678"/>
                </a:lnTo>
                <a:lnTo>
                  <a:pt x="2695" y="676"/>
                </a:lnTo>
                <a:lnTo>
                  <a:pt x="2694" y="676"/>
                </a:lnTo>
                <a:lnTo>
                  <a:pt x="2693" y="672"/>
                </a:lnTo>
                <a:lnTo>
                  <a:pt x="2692" y="672"/>
                </a:lnTo>
                <a:lnTo>
                  <a:pt x="2693" y="670"/>
                </a:lnTo>
                <a:lnTo>
                  <a:pt x="2691" y="671"/>
                </a:lnTo>
                <a:lnTo>
                  <a:pt x="2694" y="665"/>
                </a:lnTo>
                <a:lnTo>
                  <a:pt x="2690" y="670"/>
                </a:lnTo>
                <a:lnTo>
                  <a:pt x="2686" y="668"/>
                </a:lnTo>
                <a:lnTo>
                  <a:pt x="2687" y="668"/>
                </a:lnTo>
                <a:lnTo>
                  <a:pt x="2686" y="667"/>
                </a:lnTo>
                <a:lnTo>
                  <a:pt x="2687" y="661"/>
                </a:lnTo>
                <a:lnTo>
                  <a:pt x="2691" y="663"/>
                </a:lnTo>
                <a:lnTo>
                  <a:pt x="2690" y="662"/>
                </a:lnTo>
                <a:lnTo>
                  <a:pt x="2694" y="658"/>
                </a:lnTo>
                <a:lnTo>
                  <a:pt x="2693" y="655"/>
                </a:lnTo>
                <a:lnTo>
                  <a:pt x="2689" y="658"/>
                </a:lnTo>
                <a:lnTo>
                  <a:pt x="2687" y="655"/>
                </a:lnTo>
                <a:lnTo>
                  <a:pt x="2690" y="651"/>
                </a:lnTo>
                <a:lnTo>
                  <a:pt x="2682" y="654"/>
                </a:lnTo>
                <a:lnTo>
                  <a:pt x="2682" y="649"/>
                </a:lnTo>
                <a:lnTo>
                  <a:pt x="2688" y="650"/>
                </a:lnTo>
                <a:lnTo>
                  <a:pt x="2683" y="648"/>
                </a:lnTo>
                <a:lnTo>
                  <a:pt x="2687" y="648"/>
                </a:lnTo>
                <a:lnTo>
                  <a:pt x="2681" y="646"/>
                </a:lnTo>
                <a:lnTo>
                  <a:pt x="2693" y="644"/>
                </a:lnTo>
                <a:lnTo>
                  <a:pt x="2683" y="644"/>
                </a:lnTo>
                <a:lnTo>
                  <a:pt x="2681" y="641"/>
                </a:lnTo>
                <a:lnTo>
                  <a:pt x="2695" y="640"/>
                </a:lnTo>
                <a:lnTo>
                  <a:pt x="2687" y="640"/>
                </a:lnTo>
                <a:lnTo>
                  <a:pt x="2686" y="636"/>
                </a:lnTo>
                <a:lnTo>
                  <a:pt x="2690" y="636"/>
                </a:lnTo>
                <a:lnTo>
                  <a:pt x="2681" y="635"/>
                </a:lnTo>
                <a:lnTo>
                  <a:pt x="2684" y="632"/>
                </a:lnTo>
                <a:lnTo>
                  <a:pt x="2682" y="632"/>
                </a:lnTo>
                <a:lnTo>
                  <a:pt x="2681" y="632"/>
                </a:lnTo>
                <a:lnTo>
                  <a:pt x="2680" y="631"/>
                </a:lnTo>
                <a:lnTo>
                  <a:pt x="2681" y="629"/>
                </a:lnTo>
                <a:lnTo>
                  <a:pt x="2682" y="629"/>
                </a:lnTo>
                <a:lnTo>
                  <a:pt x="2682" y="627"/>
                </a:lnTo>
                <a:lnTo>
                  <a:pt x="2687" y="627"/>
                </a:lnTo>
                <a:lnTo>
                  <a:pt x="2687" y="627"/>
                </a:lnTo>
                <a:lnTo>
                  <a:pt x="2687" y="627"/>
                </a:lnTo>
                <a:lnTo>
                  <a:pt x="2688" y="627"/>
                </a:lnTo>
                <a:lnTo>
                  <a:pt x="2687" y="626"/>
                </a:lnTo>
                <a:lnTo>
                  <a:pt x="2687" y="624"/>
                </a:lnTo>
                <a:lnTo>
                  <a:pt x="2693" y="624"/>
                </a:lnTo>
                <a:lnTo>
                  <a:pt x="2695" y="624"/>
                </a:lnTo>
                <a:lnTo>
                  <a:pt x="2698" y="624"/>
                </a:lnTo>
                <a:lnTo>
                  <a:pt x="2704" y="627"/>
                </a:lnTo>
                <a:lnTo>
                  <a:pt x="2698" y="623"/>
                </a:lnTo>
                <a:lnTo>
                  <a:pt x="2701" y="617"/>
                </a:lnTo>
                <a:lnTo>
                  <a:pt x="2705" y="624"/>
                </a:lnTo>
                <a:lnTo>
                  <a:pt x="2706" y="624"/>
                </a:lnTo>
                <a:lnTo>
                  <a:pt x="2704" y="617"/>
                </a:lnTo>
                <a:lnTo>
                  <a:pt x="2704" y="616"/>
                </a:lnTo>
                <a:lnTo>
                  <a:pt x="2704" y="616"/>
                </a:lnTo>
                <a:lnTo>
                  <a:pt x="2701" y="614"/>
                </a:lnTo>
                <a:lnTo>
                  <a:pt x="2713" y="611"/>
                </a:lnTo>
                <a:lnTo>
                  <a:pt x="2720" y="616"/>
                </a:lnTo>
                <a:lnTo>
                  <a:pt x="2724" y="615"/>
                </a:lnTo>
                <a:lnTo>
                  <a:pt x="2718" y="613"/>
                </a:lnTo>
                <a:lnTo>
                  <a:pt x="2719" y="612"/>
                </a:lnTo>
                <a:lnTo>
                  <a:pt x="2718" y="612"/>
                </a:lnTo>
                <a:lnTo>
                  <a:pt x="2723" y="608"/>
                </a:lnTo>
                <a:lnTo>
                  <a:pt x="2720" y="608"/>
                </a:lnTo>
                <a:lnTo>
                  <a:pt x="2711" y="608"/>
                </a:lnTo>
                <a:lnTo>
                  <a:pt x="2711" y="608"/>
                </a:lnTo>
                <a:lnTo>
                  <a:pt x="2711" y="608"/>
                </a:lnTo>
                <a:lnTo>
                  <a:pt x="2711" y="608"/>
                </a:lnTo>
                <a:lnTo>
                  <a:pt x="2711" y="608"/>
                </a:lnTo>
                <a:lnTo>
                  <a:pt x="2711" y="608"/>
                </a:lnTo>
                <a:lnTo>
                  <a:pt x="2711" y="605"/>
                </a:lnTo>
                <a:lnTo>
                  <a:pt x="2715" y="603"/>
                </a:lnTo>
                <a:lnTo>
                  <a:pt x="2715" y="604"/>
                </a:lnTo>
                <a:lnTo>
                  <a:pt x="2715" y="603"/>
                </a:lnTo>
                <a:lnTo>
                  <a:pt x="2719" y="602"/>
                </a:lnTo>
                <a:lnTo>
                  <a:pt x="2723" y="604"/>
                </a:lnTo>
                <a:lnTo>
                  <a:pt x="2721" y="607"/>
                </a:lnTo>
                <a:lnTo>
                  <a:pt x="2727" y="605"/>
                </a:lnTo>
                <a:lnTo>
                  <a:pt x="2727" y="605"/>
                </a:lnTo>
                <a:lnTo>
                  <a:pt x="2725" y="603"/>
                </a:lnTo>
                <a:lnTo>
                  <a:pt x="2729" y="600"/>
                </a:lnTo>
                <a:lnTo>
                  <a:pt x="2730" y="602"/>
                </a:lnTo>
                <a:lnTo>
                  <a:pt x="2740" y="599"/>
                </a:lnTo>
                <a:lnTo>
                  <a:pt x="2739" y="599"/>
                </a:lnTo>
                <a:lnTo>
                  <a:pt x="2738" y="595"/>
                </a:lnTo>
                <a:lnTo>
                  <a:pt x="2742" y="591"/>
                </a:lnTo>
                <a:lnTo>
                  <a:pt x="2745" y="593"/>
                </a:lnTo>
                <a:lnTo>
                  <a:pt x="2743" y="591"/>
                </a:lnTo>
                <a:lnTo>
                  <a:pt x="2750" y="588"/>
                </a:lnTo>
                <a:lnTo>
                  <a:pt x="2751" y="587"/>
                </a:lnTo>
                <a:lnTo>
                  <a:pt x="2756" y="593"/>
                </a:lnTo>
                <a:lnTo>
                  <a:pt x="2756" y="593"/>
                </a:lnTo>
                <a:lnTo>
                  <a:pt x="2769" y="591"/>
                </a:lnTo>
                <a:lnTo>
                  <a:pt x="2768" y="590"/>
                </a:lnTo>
                <a:lnTo>
                  <a:pt x="2769" y="588"/>
                </a:lnTo>
                <a:lnTo>
                  <a:pt x="2765" y="590"/>
                </a:lnTo>
                <a:lnTo>
                  <a:pt x="2771" y="585"/>
                </a:lnTo>
                <a:lnTo>
                  <a:pt x="2777" y="584"/>
                </a:lnTo>
                <a:lnTo>
                  <a:pt x="2773" y="582"/>
                </a:lnTo>
                <a:lnTo>
                  <a:pt x="2777" y="579"/>
                </a:lnTo>
                <a:lnTo>
                  <a:pt x="2775" y="579"/>
                </a:lnTo>
                <a:lnTo>
                  <a:pt x="2775" y="575"/>
                </a:lnTo>
                <a:lnTo>
                  <a:pt x="2764" y="584"/>
                </a:lnTo>
                <a:lnTo>
                  <a:pt x="2769" y="583"/>
                </a:lnTo>
                <a:lnTo>
                  <a:pt x="2773" y="583"/>
                </a:lnTo>
                <a:lnTo>
                  <a:pt x="2769" y="586"/>
                </a:lnTo>
                <a:lnTo>
                  <a:pt x="2757" y="591"/>
                </a:lnTo>
                <a:lnTo>
                  <a:pt x="2755" y="591"/>
                </a:lnTo>
                <a:lnTo>
                  <a:pt x="2753" y="588"/>
                </a:lnTo>
                <a:lnTo>
                  <a:pt x="2756" y="585"/>
                </a:lnTo>
                <a:lnTo>
                  <a:pt x="2747" y="587"/>
                </a:lnTo>
                <a:lnTo>
                  <a:pt x="2747" y="585"/>
                </a:lnTo>
                <a:lnTo>
                  <a:pt x="2759" y="580"/>
                </a:lnTo>
                <a:lnTo>
                  <a:pt x="2757" y="579"/>
                </a:lnTo>
                <a:lnTo>
                  <a:pt x="2758" y="574"/>
                </a:lnTo>
                <a:lnTo>
                  <a:pt x="2762" y="571"/>
                </a:lnTo>
                <a:lnTo>
                  <a:pt x="2765" y="571"/>
                </a:lnTo>
                <a:lnTo>
                  <a:pt x="2762" y="569"/>
                </a:lnTo>
                <a:lnTo>
                  <a:pt x="2769" y="569"/>
                </a:lnTo>
                <a:lnTo>
                  <a:pt x="2765" y="568"/>
                </a:lnTo>
                <a:lnTo>
                  <a:pt x="2769" y="567"/>
                </a:lnTo>
                <a:lnTo>
                  <a:pt x="2770" y="564"/>
                </a:lnTo>
                <a:lnTo>
                  <a:pt x="2775" y="565"/>
                </a:lnTo>
                <a:lnTo>
                  <a:pt x="2775" y="567"/>
                </a:lnTo>
                <a:lnTo>
                  <a:pt x="2779" y="565"/>
                </a:lnTo>
                <a:lnTo>
                  <a:pt x="2776" y="562"/>
                </a:lnTo>
                <a:lnTo>
                  <a:pt x="2780" y="560"/>
                </a:lnTo>
                <a:lnTo>
                  <a:pt x="2775" y="562"/>
                </a:lnTo>
                <a:lnTo>
                  <a:pt x="2775" y="562"/>
                </a:lnTo>
                <a:lnTo>
                  <a:pt x="2775" y="562"/>
                </a:lnTo>
                <a:lnTo>
                  <a:pt x="2774" y="563"/>
                </a:lnTo>
                <a:lnTo>
                  <a:pt x="2776" y="559"/>
                </a:lnTo>
                <a:lnTo>
                  <a:pt x="2774" y="559"/>
                </a:lnTo>
                <a:lnTo>
                  <a:pt x="2776" y="558"/>
                </a:lnTo>
                <a:lnTo>
                  <a:pt x="2787" y="553"/>
                </a:lnTo>
                <a:lnTo>
                  <a:pt x="2784" y="552"/>
                </a:lnTo>
                <a:lnTo>
                  <a:pt x="2788" y="548"/>
                </a:lnTo>
                <a:lnTo>
                  <a:pt x="2789" y="551"/>
                </a:lnTo>
                <a:lnTo>
                  <a:pt x="2794" y="549"/>
                </a:lnTo>
                <a:lnTo>
                  <a:pt x="2792" y="547"/>
                </a:lnTo>
                <a:lnTo>
                  <a:pt x="2795" y="547"/>
                </a:lnTo>
                <a:lnTo>
                  <a:pt x="2792" y="542"/>
                </a:lnTo>
                <a:lnTo>
                  <a:pt x="2790" y="538"/>
                </a:lnTo>
                <a:lnTo>
                  <a:pt x="2794" y="537"/>
                </a:lnTo>
                <a:lnTo>
                  <a:pt x="2796" y="538"/>
                </a:lnTo>
                <a:lnTo>
                  <a:pt x="2794" y="535"/>
                </a:lnTo>
                <a:lnTo>
                  <a:pt x="2795" y="532"/>
                </a:lnTo>
                <a:lnTo>
                  <a:pt x="2798" y="531"/>
                </a:lnTo>
                <a:lnTo>
                  <a:pt x="2796" y="531"/>
                </a:lnTo>
                <a:lnTo>
                  <a:pt x="2799" y="529"/>
                </a:lnTo>
                <a:lnTo>
                  <a:pt x="2797" y="530"/>
                </a:lnTo>
                <a:lnTo>
                  <a:pt x="2806" y="525"/>
                </a:lnTo>
                <a:lnTo>
                  <a:pt x="2799" y="526"/>
                </a:lnTo>
                <a:lnTo>
                  <a:pt x="2807" y="523"/>
                </a:lnTo>
                <a:lnTo>
                  <a:pt x="2799" y="523"/>
                </a:lnTo>
                <a:lnTo>
                  <a:pt x="2802" y="520"/>
                </a:lnTo>
                <a:lnTo>
                  <a:pt x="2799" y="518"/>
                </a:lnTo>
                <a:lnTo>
                  <a:pt x="2807" y="515"/>
                </a:lnTo>
                <a:lnTo>
                  <a:pt x="2807" y="515"/>
                </a:lnTo>
                <a:lnTo>
                  <a:pt x="2807" y="515"/>
                </a:lnTo>
                <a:lnTo>
                  <a:pt x="2809" y="514"/>
                </a:lnTo>
                <a:lnTo>
                  <a:pt x="2808" y="514"/>
                </a:lnTo>
                <a:lnTo>
                  <a:pt x="2811" y="511"/>
                </a:lnTo>
                <a:lnTo>
                  <a:pt x="2814" y="511"/>
                </a:lnTo>
                <a:lnTo>
                  <a:pt x="2806" y="506"/>
                </a:lnTo>
                <a:lnTo>
                  <a:pt x="2822" y="504"/>
                </a:lnTo>
                <a:lnTo>
                  <a:pt x="2818" y="503"/>
                </a:lnTo>
                <a:lnTo>
                  <a:pt x="2818" y="503"/>
                </a:lnTo>
                <a:lnTo>
                  <a:pt x="2819" y="503"/>
                </a:lnTo>
                <a:lnTo>
                  <a:pt x="2819" y="499"/>
                </a:lnTo>
                <a:lnTo>
                  <a:pt x="2820" y="499"/>
                </a:lnTo>
                <a:lnTo>
                  <a:pt x="2824" y="495"/>
                </a:lnTo>
                <a:lnTo>
                  <a:pt x="2828" y="495"/>
                </a:lnTo>
                <a:lnTo>
                  <a:pt x="2825" y="495"/>
                </a:lnTo>
                <a:lnTo>
                  <a:pt x="2830" y="495"/>
                </a:lnTo>
                <a:lnTo>
                  <a:pt x="2832" y="495"/>
                </a:lnTo>
                <a:lnTo>
                  <a:pt x="2833" y="495"/>
                </a:lnTo>
                <a:lnTo>
                  <a:pt x="2832" y="490"/>
                </a:lnTo>
                <a:lnTo>
                  <a:pt x="2833" y="487"/>
                </a:lnTo>
                <a:lnTo>
                  <a:pt x="2840" y="488"/>
                </a:lnTo>
                <a:lnTo>
                  <a:pt x="2835" y="484"/>
                </a:lnTo>
                <a:lnTo>
                  <a:pt x="2829" y="486"/>
                </a:lnTo>
                <a:lnTo>
                  <a:pt x="2829" y="486"/>
                </a:lnTo>
                <a:lnTo>
                  <a:pt x="2829" y="486"/>
                </a:lnTo>
                <a:lnTo>
                  <a:pt x="2825" y="484"/>
                </a:lnTo>
                <a:lnTo>
                  <a:pt x="2830" y="483"/>
                </a:lnTo>
                <a:lnTo>
                  <a:pt x="2828" y="483"/>
                </a:lnTo>
                <a:lnTo>
                  <a:pt x="2840" y="481"/>
                </a:lnTo>
                <a:lnTo>
                  <a:pt x="2843" y="480"/>
                </a:lnTo>
                <a:lnTo>
                  <a:pt x="2837" y="479"/>
                </a:lnTo>
                <a:lnTo>
                  <a:pt x="2839" y="479"/>
                </a:lnTo>
                <a:lnTo>
                  <a:pt x="2838" y="479"/>
                </a:lnTo>
                <a:lnTo>
                  <a:pt x="2840" y="476"/>
                </a:lnTo>
                <a:lnTo>
                  <a:pt x="2843" y="472"/>
                </a:lnTo>
                <a:lnTo>
                  <a:pt x="2844" y="475"/>
                </a:lnTo>
                <a:lnTo>
                  <a:pt x="2846" y="483"/>
                </a:lnTo>
                <a:lnTo>
                  <a:pt x="2851" y="484"/>
                </a:lnTo>
                <a:lnTo>
                  <a:pt x="2847" y="483"/>
                </a:lnTo>
                <a:lnTo>
                  <a:pt x="2846" y="479"/>
                </a:lnTo>
                <a:lnTo>
                  <a:pt x="2851" y="481"/>
                </a:lnTo>
                <a:lnTo>
                  <a:pt x="2850" y="479"/>
                </a:lnTo>
                <a:lnTo>
                  <a:pt x="2846" y="479"/>
                </a:lnTo>
                <a:lnTo>
                  <a:pt x="2847" y="475"/>
                </a:lnTo>
                <a:lnTo>
                  <a:pt x="2848" y="475"/>
                </a:lnTo>
                <a:lnTo>
                  <a:pt x="2846" y="474"/>
                </a:lnTo>
                <a:lnTo>
                  <a:pt x="2847" y="471"/>
                </a:lnTo>
                <a:lnTo>
                  <a:pt x="2860" y="471"/>
                </a:lnTo>
                <a:lnTo>
                  <a:pt x="2863" y="476"/>
                </a:lnTo>
                <a:lnTo>
                  <a:pt x="2863" y="475"/>
                </a:lnTo>
                <a:lnTo>
                  <a:pt x="2863" y="472"/>
                </a:lnTo>
                <a:lnTo>
                  <a:pt x="2860" y="471"/>
                </a:lnTo>
                <a:lnTo>
                  <a:pt x="2863" y="471"/>
                </a:lnTo>
                <a:lnTo>
                  <a:pt x="2863" y="466"/>
                </a:lnTo>
                <a:lnTo>
                  <a:pt x="2857" y="467"/>
                </a:lnTo>
                <a:lnTo>
                  <a:pt x="2858" y="467"/>
                </a:lnTo>
                <a:lnTo>
                  <a:pt x="2857" y="467"/>
                </a:lnTo>
                <a:lnTo>
                  <a:pt x="2855" y="468"/>
                </a:lnTo>
                <a:lnTo>
                  <a:pt x="2855" y="467"/>
                </a:lnTo>
                <a:lnTo>
                  <a:pt x="2851" y="467"/>
                </a:lnTo>
                <a:lnTo>
                  <a:pt x="2850" y="467"/>
                </a:lnTo>
                <a:lnTo>
                  <a:pt x="2851" y="467"/>
                </a:lnTo>
                <a:lnTo>
                  <a:pt x="2852" y="464"/>
                </a:lnTo>
                <a:lnTo>
                  <a:pt x="2852" y="463"/>
                </a:lnTo>
                <a:lnTo>
                  <a:pt x="2857" y="461"/>
                </a:lnTo>
                <a:lnTo>
                  <a:pt x="2869" y="463"/>
                </a:lnTo>
                <a:lnTo>
                  <a:pt x="2862" y="461"/>
                </a:lnTo>
                <a:lnTo>
                  <a:pt x="2864" y="459"/>
                </a:lnTo>
                <a:lnTo>
                  <a:pt x="2862" y="460"/>
                </a:lnTo>
                <a:lnTo>
                  <a:pt x="2860" y="459"/>
                </a:lnTo>
                <a:lnTo>
                  <a:pt x="2860" y="459"/>
                </a:lnTo>
                <a:lnTo>
                  <a:pt x="2863" y="459"/>
                </a:lnTo>
                <a:lnTo>
                  <a:pt x="2864" y="455"/>
                </a:lnTo>
                <a:lnTo>
                  <a:pt x="2865" y="455"/>
                </a:lnTo>
                <a:lnTo>
                  <a:pt x="2866" y="451"/>
                </a:lnTo>
                <a:lnTo>
                  <a:pt x="2865" y="451"/>
                </a:lnTo>
                <a:lnTo>
                  <a:pt x="2863" y="452"/>
                </a:lnTo>
                <a:lnTo>
                  <a:pt x="2865" y="453"/>
                </a:lnTo>
                <a:lnTo>
                  <a:pt x="2864" y="455"/>
                </a:lnTo>
                <a:lnTo>
                  <a:pt x="2863" y="455"/>
                </a:lnTo>
                <a:lnTo>
                  <a:pt x="2863" y="453"/>
                </a:lnTo>
                <a:lnTo>
                  <a:pt x="2860" y="455"/>
                </a:lnTo>
                <a:lnTo>
                  <a:pt x="2854" y="455"/>
                </a:lnTo>
                <a:lnTo>
                  <a:pt x="2860" y="451"/>
                </a:lnTo>
                <a:lnTo>
                  <a:pt x="2856" y="451"/>
                </a:lnTo>
                <a:lnTo>
                  <a:pt x="2860" y="448"/>
                </a:lnTo>
                <a:lnTo>
                  <a:pt x="2858" y="447"/>
                </a:lnTo>
                <a:lnTo>
                  <a:pt x="2858" y="447"/>
                </a:lnTo>
                <a:lnTo>
                  <a:pt x="2856" y="443"/>
                </a:lnTo>
                <a:lnTo>
                  <a:pt x="2858" y="443"/>
                </a:lnTo>
                <a:lnTo>
                  <a:pt x="2865" y="442"/>
                </a:lnTo>
                <a:lnTo>
                  <a:pt x="2860" y="440"/>
                </a:lnTo>
                <a:lnTo>
                  <a:pt x="2866" y="441"/>
                </a:lnTo>
                <a:lnTo>
                  <a:pt x="2865" y="438"/>
                </a:lnTo>
                <a:lnTo>
                  <a:pt x="2866" y="439"/>
                </a:lnTo>
                <a:lnTo>
                  <a:pt x="2870" y="439"/>
                </a:lnTo>
                <a:lnTo>
                  <a:pt x="2874" y="442"/>
                </a:lnTo>
                <a:lnTo>
                  <a:pt x="2871" y="445"/>
                </a:lnTo>
                <a:lnTo>
                  <a:pt x="2871" y="446"/>
                </a:lnTo>
                <a:lnTo>
                  <a:pt x="2873" y="451"/>
                </a:lnTo>
                <a:lnTo>
                  <a:pt x="2875" y="451"/>
                </a:lnTo>
                <a:lnTo>
                  <a:pt x="2873" y="446"/>
                </a:lnTo>
                <a:lnTo>
                  <a:pt x="2877" y="440"/>
                </a:lnTo>
                <a:lnTo>
                  <a:pt x="2883" y="446"/>
                </a:lnTo>
                <a:lnTo>
                  <a:pt x="2884" y="445"/>
                </a:lnTo>
                <a:lnTo>
                  <a:pt x="2888" y="446"/>
                </a:lnTo>
                <a:lnTo>
                  <a:pt x="2879" y="441"/>
                </a:lnTo>
                <a:lnTo>
                  <a:pt x="2879" y="440"/>
                </a:lnTo>
                <a:lnTo>
                  <a:pt x="2882" y="439"/>
                </a:lnTo>
                <a:lnTo>
                  <a:pt x="2883" y="439"/>
                </a:lnTo>
                <a:lnTo>
                  <a:pt x="2883" y="439"/>
                </a:lnTo>
                <a:lnTo>
                  <a:pt x="2884" y="438"/>
                </a:lnTo>
                <a:lnTo>
                  <a:pt x="2886" y="440"/>
                </a:lnTo>
                <a:lnTo>
                  <a:pt x="2887" y="440"/>
                </a:lnTo>
                <a:lnTo>
                  <a:pt x="2887" y="438"/>
                </a:lnTo>
                <a:lnTo>
                  <a:pt x="2886" y="440"/>
                </a:lnTo>
                <a:lnTo>
                  <a:pt x="2885" y="436"/>
                </a:lnTo>
                <a:lnTo>
                  <a:pt x="2891" y="433"/>
                </a:lnTo>
                <a:lnTo>
                  <a:pt x="2898" y="430"/>
                </a:lnTo>
                <a:lnTo>
                  <a:pt x="2897" y="436"/>
                </a:lnTo>
                <a:lnTo>
                  <a:pt x="2896" y="442"/>
                </a:lnTo>
                <a:lnTo>
                  <a:pt x="2897" y="441"/>
                </a:lnTo>
                <a:lnTo>
                  <a:pt x="2898" y="434"/>
                </a:lnTo>
                <a:lnTo>
                  <a:pt x="2907" y="429"/>
                </a:lnTo>
                <a:lnTo>
                  <a:pt x="2909" y="429"/>
                </a:lnTo>
                <a:lnTo>
                  <a:pt x="2906" y="441"/>
                </a:lnTo>
                <a:lnTo>
                  <a:pt x="2909" y="438"/>
                </a:lnTo>
                <a:lnTo>
                  <a:pt x="2915" y="440"/>
                </a:lnTo>
                <a:lnTo>
                  <a:pt x="2909" y="436"/>
                </a:lnTo>
                <a:lnTo>
                  <a:pt x="2910" y="433"/>
                </a:lnTo>
                <a:lnTo>
                  <a:pt x="2915" y="430"/>
                </a:lnTo>
                <a:lnTo>
                  <a:pt x="2917" y="430"/>
                </a:lnTo>
                <a:lnTo>
                  <a:pt x="2921" y="426"/>
                </a:lnTo>
                <a:lnTo>
                  <a:pt x="2933" y="433"/>
                </a:lnTo>
                <a:lnTo>
                  <a:pt x="2928" y="425"/>
                </a:lnTo>
                <a:lnTo>
                  <a:pt x="2933" y="423"/>
                </a:lnTo>
                <a:lnTo>
                  <a:pt x="2922" y="423"/>
                </a:lnTo>
                <a:lnTo>
                  <a:pt x="2920" y="421"/>
                </a:lnTo>
                <a:lnTo>
                  <a:pt x="2921" y="419"/>
                </a:lnTo>
                <a:lnTo>
                  <a:pt x="2925" y="418"/>
                </a:lnTo>
                <a:lnTo>
                  <a:pt x="2928" y="419"/>
                </a:lnTo>
                <a:lnTo>
                  <a:pt x="2932" y="419"/>
                </a:lnTo>
                <a:lnTo>
                  <a:pt x="2935" y="419"/>
                </a:lnTo>
                <a:lnTo>
                  <a:pt x="2935" y="421"/>
                </a:lnTo>
                <a:lnTo>
                  <a:pt x="2936" y="419"/>
                </a:lnTo>
                <a:lnTo>
                  <a:pt x="2946" y="421"/>
                </a:lnTo>
                <a:lnTo>
                  <a:pt x="2943" y="423"/>
                </a:lnTo>
                <a:lnTo>
                  <a:pt x="2936" y="425"/>
                </a:lnTo>
                <a:lnTo>
                  <a:pt x="2945" y="423"/>
                </a:lnTo>
                <a:lnTo>
                  <a:pt x="2952" y="429"/>
                </a:lnTo>
                <a:lnTo>
                  <a:pt x="2954" y="426"/>
                </a:lnTo>
                <a:lnTo>
                  <a:pt x="2948" y="425"/>
                </a:lnTo>
                <a:lnTo>
                  <a:pt x="2948" y="424"/>
                </a:lnTo>
                <a:lnTo>
                  <a:pt x="2948" y="423"/>
                </a:lnTo>
                <a:lnTo>
                  <a:pt x="2953" y="423"/>
                </a:lnTo>
                <a:lnTo>
                  <a:pt x="2954" y="419"/>
                </a:lnTo>
                <a:lnTo>
                  <a:pt x="2948" y="419"/>
                </a:lnTo>
                <a:lnTo>
                  <a:pt x="2945" y="414"/>
                </a:lnTo>
                <a:lnTo>
                  <a:pt x="2952" y="411"/>
                </a:lnTo>
                <a:lnTo>
                  <a:pt x="2952" y="410"/>
                </a:lnTo>
                <a:lnTo>
                  <a:pt x="2955" y="413"/>
                </a:lnTo>
                <a:lnTo>
                  <a:pt x="2955" y="415"/>
                </a:lnTo>
                <a:lnTo>
                  <a:pt x="2956" y="414"/>
                </a:lnTo>
                <a:lnTo>
                  <a:pt x="2960" y="413"/>
                </a:lnTo>
                <a:lnTo>
                  <a:pt x="2966" y="414"/>
                </a:lnTo>
                <a:lnTo>
                  <a:pt x="2964" y="411"/>
                </a:lnTo>
                <a:lnTo>
                  <a:pt x="2966" y="408"/>
                </a:lnTo>
                <a:lnTo>
                  <a:pt x="2972" y="410"/>
                </a:lnTo>
                <a:lnTo>
                  <a:pt x="2968" y="407"/>
                </a:lnTo>
                <a:lnTo>
                  <a:pt x="2963" y="405"/>
                </a:lnTo>
                <a:lnTo>
                  <a:pt x="2966" y="403"/>
                </a:lnTo>
                <a:lnTo>
                  <a:pt x="2968" y="405"/>
                </a:lnTo>
                <a:lnTo>
                  <a:pt x="2968" y="399"/>
                </a:lnTo>
                <a:lnTo>
                  <a:pt x="2970" y="399"/>
                </a:lnTo>
                <a:lnTo>
                  <a:pt x="2971" y="399"/>
                </a:lnTo>
                <a:lnTo>
                  <a:pt x="2972" y="400"/>
                </a:lnTo>
                <a:lnTo>
                  <a:pt x="2974" y="402"/>
                </a:lnTo>
                <a:lnTo>
                  <a:pt x="2974" y="400"/>
                </a:lnTo>
                <a:lnTo>
                  <a:pt x="2975" y="399"/>
                </a:lnTo>
                <a:lnTo>
                  <a:pt x="2975" y="399"/>
                </a:lnTo>
                <a:lnTo>
                  <a:pt x="2975" y="399"/>
                </a:lnTo>
                <a:lnTo>
                  <a:pt x="2979" y="404"/>
                </a:lnTo>
                <a:lnTo>
                  <a:pt x="2980" y="403"/>
                </a:lnTo>
                <a:lnTo>
                  <a:pt x="2980" y="400"/>
                </a:lnTo>
                <a:lnTo>
                  <a:pt x="2983" y="399"/>
                </a:lnTo>
                <a:lnTo>
                  <a:pt x="2979" y="399"/>
                </a:lnTo>
                <a:lnTo>
                  <a:pt x="2986" y="396"/>
                </a:lnTo>
                <a:lnTo>
                  <a:pt x="2991" y="396"/>
                </a:lnTo>
                <a:lnTo>
                  <a:pt x="2989" y="400"/>
                </a:lnTo>
                <a:lnTo>
                  <a:pt x="2988" y="400"/>
                </a:lnTo>
                <a:lnTo>
                  <a:pt x="2988" y="400"/>
                </a:lnTo>
                <a:lnTo>
                  <a:pt x="2986" y="402"/>
                </a:lnTo>
                <a:lnTo>
                  <a:pt x="2989" y="403"/>
                </a:lnTo>
                <a:lnTo>
                  <a:pt x="2977" y="415"/>
                </a:lnTo>
                <a:lnTo>
                  <a:pt x="2976" y="415"/>
                </a:lnTo>
                <a:lnTo>
                  <a:pt x="2976" y="417"/>
                </a:lnTo>
                <a:lnTo>
                  <a:pt x="2976" y="423"/>
                </a:lnTo>
                <a:lnTo>
                  <a:pt x="2972" y="423"/>
                </a:lnTo>
                <a:lnTo>
                  <a:pt x="2972" y="427"/>
                </a:lnTo>
                <a:lnTo>
                  <a:pt x="2977" y="427"/>
                </a:lnTo>
                <a:lnTo>
                  <a:pt x="2978" y="427"/>
                </a:lnTo>
                <a:lnTo>
                  <a:pt x="2983" y="420"/>
                </a:lnTo>
                <a:lnTo>
                  <a:pt x="2981" y="418"/>
                </a:lnTo>
                <a:lnTo>
                  <a:pt x="2999" y="403"/>
                </a:lnTo>
                <a:lnTo>
                  <a:pt x="3000" y="403"/>
                </a:lnTo>
                <a:lnTo>
                  <a:pt x="3000" y="407"/>
                </a:lnTo>
                <a:lnTo>
                  <a:pt x="2994" y="411"/>
                </a:lnTo>
                <a:lnTo>
                  <a:pt x="2999" y="411"/>
                </a:lnTo>
                <a:lnTo>
                  <a:pt x="2997" y="418"/>
                </a:lnTo>
                <a:lnTo>
                  <a:pt x="3005" y="413"/>
                </a:lnTo>
                <a:lnTo>
                  <a:pt x="3004" y="411"/>
                </a:lnTo>
                <a:lnTo>
                  <a:pt x="3005" y="410"/>
                </a:lnTo>
                <a:lnTo>
                  <a:pt x="3004" y="410"/>
                </a:lnTo>
                <a:lnTo>
                  <a:pt x="3004" y="407"/>
                </a:lnTo>
                <a:lnTo>
                  <a:pt x="3006" y="405"/>
                </a:lnTo>
                <a:lnTo>
                  <a:pt x="3008" y="403"/>
                </a:lnTo>
                <a:lnTo>
                  <a:pt x="3013" y="405"/>
                </a:lnTo>
                <a:lnTo>
                  <a:pt x="3007" y="400"/>
                </a:lnTo>
                <a:lnTo>
                  <a:pt x="3013" y="396"/>
                </a:lnTo>
                <a:lnTo>
                  <a:pt x="3016" y="398"/>
                </a:lnTo>
                <a:lnTo>
                  <a:pt x="3022" y="397"/>
                </a:lnTo>
                <a:lnTo>
                  <a:pt x="3027" y="401"/>
                </a:lnTo>
                <a:lnTo>
                  <a:pt x="3023" y="407"/>
                </a:lnTo>
                <a:lnTo>
                  <a:pt x="3020" y="407"/>
                </a:lnTo>
                <a:lnTo>
                  <a:pt x="3020" y="408"/>
                </a:lnTo>
                <a:lnTo>
                  <a:pt x="3021" y="408"/>
                </a:lnTo>
                <a:lnTo>
                  <a:pt x="3020" y="408"/>
                </a:lnTo>
                <a:lnTo>
                  <a:pt x="3020" y="410"/>
                </a:lnTo>
                <a:lnTo>
                  <a:pt x="3016" y="415"/>
                </a:lnTo>
                <a:lnTo>
                  <a:pt x="3019" y="415"/>
                </a:lnTo>
                <a:lnTo>
                  <a:pt x="3021" y="415"/>
                </a:lnTo>
                <a:lnTo>
                  <a:pt x="3021" y="415"/>
                </a:lnTo>
                <a:lnTo>
                  <a:pt x="3024" y="407"/>
                </a:lnTo>
                <a:lnTo>
                  <a:pt x="3030" y="403"/>
                </a:lnTo>
                <a:lnTo>
                  <a:pt x="3035" y="403"/>
                </a:lnTo>
                <a:lnTo>
                  <a:pt x="3037" y="403"/>
                </a:lnTo>
                <a:lnTo>
                  <a:pt x="3038" y="407"/>
                </a:lnTo>
                <a:lnTo>
                  <a:pt x="3045" y="407"/>
                </a:lnTo>
                <a:lnTo>
                  <a:pt x="3045" y="408"/>
                </a:lnTo>
                <a:lnTo>
                  <a:pt x="3044" y="410"/>
                </a:lnTo>
                <a:lnTo>
                  <a:pt x="3050" y="408"/>
                </a:lnTo>
                <a:lnTo>
                  <a:pt x="3054" y="411"/>
                </a:lnTo>
                <a:lnTo>
                  <a:pt x="3049" y="415"/>
                </a:lnTo>
                <a:lnTo>
                  <a:pt x="3056" y="415"/>
                </a:lnTo>
                <a:lnTo>
                  <a:pt x="3061" y="416"/>
                </a:lnTo>
                <a:lnTo>
                  <a:pt x="3064" y="418"/>
                </a:lnTo>
                <a:lnTo>
                  <a:pt x="3056" y="419"/>
                </a:lnTo>
                <a:lnTo>
                  <a:pt x="3050" y="425"/>
                </a:lnTo>
                <a:lnTo>
                  <a:pt x="3030" y="421"/>
                </a:lnTo>
                <a:lnTo>
                  <a:pt x="3027" y="423"/>
                </a:lnTo>
                <a:lnTo>
                  <a:pt x="3044" y="429"/>
                </a:lnTo>
                <a:lnTo>
                  <a:pt x="3038" y="431"/>
                </a:lnTo>
                <a:lnTo>
                  <a:pt x="3044" y="431"/>
                </a:lnTo>
                <a:lnTo>
                  <a:pt x="3045" y="431"/>
                </a:lnTo>
                <a:lnTo>
                  <a:pt x="3045" y="430"/>
                </a:lnTo>
                <a:lnTo>
                  <a:pt x="3045" y="430"/>
                </a:lnTo>
                <a:lnTo>
                  <a:pt x="3048" y="431"/>
                </a:lnTo>
                <a:lnTo>
                  <a:pt x="3048" y="429"/>
                </a:lnTo>
                <a:lnTo>
                  <a:pt x="3052" y="430"/>
                </a:lnTo>
                <a:lnTo>
                  <a:pt x="3052" y="431"/>
                </a:lnTo>
                <a:lnTo>
                  <a:pt x="3060" y="431"/>
                </a:lnTo>
                <a:lnTo>
                  <a:pt x="3060" y="432"/>
                </a:lnTo>
                <a:lnTo>
                  <a:pt x="3068" y="434"/>
                </a:lnTo>
                <a:lnTo>
                  <a:pt x="3068" y="435"/>
                </a:lnTo>
                <a:lnTo>
                  <a:pt x="3070" y="435"/>
                </a:lnTo>
                <a:lnTo>
                  <a:pt x="3071" y="435"/>
                </a:lnTo>
                <a:lnTo>
                  <a:pt x="3071" y="435"/>
                </a:lnTo>
                <a:lnTo>
                  <a:pt x="3078" y="435"/>
                </a:lnTo>
                <a:lnTo>
                  <a:pt x="3077" y="432"/>
                </a:lnTo>
                <a:lnTo>
                  <a:pt x="3076" y="430"/>
                </a:lnTo>
                <a:lnTo>
                  <a:pt x="3076" y="430"/>
                </a:lnTo>
                <a:lnTo>
                  <a:pt x="3076" y="429"/>
                </a:lnTo>
                <a:lnTo>
                  <a:pt x="3085" y="435"/>
                </a:lnTo>
                <a:lnTo>
                  <a:pt x="3092" y="435"/>
                </a:lnTo>
                <a:lnTo>
                  <a:pt x="3092" y="437"/>
                </a:lnTo>
                <a:lnTo>
                  <a:pt x="3091" y="438"/>
                </a:lnTo>
                <a:lnTo>
                  <a:pt x="3090" y="438"/>
                </a:lnTo>
                <a:lnTo>
                  <a:pt x="3084" y="438"/>
                </a:lnTo>
                <a:lnTo>
                  <a:pt x="3077" y="437"/>
                </a:lnTo>
                <a:lnTo>
                  <a:pt x="3083" y="442"/>
                </a:lnTo>
                <a:lnTo>
                  <a:pt x="3079" y="443"/>
                </a:lnTo>
                <a:lnTo>
                  <a:pt x="3091" y="443"/>
                </a:lnTo>
                <a:lnTo>
                  <a:pt x="3091" y="443"/>
                </a:lnTo>
                <a:lnTo>
                  <a:pt x="3095" y="443"/>
                </a:lnTo>
                <a:lnTo>
                  <a:pt x="3099" y="442"/>
                </a:lnTo>
                <a:lnTo>
                  <a:pt x="3094" y="447"/>
                </a:lnTo>
                <a:lnTo>
                  <a:pt x="3096" y="447"/>
                </a:lnTo>
                <a:lnTo>
                  <a:pt x="3097" y="447"/>
                </a:lnTo>
                <a:lnTo>
                  <a:pt x="3102" y="447"/>
                </a:lnTo>
                <a:lnTo>
                  <a:pt x="3135" y="450"/>
                </a:lnTo>
                <a:lnTo>
                  <a:pt x="3160" y="461"/>
                </a:lnTo>
                <a:lnTo>
                  <a:pt x="3164" y="466"/>
                </a:lnTo>
                <a:lnTo>
                  <a:pt x="3169" y="472"/>
                </a:lnTo>
                <a:lnTo>
                  <a:pt x="3170" y="471"/>
                </a:lnTo>
                <a:lnTo>
                  <a:pt x="3172" y="470"/>
                </a:lnTo>
                <a:lnTo>
                  <a:pt x="3185" y="479"/>
                </a:lnTo>
                <a:lnTo>
                  <a:pt x="3189" y="479"/>
                </a:lnTo>
                <a:lnTo>
                  <a:pt x="3190" y="479"/>
                </a:lnTo>
                <a:lnTo>
                  <a:pt x="3196" y="481"/>
                </a:lnTo>
                <a:lnTo>
                  <a:pt x="3196" y="483"/>
                </a:lnTo>
                <a:lnTo>
                  <a:pt x="3201" y="487"/>
                </a:lnTo>
                <a:lnTo>
                  <a:pt x="3205" y="487"/>
                </a:lnTo>
                <a:lnTo>
                  <a:pt x="3205" y="492"/>
                </a:lnTo>
                <a:lnTo>
                  <a:pt x="3209" y="494"/>
                </a:lnTo>
                <a:lnTo>
                  <a:pt x="3209" y="503"/>
                </a:lnTo>
                <a:lnTo>
                  <a:pt x="3212" y="503"/>
                </a:lnTo>
                <a:lnTo>
                  <a:pt x="3211" y="510"/>
                </a:lnTo>
                <a:lnTo>
                  <a:pt x="3202" y="519"/>
                </a:lnTo>
                <a:lnTo>
                  <a:pt x="3194" y="522"/>
                </a:lnTo>
                <a:lnTo>
                  <a:pt x="3172" y="529"/>
                </a:lnTo>
                <a:lnTo>
                  <a:pt x="3128" y="521"/>
                </a:lnTo>
                <a:lnTo>
                  <a:pt x="3118" y="514"/>
                </a:lnTo>
                <a:lnTo>
                  <a:pt x="3112" y="516"/>
                </a:lnTo>
                <a:lnTo>
                  <a:pt x="3111" y="515"/>
                </a:lnTo>
                <a:lnTo>
                  <a:pt x="3112" y="515"/>
                </a:lnTo>
                <a:lnTo>
                  <a:pt x="3104" y="512"/>
                </a:lnTo>
                <a:lnTo>
                  <a:pt x="3099" y="510"/>
                </a:lnTo>
                <a:lnTo>
                  <a:pt x="3101" y="510"/>
                </a:lnTo>
                <a:lnTo>
                  <a:pt x="3099" y="511"/>
                </a:lnTo>
                <a:lnTo>
                  <a:pt x="3094" y="510"/>
                </a:lnTo>
                <a:lnTo>
                  <a:pt x="3086" y="503"/>
                </a:lnTo>
                <a:lnTo>
                  <a:pt x="3084" y="502"/>
                </a:lnTo>
                <a:lnTo>
                  <a:pt x="3081" y="502"/>
                </a:lnTo>
                <a:lnTo>
                  <a:pt x="3084" y="504"/>
                </a:lnTo>
                <a:lnTo>
                  <a:pt x="3084" y="508"/>
                </a:lnTo>
                <a:lnTo>
                  <a:pt x="3087" y="509"/>
                </a:lnTo>
                <a:lnTo>
                  <a:pt x="3090" y="511"/>
                </a:lnTo>
                <a:lnTo>
                  <a:pt x="3089" y="511"/>
                </a:lnTo>
                <a:lnTo>
                  <a:pt x="3089" y="512"/>
                </a:lnTo>
                <a:lnTo>
                  <a:pt x="3096" y="515"/>
                </a:lnTo>
                <a:lnTo>
                  <a:pt x="3094" y="516"/>
                </a:lnTo>
                <a:lnTo>
                  <a:pt x="3099" y="519"/>
                </a:lnTo>
                <a:lnTo>
                  <a:pt x="3090" y="519"/>
                </a:lnTo>
                <a:lnTo>
                  <a:pt x="3096" y="519"/>
                </a:lnTo>
                <a:lnTo>
                  <a:pt x="3102" y="519"/>
                </a:lnTo>
                <a:lnTo>
                  <a:pt x="3096" y="522"/>
                </a:lnTo>
                <a:lnTo>
                  <a:pt x="3107" y="523"/>
                </a:lnTo>
                <a:lnTo>
                  <a:pt x="3118" y="532"/>
                </a:lnTo>
                <a:lnTo>
                  <a:pt x="3119" y="537"/>
                </a:lnTo>
                <a:lnTo>
                  <a:pt x="3115" y="533"/>
                </a:lnTo>
                <a:lnTo>
                  <a:pt x="3116" y="541"/>
                </a:lnTo>
                <a:lnTo>
                  <a:pt x="3115" y="544"/>
                </a:lnTo>
                <a:lnTo>
                  <a:pt x="3111" y="545"/>
                </a:lnTo>
                <a:lnTo>
                  <a:pt x="3114" y="549"/>
                </a:lnTo>
                <a:lnTo>
                  <a:pt x="3116" y="558"/>
                </a:lnTo>
                <a:lnTo>
                  <a:pt x="3116" y="564"/>
                </a:lnTo>
                <a:lnTo>
                  <a:pt x="3115" y="565"/>
                </a:lnTo>
                <a:lnTo>
                  <a:pt x="3124" y="570"/>
                </a:lnTo>
                <a:lnTo>
                  <a:pt x="3128" y="569"/>
                </a:lnTo>
                <a:lnTo>
                  <a:pt x="3131" y="571"/>
                </a:lnTo>
                <a:lnTo>
                  <a:pt x="3135" y="575"/>
                </a:lnTo>
                <a:lnTo>
                  <a:pt x="3135" y="575"/>
                </a:lnTo>
                <a:lnTo>
                  <a:pt x="3136" y="575"/>
                </a:lnTo>
                <a:lnTo>
                  <a:pt x="3136" y="578"/>
                </a:lnTo>
                <a:lnTo>
                  <a:pt x="3154" y="583"/>
                </a:lnTo>
                <a:lnTo>
                  <a:pt x="3160" y="580"/>
                </a:lnTo>
                <a:lnTo>
                  <a:pt x="3164" y="578"/>
                </a:lnTo>
                <a:lnTo>
                  <a:pt x="3164" y="575"/>
                </a:lnTo>
                <a:lnTo>
                  <a:pt x="3162" y="574"/>
                </a:lnTo>
                <a:lnTo>
                  <a:pt x="3160" y="572"/>
                </a:lnTo>
                <a:lnTo>
                  <a:pt x="3160" y="569"/>
                </a:lnTo>
                <a:lnTo>
                  <a:pt x="3160" y="569"/>
                </a:lnTo>
                <a:lnTo>
                  <a:pt x="3157" y="569"/>
                </a:lnTo>
                <a:lnTo>
                  <a:pt x="3153" y="569"/>
                </a:lnTo>
                <a:lnTo>
                  <a:pt x="3152" y="569"/>
                </a:lnTo>
                <a:lnTo>
                  <a:pt x="3152" y="569"/>
                </a:lnTo>
                <a:lnTo>
                  <a:pt x="3148" y="565"/>
                </a:lnTo>
                <a:lnTo>
                  <a:pt x="3145" y="560"/>
                </a:lnTo>
                <a:lnTo>
                  <a:pt x="3144" y="559"/>
                </a:lnTo>
                <a:lnTo>
                  <a:pt x="3144" y="559"/>
                </a:lnTo>
                <a:lnTo>
                  <a:pt x="3144" y="550"/>
                </a:lnTo>
                <a:lnTo>
                  <a:pt x="3149" y="549"/>
                </a:lnTo>
                <a:lnTo>
                  <a:pt x="3155" y="551"/>
                </a:lnTo>
                <a:lnTo>
                  <a:pt x="3160" y="554"/>
                </a:lnTo>
                <a:lnTo>
                  <a:pt x="3162" y="556"/>
                </a:lnTo>
                <a:lnTo>
                  <a:pt x="3163" y="559"/>
                </a:lnTo>
                <a:lnTo>
                  <a:pt x="3169" y="559"/>
                </a:lnTo>
                <a:lnTo>
                  <a:pt x="3166" y="559"/>
                </a:lnTo>
                <a:lnTo>
                  <a:pt x="3164" y="560"/>
                </a:lnTo>
                <a:lnTo>
                  <a:pt x="3164" y="564"/>
                </a:lnTo>
                <a:lnTo>
                  <a:pt x="3167" y="561"/>
                </a:lnTo>
                <a:lnTo>
                  <a:pt x="3171" y="559"/>
                </a:lnTo>
                <a:lnTo>
                  <a:pt x="3187" y="566"/>
                </a:lnTo>
                <a:lnTo>
                  <a:pt x="3188" y="567"/>
                </a:lnTo>
                <a:lnTo>
                  <a:pt x="3188" y="561"/>
                </a:lnTo>
                <a:lnTo>
                  <a:pt x="3194" y="563"/>
                </a:lnTo>
                <a:lnTo>
                  <a:pt x="3194" y="562"/>
                </a:lnTo>
                <a:lnTo>
                  <a:pt x="3198" y="565"/>
                </a:lnTo>
                <a:lnTo>
                  <a:pt x="3195" y="563"/>
                </a:lnTo>
                <a:lnTo>
                  <a:pt x="3196" y="563"/>
                </a:lnTo>
                <a:lnTo>
                  <a:pt x="3196" y="563"/>
                </a:lnTo>
                <a:lnTo>
                  <a:pt x="3200" y="564"/>
                </a:lnTo>
                <a:lnTo>
                  <a:pt x="3201" y="565"/>
                </a:lnTo>
                <a:lnTo>
                  <a:pt x="3200" y="564"/>
                </a:lnTo>
                <a:lnTo>
                  <a:pt x="3201" y="565"/>
                </a:lnTo>
                <a:lnTo>
                  <a:pt x="3201" y="565"/>
                </a:lnTo>
                <a:lnTo>
                  <a:pt x="3200" y="564"/>
                </a:lnTo>
                <a:lnTo>
                  <a:pt x="3198" y="555"/>
                </a:lnTo>
                <a:lnTo>
                  <a:pt x="3188" y="545"/>
                </a:lnTo>
                <a:lnTo>
                  <a:pt x="3188" y="541"/>
                </a:lnTo>
                <a:lnTo>
                  <a:pt x="3198" y="535"/>
                </a:lnTo>
                <a:lnTo>
                  <a:pt x="3203" y="530"/>
                </a:lnTo>
                <a:lnTo>
                  <a:pt x="3215" y="527"/>
                </a:lnTo>
                <a:lnTo>
                  <a:pt x="3224" y="517"/>
                </a:lnTo>
                <a:lnTo>
                  <a:pt x="3232" y="521"/>
                </a:lnTo>
                <a:lnTo>
                  <a:pt x="3237" y="520"/>
                </a:lnTo>
                <a:lnTo>
                  <a:pt x="3242" y="519"/>
                </a:lnTo>
                <a:lnTo>
                  <a:pt x="3244" y="521"/>
                </a:lnTo>
                <a:lnTo>
                  <a:pt x="3247" y="523"/>
                </a:lnTo>
                <a:lnTo>
                  <a:pt x="3244" y="525"/>
                </a:lnTo>
                <a:lnTo>
                  <a:pt x="3242" y="527"/>
                </a:lnTo>
                <a:lnTo>
                  <a:pt x="3249" y="526"/>
                </a:lnTo>
                <a:lnTo>
                  <a:pt x="3249" y="526"/>
                </a:lnTo>
                <a:lnTo>
                  <a:pt x="3249" y="527"/>
                </a:lnTo>
                <a:lnTo>
                  <a:pt x="3249" y="529"/>
                </a:lnTo>
                <a:lnTo>
                  <a:pt x="3254" y="532"/>
                </a:lnTo>
                <a:lnTo>
                  <a:pt x="3253" y="526"/>
                </a:lnTo>
                <a:lnTo>
                  <a:pt x="3257" y="511"/>
                </a:lnTo>
                <a:lnTo>
                  <a:pt x="3256" y="510"/>
                </a:lnTo>
                <a:lnTo>
                  <a:pt x="3258" y="508"/>
                </a:lnTo>
                <a:lnTo>
                  <a:pt x="3252" y="500"/>
                </a:lnTo>
                <a:lnTo>
                  <a:pt x="3245" y="499"/>
                </a:lnTo>
                <a:lnTo>
                  <a:pt x="3245" y="498"/>
                </a:lnTo>
                <a:lnTo>
                  <a:pt x="3253" y="488"/>
                </a:lnTo>
                <a:lnTo>
                  <a:pt x="3253" y="483"/>
                </a:lnTo>
                <a:lnTo>
                  <a:pt x="3254" y="483"/>
                </a:lnTo>
                <a:lnTo>
                  <a:pt x="3254" y="473"/>
                </a:lnTo>
                <a:lnTo>
                  <a:pt x="3241" y="465"/>
                </a:lnTo>
                <a:lnTo>
                  <a:pt x="3241" y="461"/>
                </a:lnTo>
                <a:lnTo>
                  <a:pt x="3254" y="467"/>
                </a:lnTo>
                <a:lnTo>
                  <a:pt x="3270" y="467"/>
                </a:lnTo>
                <a:lnTo>
                  <a:pt x="3278" y="467"/>
                </a:lnTo>
                <a:lnTo>
                  <a:pt x="3279" y="471"/>
                </a:lnTo>
                <a:lnTo>
                  <a:pt x="3285" y="476"/>
                </a:lnTo>
                <a:lnTo>
                  <a:pt x="3285" y="480"/>
                </a:lnTo>
                <a:lnTo>
                  <a:pt x="3289" y="481"/>
                </a:lnTo>
                <a:lnTo>
                  <a:pt x="3289" y="484"/>
                </a:lnTo>
                <a:lnTo>
                  <a:pt x="3271" y="487"/>
                </a:lnTo>
                <a:lnTo>
                  <a:pt x="3269" y="488"/>
                </a:lnTo>
                <a:lnTo>
                  <a:pt x="3269" y="489"/>
                </a:lnTo>
                <a:lnTo>
                  <a:pt x="3265" y="492"/>
                </a:lnTo>
                <a:lnTo>
                  <a:pt x="3264" y="495"/>
                </a:lnTo>
                <a:lnTo>
                  <a:pt x="3275" y="500"/>
                </a:lnTo>
                <a:lnTo>
                  <a:pt x="3276" y="508"/>
                </a:lnTo>
                <a:lnTo>
                  <a:pt x="3280" y="511"/>
                </a:lnTo>
                <a:lnTo>
                  <a:pt x="3287" y="511"/>
                </a:lnTo>
                <a:lnTo>
                  <a:pt x="3305" y="506"/>
                </a:lnTo>
                <a:lnTo>
                  <a:pt x="3305" y="503"/>
                </a:lnTo>
                <a:lnTo>
                  <a:pt x="3304" y="501"/>
                </a:lnTo>
                <a:lnTo>
                  <a:pt x="3303" y="499"/>
                </a:lnTo>
                <a:lnTo>
                  <a:pt x="3309" y="492"/>
                </a:lnTo>
                <a:lnTo>
                  <a:pt x="3307" y="489"/>
                </a:lnTo>
                <a:lnTo>
                  <a:pt x="3309" y="488"/>
                </a:lnTo>
                <a:lnTo>
                  <a:pt x="3320" y="487"/>
                </a:lnTo>
                <a:lnTo>
                  <a:pt x="3323" y="488"/>
                </a:lnTo>
                <a:lnTo>
                  <a:pt x="3325" y="489"/>
                </a:lnTo>
                <a:lnTo>
                  <a:pt x="3318" y="481"/>
                </a:lnTo>
                <a:lnTo>
                  <a:pt x="3328" y="483"/>
                </a:lnTo>
                <a:lnTo>
                  <a:pt x="3337" y="478"/>
                </a:lnTo>
                <a:lnTo>
                  <a:pt x="3337" y="478"/>
                </a:lnTo>
                <a:lnTo>
                  <a:pt x="3337" y="478"/>
                </a:lnTo>
                <a:lnTo>
                  <a:pt x="3337" y="478"/>
                </a:lnTo>
                <a:lnTo>
                  <a:pt x="3350" y="471"/>
                </a:lnTo>
                <a:lnTo>
                  <a:pt x="3353" y="471"/>
                </a:lnTo>
                <a:lnTo>
                  <a:pt x="3368" y="466"/>
                </a:lnTo>
                <a:lnTo>
                  <a:pt x="3370" y="465"/>
                </a:lnTo>
                <a:lnTo>
                  <a:pt x="3372" y="466"/>
                </a:lnTo>
                <a:lnTo>
                  <a:pt x="3392" y="456"/>
                </a:lnTo>
                <a:lnTo>
                  <a:pt x="3403" y="454"/>
                </a:lnTo>
                <a:lnTo>
                  <a:pt x="3390" y="459"/>
                </a:lnTo>
                <a:lnTo>
                  <a:pt x="3395" y="459"/>
                </a:lnTo>
                <a:lnTo>
                  <a:pt x="3392" y="465"/>
                </a:lnTo>
                <a:lnTo>
                  <a:pt x="3393" y="467"/>
                </a:lnTo>
                <a:lnTo>
                  <a:pt x="3394" y="470"/>
                </a:lnTo>
                <a:lnTo>
                  <a:pt x="3393" y="471"/>
                </a:lnTo>
                <a:lnTo>
                  <a:pt x="3393" y="471"/>
                </a:lnTo>
                <a:lnTo>
                  <a:pt x="3393" y="471"/>
                </a:lnTo>
                <a:lnTo>
                  <a:pt x="3392" y="471"/>
                </a:lnTo>
                <a:lnTo>
                  <a:pt x="3392" y="471"/>
                </a:lnTo>
                <a:lnTo>
                  <a:pt x="3391" y="471"/>
                </a:lnTo>
                <a:lnTo>
                  <a:pt x="3388" y="469"/>
                </a:lnTo>
                <a:lnTo>
                  <a:pt x="3386" y="471"/>
                </a:lnTo>
                <a:lnTo>
                  <a:pt x="3385" y="472"/>
                </a:lnTo>
                <a:lnTo>
                  <a:pt x="3392" y="474"/>
                </a:lnTo>
                <a:lnTo>
                  <a:pt x="3399" y="475"/>
                </a:lnTo>
                <a:lnTo>
                  <a:pt x="3401" y="471"/>
                </a:lnTo>
                <a:lnTo>
                  <a:pt x="3405" y="475"/>
                </a:lnTo>
                <a:lnTo>
                  <a:pt x="3405" y="472"/>
                </a:lnTo>
                <a:lnTo>
                  <a:pt x="3405" y="471"/>
                </a:lnTo>
                <a:lnTo>
                  <a:pt x="3405" y="470"/>
                </a:lnTo>
                <a:lnTo>
                  <a:pt x="3413" y="465"/>
                </a:lnTo>
                <a:lnTo>
                  <a:pt x="3425" y="462"/>
                </a:lnTo>
                <a:lnTo>
                  <a:pt x="3444" y="466"/>
                </a:lnTo>
                <a:lnTo>
                  <a:pt x="3448" y="463"/>
                </a:lnTo>
                <a:lnTo>
                  <a:pt x="3454" y="463"/>
                </a:lnTo>
                <a:lnTo>
                  <a:pt x="3454" y="458"/>
                </a:lnTo>
                <a:lnTo>
                  <a:pt x="3454" y="458"/>
                </a:lnTo>
                <a:lnTo>
                  <a:pt x="3454" y="458"/>
                </a:lnTo>
                <a:lnTo>
                  <a:pt x="3454" y="458"/>
                </a:lnTo>
                <a:lnTo>
                  <a:pt x="3458" y="457"/>
                </a:lnTo>
                <a:lnTo>
                  <a:pt x="3458" y="457"/>
                </a:lnTo>
                <a:lnTo>
                  <a:pt x="3458" y="457"/>
                </a:lnTo>
                <a:lnTo>
                  <a:pt x="3467" y="455"/>
                </a:lnTo>
                <a:lnTo>
                  <a:pt x="3467" y="455"/>
                </a:lnTo>
                <a:lnTo>
                  <a:pt x="3474" y="460"/>
                </a:lnTo>
                <a:lnTo>
                  <a:pt x="3470" y="464"/>
                </a:lnTo>
                <a:lnTo>
                  <a:pt x="3470" y="469"/>
                </a:lnTo>
                <a:lnTo>
                  <a:pt x="3481" y="470"/>
                </a:lnTo>
                <a:lnTo>
                  <a:pt x="3482" y="469"/>
                </a:lnTo>
                <a:lnTo>
                  <a:pt x="3480" y="465"/>
                </a:lnTo>
                <a:lnTo>
                  <a:pt x="3481" y="463"/>
                </a:lnTo>
                <a:lnTo>
                  <a:pt x="3491" y="463"/>
                </a:lnTo>
                <a:lnTo>
                  <a:pt x="3494" y="457"/>
                </a:lnTo>
                <a:lnTo>
                  <a:pt x="3494" y="451"/>
                </a:lnTo>
                <a:lnTo>
                  <a:pt x="3492" y="451"/>
                </a:lnTo>
                <a:lnTo>
                  <a:pt x="3491" y="446"/>
                </a:lnTo>
                <a:lnTo>
                  <a:pt x="3486" y="440"/>
                </a:lnTo>
                <a:lnTo>
                  <a:pt x="3488" y="439"/>
                </a:lnTo>
                <a:lnTo>
                  <a:pt x="3492" y="439"/>
                </a:lnTo>
                <a:lnTo>
                  <a:pt x="3493" y="433"/>
                </a:lnTo>
                <a:lnTo>
                  <a:pt x="3495" y="431"/>
                </a:lnTo>
                <a:lnTo>
                  <a:pt x="3529" y="435"/>
                </a:lnTo>
                <a:lnTo>
                  <a:pt x="3536" y="437"/>
                </a:lnTo>
                <a:lnTo>
                  <a:pt x="3543" y="438"/>
                </a:lnTo>
                <a:lnTo>
                  <a:pt x="3555" y="445"/>
                </a:lnTo>
                <a:lnTo>
                  <a:pt x="3550" y="447"/>
                </a:lnTo>
                <a:lnTo>
                  <a:pt x="3550" y="450"/>
                </a:lnTo>
                <a:lnTo>
                  <a:pt x="3557" y="447"/>
                </a:lnTo>
                <a:lnTo>
                  <a:pt x="3570" y="450"/>
                </a:lnTo>
                <a:lnTo>
                  <a:pt x="3566" y="453"/>
                </a:lnTo>
                <a:lnTo>
                  <a:pt x="3586" y="459"/>
                </a:lnTo>
                <a:lnTo>
                  <a:pt x="3585" y="459"/>
                </a:lnTo>
                <a:lnTo>
                  <a:pt x="3589" y="461"/>
                </a:lnTo>
                <a:lnTo>
                  <a:pt x="3596" y="465"/>
                </a:lnTo>
                <a:lnTo>
                  <a:pt x="3603" y="469"/>
                </a:lnTo>
                <a:lnTo>
                  <a:pt x="3603" y="470"/>
                </a:lnTo>
                <a:lnTo>
                  <a:pt x="3604" y="472"/>
                </a:lnTo>
                <a:lnTo>
                  <a:pt x="3603" y="472"/>
                </a:lnTo>
                <a:lnTo>
                  <a:pt x="3603" y="473"/>
                </a:lnTo>
                <a:lnTo>
                  <a:pt x="3603" y="474"/>
                </a:lnTo>
                <a:lnTo>
                  <a:pt x="3604" y="476"/>
                </a:lnTo>
                <a:lnTo>
                  <a:pt x="3606" y="473"/>
                </a:lnTo>
                <a:lnTo>
                  <a:pt x="3615" y="459"/>
                </a:lnTo>
                <a:lnTo>
                  <a:pt x="3613" y="459"/>
                </a:lnTo>
                <a:lnTo>
                  <a:pt x="3617" y="455"/>
                </a:lnTo>
                <a:lnTo>
                  <a:pt x="3614" y="456"/>
                </a:lnTo>
                <a:lnTo>
                  <a:pt x="3610" y="457"/>
                </a:lnTo>
                <a:lnTo>
                  <a:pt x="3608" y="455"/>
                </a:lnTo>
                <a:lnTo>
                  <a:pt x="3605" y="453"/>
                </a:lnTo>
                <a:lnTo>
                  <a:pt x="3598" y="447"/>
                </a:lnTo>
                <a:lnTo>
                  <a:pt x="3598" y="441"/>
                </a:lnTo>
                <a:lnTo>
                  <a:pt x="3591" y="438"/>
                </a:lnTo>
                <a:lnTo>
                  <a:pt x="3582" y="435"/>
                </a:lnTo>
                <a:lnTo>
                  <a:pt x="3582" y="442"/>
                </a:lnTo>
                <a:lnTo>
                  <a:pt x="3578" y="438"/>
                </a:lnTo>
                <a:lnTo>
                  <a:pt x="3578" y="433"/>
                </a:lnTo>
                <a:lnTo>
                  <a:pt x="3582" y="427"/>
                </a:lnTo>
                <a:lnTo>
                  <a:pt x="3582" y="427"/>
                </a:lnTo>
                <a:lnTo>
                  <a:pt x="3582" y="430"/>
                </a:lnTo>
                <a:lnTo>
                  <a:pt x="3587" y="427"/>
                </a:lnTo>
                <a:lnTo>
                  <a:pt x="3589" y="425"/>
                </a:lnTo>
                <a:lnTo>
                  <a:pt x="3589" y="424"/>
                </a:lnTo>
                <a:lnTo>
                  <a:pt x="3585" y="422"/>
                </a:lnTo>
                <a:lnTo>
                  <a:pt x="3589" y="408"/>
                </a:lnTo>
                <a:lnTo>
                  <a:pt x="3585" y="404"/>
                </a:lnTo>
                <a:lnTo>
                  <a:pt x="3578" y="408"/>
                </a:lnTo>
                <a:lnTo>
                  <a:pt x="3578" y="403"/>
                </a:lnTo>
                <a:lnTo>
                  <a:pt x="3581" y="400"/>
                </a:lnTo>
                <a:lnTo>
                  <a:pt x="3580" y="399"/>
                </a:lnTo>
                <a:lnTo>
                  <a:pt x="3584" y="393"/>
                </a:lnTo>
                <a:lnTo>
                  <a:pt x="3599" y="386"/>
                </a:lnTo>
                <a:lnTo>
                  <a:pt x="3602" y="382"/>
                </a:lnTo>
                <a:lnTo>
                  <a:pt x="3606" y="377"/>
                </a:lnTo>
                <a:lnTo>
                  <a:pt x="3613" y="353"/>
                </a:lnTo>
                <a:lnTo>
                  <a:pt x="3617" y="349"/>
                </a:lnTo>
                <a:lnTo>
                  <a:pt x="3618" y="347"/>
                </a:lnTo>
                <a:lnTo>
                  <a:pt x="3618" y="346"/>
                </a:lnTo>
                <a:lnTo>
                  <a:pt x="3626" y="344"/>
                </a:lnTo>
                <a:lnTo>
                  <a:pt x="3622" y="346"/>
                </a:lnTo>
                <a:lnTo>
                  <a:pt x="3622" y="347"/>
                </a:lnTo>
                <a:lnTo>
                  <a:pt x="3623" y="347"/>
                </a:lnTo>
                <a:lnTo>
                  <a:pt x="3651" y="347"/>
                </a:lnTo>
                <a:lnTo>
                  <a:pt x="3658" y="350"/>
                </a:lnTo>
                <a:lnTo>
                  <a:pt x="3655" y="350"/>
                </a:lnTo>
                <a:lnTo>
                  <a:pt x="3662" y="351"/>
                </a:lnTo>
                <a:lnTo>
                  <a:pt x="3669" y="353"/>
                </a:lnTo>
                <a:lnTo>
                  <a:pt x="3668" y="357"/>
                </a:lnTo>
                <a:lnTo>
                  <a:pt x="3669" y="361"/>
                </a:lnTo>
                <a:lnTo>
                  <a:pt x="3670" y="365"/>
                </a:lnTo>
                <a:lnTo>
                  <a:pt x="3667" y="370"/>
                </a:lnTo>
                <a:lnTo>
                  <a:pt x="3664" y="374"/>
                </a:lnTo>
                <a:lnTo>
                  <a:pt x="3663" y="375"/>
                </a:lnTo>
                <a:lnTo>
                  <a:pt x="3662" y="376"/>
                </a:lnTo>
                <a:lnTo>
                  <a:pt x="3662" y="381"/>
                </a:lnTo>
                <a:lnTo>
                  <a:pt x="3654" y="388"/>
                </a:lnTo>
                <a:lnTo>
                  <a:pt x="3656" y="390"/>
                </a:lnTo>
                <a:lnTo>
                  <a:pt x="3656" y="393"/>
                </a:lnTo>
                <a:lnTo>
                  <a:pt x="3662" y="397"/>
                </a:lnTo>
                <a:lnTo>
                  <a:pt x="3662" y="399"/>
                </a:lnTo>
                <a:lnTo>
                  <a:pt x="3668" y="404"/>
                </a:lnTo>
                <a:lnTo>
                  <a:pt x="3668" y="411"/>
                </a:lnTo>
                <a:lnTo>
                  <a:pt x="3669" y="415"/>
                </a:lnTo>
                <a:lnTo>
                  <a:pt x="3666" y="418"/>
                </a:lnTo>
                <a:lnTo>
                  <a:pt x="3663" y="420"/>
                </a:lnTo>
                <a:lnTo>
                  <a:pt x="3664" y="421"/>
                </a:lnTo>
                <a:lnTo>
                  <a:pt x="3666" y="422"/>
                </a:lnTo>
                <a:lnTo>
                  <a:pt x="3664" y="426"/>
                </a:lnTo>
                <a:lnTo>
                  <a:pt x="3668" y="431"/>
                </a:lnTo>
                <a:lnTo>
                  <a:pt x="3664" y="437"/>
                </a:lnTo>
                <a:lnTo>
                  <a:pt x="3666" y="442"/>
                </a:lnTo>
                <a:lnTo>
                  <a:pt x="3664" y="450"/>
                </a:lnTo>
                <a:lnTo>
                  <a:pt x="3666" y="454"/>
                </a:lnTo>
                <a:lnTo>
                  <a:pt x="3668" y="458"/>
                </a:lnTo>
                <a:lnTo>
                  <a:pt x="3673" y="461"/>
                </a:lnTo>
                <a:lnTo>
                  <a:pt x="3678" y="464"/>
                </a:lnTo>
                <a:lnTo>
                  <a:pt x="3682" y="467"/>
                </a:lnTo>
                <a:lnTo>
                  <a:pt x="3682" y="467"/>
                </a:lnTo>
                <a:lnTo>
                  <a:pt x="3682" y="467"/>
                </a:lnTo>
                <a:lnTo>
                  <a:pt x="3678" y="465"/>
                </a:lnTo>
                <a:lnTo>
                  <a:pt x="3674" y="475"/>
                </a:lnTo>
                <a:lnTo>
                  <a:pt x="3673" y="476"/>
                </a:lnTo>
                <a:lnTo>
                  <a:pt x="3673" y="476"/>
                </a:lnTo>
                <a:lnTo>
                  <a:pt x="3674" y="483"/>
                </a:lnTo>
                <a:lnTo>
                  <a:pt x="3671" y="487"/>
                </a:lnTo>
                <a:lnTo>
                  <a:pt x="3662" y="489"/>
                </a:lnTo>
                <a:lnTo>
                  <a:pt x="3662" y="491"/>
                </a:lnTo>
                <a:lnTo>
                  <a:pt x="3662" y="492"/>
                </a:lnTo>
                <a:lnTo>
                  <a:pt x="3663" y="492"/>
                </a:lnTo>
                <a:lnTo>
                  <a:pt x="3663" y="493"/>
                </a:lnTo>
                <a:lnTo>
                  <a:pt x="3664" y="494"/>
                </a:lnTo>
                <a:lnTo>
                  <a:pt x="3663" y="495"/>
                </a:lnTo>
                <a:lnTo>
                  <a:pt x="3663" y="495"/>
                </a:lnTo>
                <a:lnTo>
                  <a:pt x="3660" y="497"/>
                </a:lnTo>
                <a:lnTo>
                  <a:pt x="3658" y="498"/>
                </a:lnTo>
                <a:lnTo>
                  <a:pt x="3662" y="500"/>
                </a:lnTo>
                <a:lnTo>
                  <a:pt x="3660" y="500"/>
                </a:lnTo>
                <a:lnTo>
                  <a:pt x="3659" y="500"/>
                </a:lnTo>
                <a:lnTo>
                  <a:pt x="3655" y="507"/>
                </a:lnTo>
                <a:lnTo>
                  <a:pt x="3649" y="507"/>
                </a:lnTo>
                <a:lnTo>
                  <a:pt x="3650" y="511"/>
                </a:lnTo>
                <a:lnTo>
                  <a:pt x="3650" y="515"/>
                </a:lnTo>
                <a:lnTo>
                  <a:pt x="3644" y="515"/>
                </a:lnTo>
                <a:lnTo>
                  <a:pt x="3642" y="516"/>
                </a:lnTo>
                <a:lnTo>
                  <a:pt x="3639" y="517"/>
                </a:lnTo>
                <a:lnTo>
                  <a:pt x="3632" y="514"/>
                </a:lnTo>
                <a:lnTo>
                  <a:pt x="3639" y="511"/>
                </a:lnTo>
                <a:lnTo>
                  <a:pt x="3632" y="512"/>
                </a:lnTo>
                <a:lnTo>
                  <a:pt x="3626" y="511"/>
                </a:lnTo>
                <a:lnTo>
                  <a:pt x="3634" y="522"/>
                </a:lnTo>
                <a:lnTo>
                  <a:pt x="3650" y="521"/>
                </a:lnTo>
                <a:lnTo>
                  <a:pt x="3658" y="523"/>
                </a:lnTo>
                <a:lnTo>
                  <a:pt x="3660" y="522"/>
                </a:lnTo>
                <a:lnTo>
                  <a:pt x="3662" y="522"/>
                </a:lnTo>
                <a:lnTo>
                  <a:pt x="3662" y="517"/>
                </a:lnTo>
                <a:lnTo>
                  <a:pt x="3663" y="516"/>
                </a:lnTo>
                <a:lnTo>
                  <a:pt x="3664" y="515"/>
                </a:lnTo>
                <a:lnTo>
                  <a:pt x="3670" y="515"/>
                </a:lnTo>
                <a:lnTo>
                  <a:pt x="3683" y="506"/>
                </a:lnTo>
                <a:lnTo>
                  <a:pt x="3683" y="502"/>
                </a:lnTo>
                <a:lnTo>
                  <a:pt x="3682" y="499"/>
                </a:lnTo>
                <a:lnTo>
                  <a:pt x="3682" y="498"/>
                </a:lnTo>
                <a:lnTo>
                  <a:pt x="3695" y="488"/>
                </a:lnTo>
                <a:lnTo>
                  <a:pt x="3697" y="484"/>
                </a:lnTo>
                <a:lnTo>
                  <a:pt x="3697" y="481"/>
                </a:lnTo>
                <a:lnTo>
                  <a:pt x="3696" y="479"/>
                </a:lnTo>
                <a:lnTo>
                  <a:pt x="3696" y="476"/>
                </a:lnTo>
                <a:lnTo>
                  <a:pt x="3693" y="473"/>
                </a:lnTo>
                <a:lnTo>
                  <a:pt x="3691" y="470"/>
                </a:lnTo>
                <a:lnTo>
                  <a:pt x="3691" y="468"/>
                </a:lnTo>
                <a:lnTo>
                  <a:pt x="3690" y="466"/>
                </a:lnTo>
                <a:lnTo>
                  <a:pt x="3690" y="461"/>
                </a:lnTo>
                <a:lnTo>
                  <a:pt x="3694" y="460"/>
                </a:lnTo>
                <a:lnTo>
                  <a:pt x="3722" y="454"/>
                </a:lnTo>
                <a:lnTo>
                  <a:pt x="3723" y="457"/>
                </a:lnTo>
                <a:lnTo>
                  <a:pt x="3723" y="460"/>
                </a:lnTo>
                <a:lnTo>
                  <a:pt x="3735" y="466"/>
                </a:lnTo>
                <a:lnTo>
                  <a:pt x="3735" y="470"/>
                </a:lnTo>
                <a:lnTo>
                  <a:pt x="3735" y="471"/>
                </a:lnTo>
                <a:lnTo>
                  <a:pt x="3734" y="472"/>
                </a:lnTo>
                <a:lnTo>
                  <a:pt x="3735" y="472"/>
                </a:lnTo>
                <a:lnTo>
                  <a:pt x="3735" y="472"/>
                </a:lnTo>
                <a:lnTo>
                  <a:pt x="3735" y="476"/>
                </a:lnTo>
                <a:lnTo>
                  <a:pt x="3734" y="480"/>
                </a:lnTo>
                <a:lnTo>
                  <a:pt x="3735" y="481"/>
                </a:lnTo>
                <a:lnTo>
                  <a:pt x="3735" y="481"/>
                </a:lnTo>
                <a:lnTo>
                  <a:pt x="3731" y="485"/>
                </a:lnTo>
                <a:lnTo>
                  <a:pt x="3737" y="489"/>
                </a:lnTo>
                <a:lnTo>
                  <a:pt x="3742" y="495"/>
                </a:lnTo>
                <a:lnTo>
                  <a:pt x="3761" y="495"/>
                </a:lnTo>
                <a:lnTo>
                  <a:pt x="3757" y="491"/>
                </a:lnTo>
                <a:lnTo>
                  <a:pt x="3753" y="491"/>
                </a:lnTo>
                <a:lnTo>
                  <a:pt x="3751" y="491"/>
                </a:lnTo>
                <a:lnTo>
                  <a:pt x="3753" y="489"/>
                </a:lnTo>
                <a:lnTo>
                  <a:pt x="3754" y="488"/>
                </a:lnTo>
                <a:lnTo>
                  <a:pt x="3737" y="487"/>
                </a:lnTo>
                <a:lnTo>
                  <a:pt x="3737" y="481"/>
                </a:lnTo>
                <a:lnTo>
                  <a:pt x="3738" y="476"/>
                </a:lnTo>
                <a:lnTo>
                  <a:pt x="3743" y="474"/>
                </a:lnTo>
                <a:lnTo>
                  <a:pt x="3748" y="472"/>
                </a:lnTo>
                <a:lnTo>
                  <a:pt x="3743" y="470"/>
                </a:lnTo>
                <a:lnTo>
                  <a:pt x="3743" y="467"/>
                </a:lnTo>
                <a:lnTo>
                  <a:pt x="3742" y="467"/>
                </a:lnTo>
                <a:lnTo>
                  <a:pt x="3741" y="462"/>
                </a:lnTo>
                <a:lnTo>
                  <a:pt x="3741" y="457"/>
                </a:lnTo>
                <a:lnTo>
                  <a:pt x="3716" y="447"/>
                </a:lnTo>
                <a:lnTo>
                  <a:pt x="3708" y="447"/>
                </a:lnTo>
                <a:lnTo>
                  <a:pt x="3697" y="453"/>
                </a:lnTo>
                <a:lnTo>
                  <a:pt x="3691" y="450"/>
                </a:lnTo>
                <a:lnTo>
                  <a:pt x="3688" y="451"/>
                </a:lnTo>
                <a:lnTo>
                  <a:pt x="3685" y="452"/>
                </a:lnTo>
                <a:lnTo>
                  <a:pt x="3683" y="451"/>
                </a:lnTo>
                <a:lnTo>
                  <a:pt x="3682" y="449"/>
                </a:lnTo>
                <a:lnTo>
                  <a:pt x="3683" y="445"/>
                </a:lnTo>
                <a:lnTo>
                  <a:pt x="3685" y="442"/>
                </a:lnTo>
                <a:lnTo>
                  <a:pt x="3681" y="438"/>
                </a:lnTo>
                <a:lnTo>
                  <a:pt x="3678" y="433"/>
                </a:lnTo>
                <a:lnTo>
                  <a:pt x="3683" y="426"/>
                </a:lnTo>
                <a:lnTo>
                  <a:pt x="3681" y="424"/>
                </a:lnTo>
                <a:lnTo>
                  <a:pt x="3690" y="414"/>
                </a:lnTo>
                <a:lnTo>
                  <a:pt x="3690" y="409"/>
                </a:lnTo>
                <a:lnTo>
                  <a:pt x="3686" y="406"/>
                </a:lnTo>
                <a:lnTo>
                  <a:pt x="3682" y="404"/>
                </a:lnTo>
                <a:lnTo>
                  <a:pt x="3682" y="400"/>
                </a:lnTo>
                <a:lnTo>
                  <a:pt x="3680" y="396"/>
                </a:lnTo>
                <a:lnTo>
                  <a:pt x="3678" y="393"/>
                </a:lnTo>
                <a:lnTo>
                  <a:pt x="3676" y="391"/>
                </a:lnTo>
                <a:lnTo>
                  <a:pt x="3673" y="389"/>
                </a:lnTo>
                <a:lnTo>
                  <a:pt x="3676" y="386"/>
                </a:lnTo>
                <a:lnTo>
                  <a:pt x="3678" y="383"/>
                </a:lnTo>
                <a:lnTo>
                  <a:pt x="3678" y="380"/>
                </a:lnTo>
                <a:lnTo>
                  <a:pt x="3678" y="377"/>
                </a:lnTo>
                <a:lnTo>
                  <a:pt x="3689" y="374"/>
                </a:lnTo>
                <a:lnTo>
                  <a:pt x="3700" y="370"/>
                </a:lnTo>
                <a:lnTo>
                  <a:pt x="3702" y="366"/>
                </a:lnTo>
                <a:lnTo>
                  <a:pt x="3702" y="361"/>
                </a:lnTo>
                <a:lnTo>
                  <a:pt x="3700" y="353"/>
                </a:lnTo>
                <a:lnTo>
                  <a:pt x="3697" y="349"/>
                </a:lnTo>
                <a:lnTo>
                  <a:pt x="3701" y="347"/>
                </a:lnTo>
                <a:lnTo>
                  <a:pt x="3707" y="349"/>
                </a:lnTo>
                <a:lnTo>
                  <a:pt x="3708" y="351"/>
                </a:lnTo>
                <a:lnTo>
                  <a:pt x="3706" y="353"/>
                </a:lnTo>
                <a:lnTo>
                  <a:pt x="3711" y="357"/>
                </a:lnTo>
                <a:lnTo>
                  <a:pt x="3708" y="358"/>
                </a:lnTo>
                <a:lnTo>
                  <a:pt x="3711" y="365"/>
                </a:lnTo>
                <a:lnTo>
                  <a:pt x="3702" y="376"/>
                </a:lnTo>
                <a:lnTo>
                  <a:pt x="3702" y="380"/>
                </a:lnTo>
                <a:lnTo>
                  <a:pt x="3706" y="383"/>
                </a:lnTo>
                <a:lnTo>
                  <a:pt x="3706" y="386"/>
                </a:lnTo>
                <a:lnTo>
                  <a:pt x="3702" y="388"/>
                </a:lnTo>
                <a:lnTo>
                  <a:pt x="3702" y="389"/>
                </a:lnTo>
                <a:lnTo>
                  <a:pt x="3710" y="393"/>
                </a:lnTo>
                <a:lnTo>
                  <a:pt x="3727" y="394"/>
                </a:lnTo>
                <a:lnTo>
                  <a:pt x="3727" y="397"/>
                </a:lnTo>
                <a:lnTo>
                  <a:pt x="3730" y="399"/>
                </a:lnTo>
                <a:lnTo>
                  <a:pt x="3741" y="399"/>
                </a:lnTo>
                <a:lnTo>
                  <a:pt x="3743" y="399"/>
                </a:lnTo>
                <a:lnTo>
                  <a:pt x="3745" y="401"/>
                </a:lnTo>
                <a:lnTo>
                  <a:pt x="3748" y="402"/>
                </a:lnTo>
                <a:lnTo>
                  <a:pt x="3751" y="404"/>
                </a:lnTo>
                <a:lnTo>
                  <a:pt x="3761" y="403"/>
                </a:lnTo>
                <a:lnTo>
                  <a:pt x="3753" y="403"/>
                </a:lnTo>
                <a:lnTo>
                  <a:pt x="3752" y="403"/>
                </a:lnTo>
                <a:lnTo>
                  <a:pt x="3751" y="403"/>
                </a:lnTo>
                <a:lnTo>
                  <a:pt x="3750" y="400"/>
                </a:lnTo>
                <a:lnTo>
                  <a:pt x="3748" y="398"/>
                </a:lnTo>
                <a:lnTo>
                  <a:pt x="3749" y="396"/>
                </a:lnTo>
                <a:lnTo>
                  <a:pt x="3749" y="395"/>
                </a:lnTo>
                <a:lnTo>
                  <a:pt x="3743" y="395"/>
                </a:lnTo>
                <a:lnTo>
                  <a:pt x="3745" y="390"/>
                </a:lnTo>
                <a:lnTo>
                  <a:pt x="3743" y="391"/>
                </a:lnTo>
                <a:lnTo>
                  <a:pt x="3742" y="393"/>
                </a:lnTo>
                <a:lnTo>
                  <a:pt x="3739" y="392"/>
                </a:lnTo>
                <a:lnTo>
                  <a:pt x="3737" y="392"/>
                </a:lnTo>
                <a:lnTo>
                  <a:pt x="3738" y="392"/>
                </a:lnTo>
                <a:lnTo>
                  <a:pt x="3738" y="393"/>
                </a:lnTo>
                <a:lnTo>
                  <a:pt x="3738" y="393"/>
                </a:lnTo>
                <a:lnTo>
                  <a:pt x="3738" y="393"/>
                </a:lnTo>
                <a:lnTo>
                  <a:pt x="3719" y="385"/>
                </a:lnTo>
                <a:lnTo>
                  <a:pt x="3716" y="376"/>
                </a:lnTo>
                <a:lnTo>
                  <a:pt x="3718" y="374"/>
                </a:lnTo>
                <a:lnTo>
                  <a:pt x="3729" y="372"/>
                </a:lnTo>
                <a:lnTo>
                  <a:pt x="3738" y="377"/>
                </a:lnTo>
                <a:lnTo>
                  <a:pt x="3742" y="377"/>
                </a:lnTo>
                <a:lnTo>
                  <a:pt x="3747" y="377"/>
                </a:lnTo>
                <a:lnTo>
                  <a:pt x="3748" y="373"/>
                </a:lnTo>
                <a:lnTo>
                  <a:pt x="3745" y="371"/>
                </a:lnTo>
                <a:lnTo>
                  <a:pt x="3735" y="371"/>
                </a:lnTo>
                <a:lnTo>
                  <a:pt x="3738" y="367"/>
                </a:lnTo>
                <a:lnTo>
                  <a:pt x="3731" y="367"/>
                </a:lnTo>
                <a:lnTo>
                  <a:pt x="3729" y="364"/>
                </a:lnTo>
                <a:lnTo>
                  <a:pt x="3741" y="353"/>
                </a:lnTo>
                <a:lnTo>
                  <a:pt x="3752" y="358"/>
                </a:lnTo>
                <a:lnTo>
                  <a:pt x="3745" y="363"/>
                </a:lnTo>
                <a:lnTo>
                  <a:pt x="3748" y="362"/>
                </a:lnTo>
                <a:lnTo>
                  <a:pt x="3753" y="361"/>
                </a:lnTo>
                <a:lnTo>
                  <a:pt x="3759" y="362"/>
                </a:lnTo>
                <a:lnTo>
                  <a:pt x="3766" y="363"/>
                </a:lnTo>
                <a:lnTo>
                  <a:pt x="3783" y="370"/>
                </a:lnTo>
                <a:lnTo>
                  <a:pt x="3783" y="375"/>
                </a:lnTo>
                <a:lnTo>
                  <a:pt x="3783" y="375"/>
                </a:lnTo>
                <a:lnTo>
                  <a:pt x="3797" y="383"/>
                </a:lnTo>
                <a:lnTo>
                  <a:pt x="3815" y="380"/>
                </a:lnTo>
                <a:lnTo>
                  <a:pt x="3821" y="381"/>
                </a:lnTo>
                <a:lnTo>
                  <a:pt x="3819" y="385"/>
                </a:lnTo>
                <a:lnTo>
                  <a:pt x="3817" y="386"/>
                </a:lnTo>
                <a:lnTo>
                  <a:pt x="3816" y="388"/>
                </a:lnTo>
                <a:lnTo>
                  <a:pt x="3812" y="390"/>
                </a:lnTo>
                <a:lnTo>
                  <a:pt x="3807" y="393"/>
                </a:lnTo>
                <a:lnTo>
                  <a:pt x="3808" y="395"/>
                </a:lnTo>
                <a:lnTo>
                  <a:pt x="3808" y="397"/>
                </a:lnTo>
                <a:lnTo>
                  <a:pt x="3805" y="400"/>
                </a:lnTo>
                <a:lnTo>
                  <a:pt x="3808" y="405"/>
                </a:lnTo>
                <a:lnTo>
                  <a:pt x="3810" y="403"/>
                </a:lnTo>
                <a:lnTo>
                  <a:pt x="3812" y="400"/>
                </a:lnTo>
                <a:lnTo>
                  <a:pt x="3820" y="403"/>
                </a:lnTo>
                <a:lnTo>
                  <a:pt x="3819" y="409"/>
                </a:lnTo>
                <a:lnTo>
                  <a:pt x="3819" y="409"/>
                </a:lnTo>
                <a:lnTo>
                  <a:pt x="3819" y="414"/>
                </a:lnTo>
                <a:lnTo>
                  <a:pt x="3815" y="415"/>
                </a:lnTo>
                <a:lnTo>
                  <a:pt x="3815" y="415"/>
                </a:lnTo>
                <a:lnTo>
                  <a:pt x="3813" y="418"/>
                </a:lnTo>
                <a:lnTo>
                  <a:pt x="3811" y="420"/>
                </a:lnTo>
                <a:lnTo>
                  <a:pt x="3811" y="422"/>
                </a:lnTo>
                <a:lnTo>
                  <a:pt x="3819" y="426"/>
                </a:lnTo>
                <a:lnTo>
                  <a:pt x="3819" y="424"/>
                </a:lnTo>
                <a:lnTo>
                  <a:pt x="3819" y="423"/>
                </a:lnTo>
                <a:lnTo>
                  <a:pt x="3817" y="423"/>
                </a:lnTo>
                <a:lnTo>
                  <a:pt x="3824" y="423"/>
                </a:lnTo>
                <a:lnTo>
                  <a:pt x="3826" y="417"/>
                </a:lnTo>
                <a:lnTo>
                  <a:pt x="3824" y="414"/>
                </a:lnTo>
                <a:lnTo>
                  <a:pt x="3826" y="412"/>
                </a:lnTo>
                <a:lnTo>
                  <a:pt x="3824" y="403"/>
                </a:lnTo>
                <a:lnTo>
                  <a:pt x="3820" y="394"/>
                </a:lnTo>
                <a:lnTo>
                  <a:pt x="3823" y="389"/>
                </a:lnTo>
                <a:lnTo>
                  <a:pt x="3827" y="383"/>
                </a:lnTo>
                <a:lnTo>
                  <a:pt x="3823" y="377"/>
                </a:lnTo>
                <a:lnTo>
                  <a:pt x="3813" y="376"/>
                </a:lnTo>
                <a:lnTo>
                  <a:pt x="3809" y="373"/>
                </a:lnTo>
                <a:lnTo>
                  <a:pt x="3805" y="370"/>
                </a:lnTo>
                <a:lnTo>
                  <a:pt x="3806" y="369"/>
                </a:lnTo>
                <a:lnTo>
                  <a:pt x="3807" y="369"/>
                </a:lnTo>
                <a:lnTo>
                  <a:pt x="3806" y="367"/>
                </a:lnTo>
                <a:lnTo>
                  <a:pt x="3805" y="365"/>
                </a:lnTo>
                <a:lnTo>
                  <a:pt x="3790" y="363"/>
                </a:lnTo>
                <a:lnTo>
                  <a:pt x="3785" y="358"/>
                </a:lnTo>
                <a:lnTo>
                  <a:pt x="3786" y="353"/>
                </a:lnTo>
                <a:lnTo>
                  <a:pt x="3781" y="351"/>
                </a:lnTo>
                <a:lnTo>
                  <a:pt x="3783" y="347"/>
                </a:lnTo>
                <a:lnTo>
                  <a:pt x="3783" y="344"/>
                </a:lnTo>
                <a:lnTo>
                  <a:pt x="3778" y="343"/>
                </a:lnTo>
                <a:lnTo>
                  <a:pt x="3782" y="342"/>
                </a:lnTo>
                <a:lnTo>
                  <a:pt x="3776" y="342"/>
                </a:lnTo>
                <a:lnTo>
                  <a:pt x="3782" y="339"/>
                </a:lnTo>
                <a:lnTo>
                  <a:pt x="3778" y="335"/>
                </a:lnTo>
                <a:lnTo>
                  <a:pt x="3783" y="330"/>
                </a:lnTo>
                <a:lnTo>
                  <a:pt x="3779" y="330"/>
                </a:lnTo>
                <a:lnTo>
                  <a:pt x="3779" y="328"/>
                </a:lnTo>
                <a:lnTo>
                  <a:pt x="3780" y="327"/>
                </a:lnTo>
                <a:lnTo>
                  <a:pt x="3840" y="322"/>
                </a:lnTo>
                <a:lnTo>
                  <a:pt x="3849" y="324"/>
                </a:lnTo>
                <a:lnTo>
                  <a:pt x="3861" y="322"/>
                </a:lnTo>
                <a:lnTo>
                  <a:pt x="3876" y="322"/>
                </a:lnTo>
                <a:lnTo>
                  <a:pt x="3875" y="323"/>
                </a:lnTo>
                <a:lnTo>
                  <a:pt x="3868" y="325"/>
                </a:lnTo>
                <a:lnTo>
                  <a:pt x="3874" y="324"/>
                </a:lnTo>
                <a:lnTo>
                  <a:pt x="3872" y="326"/>
                </a:lnTo>
                <a:lnTo>
                  <a:pt x="3867" y="326"/>
                </a:lnTo>
                <a:lnTo>
                  <a:pt x="3860" y="330"/>
                </a:lnTo>
                <a:lnTo>
                  <a:pt x="3879" y="326"/>
                </a:lnTo>
                <a:lnTo>
                  <a:pt x="3886" y="319"/>
                </a:lnTo>
                <a:lnTo>
                  <a:pt x="3880" y="321"/>
                </a:lnTo>
                <a:lnTo>
                  <a:pt x="3875" y="318"/>
                </a:lnTo>
                <a:lnTo>
                  <a:pt x="3882" y="318"/>
                </a:lnTo>
                <a:lnTo>
                  <a:pt x="3880" y="314"/>
                </a:lnTo>
                <a:lnTo>
                  <a:pt x="3874" y="314"/>
                </a:lnTo>
                <a:lnTo>
                  <a:pt x="3872" y="310"/>
                </a:lnTo>
                <a:lnTo>
                  <a:pt x="3868" y="310"/>
                </a:lnTo>
                <a:lnTo>
                  <a:pt x="3859" y="307"/>
                </a:lnTo>
                <a:lnTo>
                  <a:pt x="3859" y="304"/>
                </a:lnTo>
                <a:lnTo>
                  <a:pt x="3865" y="307"/>
                </a:lnTo>
                <a:lnTo>
                  <a:pt x="3861" y="303"/>
                </a:lnTo>
                <a:lnTo>
                  <a:pt x="3867" y="301"/>
                </a:lnTo>
                <a:lnTo>
                  <a:pt x="3865" y="301"/>
                </a:lnTo>
                <a:lnTo>
                  <a:pt x="3865" y="301"/>
                </a:lnTo>
                <a:lnTo>
                  <a:pt x="3863" y="300"/>
                </a:lnTo>
                <a:lnTo>
                  <a:pt x="3858" y="298"/>
                </a:lnTo>
                <a:lnTo>
                  <a:pt x="3862" y="293"/>
                </a:lnTo>
                <a:lnTo>
                  <a:pt x="3871" y="296"/>
                </a:lnTo>
                <a:lnTo>
                  <a:pt x="3871" y="298"/>
                </a:lnTo>
                <a:lnTo>
                  <a:pt x="3872" y="298"/>
                </a:lnTo>
                <a:lnTo>
                  <a:pt x="3880" y="288"/>
                </a:lnTo>
                <a:lnTo>
                  <a:pt x="3879" y="285"/>
                </a:lnTo>
                <a:lnTo>
                  <a:pt x="3883" y="287"/>
                </a:lnTo>
                <a:lnTo>
                  <a:pt x="3886" y="285"/>
                </a:lnTo>
                <a:lnTo>
                  <a:pt x="3874" y="284"/>
                </a:lnTo>
                <a:lnTo>
                  <a:pt x="3875" y="280"/>
                </a:lnTo>
                <a:lnTo>
                  <a:pt x="3889" y="281"/>
                </a:lnTo>
                <a:lnTo>
                  <a:pt x="3898" y="275"/>
                </a:lnTo>
                <a:lnTo>
                  <a:pt x="3907" y="270"/>
                </a:lnTo>
                <a:lnTo>
                  <a:pt x="3910" y="271"/>
                </a:lnTo>
                <a:lnTo>
                  <a:pt x="3912" y="273"/>
                </a:lnTo>
                <a:lnTo>
                  <a:pt x="3915" y="271"/>
                </a:lnTo>
                <a:lnTo>
                  <a:pt x="3919" y="269"/>
                </a:lnTo>
                <a:lnTo>
                  <a:pt x="3931" y="266"/>
                </a:lnTo>
                <a:lnTo>
                  <a:pt x="3942" y="266"/>
                </a:lnTo>
                <a:lnTo>
                  <a:pt x="3944" y="265"/>
                </a:lnTo>
                <a:lnTo>
                  <a:pt x="3980" y="258"/>
                </a:lnTo>
                <a:lnTo>
                  <a:pt x="3969" y="258"/>
                </a:lnTo>
                <a:lnTo>
                  <a:pt x="3969" y="258"/>
                </a:lnTo>
                <a:lnTo>
                  <a:pt x="3969" y="258"/>
                </a:lnTo>
                <a:lnTo>
                  <a:pt x="3966" y="254"/>
                </a:lnTo>
                <a:lnTo>
                  <a:pt x="3963" y="257"/>
                </a:lnTo>
                <a:lnTo>
                  <a:pt x="3963" y="258"/>
                </a:lnTo>
                <a:lnTo>
                  <a:pt x="3959" y="258"/>
                </a:lnTo>
                <a:lnTo>
                  <a:pt x="3960" y="256"/>
                </a:lnTo>
                <a:lnTo>
                  <a:pt x="3961" y="254"/>
                </a:lnTo>
                <a:lnTo>
                  <a:pt x="3966" y="254"/>
                </a:lnTo>
                <a:lnTo>
                  <a:pt x="3968" y="256"/>
                </a:lnTo>
                <a:lnTo>
                  <a:pt x="3978" y="255"/>
                </a:lnTo>
                <a:lnTo>
                  <a:pt x="3972" y="254"/>
                </a:lnTo>
                <a:lnTo>
                  <a:pt x="3984" y="254"/>
                </a:lnTo>
                <a:lnTo>
                  <a:pt x="3984" y="254"/>
                </a:lnTo>
                <a:lnTo>
                  <a:pt x="3985" y="254"/>
                </a:lnTo>
                <a:lnTo>
                  <a:pt x="3985" y="254"/>
                </a:lnTo>
                <a:lnTo>
                  <a:pt x="3985" y="254"/>
                </a:lnTo>
                <a:lnTo>
                  <a:pt x="3986" y="254"/>
                </a:lnTo>
                <a:lnTo>
                  <a:pt x="4010" y="256"/>
                </a:lnTo>
                <a:lnTo>
                  <a:pt x="4000" y="262"/>
                </a:lnTo>
                <a:lnTo>
                  <a:pt x="4002" y="262"/>
                </a:lnTo>
                <a:lnTo>
                  <a:pt x="4005" y="259"/>
                </a:lnTo>
                <a:lnTo>
                  <a:pt x="4013" y="255"/>
                </a:lnTo>
                <a:lnTo>
                  <a:pt x="4014" y="258"/>
                </a:lnTo>
                <a:lnTo>
                  <a:pt x="4013" y="259"/>
                </a:lnTo>
                <a:lnTo>
                  <a:pt x="4025" y="254"/>
                </a:lnTo>
                <a:lnTo>
                  <a:pt x="4025" y="254"/>
                </a:lnTo>
                <a:lnTo>
                  <a:pt x="4023" y="258"/>
                </a:lnTo>
                <a:lnTo>
                  <a:pt x="4032" y="255"/>
                </a:lnTo>
                <a:lnTo>
                  <a:pt x="4028" y="254"/>
                </a:lnTo>
                <a:lnTo>
                  <a:pt x="4033" y="254"/>
                </a:lnTo>
                <a:lnTo>
                  <a:pt x="4037" y="254"/>
                </a:lnTo>
                <a:lnTo>
                  <a:pt x="4039" y="254"/>
                </a:lnTo>
                <a:lnTo>
                  <a:pt x="4033" y="252"/>
                </a:lnTo>
                <a:lnTo>
                  <a:pt x="4046" y="248"/>
                </a:lnTo>
                <a:lnTo>
                  <a:pt x="4044" y="250"/>
                </a:lnTo>
                <a:lnTo>
                  <a:pt x="4054" y="250"/>
                </a:lnTo>
                <a:lnTo>
                  <a:pt x="4053" y="252"/>
                </a:lnTo>
                <a:lnTo>
                  <a:pt x="4051" y="254"/>
                </a:lnTo>
                <a:lnTo>
                  <a:pt x="4056" y="254"/>
                </a:lnTo>
                <a:lnTo>
                  <a:pt x="4058" y="253"/>
                </a:lnTo>
                <a:lnTo>
                  <a:pt x="4060" y="253"/>
                </a:lnTo>
                <a:lnTo>
                  <a:pt x="4060" y="253"/>
                </a:lnTo>
                <a:lnTo>
                  <a:pt x="4057" y="247"/>
                </a:lnTo>
                <a:lnTo>
                  <a:pt x="4054" y="245"/>
                </a:lnTo>
                <a:lnTo>
                  <a:pt x="4050" y="243"/>
                </a:lnTo>
                <a:lnTo>
                  <a:pt x="4046" y="241"/>
                </a:lnTo>
                <a:lnTo>
                  <a:pt x="4076" y="239"/>
                </a:lnTo>
                <a:lnTo>
                  <a:pt x="4076" y="238"/>
                </a:lnTo>
                <a:lnTo>
                  <a:pt x="4080" y="238"/>
                </a:lnTo>
                <a:lnTo>
                  <a:pt x="4081" y="232"/>
                </a:lnTo>
                <a:lnTo>
                  <a:pt x="4077" y="228"/>
                </a:lnTo>
                <a:lnTo>
                  <a:pt x="4078" y="226"/>
                </a:lnTo>
                <a:lnTo>
                  <a:pt x="4080" y="226"/>
                </a:lnTo>
                <a:lnTo>
                  <a:pt x="4080" y="220"/>
                </a:lnTo>
                <a:lnTo>
                  <a:pt x="4095" y="212"/>
                </a:lnTo>
                <a:lnTo>
                  <a:pt x="4096" y="212"/>
                </a:lnTo>
                <a:lnTo>
                  <a:pt x="4098" y="213"/>
                </a:lnTo>
                <a:lnTo>
                  <a:pt x="4104" y="208"/>
                </a:lnTo>
                <a:lnTo>
                  <a:pt x="4110" y="204"/>
                </a:lnTo>
                <a:lnTo>
                  <a:pt x="4125" y="202"/>
                </a:lnTo>
                <a:lnTo>
                  <a:pt x="4128" y="202"/>
                </a:lnTo>
                <a:lnTo>
                  <a:pt x="4127" y="203"/>
                </a:lnTo>
                <a:lnTo>
                  <a:pt x="4125" y="204"/>
                </a:lnTo>
                <a:lnTo>
                  <a:pt x="4129" y="203"/>
                </a:lnTo>
                <a:lnTo>
                  <a:pt x="4132" y="203"/>
                </a:lnTo>
                <a:lnTo>
                  <a:pt x="4136" y="210"/>
                </a:lnTo>
                <a:lnTo>
                  <a:pt x="4143" y="210"/>
                </a:lnTo>
                <a:lnTo>
                  <a:pt x="4148" y="210"/>
                </a:lnTo>
                <a:lnTo>
                  <a:pt x="4150" y="211"/>
                </a:lnTo>
                <a:lnTo>
                  <a:pt x="4151" y="212"/>
                </a:lnTo>
                <a:lnTo>
                  <a:pt x="4155" y="214"/>
                </a:lnTo>
                <a:lnTo>
                  <a:pt x="4147" y="214"/>
                </a:lnTo>
                <a:lnTo>
                  <a:pt x="4143" y="217"/>
                </a:lnTo>
                <a:lnTo>
                  <a:pt x="4124" y="220"/>
                </a:lnTo>
                <a:lnTo>
                  <a:pt x="4137" y="220"/>
                </a:lnTo>
                <a:lnTo>
                  <a:pt x="4150" y="219"/>
                </a:lnTo>
                <a:lnTo>
                  <a:pt x="4148" y="223"/>
                </a:lnTo>
                <a:lnTo>
                  <a:pt x="4146" y="224"/>
                </a:lnTo>
                <a:lnTo>
                  <a:pt x="4143" y="224"/>
                </a:lnTo>
                <a:lnTo>
                  <a:pt x="4162" y="223"/>
                </a:lnTo>
                <a:lnTo>
                  <a:pt x="4167" y="225"/>
                </a:lnTo>
                <a:lnTo>
                  <a:pt x="4172" y="227"/>
                </a:lnTo>
                <a:lnTo>
                  <a:pt x="4171" y="228"/>
                </a:lnTo>
                <a:lnTo>
                  <a:pt x="4169" y="230"/>
                </a:lnTo>
                <a:lnTo>
                  <a:pt x="4170" y="230"/>
                </a:lnTo>
                <a:lnTo>
                  <a:pt x="4159" y="238"/>
                </a:lnTo>
                <a:lnTo>
                  <a:pt x="4152" y="238"/>
                </a:lnTo>
                <a:lnTo>
                  <a:pt x="4152" y="242"/>
                </a:lnTo>
                <a:lnTo>
                  <a:pt x="4179" y="242"/>
                </a:lnTo>
                <a:lnTo>
                  <a:pt x="4179" y="237"/>
                </a:lnTo>
                <a:lnTo>
                  <a:pt x="4176" y="235"/>
                </a:lnTo>
                <a:lnTo>
                  <a:pt x="4176" y="232"/>
                </a:lnTo>
                <a:lnTo>
                  <a:pt x="4208" y="235"/>
                </a:lnTo>
                <a:lnTo>
                  <a:pt x="4225" y="232"/>
                </a:lnTo>
                <a:lnTo>
                  <a:pt x="4242" y="241"/>
                </a:lnTo>
                <a:lnTo>
                  <a:pt x="4237" y="243"/>
                </a:lnTo>
                <a:lnTo>
                  <a:pt x="4243" y="241"/>
                </a:lnTo>
                <a:lnTo>
                  <a:pt x="4249" y="246"/>
                </a:lnTo>
                <a:lnTo>
                  <a:pt x="4248" y="248"/>
                </a:lnTo>
                <a:lnTo>
                  <a:pt x="4251" y="251"/>
                </a:lnTo>
                <a:lnTo>
                  <a:pt x="4247" y="254"/>
                </a:lnTo>
                <a:lnTo>
                  <a:pt x="4252" y="253"/>
                </a:lnTo>
                <a:lnTo>
                  <a:pt x="4257" y="252"/>
                </a:lnTo>
                <a:lnTo>
                  <a:pt x="4257" y="258"/>
                </a:lnTo>
                <a:lnTo>
                  <a:pt x="4260" y="258"/>
                </a:lnTo>
                <a:lnTo>
                  <a:pt x="4263" y="257"/>
                </a:lnTo>
                <a:lnTo>
                  <a:pt x="4265" y="260"/>
                </a:lnTo>
                <a:lnTo>
                  <a:pt x="4263" y="267"/>
                </a:lnTo>
                <a:lnTo>
                  <a:pt x="4262" y="268"/>
                </a:lnTo>
                <a:lnTo>
                  <a:pt x="4261" y="270"/>
                </a:lnTo>
                <a:lnTo>
                  <a:pt x="4262" y="270"/>
                </a:lnTo>
                <a:lnTo>
                  <a:pt x="4263" y="272"/>
                </a:lnTo>
                <a:lnTo>
                  <a:pt x="4263" y="274"/>
                </a:lnTo>
                <a:lnTo>
                  <a:pt x="4261" y="274"/>
                </a:lnTo>
                <a:lnTo>
                  <a:pt x="4262" y="276"/>
                </a:lnTo>
                <a:lnTo>
                  <a:pt x="4251" y="286"/>
                </a:lnTo>
                <a:lnTo>
                  <a:pt x="4241" y="289"/>
                </a:lnTo>
                <a:lnTo>
                  <a:pt x="4236" y="298"/>
                </a:lnTo>
                <a:lnTo>
                  <a:pt x="4230" y="298"/>
                </a:lnTo>
                <a:lnTo>
                  <a:pt x="4227" y="298"/>
                </a:lnTo>
                <a:lnTo>
                  <a:pt x="4224" y="299"/>
                </a:lnTo>
                <a:lnTo>
                  <a:pt x="4214" y="302"/>
                </a:lnTo>
                <a:lnTo>
                  <a:pt x="4215" y="302"/>
                </a:lnTo>
                <a:lnTo>
                  <a:pt x="4213" y="306"/>
                </a:lnTo>
                <a:lnTo>
                  <a:pt x="4209" y="307"/>
                </a:lnTo>
                <a:lnTo>
                  <a:pt x="4207" y="310"/>
                </a:lnTo>
                <a:lnTo>
                  <a:pt x="4196" y="314"/>
                </a:lnTo>
                <a:lnTo>
                  <a:pt x="4189" y="319"/>
                </a:lnTo>
                <a:lnTo>
                  <a:pt x="4183" y="324"/>
                </a:lnTo>
                <a:lnTo>
                  <a:pt x="4174" y="325"/>
                </a:lnTo>
                <a:lnTo>
                  <a:pt x="4164" y="326"/>
                </a:lnTo>
                <a:lnTo>
                  <a:pt x="4164" y="327"/>
                </a:lnTo>
                <a:lnTo>
                  <a:pt x="4161" y="334"/>
                </a:lnTo>
                <a:lnTo>
                  <a:pt x="4151" y="335"/>
                </a:lnTo>
                <a:lnTo>
                  <a:pt x="4150" y="340"/>
                </a:lnTo>
                <a:lnTo>
                  <a:pt x="4148" y="344"/>
                </a:lnTo>
                <a:lnTo>
                  <a:pt x="4144" y="347"/>
                </a:lnTo>
                <a:lnTo>
                  <a:pt x="4140" y="351"/>
                </a:lnTo>
                <a:lnTo>
                  <a:pt x="4155" y="344"/>
                </a:lnTo>
                <a:lnTo>
                  <a:pt x="4153" y="341"/>
                </a:lnTo>
                <a:lnTo>
                  <a:pt x="4156" y="337"/>
                </a:lnTo>
                <a:lnTo>
                  <a:pt x="4162" y="339"/>
                </a:lnTo>
                <a:lnTo>
                  <a:pt x="4184" y="337"/>
                </a:lnTo>
                <a:lnTo>
                  <a:pt x="4184" y="336"/>
                </a:lnTo>
                <a:lnTo>
                  <a:pt x="4183" y="335"/>
                </a:lnTo>
                <a:lnTo>
                  <a:pt x="4190" y="334"/>
                </a:lnTo>
                <a:lnTo>
                  <a:pt x="4196" y="334"/>
                </a:lnTo>
                <a:lnTo>
                  <a:pt x="4196" y="330"/>
                </a:lnTo>
                <a:lnTo>
                  <a:pt x="4201" y="330"/>
                </a:lnTo>
                <a:lnTo>
                  <a:pt x="4198" y="326"/>
                </a:lnTo>
                <a:lnTo>
                  <a:pt x="4198" y="326"/>
                </a:lnTo>
                <a:lnTo>
                  <a:pt x="4198" y="326"/>
                </a:lnTo>
                <a:lnTo>
                  <a:pt x="4205" y="330"/>
                </a:lnTo>
                <a:lnTo>
                  <a:pt x="4213" y="327"/>
                </a:lnTo>
                <a:lnTo>
                  <a:pt x="4221" y="324"/>
                </a:lnTo>
                <a:lnTo>
                  <a:pt x="4221" y="322"/>
                </a:lnTo>
                <a:lnTo>
                  <a:pt x="4218" y="322"/>
                </a:lnTo>
                <a:lnTo>
                  <a:pt x="4212" y="323"/>
                </a:lnTo>
                <a:lnTo>
                  <a:pt x="4205" y="324"/>
                </a:lnTo>
                <a:lnTo>
                  <a:pt x="4204" y="323"/>
                </a:lnTo>
                <a:lnTo>
                  <a:pt x="4202" y="321"/>
                </a:lnTo>
                <a:lnTo>
                  <a:pt x="4205" y="318"/>
                </a:lnTo>
                <a:lnTo>
                  <a:pt x="4207" y="315"/>
                </a:lnTo>
                <a:lnTo>
                  <a:pt x="4213" y="314"/>
                </a:lnTo>
                <a:lnTo>
                  <a:pt x="4218" y="316"/>
                </a:lnTo>
                <a:lnTo>
                  <a:pt x="4224" y="318"/>
                </a:lnTo>
                <a:lnTo>
                  <a:pt x="4225" y="316"/>
                </a:lnTo>
                <a:lnTo>
                  <a:pt x="4225" y="314"/>
                </a:lnTo>
                <a:lnTo>
                  <a:pt x="4232" y="313"/>
                </a:lnTo>
                <a:lnTo>
                  <a:pt x="4227" y="315"/>
                </a:lnTo>
                <a:lnTo>
                  <a:pt x="4230" y="319"/>
                </a:lnTo>
                <a:lnTo>
                  <a:pt x="4242" y="323"/>
                </a:lnTo>
                <a:lnTo>
                  <a:pt x="4251" y="321"/>
                </a:lnTo>
                <a:lnTo>
                  <a:pt x="4252" y="320"/>
                </a:lnTo>
                <a:lnTo>
                  <a:pt x="4252" y="319"/>
                </a:lnTo>
                <a:lnTo>
                  <a:pt x="4252" y="317"/>
                </a:lnTo>
                <a:lnTo>
                  <a:pt x="4251" y="314"/>
                </a:lnTo>
                <a:lnTo>
                  <a:pt x="4255" y="319"/>
                </a:lnTo>
                <a:lnTo>
                  <a:pt x="4259" y="324"/>
                </a:lnTo>
                <a:lnTo>
                  <a:pt x="4255" y="331"/>
                </a:lnTo>
                <a:lnTo>
                  <a:pt x="4256" y="333"/>
                </a:lnTo>
                <a:lnTo>
                  <a:pt x="4257" y="334"/>
                </a:lnTo>
                <a:lnTo>
                  <a:pt x="4257" y="335"/>
                </a:lnTo>
                <a:lnTo>
                  <a:pt x="4263" y="337"/>
                </a:lnTo>
                <a:lnTo>
                  <a:pt x="4262" y="334"/>
                </a:lnTo>
                <a:lnTo>
                  <a:pt x="4261" y="330"/>
                </a:lnTo>
                <a:lnTo>
                  <a:pt x="4289" y="323"/>
                </a:lnTo>
                <a:lnTo>
                  <a:pt x="4336" y="327"/>
                </a:lnTo>
                <a:lnTo>
                  <a:pt x="4338" y="328"/>
                </a:lnTo>
                <a:lnTo>
                  <a:pt x="4341" y="330"/>
                </a:lnTo>
                <a:lnTo>
                  <a:pt x="4333" y="330"/>
                </a:lnTo>
                <a:lnTo>
                  <a:pt x="4331" y="330"/>
                </a:lnTo>
                <a:lnTo>
                  <a:pt x="4329" y="331"/>
                </a:lnTo>
                <a:lnTo>
                  <a:pt x="4329" y="337"/>
                </a:lnTo>
                <a:lnTo>
                  <a:pt x="4339" y="340"/>
                </a:lnTo>
                <a:lnTo>
                  <a:pt x="4348" y="342"/>
                </a:lnTo>
                <a:lnTo>
                  <a:pt x="4352" y="346"/>
                </a:lnTo>
                <a:lnTo>
                  <a:pt x="4357" y="347"/>
                </a:lnTo>
                <a:lnTo>
                  <a:pt x="4362" y="347"/>
                </a:lnTo>
                <a:lnTo>
                  <a:pt x="4357" y="346"/>
                </a:lnTo>
                <a:lnTo>
                  <a:pt x="4352" y="346"/>
                </a:lnTo>
                <a:lnTo>
                  <a:pt x="4381" y="346"/>
                </a:lnTo>
                <a:lnTo>
                  <a:pt x="4390" y="348"/>
                </a:lnTo>
                <a:lnTo>
                  <a:pt x="4389" y="346"/>
                </a:lnTo>
                <a:lnTo>
                  <a:pt x="4406" y="350"/>
                </a:lnTo>
                <a:lnTo>
                  <a:pt x="4399" y="350"/>
                </a:lnTo>
                <a:lnTo>
                  <a:pt x="4402" y="354"/>
                </a:lnTo>
                <a:lnTo>
                  <a:pt x="4408" y="354"/>
                </a:lnTo>
                <a:lnTo>
                  <a:pt x="4423" y="355"/>
                </a:lnTo>
                <a:lnTo>
                  <a:pt x="4444" y="365"/>
                </a:lnTo>
                <a:lnTo>
                  <a:pt x="4444" y="365"/>
                </a:lnTo>
                <a:lnTo>
                  <a:pt x="4423" y="352"/>
                </a:lnTo>
                <a:lnTo>
                  <a:pt x="4406" y="348"/>
                </a:lnTo>
                <a:lnTo>
                  <a:pt x="4389" y="344"/>
                </a:lnTo>
                <a:lnTo>
                  <a:pt x="4391" y="343"/>
                </a:lnTo>
                <a:lnTo>
                  <a:pt x="4393" y="342"/>
                </a:lnTo>
                <a:lnTo>
                  <a:pt x="4397" y="344"/>
                </a:lnTo>
                <a:lnTo>
                  <a:pt x="4401" y="346"/>
                </a:lnTo>
                <a:lnTo>
                  <a:pt x="4401" y="345"/>
                </a:lnTo>
                <a:lnTo>
                  <a:pt x="4402" y="344"/>
                </a:lnTo>
                <a:lnTo>
                  <a:pt x="4404" y="339"/>
                </a:lnTo>
                <a:lnTo>
                  <a:pt x="4407" y="338"/>
                </a:lnTo>
                <a:lnTo>
                  <a:pt x="4405" y="338"/>
                </a:lnTo>
                <a:lnTo>
                  <a:pt x="4397" y="333"/>
                </a:lnTo>
                <a:lnTo>
                  <a:pt x="4397" y="327"/>
                </a:lnTo>
                <a:lnTo>
                  <a:pt x="4401" y="325"/>
                </a:lnTo>
                <a:lnTo>
                  <a:pt x="4404" y="324"/>
                </a:lnTo>
                <a:lnTo>
                  <a:pt x="4408" y="325"/>
                </a:lnTo>
                <a:lnTo>
                  <a:pt x="4411" y="326"/>
                </a:lnTo>
                <a:lnTo>
                  <a:pt x="4410" y="323"/>
                </a:lnTo>
                <a:lnTo>
                  <a:pt x="4409" y="321"/>
                </a:lnTo>
                <a:lnTo>
                  <a:pt x="4413" y="324"/>
                </a:lnTo>
                <a:lnTo>
                  <a:pt x="4419" y="321"/>
                </a:lnTo>
                <a:lnTo>
                  <a:pt x="4422" y="324"/>
                </a:lnTo>
                <a:lnTo>
                  <a:pt x="4426" y="326"/>
                </a:lnTo>
                <a:lnTo>
                  <a:pt x="4429" y="325"/>
                </a:lnTo>
                <a:lnTo>
                  <a:pt x="4431" y="330"/>
                </a:lnTo>
                <a:lnTo>
                  <a:pt x="4437" y="330"/>
                </a:lnTo>
                <a:lnTo>
                  <a:pt x="4435" y="330"/>
                </a:lnTo>
                <a:lnTo>
                  <a:pt x="4433" y="330"/>
                </a:lnTo>
                <a:lnTo>
                  <a:pt x="4433" y="333"/>
                </a:lnTo>
                <a:lnTo>
                  <a:pt x="4445" y="327"/>
                </a:lnTo>
                <a:lnTo>
                  <a:pt x="4447" y="330"/>
                </a:lnTo>
                <a:lnTo>
                  <a:pt x="4446" y="332"/>
                </a:lnTo>
                <a:lnTo>
                  <a:pt x="4444" y="334"/>
                </a:lnTo>
                <a:lnTo>
                  <a:pt x="4448" y="334"/>
                </a:lnTo>
                <a:lnTo>
                  <a:pt x="4449" y="341"/>
                </a:lnTo>
                <a:lnTo>
                  <a:pt x="4449" y="339"/>
                </a:lnTo>
                <a:lnTo>
                  <a:pt x="4449" y="337"/>
                </a:lnTo>
                <a:lnTo>
                  <a:pt x="4449" y="335"/>
                </a:lnTo>
                <a:lnTo>
                  <a:pt x="4449" y="333"/>
                </a:lnTo>
                <a:lnTo>
                  <a:pt x="4451" y="332"/>
                </a:lnTo>
                <a:lnTo>
                  <a:pt x="4453" y="330"/>
                </a:lnTo>
                <a:lnTo>
                  <a:pt x="4453" y="332"/>
                </a:lnTo>
                <a:lnTo>
                  <a:pt x="4453" y="334"/>
                </a:lnTo>
                <a:lnTo>
                  <a:pt x="4455" y="330"/>
                </a:lnTo>
                <a:lnTo>
                  <a:pt x="4453" y="330"/>
                </a:lnTo>
                <a:lnTo>
                  <a:pt x="4455" y="328"/>
                </a:lnTo>
                <a:lnTo>
                  <a:pt x="4457" y="327"/>
                </a:lnTo>
                <a:lnTo>
                  <a:pt x="4463" y="328"/>
                </a:lnTo>
                <a:lnTo>
                  <a:pt x="4470" y="329"/>
                </a:lnTo>
                <a:lnTo>
                  <a:pt x="4470" y="331"/>
                </a:lnTo>
                <a:lnTo>
                  <a:pt x="4471" y="333"/>
                </a:lnTo>
                <a:lnTo>
                  <a:pt x="4473" y="334"/>
                </a:lnTo>
                <a:lnTo>
                  <a:pt x="4475" y="334"/>
                </a:lnTo>
                <a:lnTo>
                  <a:pt x="4474" y="335"/>
                </a:lnTo>
                <a:lnTo>
                  <a:pt x="4474" y="335"/>
                </a:lnTo>
                <a:lnTo>
                  <a:pt x="4484" y="339"/>
                </a:lnTo>
                <a:lnTo>
                  <a:pt x="4483" y="340"/>
                </a:lnTo>
                <a:lnTo>
                  <a:pt x="4482" y="342"/>
                </a:lnTo>
                <a:lnTo>
                  <a:pt x="4487" y="341"/>
                </a:lnTo>
                <a:lnTo>
                  <a:pt x="4485" y="342"/>
                </a:lnTo>
                <a:lnTo>
                  <a:pt x="4484" y="344"/>
                </a:lnTo>
                <a:lnTo>
                  <a:pt x="4473" y="346"/>
                </a:lnTo>
                <a:lnTo>
                  <a:pt x="4473" y="347"/>
                </a:lnTo>
                <a:lnTo>
                  <a:pt x="4480" y="348"/>
                </a:lnTo>
                <a:lnTo>
                  <a:pt x="4487" y="350"/>
                </a:lnTo>
                <a:lnTo>
                  <a:pt x="4482" y="350"/>
                </a:lnTo>
                <a:lnTo>
                  <a:pt x="4481" y="350"/>
                </a:lnTo>
                <a:lnTo>
                  <a:pt x="4474" y="349"/>
                </a:lnTo>
                <a:lnTo>
                  <a:pt x="4473" y="349"/>
                </a:lnTo>
                <a:lnTo>
                  <a:pt x="4473" y="349"/>
                </a:lnTo>
                <a:lnTo>
                  <a:pt x="4472" y="349"/>
                </a:lnTo>
                <a:lnTo>
                  <a:pt x="4473" y="349"/>
                </a:lnTo>
                <a:lnTo>
                  <a:pt x="4473" y="350"/>
                </a:lnTo>
                <a:lnTo>
                  <a:pt x="4481" y="350"/>
                </a:lnTo>
                <a:lnTo>
                  <a:pt x="4491" y="352"/>
                </a:lnTo>
                <a:lnTo>
                  <a:pt x="4482" y="353"/>
                </a:lnTo>
                <a:lnTo>
                  <a:pt x="4484" y="357"/>
                </a:lnTo>
                <a:lnTo>
                  <a:pt x="4481" y="358"/>
                </a:lnTo>
                <a:lnTo>
                  <a:pt x="4477" y="355"/>
                </a:lnTo>
                <a:lnTo>
                  <a:pt x="4472" y="353"/>
                </a:lnTo>
                <a:lnTo>
                  <a:pt x="4477" y="353"/>
                </a:lnTo>
                <a:lnTo>
                  <a:pt x="4477" y="353"/>
                </a:lnTo>
                <a:lnTo>
                  <a:pt x="4461" y="353"/>
                </a:lnTo>
                <a:lnTo>
                  <a:pt x="4451" y="358"/>
                </a:lnTo>
                <a:lnTo>
                  <a:pt x="4449" y="358"/>
                </a:lnTo>
                <a:lnTo>
                  <a:pt x="4449" y="359"/>
                </a:lnTo>
                <a:lnTo>
                  <a:pt x="4448" y="359"/>
                </a:lnTo>
                <a:lnTo>
                  <a:pt x="4449" y="360"/>
                </a:lnTo>
                <a:lnTo>
                  <a:pt x="4449" y="361"/>
                </a:lnTo>
                <a:lnTo>
                  <a:pt x="4445" y="358"/>
                </a:lnTo>
                <a:lnTo>
                  <a:pt x="4447" y="361"/>
                </a:lnTo>
                <a:lnTo>
                  <a:pt x="4446" y="363"/>
                </a:lnTo>
                <a:lnTo>
                  <a:pt x="4444" y="365"/>
                </a:lnTo>
                <a:lnTo>
                  <a:pt x="4446" y="364"/>
                </a:lnTo>
                <a:lnTo>
                  <a:pt x="4447" y="363"/>
                </a:lnTo>
                <a:lnTo>
                  <a:pt x="4453" y="371"/>
                </a:lnTo>
                <a:lnTo>
                  <a:pt x="4453" y="365"/>
                </a:lnTo>
                <a:lnTo>
                  <a:pt x="4452" y="363"/>
                </a:lnTo>
                <a:lnTo>
                  <a:pt x="4464" y="363"/>
                </a:lnTo>
                <a:lnTo>
                  <a:pt x="4470" y="366"/>
                </a:lnTo>
                <a:lnTo>
                  <a:pt x="4474" y="370"/>
                </a:lnTo>
                <a:lnTo>
                  <a:pt x="4478" y="375"/>
                </a:lnTo>
                <a:lnTo>
                  <a:pt x="4481" y="380"/>
                </a:lnTo>
                <a:lnTo>
                  <a:pt x="4487" y="377"/>
                </a:lnTo>
                <a:lnTo>
                  <a:pt x="4487" y="375"/>
                </a:lnTo>
                <a:lnTo>
                  <a:pt x="4486" y="373"/>
                </a:lnTo>
                <a:lnTo>
                  <a:pt x="4486" y="373"/>
                </a:lnTo>
                <a:lnTo>
                  <a:pt x="4486" y="372"/>
                </a:lnTo>
                <a:lnTo>
                  <a:pt x="4494" y="383"/>
                </a:lnTo>
                <a:lnTo>
                  <a:pt x="4484" y="383"/>
                </a:lnTo>
                <a:lnTo>
                  <a:pt x="4482" y="383"/>
                </a:lnTo>
                <a:lnTo>
                  <a:pt x="4482" y="387"/>
                </a:lnTo>
                <a:lnTo>
                  <a:pt x="4487" y="387"/>
                </a:lnTo>
                <a:lnTo>
                  <a:pt x="4491" y="393"/>
                </a:lnTo>
                <a:lnTo>
                  <a:pt x="4494" y="393"/>
                </a:lnTo>
                <a:lnTo>
                  <a:pt x="4494" y="399"/>
                </a:lnTo>
                <a:lnTo>
                  <a:pt x="4500" y="399"/>
                </a:lnTo>
                <a:lnTo>
                  <a:pt x="4504" y="403"/>
                </a:lnTo>
                <a:lnTo>
                  <a:pt x="4501" y="403"/>
                </a:lnTo>
                <a:lnTo>
                  <a:pt x="4504" y="403"/>
                </a:lnTo>
                <a:lnTo>
                  <a:pt x="4507" y="404"/>
                </a:lnTo>
                <a:lnTo>
                  <a:pt x="4510" y="400"/>
                </a:lnTo>
                <a:lnTo>
                  <a:pt x="4510" y="400"/>
                </a:lnTo>
                <a:lnTo>
                  <a:pt x="4510" y="400"/>
                </a:lnTo>
                <a:lnTo>
                  <a:pt x="4511" y="406"/>
                </a:lnTo>
                <a:lnTo>
                  <a:pt x="4513" y="411"/>
                </a:lnTo>
                <a:lnTo>
                  <a:pt x="4517" y="411"/>
                </a:lnTo>
                <a:lnTo>
                  <a:pt x="4520" y="408"/>
                </a:lnTo>
                <a:lnTo>
                  <a:pt x="4523" y="404"/>
                </a:lnTo>
                <a:lnTo>
                  <a:pt x="4527" y="395"/>
                </a:lnTo>
                <a:lnTo>
                  <a:pt x="4532" y="395"/>
                </a:lnTo>
                <a:lnTo>
                  <a:pt x="4528" y="393"/>
                </a:lnTo>
                <a:lnTo>
                  <a:pt x="4532" y="381"/>
                </a:lnTo>
                <a:lnTo>
                  <a:pt x="4538" y="376"/>
                </a:lnTo>
                <a:lnTo>
                  <a:pt x="4538" y="380"/>
                </a:lnTo>
                <a:lnTo>
                  <a:pt x="4552" y="388"/>
                </a:lnTo>
                <a:lnTo>
                  <a:pt x="4564" y="392"/>
                </a:lnTo>
                <a:lnTo>
                  <a:pt x="4574" y="387"/>
                </a:lnTo>
                <a:lnTo>
                  <a:pt x="4584" y="383"/>
                </a:lnTo>
                <a:lnTo>
                  <a:pt x="4597" y="388"/>
                </a:lnTo>
                <a:lnTo>
                  <a:pt x="4609" y="393"/>
                </a:lnTo>
                <a:lnTo>
                  <a:pt x="4606" y="395"/>
                </a:lnTo>
                <a:lnTo>
                  <a:pt x="4610" y="395"/>
                </a:lnTo>
                <a:lnTo>
                  <a:pt x="4611" y="396"/>
                </a:lnTo>
                <a:lnTo>
                  <a:pt x="4613" y="397"/>
                </a:lnTo>
                <a:lnTo>
                  <a:pt x="4617" y="397"/>
                </a:lnTo>
                <a:lnTo>
                  <a:pt x="4614" y="396"/>
                </a:lnTo>
                <a:lnTo>
                  <a:pt x="4612" y="396"/>
                </a:lnTo>
                <a:lnTo>
                  <a:pt x="4616" y="395"/>
                </a:lnTo>
                <a:lnTo>
                  <a:pt x="4619" y="393"/>
                </a:lnTo>
                <a:lnTo>
                  <a:pt x="4616" y="390"/>
                </a:lnTo>
                <a:lnTo>
                  <a:pt x="4613" y="389"/>
                </a:lnTo>
                <a:lnTo>
                  <a:pt x="4617" y="385"/>
                </a:lnTo>
                <a:lnTo>
                  <a:pt x="4620" y="384"/>
                </a:lnTo>
                <a:lnTo>
                  <a:pt x="4623" y="383"/>
                </a:lnTo>
                <a:lnTo>
                  <a:pt x="4621" y="385"/>
                </a:lnTo>
                <a:lnTo>
                  <a:pt x="4623" y="386"/>
                </a:lnTo>
                <a:lnTo>
                  <a:pt x="4625" y="385"/>
                </a:lnTo>
                <a:lnTo>
                  <a:pt x="4626" y="383"/>
                </a:lnTo>
                <a:lnTo>
                  <a:pt x="4628" y="384"/>
                </a:lnTo>
                <a:lnTo>
                  <a:pt x="4631" y="385"/>
                </a:lnTo>
                <a:lnTo>
                  <a:pt x="4631" y="388"/>
                </a:lnTo>
                <a:lnTo>
                  <a:pt x="4632" y="391"/>
                </a:lnTo>
                <a:lnTo>
                  <a:pt x="4635" y="391"/>
                </a:lnTo>
                <a:lnTo>
                  <a:pt x="4636" y="388"/>
                </a:lnTo>
                <a:lnTo>
                  <a:pt x="4637" y="386"/>
                </a:lnTo>
                <a:lnTo>
                  <a:pt x="4642" y="388"/>
                </a:lnTo>
                <a:lnTo>
                  <a:pt x="4638" y="381"/>
                </a:lnTo>
                <a:lnTo>
                  <a:pt x="4638" y="376"/>
                </a:lnTo>
                <a:lnTo>
                  <a:pt x="4636" y="375"/>
                </a:lnTo>
                <a:lnTo>
                  <a:pt x="4638" y="375"/>
                </a:lnTo>
                <a:lnTo>
                  <a:pt x="4641" y="372"/>
                </a:lnTo>
                <a:lnTo>
                  <a:pt x="4643" y="369"/>
                </a:lnTo>
                <a:lnTo>
                  <a:pt x="4645" y="370"/>
                </a:lnTo>
                <a:lnTo>
                  <a:pt x="4649" y="367"/>
                </a:lnTo>
                <a:lnTo>
                  <a:pt x="4638" y="367"/>
                </a:lnTo>
                <a:lnTo>
                  <a:pt x="4637" y="368"/>
                </a:lnTo>
                <a:lnTo>
                  <a:pt x="4636" y="370"/>
                </a:lnTo>
                <a:lnTo>
                  <a:pt x="4633" y="368"/>
                </a:lnTo>
                <a:lnTo>
                  <a:pt x="4631" y="366"/>
                </a:lnTo>
                <a:lnTo>
                  <a:pt x="4638" y="359"/>
                </a:lnTo>
                <a:lnTo>
                  <a:pt x="4653" y="359"/>
                </a:lnTo>
                <a:lnTo>
                  <a:pt x="4658" y="357"/>
                </a:lnTo>
                <a:lnTo>
                  <a:pt x="4658" y="353"/>
                </a:lnTo>
                <a:lnTo>
                  <a:pt x="4653" y="350"/>
                </a:lnTo>
                <a:lnTo>
                  <a:pt x="4657" y="350"/>
                </a:lnTo>
                <a:lnTo>
                  <a:pt x="4674" y="352"/>
                </a:lnTo>
                <a:lnTo>
                  <a:pt x="4698" y="354"/>
                </a:lnTo>
                <a:lnTo>
                  <a:pt x="4723" y="359"/>
                </a:lnTo>
                <a:lnTo>
                  <a:pt x="4734" y="363"/>
                </a:lnTo>
                <a:lnTo>
                  <a:pt x="4740" y="365"/>
                </a:lnTo>
                <a:lnTo>
                  <a:pt x="4743" y="365"/>
                </a:lnTo>
                <a:lnTo>
                  <a:pt x="4747" y="364"/>
                </a:lnTo>
                <a:lnTo>
                  <a:pt x="4744" y="367"/>
                </a:lnTo>
                <a:lnTo>
                  <a:pt x="4744" y="367"/>
                </a:lnTo>
                <a:lnTo>
                  <a:pt x="4743" y="367"/>
                </a:lnTo>
                <a:lnTo>
                  <a:pt x="4731" y="375"/>
                </a:lnTo>
                <a:lnTo>
                  <a:pt x="4730" y="375"/>
                </a:lnTo>
                <a:lnTo>
                  <a:pt x="4730" y="371"/>
                </a:lnTo>
                <a:lnTo>
                  <a:pt x="4731" y="371"/>
                </a:lnTo>
                <a:lnTo>
                  <a:pt x="4729" y="367"/>
                </a:lnTo>
                <a:lnTo>
                  <a:pt x="4723" y="367"/>
                </a:lnTo>
                <a:lnTo>
                  <a:pt x="4720" y="363"/>
                </a:lnTo>
                <a:lnTo>
                  <a:pt x="4716" y="359"/>
                </a:lnTo>
                <a:lnTo>
                  <a:pt x="4715" y="360"/>
                </a:lnTo>
                <a:lnTo>
                  <a:pt x="4714" y="361"/>
                </a:lnTo>
                <a:lnTo>
                  <a:pt x="4710" y="366"/>
                </a:lnTo>
                <a:lnTo>
                  <a:pt x="4704" y="365"/>
                </a:lnTo>
                <a:lnTo>
                  <a:pt x="4706" y="367"/>
                </a:lnTo>
                <a:lnTo>
                  <a:pt x="4709" y="369"/>
                </a:lnTo>
                <a:lnTo>
                  <a:pt x="4712" y="369"/>
                </a:lnTo>
                <a:lnTo>
                  <a:pt x="4728" y="369"/>
                </a:lnTo>
                <a:lnTo>
                  <a:pt x="4727" y="375"/>
                </a:lnTo>
                <a:lnTo>
                  <a:pt x="4721" y="376"/>
                </a:lnTo>
                <a:lnTo>
                  <a:pt x="4719" y="375"/>
                </a:lnTo>
                <a:lnTo>
                  <a:pt x="4716" y="374"/>
                </a:lnTo>
                <a:lnTo>
                  <a:pt x="4720" y="377"/>
                </a:lnTo>
                <a:lnTo>
                  <a:pt x="4717" y="379"/>
                </a:lnTo>
                <a:lnTo>
                  <a:pt x="4714" y="380"/>
                </a:lnTo>
                <a:lnTo>
                  <a:pt x="4714" y="381"/>
                </a:lnTo>
                <a:lnTo>
                  <a:pt x="4720" y="383"/>
                </a:lnTo>
                <a:lnTo>
                  <a:pt x="4734" y="377"/>
                </a:lnTo>
                <a:lnTo>
                  <a:pt x="4742" y="370"/>
                </a:lnTo>
                <a:lnTo>
                  <a:pt x="4750" y="363"/>
                </a:lnTo>
                <a:lnTo>
                  <a:pt x="4777" y="366"/>
                </a:lnTo>
                <a:lnTo>
                  <a:pt x="4782" y="368"/>
                </a:lnTo>
                <a:lnTo>
                  <a:pt x="4786" y="370"/>
                </a:lnTo>
                <a:lnTo>
                  <a:pt x="4788" y="373"/>
                </a:lnTo>
                <a:lnTo>
                  <a:pt x="4791" y="376"/>
                </a:lnTo>
                <a:lnTo>
                  <a:pt x="4788" y="378"/>
                </a:lnTo>
                <a:lnTo>
                  <a:pt x="4786" y="380"/>
                </a:lnTo>
                <a:lnTo>
                  <a:pt x="4784" y="377"/>
                </a:lnTo>
                <a:lnTo>
                  <a:pt x="4781" y="374"/>
                </a:lnTo>
                <a:lnTo>
                  <a:pt x="4778" y="379"/>
                </a:lnTo>
                <a:lnTo>
                  <a:pt x="4779" y="379"/>
                </a:lnTo>
                <a:lnTo>
                  <a:pt x="4779" y="380"/>
                </a:lnTo>
                <a:lnTo>
                  <a:pt x="4774" y="377"/>
                </a:lnTo>
                <a:lnTo>
                  <a:pt x="4775" y="379"/>
                </a:lnTo>
                <a:lnTo>
                  <a:pt x="4777" y="380"/>
                </a:lnTo>
                <a:lnTo>
                  <a:pt x="4775" y="381"/>
                </a:lnTo>
                <a:lnTo>
                  <a:pt x="4774" y="382"/>
                </a:lnTo>
                <a:lnTo>
                  <a:pt x="4783" y="384"/>
                </a:lnTo>
                <a:lnTo>
                  <a:pt x="4792" y="387"/>
                </a:lnTo>
                <a:lnTo>
                  <a:pt x="4792" y="387"/>
                </a:lnTo>
                <a:lnTo>
                  <a:pt x="4789" y="387"/>
                </a:lnTo>
                <a:lnTo>
                  <a:pt x="4788" y="387"/>
                </a:lnTo>
                <a:lnTo>
                  <a:pt x="4788" y="388"/>
                </a:lnTo>
                <a:lnTo>
                  <a:pt x="4794" y="387"/>
                </a:lnTo>
                <a:lnTo>
                  <a:pt x="4800" y="386"/>
                </a:lnTo>
                <a:lnTo>
                  <a:pt x="4799" y="387"/>
                </a:lnTo>
                <a:lnTo>
                  <a:pt x="4799" y="387"/>
                </a:lnTo>
                <a:lnTo>
                  <a:pt x="4799" y="387"/>
                </a:lnTo>
                <a:lnTo>
                  <a:pt x="4797" y="390"/>
                </a:lnTo>
                <a:lnTo>
                  <a:pt x="4799" y="388"/>
                </a:lnTo>
                <a:lnTo>
                  <a:pt x="4799" y="389"/>
                </a:lnTo>
                <a:lnTo>
                  <a:pt x="4799" y="391"/>
                </a:lnTo>
                <a:lnTo>
                  <a:pt x="4799" y="393"/>
                </a:lnTo>
                <a:lnTo>
                  <a:pt x="4802" y="391"/>
                </a:lnTo>
                <a:lnTo>
                  <a:pt x="4806" y="389"/>
                </a:lnTo>
                <a:lnTo>
                  <a:pt x="4808" y="391"/>
                </a:lnTo>
                <a:lnTo>
                  <a:pt x="4811" y="392"/>
                </a:lnTo>
                <a:lnTo>
                  <a:pt x="4816" y="397"/>
                </a:lnTo>
                <a:lnTo>
                  <a:pt x="4821" y="403"/>
                </a:lnTo>
                <a:lnTo>
                  <a:pt x="4815" y="403"/>
                </a:lnTo>
                <a:lnTo>
                  <a:pt x="4821" y="405"/>
                </a:lnTo>
                <a:lnTo>
                  <a:pt x="4828" y="407"/>
                </a:lnTo>
                <a:lnTo>
                  <a:pt x="4843" y="407"/>
                </a:lnTo>
                <a:lnTo>
                  <a:pt x="4860" y="402"/>
                </a:lnTo>
                <a:lnTo>
                  <a:pt x="4876" y="397"/>
                </a:lnTo>
                <a:lnTo>
                  <a:pt x="4891" y="398"/>
                </a:lnTo>
                <a:lnTo>
                  <a:pt x="4906" y="399"/>
                </a:lnTo>
                <a:lnTo>
                  <a:pt x="4913" y="402"/>
                </a:lnTo>
                <a:lnTo>
                  <a:pt x="4921" y="404"/>
                </a:lnTo>
                <a:lnTo>
                  <a:pt x="4926" y="406"/>
                </a:lnTo>
                <a:lnTo>
                  <a:pt x="4931" y="409"/>
                </a:lnTo>
                <a:lnTo>
                  <a:pt x="4935" y="415"/>
                </a:lnTo>
                <a:lnTo>
                  <a:pt x="4935" y="420"/>
                </a:lnTo>
                <a:lnTo>
                  <a:pt x="4933" y="427"/>
                </a:lnTo>
                <a:lnTo>
                  <a:pt x="4931" y="427"/>
                </a:lnTo>
                <a:lnTo>
                  <a:pt x="4931" y="428"/>
                </a:lnTo>
                <a:lnTo>
                  <a:pt x="4931" y="431"/>
                </a:lnTo>
                <a:lnTo>
                  <a:pt x="4931" y="432"/>
                </a:lnTo>
                <a:lnTo>
                  <a:pt x="4950" y="438"/>
                </a:lnTo>
                <a:lnTo>
                  <a:pt x="4949" y="440"/>
                </a:lnTo>
                <a:lnTo>
                  <a:pt x="4948" y="442"/>
                </a:lnTo>
                <a:lnTo>
                  <a:pt x="4949" y="445"/>
                </a:lnTo>
                <a:lnTo>
                  <a:pt x="4951" y="449"/>
                </a:lnTo>
                <a:lnTo>
                  <a:pt x="4955" y="449"/>
                </a:lnTo>
                <a:lnTo>
                  <a:pt x="4955" y="443"/>
                </a:lnTo>
                <a:lnTo>
                  <a:pt x="4958" y="442"/>
                </a:lnTo>
                <a:lnTo>
                  <a:pt x="4959" y="442"/>
                </a:lnTo>
                <a:lnTo>
                  <a:pt x="4959" y="442"/>
                </a:lnTo>
                <a:lnTo>
                  <a:pt x="4970" y="437"/>
                </a:lnTo>
                <a:lnTo>
                  <a:pt x="4978" y="436"/>
                </a:lnTo>
                <a:lnTo>
                  <a:pt x="4987" y="435"/>
                </a:lnTo>
                <a:lnTo>
                  <a:pt x="4993" y="433"/>
                </a:lnTo>
                <a:lnTo>
                  <a:pt x="5001" y="437"/>
                </a:lnTo>
                <a:lnTo>
                  <a:pt x="5018" y="439"/>
                </a:lnTo>
                <a:lnTo>
                  <a:pt x="5034" y="441"/>
                </a:lnTo>
                <a:lnTo>
                  <a:pt x="5048" y="433"/>
                </a:lnTo>
                <a:lnTo>
                  <a:pt x="5056" y="438"/>
                </a:lnTo>
                <a:lnTo>
                  <a:pt x="5054" y="443"/>
                </a:lnTo>
                <a:lnTo>
                  <a:pt x="5056" y="447"/>
                </a:lnTo>
                <a:lnTo>
                  <a:pt x="5071" y="452"/>
                </a:lnTo>
                <a:lnTo>
                  <a:pt x="5073" y="458"/>
                </a:lnTo>
                <a:lnTo>
                  <a:pt x="5075" y="460"/>
                </a:lnTo>
                <a:lnTo>
                  <a:pt x="5080" y="459"/>
                </a:lnTo>
                <a:lnTo>
                  <a:pt x="5085" y="458"/>
                </a:lnTo>
                <a:lnTo>
                  <a:pt x="5088" y="457"/>
                </a:lnTo>
                <a:lnTo>
                  <a:pt x="5088" y="454"/>
                </a:lnTo>
                <a:lnTo>
                  <a:pt x="5095" y="452"/>
                </a:lnTo>
                <a:lnTo>
                  <a:pt x="5095" y="449"/>
                </a:lnTo>
                <a:lnTo>
                  <a:pt x="5093" y="445"/>
                </a:lnTo>
                <a:lnTo>
                  <a:pt x="5090" y="438"/>
                </a:lnTo>
                <a:lnTo>
                  <a:pt x="5086" y="438"/>
                </a:lnTo>
                <a:lnTo>
                  <a:pt x="5083" y="438"/>
                </a:lnTo>
                <a:lnTo>
                  <a:pt x="5085" y="435"/>
                </a:lnTo>
                <a:lnTo>
                  <a:pt x="5088" y="435"/>
                </a:lnTo>
                <a:lnTo>
                  <a:pt x="5088" y="427"/>
                </a:lnTo>
                <a:lnTo>
                  <a:pt x="5089" y="427"/>
                </a:lnTo>
                <a:lnTo>
                  <a:pt x="5119" y="431"/>
                </a:lnTo>
                <a:lnTo>
                  <a:pt x="5126" y="431"/>
                </a:lnTo>
                <a:lnTo>
                  <a:pt x="5126" y="431"/>
                </a:lnTo>
                <a:lnTo>
                  <a:pt x="5131" y="431"/>
                </a:lnTo>
                <a:lnTo>
                  <a:pt x="5137" y="432"/>
                </a:lnTo>
                <a:lnTo>
                  <a:pt x="5153" y="431"/>
                </a:lnTo>
                <a:lnTo>
                  <a:pt x="5169" y="431"/>
                </a:lnTo>
                <a:lnTo>
                  <a:pt x="5173" y="433"/>
                </a:lnTo>
                <a:lnTo>
                  <a:pt x="5178" y="435"/>
                </a:lnTo>
                <a:lnTo>
                  <a:pt x="5193" y="439"/>
                </a:lnTo>
                <a:lnTo>
                  <a:pt x="5208" y="443"/>
                </a:lnTo>
                <a:lnTo>
                  <a:pt x="5206" y="444"/>
                </a:lnTo>
                <a:lnTo>
                  <a:pt x="5205" y="445"/>
                </a:lnTo>
                <a:lnTo>
                  <a:pt x="5215" y="447"/>
                </a:lnTo>
                <a:lnTo>
                  <a:pt x="5224" y="453"/>
                </a:lnTo>
                <a:lnTo>
                  <a:pt x="5218" y="450"/>
                </a:lnTo>
                <a:lnTo>
                  <a:pt x="5222" y="455"/>
                </a:lnTo>
                <a:lnTo>
                  <a:pt x="5224" y="455"/>
                </a:lnTo>
                <a:lnTo>
                  <a:pt x="5226" y="456"/>
                </a:lnTo>
                <a:lnTo>
                  <a:pt x="5229" y="458"/>
                </a:lnTo>
                <a:lnTo>
                  <a:pt x="5230" y="455"/>
                </a:lnTo>
                <a:lnTo>
                  <a:pt x="5231" y="457"/>
                </a:lnTo>
                <a:lnTo>
                  <a:pt x="5231" y="458"/>
                </a:lnTo>
                <a:lnTo>
                  <a:pt x="5234" y="459"/>
                </a:lnTo>
                <a:lnTo>
                  <a:pt x="5238" y="460"/>
                </a:lnTo>
                <a:lnTo>
                  <a:pt x="5246" y="465"/>
                </a:lnTo>
                <a:lnTo>
                  <a:pt x="5240" y="464"/>
                </a:lnTo>
                <a:lnTo>
                  <a:pt x="5240" y="465"/>
                </a:lnTo>
                <a:lnTo>
                  <a:pt x="5246" y="467"/>
                </a:lnTo>
                <a:lnTo>
                  <a:pt x="5251" y="470"/>
                </a:lnTo>
                <a:lnTo>
                  <a:pt x="5253" y="472"/>
                </a:lnTo>
                <a:lnTo>
                  <a:pt x="5254" y="475"/>
                </a:lnTo>
                <a:lnTo>
                  <a:pt x="5257" y="475"/>
                </a:lnTo>
                <a:lnTo>
                  <a:pt x="5258" y="475"/>
                </a:lnTo>
                <a:lnTo>
                  <a:pt x="5263" y="475"/>
                </a:lnTo>
                <a:lnTo>
                  <a:pt x="5265" y="478"/>
                </a:lnTo>
                <a:lnTo>
                  <a:pt x="5290" y="488"/>
                </a:lnTo>
                <a:lnTo>
                  <a:pt x="5293" y="494"/>
                </a:lnTo>
                <a:lnTo>
                  <a:pt x="5291" y="499"/>
                </a:lnTo>
                <a:lnTo>
                  <a:pt x="5295" y="499"/>
                </a:lnTo>
                <a:lnTo>
                  <a:pt x="5296" y="495"/>
                </a:lnTo>
                <a:lnTo>
                  <a:pt x="5297" y="495"/>
                </a:lnTo>
                <a:lnTo>
                  <a:pt x="5297" y="499"/>
                </a:lnTo>
                <a:lnTo>
                  <a:pt x="5299" y="499"/>
                </a:lnTo>
                <a:lnTo>
                  <a:pt x="5297" y="501"/>
                </a:lnTo>
                <a:lnTo>
                  <a:pt x="5296" y="503"/>
                </a:lnTo>
                <a:lnTo>
                  <a:pt x="5299" y="510"/>
                </a:lnTo>
                <a:lnTo>
                  <a:pt x="5295" y="511"/>
                </a:lnTo>
                <a:lnTo>
                  <a:pt x="5301" y="515"/>
                </a:lnTo>
                <a:lnTo>
                  <a:pt x="5301" y="522"/>
                </a:lnTo>
                <a:lnTo>
                  <a:pt x="5308" y="518"/>
                </a:lnTo>
                <a:lnTo>
                  <a:pt x="5310" y="517"/>
                </a:lnTo>
                <a:lnTo>
                  <a:pt x="5309" y="516"/>
                </a:lnTo>
                <a:lnTo>
                  <a:pt x="5307" y="515"/>
                </a:lnTo>
                <a:lnTo>
                  <a:pt x="5310" y="511"/>
                </a:lnTo>
                <a:lnTo>
                  <a:pt x="5310" y="509"/>
                </a:lnTo>
                <a:lnTo>
                  <a:pt x="5309" y="506"/>
                </a:lnTo>
                <a:lnTo>
                  <a:pt x="5302" y="503"/>
                </a:lnTo>
                <a:lnTo>
                  <a:pt x="5315" y="500"/>
                </a:lnTo>
                <a:lnTo>
                  <a:pt x="5319" y="501"/>
                </a:lnTo>
                <a:lnTo>
                  <a:pt x="5323" y="503"/>
                </a:lnTo>
                <a:lnTo>
                  <a:pt x="5320" y="504"/>
                </a:lnTo>
                <a:lnTo>
                  <a:pt x="5317" y="506"/>
                </a:lnTo>
                <a:lnTo>
                  <a:pt x="5317" y="511"/>
                </a:lnTo>
                <a:lnTo>
                  <a:pt x="5324" y="511"/>
                </a:lnTo>
                <a:lnTo>
                  <a:pt x="5322" y="506"/>
                </a:lnTo>
                <a:lnTo>
                  <a:pt x="5324" y="504"/>
                </a:lnTo>
                <a:lnTo>
                  <a:pt x="5326" y="506"/>
                </a:lnTo>
                <a:lnTo>
                  <a:pt x="5329" y="508"/>
                </a:lnTo>
                <a:lnTo>
                  <a:pt x="5331" y="507"/>
                </a:lnTo>
                <a:lnTo>
                  <a:pt x="5333" y="506"/>
                </a:lnTo>
                <a:lnTo>
                  <a:pt x="5326" y="503"/>
                </a:lnTo>
                <a:lnTo>
                  <a:pt x="5333" y="504"/>
                </a:lnTo>
                <a:lnTo>
                  <a:pt x="5341" y="506"/>
                </a:lnTo>
                <a:lnTo>
                  <a:pt x="5341" y="510"/>
                </a:lnTo>
                <a:lnTo>
                  <a:pt x="5345" y="510"/>
                </a:lnTo>
                <a:lnTo>
                  <a:pt x="5345" y="514"/>
                </a:lnTo>
                <a:lnTo>
                  <a:pt x="5360" y="522"/>
                </a:lnTo>
                <a:lnTo>
                  <a:pt x="5360" y="523"/>
                </a:lnTo>
                <a:lnTo>
                  <a:pt x="5363" y="522"/>
                </a:lnTo>
                <a:lnTo>
                  <a:pt x="5367" y="524"/>
                </a:lnTo>
                <a:lnTo>
                  <a:pt x="5366" y="527"/>
                </a:lnTo>
                <a:lnTo>
                  <a:pt x="5371" y="527"/>
                </a:lnTo>
                <a:lnTo>
                  <a:pt x="5373" y="529"/>
                </a:lnTo>
                <a:close/>
                <a:moveTo>
                  <a:pt x="4734" y="369"/>
                </a:moveTo>
                <a:lnTo>
                  <a:pt x="4731" y="372"/>
                </a:lnTo>
                <a:lnTo>
                  <a:pt x="4734" y="371"/>
                </a:lnTo>
                <a:lnTo>
                  <a:pt x="4736" y="370"/>
                </a:lnTo>
                <a:lnTo>
                  <a:pt x="4735" y="369"/>
                </a:lnTo>
                <a:lnTo>
                  <a:pt x="4734" y="369"/>
                </a:lnTo>
                <a:close/>
                <a:moveTo>
                  <a:pt x="4728" y="367"/>
                </a:moveTo>
                <a:lnTo>
                  <a:pt x="4729" y="367"/>
                </a:lnTo>
                <a:lnTo>
                  <a:pt x="4729" y="367"/>
                </a:lnTo>
                <a:lnTo>
                  <a:pt x="4729" y="366"/>
                </a:lnTo>
                <a:lnTo>
                  <a:pt x="4728" y="366"/>
                </a:lnTo>
                <a:lnTo>
                  <a:pt x="4728" y="367"/>
                </a:lnTo>
                <a:lnTo>
                  <a:pt x="4728" y="367"/>
                </a:lnTo>
                <a:close/>
                <a:moveTo>
                  <a:pt x="4445" y="347"/>
                </a:moveTo>
                <a:lnTo>
                  <a:pt x="4447" y="349"/>
                </a:lnTo>
                <a:lnTo>
                  <a:pt x="4445" y="358"/>
                </a:lnTo>
                <a:lnTo>
                  <a:pt x="4447" y="352"/>
                </a:lnTo>
                <a:lnTo>
                  <a:pt x="4448" y="349"/>
                </a:lnTo>
                <a:lnTo>
                  <a:pt x="4447" y="346"/>
                </a:lnTo>
                <a:lnTo>
                  <a:pt x="4450" y="343"/>
                </a:lnTo>
                <a:lnTo>
                  <a:pt x="4451" y="341"/>
                </a:lnTo>
                <a:lnTo>
                  <a:pt x="4445" y="347"/>
                </a:lnTo>
                <a:close/>
                <a:moveTo>
                  <a:pt x="4242" y="260"/>
                </a:moveTo>
                <a:lnTo>
                  <a:pt x="4249" y="264"/>
                </a:lnTo>
                <a:lnTo>
                  <a:pt x="4249" y="269"/>
                </a:lnTo>
                <a:lnTo>
                  <a:pt x="4254" y="267"/>
                </a:lnTo>
                <a:lnTo>
                  <a:pt x="4257" y="266"/>
                </a:lnTo>
                <a:lnTo>
                  <a:pt x="4257" y="269"/>
                </a:lnTo>
                <a:lnTo>
                  <a:pt x="4260" y="269"/>
                </a:lnTo>
                <a:lnTo>
                  <a:pt x="4260" y="269"/>
                </a:lnTo>
                <a:lnTo>
                  <a:pt x="4261" y="268"/>
                </a:lnTo>
                <a:lnTo>
                  <a:pt x="4262" y="265"/>
                </a:lnTo>
                <a:lnTo>
                  <a:pt x="4242" y="260"/>
                </a:lnTo>
                <a:close/>
                <a:moveTo>
                  <a:pt x="3870" y="302"/>
                </a:moveTo>
                <a:lnTo>
                  <a:pt x="3871" y="302"/>
                </a:lnTo>
                <a:lnTo>
                  <a:pt x="3870" y="302"/>
                </a:lnTo>
                <a:lnTo>
                  <a:pt x="3870" y="302"/>
                </a:lnTo>
                <a:close/>
                <a:moveTo>
                  <a:pt x="3876" y="305"/>
                </a:moveTo>
                <a:lnTo>
                  <a:pt x="3874" y="304"/>
                </a:lnTo>
                <a:lnTo>
                  <a:pt x="3871" y="307"/>
                </a:lnTo>
                <a:lnTo>
                  <a:pt x="3876" y="305"/>
                </a:lnTo>
                <a:close/>
                <a:moveTo>
                  <a:pt x="3739" y="366"/>
                </a:moveTo>
                <a:lnTo>
                  <a:pt x="3738" y="366"/>
                </a:lnTo>
                <a:lnTo>
                  <a:pt x="3738" y="366"/>
                </a:lnTo>
                <a:lnTo>
                  <a:pt x="3739" y="366"/>
                </a:lnTo>
                <a:close/>
                <a:moveTo>
                  <a:pt x="3742" y="367"/>
                </a:moveTo>
                <a:lnTo>
                  <a:pt x="3739" y="367"/>
                </a:lnTo>
                <a:lnTo>
                  <a:pt x="3741" y="369"/>
                </a:lnTo>
                <a:lnTo>
                  <a:pt x="3742" y="367"/>
                </a:lnTo>
                <a:close/>
                <a:moveTo>
                  <a:pt x="3753" y="397"/>
                </a:moveTo>
                <a:lnTo>
                  <a:pt x="3749" y="397"/>
                </a:lnTo>
                <a:lnTo>
                  <a:pt x="3751" y="398"/>
                </a:lnTo>
                <a:lnTo>
                  <a:pt x="3752" y="399"/>
                </a:lnTo>
                <a:lnTo>
                  <a:pt x="3753" y="398"/>
                </a:lnTo>
                <a:lnTo>
                  <a:pt x="3753" y="397"/>
                </a:lnTo>
                <a:close/>
                <a:moveTo>
                  <a:pt x="2850" y="479"/>
                </a:moveTo>
                <a:lnTo>
                  <a:pt x="2850" y="478"/>
                </a:lnTo>
                <a:lnTo>
                  <a:pt x="2847" y="478"/>
                </a:lnTo>
                <a:lnTo>
                  <a:pt x="2850" y="479"/>
                </a:lnTo>
                <a:close/>
                <a:moveTo>
                  <a:pt x="2776" y="567"/>
                </a:moveTo>
                <a:lnTo>
                  <a:pt x="2774" y="567"/>
                </a:lnTo>
                <a:lnTo>
                  <a:pt x="2774" y="569"/>
                </a:lnTo>
                <a:lnTo>
                  <a:pt x="2776" y="567"/>
                </a:lnTo>
                <a:close/>
                <a:moveTo>
                  <a:pt x="2686" y="631"/>
                </a:moveTo>
                <a:lnTo>
                  <a:pt x="2686" y="631"/>
                </a:lnTo>
                <a:lnTo>
                  <a:pt x="2686" y="631"/>
                </a:lnTo>
                <a:lnTo>
                  <a:pt x="2686" y="631"/>
                </a:lnTo>
                <a:close/>
                <a:moveTo>
                  <a:pt x="2693" y="664"/>
                </a:moveTo>
                <a:lnTo>
                  <a:pt x="2692" y="664"/>
                </a:lnTo>
                <a:lnTo>
                  <a:pt x="2693" y="665"/>
                </a:lnTo>
                <a:lnTo>
                  <a:pt x="2693" y="664"/>
                </a:lnTo>
                <a:close/>
                <a:moveTo>
                  <a:pt x="2712" y="619"/>
                </a:moveTo>
                <a:lnTo>
                  <a:pt x="2713" y="621"/>
                </a:lnTo>
                <a:lnTo>
                  <a:pt x="2718" y="621"/>
                </a:lnTo>
                <a:lnTo>
                  <a:pt x="2712" y="619"/>
                </a:lnTo>
                <a:close/>
                <a:moveTo>
                  <a:pt x="2701" y="632"/>
                </a:moveTo>
                <a:lnTo>
                  <a:pt x="2705" y="633"/>
                </a:lnTo>
                <a:lnTo>
                  <a:pt x="2709" y="632"/>
                </a:lnTo>
                <a:lnTo>
                  <a:pt x="2701" y="632"/>
                </a:lnTo>
                <a:close/>
                <a:moveTo>
                  <a:pt x="2699" y="685"/>
                </a:moveTo>
                <a:lnTo>
                  <a:pt x="2698" y="685"/>
                </a:lnTo>
                <a:lnTo>
                  <a:pt x="2698" y="686"/>
                </a:lnTo>
                <a:lnTo>
                  <a:pt x="2699" y="685"/>
                </a:lnTo>
                <a:close/>
                <a:moveTo>
                  <a:pt x="2700" y="668"/>
                </a:moveTo>
                <a:lnTo>
                  <a:pt x="2698" y="668"/>
                </a:lnTo>
                <a:lnTo>
                  <a:pt x="2695" y="675"/>
                </a:lnTo>
                <a:lnTo>
                  <a:pt x="2698" y="675"/>
                </a:lnTo>
                <a:lnTo>
                  <a:pt x="2700" y="668"/>
                </a:lnTo>
                <a:close/>
                <a:moveTo>
                  <a:pt x="2705" y="684"/>
                </a:moveTo>
                <a:lnTo>
                  <a:pt x="2701" y="684"/>
                </a:lnTo>
                <a:lnTo>
                  <a:pt x="2700" y="686"/>
                </a:lnTo>
                <a:lnTo>
                  <a:pt x="2701" y="686"/>
                </a:lnTo>
                <a:lnTo>
                  <a:pt x="2705" y="684"/>
                </a:lnTo>
                <a:close/>
                <a:moveTo>
                  <a:pt x="2716" y="664"/>
                </a:moveTo>
                <a:lnTo>
                  <a:pt x="2712" y="664"/>
                </a:lnTo>
                <a:lnTo>
                  <a:pt x="2713" y="661"/>
                </a:lnTo>
                <a:lnTo>
                  <a:pt x="2709" y="662"/>
                </a:lnTo>
                <a:lnTo>
                  <a:pt x="2701" y="664"/>
                </a:lnTo>
                <a:lnTo>
                  <a:pt x="2701" y="666"/>
                </a:lnTo>
                <a:lnTo>
                  <a:pt x="2706" y="665"/>
                </a:lnTo>
                <a:lnTo>
                  <a:pt x="2716" y="664"/>
                </a:lnTo>
                <a:close/>
                <a:moveTo>
                  <a:pt x="2720" y="646"/>
                </a:moveTo>
                <a:lnTo>
                  <a:pt x="2717" y="643"/>
                </a:lnTo>
                <a:lnTo>
                  <a:pt x="2718" y="646"/>
                </a:lnTo>
                <a:lnTo>
                  <a:pt x="2712" y="647"/>
                </a:lnTo>
                <a:lnTo>
                  <a:pt x="2707" y="644"/>
                </a:lnTo>
                <a:lnTo>
                  <a:pt x="2704" y="647"/>
                </a:lnTo>
                <a:lnTo>
                  <a:pt x="2694" y="646"/>
                </a:lnTo>
                <a:lnTo>
                  <a:pt x="2691" y="648"/>
                </a:lnTo>
                <a:lnTo>
                  <a:pt x="2698" y="647"/>
                </a:lnTo>
                <a:lnTo>
                  <a:pt x="2704" y="649"/>
                </a:lnTo>
                <a:lnTo>
                  <a:pt x="2710" y="647"/>
                </a:lnTo>
                <a:lnTo>
                  <a:pt x="2715" y="651"/>
                </a:lnTo>
                <a:lnTo>
                  <a:pt x="2715" y="650"/>
                </a:lnTo>
                <a:lnTo>
                  <a:pt x="2713" y="647"/>
                </a:lnTo>
                <a:lnTo>
                  <a:pt x="2720" y="646"/>
                </a:lnTo>
                <a:close/>
                <a:moveTo>
                  <a:pt x="2729" y="613"/>
                </a:moveTo>
                <a:lnTo>
                  <a:pt x="2728" y="612"/>
                </a:lnTo>
                <a:lnTo>
                  <a:pt x="2728" y="612"/>
                </a:lnTo>
                <a:lnTo>
                  <a:pt x="2729" y="613"/>
                </a:lnTo>
                <a:close/>
                <a:moveTo>
                  <a:pt x="2736" y="609"/>
                </a:moveTo>
                <a:lnTo>
                  <a:pt x="2735" y="608"/>
                </a:lnTo>
                <a:lnTo>
                  <a:pt x="2734" y="608"/>
                </a:lnTo>
                <a:lnTo>
                  <a:pt x="2735" y="608"/>
                </a:lnTo>
                <a:lnTo>
                  <a:pt x="2729" y="608"/>
                </a:lnTo>
                <a:lnTo>
                  <a:pt x="2735" y="611"/>
                </a:lnTo>
                <a:lnTo>
                  <a:pt x="2735" y="609"/>
                </a:lnTo>
                <a:lnTo>
                  <a:pt x="2736" y="609"/>
                </a:lnTo>
                <a:close/>
                <a:moveTo>
                  <a:pt x="2759" y="595"/>
                </a:moveTo>
                <a:lnTo>
                  <a:pt x="2756" y="593"/>
                </a:lnTo>
                <a:lnTo>
                  <a:pt x="2759" y="596"/>
                </a:lnTo>
                <a:lnTo>
                  <a:pt x="2759" y="595"/>
                </a:lnTo>
                <a:close/>
                <a:moveTo>
                  <a:pt x="2761" y="678"/>
                </a:moveTo>
                <a:lnTo>
                  <a:pt x="2760" y="678"/>
                </a:lnTo>
                <a:lnTo>
                  <a:pt x="2762" y="681"/>
                </a:lnTo>
                <a:lnTo>
                  <a:pt x="2761" y="678"/>
                </a:lnTo>
                <a:close/>
                <a:moveTo>
                  <a:pt x="2799" y="547"/>
                </a:moveTo>
                <a:lnTo>
                  <a:pt x="2792" y="551"/>
                </a:lnTo>
                <a:lnTo>
                  <a:pt x="2790" y="551"/>
                </a:lnTo>
                <a:lnTo>
                  <a:pt x="2789" y="551"/>
                </a:lnTo>
                <a:lnTo>
                  <a:pt x="2790" y="552"/>
                </a:lnTo>
                <a:lnTo>
                  <a:pt x="2795" y="550"/>
                </a:lnTo>
                <a:lnTo>
                  <a:pt x="2799" y="547"/>
                </a:lnTo>
                <a:close/>
                <a:moveTo>
                  <a:pt x="2802" y="534"/>
                </a:moveTo>
                <a:lnTo>
                  <a:pt x="2801" y="531"/>
                </a:lnTo>
                <a:lnTo>
                  <a:pt x="2801" y="531"/>
                </a:lnTo>
                <a:lnTo>
                  <a:pt x="2799" y="531"/>
                </a:lnTo>
                <a:lnTo>
                  <a:pt x="2802" y="534"/>
                </a:lnTo>
                <a:close/>
                <a:moveTo>
                  <a:pt x="2818" y="522"/>
                </a:moveTo>
                <a:lnTo>
                  <a:pt x="2807" y="524"/>
                </a:lnTo>
                <a:lnTo>
                  <a:pt x="2807" y="527"/>
                </a:lnTo>
                <a:lnTo>
                  <a:pt x="2809" y="524"/>
                </a:lnTo>
                <a:lnTo>
                  <a:pt x="2818" y="522"/>
                </a:lnTo>
                <a:close/>
                <a:moveTo>
                  <a:pt x="2827" y="500"/>
                </a:moveTo>
                <a:lnTo>
                  <a:pt x="2827" y="500"/>
                </a:lnTo>
                <a:lnTo>
                  <a:pt x="2827" y="503"/>
                </a:lnTo>
                <a:lnTo>
                  <a:pt x="2827" y="500"/>
                </a:lnTo>
                <a:lnTo>
                  <a:pt x="2827" y="500"/>
                </a:lnTo>
                <a:close/>
                <a:moveTo>
                  <a:pt x="2837" y="503"/>
                </a:moveTo>
                <a:lnTo>
                  <a:pt x="2835" y="499"/>
                </a:lnTo>
                <a:lnTo>
                  <a:pt x="2830" y="499"/>
                </a:lnTo>
                <a:lnTo>
                  <a:pt x="2832" y="498"/>
                </a:lnTo>
                <a:lnTo>
                  <a:pt x="2824" y="499"/>
                </a:lnTo>
                <a:lnTo>
                  <a:pt x="2827" y="499"/>
                </a:lnTo>
                <a:lnTo>
                  <a:pt x="2827" y="499"/>
                </a:lnTo>
                <a:lnTo>
                  <a:pt x="2827" y="499"/>
                </a:lnTo>
                <a:lnTo>
                  <a:pt x="2828" y="499"/>
                </a:lnTo>
                <a:lnTo>
                  <a:pt x="2828" y="499"/>
                </a:lnTo>
                <a:lnTo>
                  <a:pt x="2832" y="500"/>
                </a:lnTo>
                <a:lnTo>
                  <a:pt x="2837" y="503"/>
                </a:lnTo>
                <a:close/>
                <a:moveTo>
                  <a:pt x="2839" y="499"/>
                </a:moveTo>
                <a:lnTo>
                  <a:pt x="2837" y="495"/>
                </a:lnTo>
                <a:lnTo>
                  <a:pt x="2835" y="495"/>
                </a:lnTo>
                <a:lnTo>
                  <a:pt x="2838" y="499"/>
                </a:lnTo>
                <a:lnTo>
                  <a:pt x="2839" y="499"/>
                </a:lnTo>
                <a:close/>
                <a:moveTo>
                  <a:pt x="2869" y="677"/>
                </a:moveTo>
                <a:lnTo>
                  <a:pt x="2869" y="677"/>
                </a:lnTo>
                <a:lnTo>
                  <a:pt x="2869" y="679"/>
                </a:lnTo>
                <a:lnTo>
                  <a:pt x="2871" y="680"/>
                </a:lnTo>
                <a:lnTo>
                  <a:pt x="2871" y="679"/>
                </a:lnTo>
                <a:lnTo>
                  <a:pt x="2869" y="679"/>
                </a:lnTo>
                <a:lnTo>
                  <a:pt x="2871" y="677"/>
                </a:lnTo>
                <a:lnTo>
                  <a:pt x="2869" y="676"/>
                </a:lnTo>
                <a:lnTo>
                  <a:pt x="2869" y="677"/>
                </a:lnTo>
                <a:close/>
                <a:moveTo>
                  <a:pt x="2868" y="679"/>
                </a:moveTo>
                <a:lnTo>
                  <a:pt x="2869" y="681"/>
                </a:lnTo>
                <a:lnTo>
                  <a:pt x="2868" y="678"/>
                </a:lnTo>
                <a:lnTo>
                  <a:pt x="2868" y="679"/>
                </a:lnTo>
                <a:close/>
                <a:moveTo>
                  <a:pt x="2875" y="607"/>
                </a:moveTo>
                <a:lnTo>
                  <a:pt x="2872" y="603"/>
                </a:lnTo>
                <a:lnTo>
                  <a:pt x="2871" y="603"/>
                </a:lnTo>
                <a:lnTo>
                  <a:pt x="2875" y="607"/>
                </a:lnTo>
                <a:close/>
                <a:moveTo>
                  <a:pt x="2891" y="446"/>
                </a:moveTo>
                <a:lnTo>
                  <a:pt x="2889" y="447"/>
                </a:lnTo>
                <a:lnTo>
                  <a:pt x="2891" y="447"/>
                </a:lnTo>
                <a:lnTo>
                  <a:pt x="2891" y="446"/>
                </a:lnTo>
                <a:close/>
                <a:moveTo>
                  <a:pt x="2891" y="445"/>
                </a:moveTo>
                <a:lnTo>
                  <a:pt x="2891" y="445"/>
                </a:lnTo>
                <a:lnTo>
                  <a:pt x="2891" y="445"/>
                </a:lnTo>
                <a:lnTo>
                  <a:pt x="2891" y="445"/>
                </a:lnTo>
                <a:close/>
                <a:moveTo>
                  <a:pt x="2925" y="546"/>
                </a:moveTo>
                <a:lnTo>
                  <a:pt x="2922" y="544"/>
                </a:lnTo>
                <a:lnTo>
                  <a:pt x="2925" y="547"/>
                </a:lnTo>
                <a:lnTo>
                  <a:pt x="2925" y="546"/>
                </a:lnTo>
                <a:close/>
                <a:moveTo>
                  <a:pt x="3001" y="660"/>
                </a:moveTo>
                <a:lnTo>
                  <a:pt x="3000" y="658"/>
                </a:lnTo>
                <a:lnTo>
                  <a:pt x="2998" y="662"/>
                </a:lnTo>
                <a:lnTo>
                  <a:pt x="3000" y="660"/>
                </a:lnTo>
                <a:lnTo>
                  <a:pt x="3001" y="660"/>
                </a:lnTo>
                <a:close/>
                <a:moveTo>
                  <a:pt x="3007" y="411"/>
                </a:moveTo>
                <a:lnTo>
                  <a:pt x="3006" y="410"/>
                </a:lnTo>
                <a:lnTo>
                  <a:pt x="3006" y="410"/>
                </a:lnTo>
                <a:lnTo>
                  <a:pt x="3007" y="411"/>
                </a:lnTo>
                <a:close/>
                <a:moveTo>
                  <a:pt x="3016" y="407"/>
                </a:moveTo>
                <a:lnTo>
                  <a:pt x="3018" y="407"/>
                </a:lnTo>
                <a:lnTo>
                  <a:pt x="3019" y="407"/>
                </a:lnTo>
                <a:lnTo>
                  <a:pt x="3016" y="407"/>
                </a:lnTo>
                <a:close/>
                <a:moveTo>
                  <a:pt x="3023" y="414"/>
                </a:moveTo>
                <a:lnTo>
                  <a:pt x="3022" y="415"/>
                </a:lnTo>
                <a:lnTo>
                  <a:pt x="3022" y="415"/>
                </a:lnTo>
                <a:lnTo>
                  <a:pt x="3023" y="414"/>
                </a:lnTo>
                <a:close/>
                <a:moveTo>
                  <a:pt x="3045" y="432"/>
                </a:moveTo>
                <a:lnTo>
                  <a:pt x="3043" y="433"/>
                </a:lnTo>
                <a:lnTo>
                  <a:pt x="3041" y="436"/>
                </a:lnTo>
                <a:lnTo>
                  <a:pt x="3043" y="435"/>
                </a:lnTo>
                <a:lnTo>
                  <a:pt x="3044" y="434"/>
                </a:lnTo>
                <a:lnTo>
                  <a:pt x="3045" y="432"/>
                </a:lnTo>
                <a:close/>
                <a:moveTo>
                  <a:pt x="3048" y="432"/>
                </a:moveTo>
                <a:lnTo>
                  <a:pt x="3046" y="434"/>
                </a:lnTo>
                <a:lnTo>
                  <a:pt x="3048" y="434"/>
                </a:lnTo>
                <a:lnTo>
                  <a:pt x="3048" y="433"/>
                </a:lnTo>
                <a:lnTo>
                  <a:pt x="3048" y="432"/>
                </a:lnTo>
                <a:close/>
                <a:moveTo>
                  <a:pt x="2764" y="754"/>
                </a:moveTo>
                <a:lnTo>
                  <a:pt x="2765" y="754"/>
                </a:lnTo>
                <a:lnTo>
                  <a:pt x="2765" y="753"/>
                </a:lnTo>
                <a:lnTo>
                  <a:pt x="2764" y="754"/>
                </a:lnTo>
                <a:close/>
                <a:moveTo>
                  <a:pt x="2749" y="745"/>
                </a:moveTo>
                <a:lnTo>
                  <a:pt x="2746" y="745"/>
                </a:lnTo>
                <a:lnTo>
                  <a:pt x="2745" y="747"/>
                </a:lnTo>
                <a:lnTo>
                  <a:pt x="2749" y="746"/>
                </a:lnTo>
                <a:lnTo>
                  <a:pt x="2749" y="747"/>
                </a:lnTo>
                <a:lnTo>
                  <a:pt x="2749" y="745"/>
                </a:lnTo>
                <a:close/>
                <a:moveTo>
                  <a:pt x="2393" y="1526"/>
                </a:moveTo>
                <a:lnTo>
                  <a:pt x="2390" y="1529"/>
                </a:lnTo>
                <a:lnTo>
                  <a:pt x="2390" y="1530"/>
                </a:lnTo>
                <a:lnTo>
                  <a:pt x="2393" y="1529"/>
                </a:lnTo>
                <a:lnTo>
                  <a:pt x="2393" y="1526"/>
                </a:lnTo>
                <a:close/>
                <a:moveTo>
                  <a:pt x="2412" y="1449"/>
                </a:moveTo>
                <a:lnTo>
                  <a:pt x="2411" y="1450"/>
                </a:lnTo>
                <a:lnTo>
                  <a:pt x="2411" y="1450"/>
                </a:lnTo>
                <a:lnTo>
                  <a:pt x="2412" y="1449"/>
                </a:lnTo>
                <a:close/>
                <a:moveTo>
                  <a:pt x="3355" y="1533"/>
                </a:moveTo>
                <a:lnTo>
                  <a:pt x="3356" y="1533"/>
                </a:lnTo>
                <a:lnTo>
                  <a:pt x="3356" y="1531"/>
                </a:lnTo>
                <a:lnTo>
                  <a:pt x="3355" y="1532"/>
                </a:lnTo>
                <a:lnTo>
                  <a:pt x="3355" y="1533"/>
                </a:lnTo>
                <a:close/>
                <a:moveTo>
                  <a:pt x="3233" y="1507"/>
                </a:moveTo>
                <a:lnTo>
                  <a:pt x="3235" y="1506"/>
                </a:lnTo>
                <a:lnTo>
                  <a:pt x="3235" y="1505"/>
                </a:lnTo>
                <a:lnTo>
                  <a:pt x="3233" y="1507"/>
                </a:lnTo>
                <a:lnTo>
                  <a:pt x="3233" y="1507"/>
                </a:lnTo>
                <a:close/>
                <a:moveTo>
                  <a:pt x="3003" y="1029"/>
                </a:moveTo>
                <a:lnTo>
                  <a:pt x="3006" y="1029"/>
                </a:lnTo>
                <a:lnTo>
                  <a:pt x="3007" y="1029"/>
                </a:lnTo>
                <a:lnTo>
                  <a:pt x="3007" y="1029"/>
                </a:lnTo>
                <a:lnTo>
                  <a:pt x="3011" y="1029"/>
                </a:lnTo>
                <a:lnTo>
                  <a:pt x="3007" y="1025"/>
                </a:lnTo>
                <a:lnTo>
                  <a:pt x="3004" y="1025"/>
                </a:lnTo>
                <a:lnTo>
                  <a:pt x="3004" y="1027"/>
                </a:lnTo>
                <a:lnTo>
                  <a:pt x="3003" y="1029"/>
                </a:lnTo>
                <a:close/>
                <a:moveTo>
                  <a:pt x="2997" y="1033"/>
                </a:moveTo>
                <a:lnTo>
                  <a:pt x="3000" y="1033"/>
                </a:lnTo>
                <a:lnTo>
                  <a:pt x="3002" y="1029"/>
                </a:lnTo>
                <a:lnTo>
                  <a:pt x="2999" y="1029"/>
                </a:lnTo>
                <a:lnTo>
                  <a:pt x="2997" y="1033"/>
                </a:lnTo>
                <a:close/>
                <a:moveTo>
                  <a:pt x="2948" y="1041"/>
                </a:moveTo>
                <a:lnTo>
                  <a:pt x="2955" y="1041"/>
                </a:lnTo>
                <a:lnTo>
                  <a:pt x="2964" y="1036"/>
                </a:lnTo>
                <a:lnTo>
                  <a:pt x="2977" y="1040"/>
                </a:lnTo>
                <a:lnTo>
                  <a:pt x="2988" y="1038"/>
                </a:lnTo>
                <a:lnTo>
                  <a:pt x="2988" y="1036"/>
                </a:lnTo>
                <a:lnTo>
                  <a:pt x="2977" y="1039"/>
                </a:lnTo>
                <a:lnTo>
                  <a:pt x="2965" y="1033"/>
                </a:lnTo>
                <a:lnTo>
                  <a:pt x="2961" y="1035"/>
                </a:lnTo>
                <a:lnTo>
                  <a:pt x="2956" y="1037"/>
                </a:lnTo>
                <a:lnTo>
                  <a:pt x="2948" y="1037"/>
                </a:lnTo>
                <a:lnTo>
                  <a:pt x="2948" y="1041"/>
                </a:lnTo>
                <a:close/>
                <a:moveTo>
                  <a:pt x="2911" y="1079"/>
                </a:moveTo>
                <a:lnTo>
                  <a:pt x="2911" y="1080"/>
                </a:lnTo>
                <a:lnTo>
                  <a:pt x="2911" y="1080"/>
                </a:lnTo>
                <a:lnTo>
                  <a:pt x="2915" y="1082"/>
                </a:lnTo>
                <a:lnTo>
                  <a:pt x="2915" y="1079"/>
                </a:lnTo>
                <a:lnTo>
                  <a:pt x="2911" y="1078"/>
                </a:lnTo>
                <a:lnTo>
                  <a:pt x="2911" y="1079"/>
                </a:lnTo>
                <a:close/>
                <a:moveTo>
                  <a:pt x="2894" y="793"/>
                </a:moveTo>
                <a:lnTo>
                  <a:pt x="2895" y="795"/>
                </a:lnTo>
                <a:lnTo>
                  <a:pt x="2901" y="793"/>
                </a:lnTo>
                <a:lnTo>
                  <a:pt x="2900" y="792"/>
                </a:lnTo>
                <a:lnTo>
                  <a:pt x="2894" y="793"/>
                </a:lnTo>
                <a:close/>
                <a:moveTo>
                  <a:pt x="2588" y="1161"/>
                </a:moveTo>
                <a:lnTo>
                  <a:pt x="2588" y="1158"/>
                </a:lnTo>
                <a:lnTo>
                  <a:pt x="2586" y="1159"/>
                </a:lnTo>
                <a:lnTo>
                  <a:pt x="2588" y="1164"/>
                </a:lnTo>
                <a:lnTo>
                  <a:pt x="2588" y="1161"/>
                </a:lnTo>
                <a:close/>
                <a:moveTo>
                  <a:pt x="2739" y="1119"/>
                </a:moveTo>
                <a:lnTo>
                  <a:pt x="2738" y="1117"/>
                </a:lnTo>
                <a:lnTo>
                  <a:pt x="2731" y="1121"/>
                </a:lnTo>
                <a:lnTo>
                  <a:pt x="2734" y="1122"/>
                </a:lnTo>
                <a:lnTo>
                  <a:pt x="2739" y="1119"/>
                </a:lnTo>
                <a:close/>
                <a:moveTo>
                  <a:pt x="3119" y="1241"/>
                </a:moveTo>
                <a:lnTo>
                  <a:pt x="3119" y="1241"/>
                </a:lnTo>
                <a:lnTo>
                  <a:pt x="3119" y="1241"/>
                </a:lnTo>
                <a:lnTo>
                  <a:pt x="3119" y="1241"/>
                </a:lnTo>
                <a:close/>
                <a:moveTo>
                  <a:pt x="3136" y="1134"/>
                </a:moveTo>
                <a:lnTo>
                  <a:pt x="3135" y="1134"/>
                </a:lnTo>
                <a:lnTo>
                  <a:pt x="3135" y="1134"/>
                </a:lnTo>
                <a:lnTo>
                  <a:pt x="3135" y="1134"/>
                </a:lnTo>
                <a:lnTo>
                  <a:pt x="3136" y="1134"/>
                </a:lnTo>
                <a:close/>
                <a:moveTo>
                  <a:pt x="3136" y="1120"/>
                </a:moveTo>
                <a:lnTo>
                  <a:pt x="3135" y="1117"/>
                </a:lnTo>
                <a:lnTo>
                  <a:pt x="3130" y="1121"/>
                </a:lnTo>
                <a:lnTo>
                  <a:pt x="3132" y="1123"/>
                </a:lnTo>
                <a:lnTo>
                  <a:pt x="3126" y="1125"/>
                </a:lnTo>
                <a:lnTo>
                  <a:pt x="3118" y="1120"/>
                </a:lnTo>
                <a:lnTo>
                  <a:pt x="3113" y="1125"/>
                </a:lnTo>
                <a:lnTo>
                  <a:pt x="3108" y="1130"/>
                </a:lnTo>
                <a:lnTo>
                  <a:pt x="3106" y="1128"/>
                </a:lnTo>
                <a:lnTo>
                  <a:pt x="3103" y="1132"/>
                </a:lnTo>
                <a:lnTo>
                  <a:pt x="3091" y="1133"/>
                </a:lnTo>
                <a:lnTo>
                  <a:pt x="3084" y="1132"/>
                </a:lnTo>
                <a:lnTo>
                  <a:pt x="3080" y="1126"/>
                </a:lnTo>
                <a:lnTo>
                  <a:pt x="3065" y="1122"/>
                </a:lnTo>
                <a:lnTo>
                  <a:pt x="3059" y="1122"/>
                </a:lnTo>
                <a:lnTo>
                  <a:pt x="3058" y="1125"/>
                </a:lnTo>
                <a:lnTo>
                  <a:pt x="3058" y="1128"/>
                </a:lnTo>
                <a:lnTo>
                  <a:pt x="3055" y="1132"/>
                </a:lnTo>
                <a:lnTo>
                  <a:pt x="3053" y="1128"/>
                </a:lnTo>
                <a:lnTo>
                  <a:pt x="3045" y="1132"/>
                </a:lnTo>
                <a:lnTo>
                  <a:pt x="3036" y="1128"/>
                </a:lnTo>
                <a:lnTo>
                  <a:pt x="3036" y="1126"/>
                </a:lnTo>
                <a:lnTo>
                  <a:pt x="3032" y="1126"/>
                </a:lnTo>
                <a:lnTo>
                  <a:pt x="3032" y="1123"/>
                </a:lnTo>
                <a:lnTo>
                  <a:pt x="3032" y="1122"/>
                </a:lnTo>
                <a:lnTo>
                  <a:pt x="3032" y="1122"/>
                </a:lnTo>
                <a:lnTo>
                  <a:pt x="3032" y="1122"/>
                </a:lnTo>
                <a:lnTo>
                  <a:pt x="3032" y="1123"/>
                </a:lnTo>
                <a:lnTo>
                  <a:pt x="3032" y="1122"/>
                </a:lnTo>
                <a:lnTo>
                  <a:pt x="3032" y="1121"/>
                </a:lnTo>
                <a:lnTo>
                  <a:pt x="3030" y="1120"/>
                </a:lnTo>
                <a:lnTo>
                  <a:pt x="3028" y="1118"/>
                </a:lnTo>
                <a:lnTo>
                  <a:pt x="3026" y="1122"/>
                </a:lnTo>
                <a:lnTo>
                  <a:pt x="3024" y="1122"/>
                </a:lnTo>
                <a:lnTo>
                  <a:pt x="3023" y="1122"/>
                </a:lnTo>
                <a:lnTo>
                  <a:pt x="3024" y="1121"/>
                </a:lnTo>
                <a:lnTo>
                  <a:pt x="3024" y="1120"/>
                </a:lnTo>
                <a:lnTo>
                  <a:pt x="3016" y="1122"/>
                </a:lnTo>
                <a:lnTo>
                  <a:pt x="3016" y="1122"/>
                </a:lnTo>
                <a:lnTo>
                  <a:pt x="3017" y="1121"/>
                </a:lnTo>
                <a:lnTo>
                  <a:pt x="3020" y="1120"/>
                </a:lnTo>
                <a:lnTo>
                  <a:pt x="3020" y="1117"/>
                </a:lnTo>
                <a:lnTo>
                  <a:pt x="3024" y="1117"/>
                </a:lnTo>
                <a:lnTo>
                  <a:pt x="3014" y="1117"/>
                </a:lnTo>
                <a:lnTo>
                  <a:pt x="3014" y="1115"/>
                </a:lnTo>
                <a:lnTo>
                  <a:pt x="3012" y="1112"/>
                </a:lnTo>
                <a:lnTo>
                  <a:pt x="3012" y="1110"/>
                </a:lnTo>
                <a:lnTo>
                  <a:pt x="3009" y="1112"/>
                </a:lnTo>
                <a:lnTo>
                  <a:pt x="3011" y="1100"/>
                </a:lnTo>
                <a:lnTo>
                  <a:pt x="3006" y="1098"/>
                </a:lnTo>
                <a:lnTo>
                  <a:pt x="3004" y="1096"/>
                </a:lnTo>
                <a:lnTo>
                  <a:pt x="3003" y="1095"/>
                </a:lnTo>
                <a:lnTo>
                  <a:pt x="3009" y="1094"/>
                </a:lnTo>
                <a:lnTo>
                  <a:pt x="3006" y="1094"/>
                </a:lnTo>
                <a:lnTo>
                  <a:pt x="3003" y="1091"/>
                </a:lnTo>
                <a:lnTo>
                  <a:pt x="3000" y="1088"/>
                </a:lnTo>
                <a:lnTo>
                  <a:pt x="3000" y="1086"/>
                </a:lnTo>
                <a:lnTo>
                  <a:pt x="3007" y="1085"/>
                </a:lnTo>
                <a:lnTo>
                  <a:pt x="3004" y="1085"/>
                </a:lnTo>
                <a:lnTo>
                  <a:pt x="3004" y="1080"/>
                </a:lnTo>
                <a:lnTo>
                  <a:pt x="3000" y="1076"/>
                </a:lnTo>
                <a:lnTo>
                  <a:pt x="3004" y="1073"/>
                </a:lnTo>
                <a:lnTo>
                  <a:pt x="3004" y="1071"/>
                </a:lnTo>
                <a:lnTo>
                  <a:pt x="2998" y="1072"/>
                </a:lnTo>
                <a:lnTo>
                  <a:pt x="2993" y="1073"/>
                </a:lnTo>
                <a:lnTo>
                  <a:pt x="2995" y="1065"/>
                </a:lnTo>
                <a:lnTo>
                  <a:pt x="3002" y="1057"/>
                </a:lnTo>
                <a:lnTo>
                  <a:pt x="2995" y="1062"/>
                </a:lnTo>
                <a:lnTo>
                  <a:pt x="2996" y="1059"/>
                </a:lnTo>
                <a:lnTo>
                  <a:pt x="2995" y="1058"/>
                </a:lnTo>
                <a:lnTo>
                  <a:pt x="3004" y="1054"/>
                </a:lnTo>
                <a:lnTo>
                  <a:pt x="3002" y="1051"/>
                </a:lnTo>
                <a:lnTo>
                  <a:pt x="2992" y="1054"/>
                </a:lnTo>
                <a:lnTo>
                  <a:pt x="2992" y="1051"/>
                </a:lnTo>
                <a:lnTo>
                  <a:pt x="2998" y="1047"/>
                </a:lnTo>
                <a:lnTo>
                  <a:pt x="2995" y="1042"/>
                </a:lnTo>
                <a:lnTo>
                  <a:pt x="3000" y="1039"/>
                </a:lnTo>
                <a:lnTo>
                  <a:pt x="3000" y="1035"/>
                </a:lnTo>
                <a:lnTo>
                  <a:pt x="2996" y="1034"/>
                </a:lnTo>
                <a:lnTo>
                  <a:pt x="2996" y="1033"/>
                </a:lnTo>
                <a:lnTo>
                  <a:pt x="2995" y="1033"/>
                </a:lnTo>
                <a:lnTo>
                  <a:pt x="2995" y="1033"/>
                </a:lnTo>
                <a:lnTo>
                  <a:pt x="2996" y="1034"/>
                </a:lnTo>
                <a:lnTo>
                  <a:pt x="2996" y="1038"/>
                </a:lnTo>
                <a:lnTo>
                  <a:pt x="2992" y="1040"/>
                </a:lnTo>
                <a:lnTo>
                  <a:pt x="2994" y="1043"/>
                </a:lnTo>
                <a:lnTo>
                  <a:pt x="2995" y="1045"/>
                </a:lnTo>
                <a:lnTo>
                  <a:pt x="2989" y="1049"/>
                </a:lnTo>
                <a:lnTo>
                  <a:pt x="2988" y="1049"/>
                </a:lnTo>
                <a:lnTo>
                  <a:pt x="2988" y="1049"/>
                </a:lnTo>
                <a:lnTo>
                  <a:pt x="2977" y="1045"/>
                </a:lnTo>
                <a:lnTo>
                  <a:pt x="2971" y="1046"/>
                </a:lnTo>
                <a:lnTo>
                  <a:pt x="2966" y="1045"/>
                </a:lnTo>
                <a:lnTo>
                  <a:pt x="2961" y="1050"/>
                </a:lnTo>
                <a:lnTo>
                  <a:pt x="2956" y="1049"/>
                </a:lnTo>
                <a:lnTo>
                  <a:pt x="2955" y="1050"/>
                </a:lnTo>
                <a:lnTo>
                  <a:pt x="2957" y="1053"/>
                </a:lnTo>
                <a:lnTo>
                  <a:pt x="2958" y="1056"/>
                </a:lnTo>
                <a:lnTo>
                  <a:pt x="2962" y="1057"/>
                </a:lnTo>
                <a:lnTo>
                  <a:pt x="2958" y="1057"/>
                </a:lnTo>
                <a:lnTo>
                  <a:pt x="2952" y="1057"/>
                </a:lnTo>
                <a:lnTo>
                  <a:pt x="2952" y="1058"/>
                </a:lnTo>
                <a:lnTo>
                  <a:pt x="2956" y="1059"/>
                </a:lnTo>
                <a:lnTo>
                  <a:pt x="2956" y="1061"/>
                </a:lnTo>
                <a:lnTo>
                  <a:pt x="2956" y="1063"/>
                </a:lnTo>
                <a:lnTo>
                  <a:pt x="2955" y="1061"/>
                </a:lnTo>
                <a:lnTo>
                  <a:pt x="2953" y="1061"/>
                </a:lnTo>
                <a:lnTo>
                  <a:pt x="2952" y="1060"/>
                </a:lnTo>
                <a:lnTo>
                  <a:pt x="2952" y="1060"/>
                </a:lnTo>
                <a:lnTo>
                  <a:pt x="2952" y="1060"/>
                </a:lnTo>
                <a:lnTo>
                  <a:pt x="2951" y="1061"/>
                </a:lnTo>
                <a:lnTo>
                  <a:pt x="2951" y="1061"/>
                </a:lnTo>
                <a:lnTo>
                  <a:pt x="2947" y="1058"/>
                </a:lnTo>
                <a:lnTo>
                  <a:pt x="2944" y="1056"/>
                </a:lnTo>
                <a:lnTo>
                  <a:pt x="2944" y="1052"/>
                </a:lnTo>
                <a:lnTo>
                  <a:pt x="2935" y="1053"/>
                </a:lnTo>
                <a:lnTo>
                  <a:pt x="2935" y="1061"/>
                </a:lnTo>
                <a:lnTo>
                  <a:pt x="2949" y="1076"/>
                </a:lnTo>
                <a:lnTo>
                  <a:pt x="2949" y="1077"/>
                </a:lnTo>
                <a:lnTo>
                  <a:pt x="2947" y="1078"/>
                </a:lnTo>
                <a:lnTo>
                  <a:pt x="2948" y="1077"/>
                </a:lnTo>
                <a:lnTo>
                  <a:pt x="2948" y="1076"/>
                </a:lnTo>
                <a:lnTo>
                  <a:pt x="2945" y="1073"/>
                </a:lnTo>
                <a:lnTo>
                  <a:pt x="2945" y="1074"/>
                </a:lnTo>
                <a:lnTo>
                  <a:pt x="2944" y="1076"/>
                </a:lnTo>
                <a:lnTo>
                  <a:pt x="2947" y="1080"/>
                </a:lnTo>
                <a:lnTo>
                  <a:pt x="2944" y="1081"/>
                </a:lnTo>
                <a:lnTo>
                  <a:pt x="2938" y="1083"/>
                </a:lnTo>
                <a:lnTo>
                  <a:pt x="2945" y="1085"/>
                </a:lnTo>
                <a:lnTo>
                  <a:pt x="2947" y="1082"/>
                </a:lnTo>
                <a:lnTo>
                  <a:pt x="2950" y="1079"/>
                </a:lnTo>
                <a:lnTo>
                  <a:pt x="2953" y="1084"/>
                </a:lnTo>
                <a:lnTo>
                  <a:pt x="2960" y="1086"/>
                </a:lnTo>
                <a:lnTo>
                  <a:pt x="2960" y="1093"/>
                </a:lnTo>
                <a:lnTo>
                  <a:pt x="2964" y="1095"/>
                </a:lnTo>
                <a:lnTo>
                  <a:pt x="2964" y="1098"/>
                </a:lnTo>
                <a:lnTo>
                  <a:pt x="2961" y="1094"/>
                </a:lnTo>
                <a:lnTo>
                  <a:pt x="2957" y="1091"/>
                </a:lnTo>
                <a:lnTo>
                  <a:pt x="2956" y="1091"/>
                </a:lnTo>
                <a:lnTo>
                  <a:pt x="2961" y="1095"/>
                </a:lnTo>
                <a:lnTo>
                  <a:pt x="2959" y="1097"/>
                </a:lnTo>
                <a:lnTo>
                  <a:pt x="2961" y="1103"/>
                </a:lnTo>
                <a:lnTo>
                  <a:pt x="2959" y="1104"/>
                </a:lnTo>
                <a:lnTo>
                  <a:pt x="2954" y="1098"/>
                </a:lnTo>
                <a:lnTo>
                  <a:pt x="2945" y="1102"/>
                </a:lnTo>
                <a:lnTo>
                  <a:pt x="2945" y="1100"/>
                </a:lnTo>
                <a:lnTo>
                  <a:pt x="2944" y="1098"/>
                </a:lnTo>
                <a:lnTo>
                  <a:pt x="2948" y="1098"/>
                </a:lnTo>
                <a:lnTo>
                  <a:pt x="2948" y="1095"/>
                </a:lnTo>
                <a:lnTo>
                  <a:pt x="2943" y="1093"/>
                </a:lnTo>
                <a:lnTo>
                  <a:pt x="2937" y="1091"/>
                </a:lnTo>
                <a:lnTo>
                  <a:pt x="2935" y="1092"/>
                </a:lnTo>
                <a:lnTo>
                  <a:pt x="2931" y="1091"/>
                </a:lnTo>
                <a:lnTo>
                  <a:pt x="2924" y="1092"/>
                </a:lnTo>
                <a:lnTo>
                  <a:pt x="2920" y="1091"/>
                </a:lnTo>
                <a:lnTo>
                  <a:pt x="2917" y="1092"/>
                </a:lnTo>
                <a:lnTo>
                  <a:pt x="2916" y="1086"/>
                </a:lnTo>
                <a:lnTo>
                  <a:pt x="2911" y="1083"/>
                </a:lnTo>
                <a:lnTo>
                  <a:pt x="2911" y="1081"/>
                </a:lnTo>
                <a:lnTo>
                  <a:pt x="2911" y="1081"/>
                </a:lnTo>
                <a:lnTo>
                  <a:pt x="2910" y="1081"/>
                </a:lnTo>
                <a:lnTo>
                  <a:pt x="2911" y="1081"/>
                </a:lnTo>
                <a:lnTo>
                  <a:pt x="2909" y="1077"/>
                </a:lnTo>
                <a:lnTo>
                  <a:pt x="2903" y="1077"/>
                </a:lnTo>
                <a:lnTo>
                  <a:pt x="2903" y="1073"/>
                </a:lnTo>
                <a:lnTo>
                  <a:pt x="2903" y="1073"/>
                </a:lnTo>
                <a:lnTo>
                  <a:pt x="2903" y="1072"/>
                </a:lnTo>
                <a:lnTo>
                  <a:pt x="2903" y="1069"/>
                </a:lnTo>
                <a:lnTo>
                  <a:pt x="2904" y="1069"/>
                </a:lnTo>
                <a:lnTo>
                  <a:pt x="2902" y="1061"/>
                </a:lnTo>
                <a:lnTo>
                  <a:pt x="2896" y="1056"/>
                </a:lnTo>
                <a:lnTo>
                  <a:pt x="2892" y="1054"/>
                </a:lnTo>
                <a:lnTo>
                  <a:pt x="2895" y="1055"/>
                </a:lnTo>
                <a:lnTo>
                  <a:pt x="2895" y="1053"/>
                </a:lnTo>
                <a:lnTo>
                  <a:pt x="2891" y="1053"/>
                </a:lnTo>
                <a:lnTo>
                  <a:pt x="2891" y="1049"/>
                </a:lnTo>
                <a:lnTo>
                  <a:pt x="2895" y="1049"/>
                </a:lnTo>
                <a:lnTo>
                  <a:pt x="2895" y="1044"/>
                </a:lnTo>
                <a:lnTo>
                  <a:pt x="2895" y="1040"/>
                </a:lnTo>
                <a:lnTo>
                  <a:pt x="2895" y="1037"/>
                </a:lnTo>
                <a:lnTo>
                  <a:pt x="2895" y="1034"/>
                </a:lnTo>
                <a:lnTo>
                  <a:pt x="2895" y="1030"/>
                </a:lnTo>
                <a:lnTo>
                  <a:pt x="2891" y="1029"/>
                </a:lnTo>
                <a:lnTo>
                  <a:pt x="2891" y="1027"/>
                </a:lnTo>
                <a:lnTo>
                  <a:pt x="2889" y="1025"/>
                </a:lnTo>
                <a:lnTo>
                  <a:pt x="2887" y="1020"/>
                </a:lnTo>
                <a:lnTo>
                  <a:pt x="2882" y="1018"/>
                </a:lnTo>
                <a:lnTo>
                  <a:pt x="2883" y="1019"/>
                </a:lnTo>
                <a:lnTo>
                  <a:pt x="2883" y="1020"/>
                </a:lnTo>
                <a:lnTo>
                  <a:pt x="2879" y="1018"/>
                </a:lnTo>
                <a:lnTo>
                  <a:pt x="2879" y="1017"/>
                </a:lnTo>
                <a:lnTo>
                  <a:pt x="2875" y="1015"/>
                </a:lnTo>
                <a:lnTo>
                  <a:pt x="2875" y="1015"/>
                </a:lnTo>
                <a:lnTo>
                  <a:pt x="2875" y="1015"/>
                </a:lnTo>
                <a:lnTo>
                  <a:pt x="2875" y="1015"/>
                </a:lnTo>
                <a:lnTo>
                  <a:pt x="2872" y="1013"/>
                </a:lnTo>
                <a:lnTo>
                  <a:pt x="2869" y="1013"/>
                </a:lnTo>
                <a:lnTo>
                  <a:pt x="2867" y="1013"/>
                </a:lnTo>
                <a:lnTo>
                  <a:pt x="2867" y="1011"/>
                </a:lnTo>
                <a:lnTo>
                  <a:pt x="2860" y="1005"/>
                </a:lnTo>
                <a:lnTo>
                  <a:pt x="2852" y="1005"/>
                </a:lnTo>
                <a:lnTo>
                  <a:pt x="2843" y="1005"/>
                </a:lnTo>
                <a:lnTo>
                  <a:pt x="2843" y="998"/>
                </a:lnTo>
                <a:lnTo>
                  <a:pt x="2837" y="995"/>
                </a:lnTo>
                <a:lnTo>
                  <a:pt x="2834" y="991"/>
                </a:lnTo>
                <a:lnTo>
                  <a:pt x="2832" y="989"/>
                </a:lnTo>
                <a:lnTo>
                  <a:pt x="2831" y="989"/>
                </a:lnTo>
                <a:lnTo>
                  <a:pt x="2831" y="986"/>
                </a:lnTo>
                <a:lnTo>
                  <a:pt x="2837" y="987"/>
                </a:lnTo>
                <a:lnTo>
                  <a:pt x="2831" y="982"/>
                </a:lnTo>
                <a:lnTo>
                  <a:pt x="2829" y="980"/>
                </a:lnTo>
                <a:lnTo>
                  <a:pt x="2831" y="975"/>
                </a:lnTo>
                <a:lnTo>
                  <a:pt x="2829" y="972"/>
                </a:lnTo>
                <a:lnTo>
                  <a:pt x="2823" y="969"/>
                </a:lnTo>
                <a:lnTo>
                  <a:pt x="2821" y="969"/>
                </a:lnTo>
                <a:lnTo>
                  <a:pt x="2820" y="976"/>
                </a:lnTo>
                <a:lnTo>
                  <a:pt x="2815" y="979"/>
                </a:lnTo>
                <a:lnTo>
                  <a:pt x="2811" y="971"/>
                </a:lnTo>
                <a:lnTo>
                  <a:pt x="2809" y="965"/>
                </a:lnTo>
                <a:lnTo>
                  <a:pt x="2811" y="965"/>
                </a:lnTo>
                <a:lnTo>
                  <a:pt x="2812" y="965"/>
                </a:lnTo>
                <a:lnTo>
                  <a:pt x="2814" y="963"/>
                </a:lnTo>
                <a:lnTo>
                  <a:pt x="2817" y="961"/>
                </a:lnTo>
                <a:lnTo>
                  <a:pt x="2814" y="960"/>
                </a:lnTo>
                <a:lnTo>
                  <a:pt x="2812" y="961"/>
                </a:lnTo>
                <a:lnTo>
                  <a:pt x="2811" y="958"/>
                </a:lnTo>
                <a:lnTo>
                  <a:pt x="2807" y="960"/>
                </a:lnTo>
                <a:lnTo>
                  <a:pt x="2807" y="961"/>
                </a:lnTo>
                <a:lnTo>
                  <a:pt x="2805" y="961"/>
                </a:lnTo>
                <a:lnTo>
                  <a:pt x="2804" y="961"/>
                </a:lnTo>
                <a:lnTo>
                  <a:pt x="2794" y="964"/>
                </a:lnTo>
                <a:lnTo>
                  <a:pt x="2796" y="961"/>
                </a:lnTo>
                <a:lnTo>
                  <a:pt x="2793" y="962"/>
                </a:lnTo>
                <a:lnTo>
                  <a:pt x="2790" y="968"/>
                </a:lnTo>
                <a:lnTo>
                  <a:pt x="2796" y="972"/>
                </a:lnTo>
                <a:lnTo>
                  <a:pt x="2794" y="976"/>
                </a:lnTo>
                <a:lnTo>
                  <a:pt x="2793" y="974"/>
                </a:lnTo>
                <a:lnTo>
                  <a:pt x="2790" y="977"/>
                </a:lnTo>
                <a:lnTo>
                  <a:pt x="2793" y="985"/>
                </a:lnTo>
                <a:lnTo>
                  <a:pt x="2797" y="991"/>
                </a:lnTo>
                <a:lnTo>
                  <a:pt x="2811" y="999"/>
                </a:lnTo>
                <a:lnTo>
                  <a:pt x="2816" y="1016"/>
                </a:lnTo>
                <a:lnTo>
                  <a:pt x="2827" y="1027"/>
                </a:lnTo>
                <a:lnTo>
                  <a:pt x="2834" y="1033"/>
                </a:lnTo>
                <a:lnTo>
                  <a:pt x="2844" y="1033"/>
                </a:lnTo>
                <a:lnTo>
                  <a:pt x="2843" y="1034"/>
                </a:lnTo>
                <a:lnTo>
                  <a:pt x="2843" y="1037"/>
                </a:lnTo>
                <a:lnTo>
                  <a:pt x="2874" y="1052"/>
                </a:lnTo>
                <a:lnTo>
                  <a:pt x="2882" y="1061"/>
                </a:lnTo>
                <a:lnTo>
                  <a:pt x="2879" y="1067"/>
                </a:lnTo>
                <a:lnTo>
                  <a:pt x="2875" y="1063"/>
                </a:lnTo>
                <a:lnTo>
                  <a:pt x="2871" y="1057"/>
                </a:lnTo>
                <a:lnTo>
                  <a:pt x="2863" y="1056"/>
                </a:lnTo>
                <a:lnTo>
                  <a:pt x="2863" y="1053"/>
                </a:lnTo>
                <a:lnTo>
                  <a:pt x="2859" y="1056"/>
                </a:lnTo>
                <a:lnTo>
                  <a:pt x="2853" y="1062"/>
                </a:lnTo>
                <a:lnTo>
                  <a:pt x="2851" y="1067"/>
                </a:lnTo>
                <a:lnTo>
                  <a:pt x="2851" y="1068"/>
                </a:lnTo>
                <a:lnTo>
                  <a:pt x="2859" y="1073"/>
                </a:lnTo>
                <a:lnTo>
                  <a:pt x="2859" y="1080"/>
                </a:lnTo>
                <a:lnTo>
                  <a:pt x="2851" y="1083"/>
                </a:lnTo>
                <a:lnTo>
                  <a:pt x="2852" y="1084"/>
                </a:lnTo>
                <a:lnTo>
                  <a:pt x="2853" y="1091"/>
                </a:lnTo>
                <a:lnTo>
                  <a:pt x="2848" y="1096"/>
                </a:lnTo>
                <a:lnTo>
                  <a:pt x="2845" y="1100"/>
                </a:lnTo>
                <a:lnTo>
                  <a:pt x="2841" y="1101"/>
                </a:lnTo>
                <a:lnTo>
                  <a:pt x="2839" y="1100"/>
                </a:lnTo>
                <a:lnTo>
                  <a:pt x="2839" y="1096"/>
                </a:lnTo>
                <a:lnTo>
                  <a:pt x="2841" y="1094"/>
                </a:lnTo>
                <a:lnTo>
                  <a:pt x="2843" y="1094"/>
                </a:lnTo>
                <a:lnTo>
                  <a:pt x="2844" y="1089"/>
                </a:lnTo>
                <a:lnTo>
                  <a:pt x="2842" y="1086"/>
                </a:lnTo>
                <a:lnTo>
                  <a:pt x="2847" y="1084"/>
                </a:lnTo>
                <a:lnTo>
                  <a:pt x="2847" y="1081"/>
                </a:lnTo>
                <a:lnTo>
                  <a:pt x="2843" y="1080"/>
                </a:lnTo>
                <a:lnTo>
                  <a:pt x="2843" y="1073"/>
                </a:lnTo>
                <a:lnTo>
                  <a:pt x="2841" y="1065"/>
                </a:lnTo>
                <a:lnTo>
                  <a:pt x="2838" y="1065"/>
                </a:lnTo>
                <a:lnTo>
                  <a:pt x="2837" y="1065"/>
                </a:lnTo>
                <a:lnTo>
                  <a:pt x="2827" y="1058"/>
                </a:lnTo>
                <a:lnTo>
                  <a:pt x="2827" y="1056"/>
                </a:lnTo>
                <a:lnTo>
                  <a:pt x="2826" y="1050"/>
                </a:lnTo>
                <a:lnTo>
                  <a:pt x="2821" y="1052"/>
                </a:lnTo>
                <a:lnTo>
                  <a:pt x="2823" y="1048"/>
                </a:lnTo>
                <a:lnTo>
                  <a:pt x="2821" y="1046"/>
                </a:lnTo>
                <a:lnTo>
                  <a:pt x="2818" y="1048"/>
                </a:lnTo>
                <a:lnTo>
                  <a:pt x="2812" y="1041"/>
                </a:lnTo>
                <a:lnTo>
                  <a:pt x="2802" y="1041"/>
                </a:lnTo>
                <a:lnTo>
                  <a:pt x="2801" y="1037"/>
                </a:lnTo>
                <a:lnTo>
                  <a:pt x="2796" y="1035"/>
                </a:lnTo>
                <a:lnTo>
                  <a:pt x="2789" y="1029"/>
                </a:lnTo>
                <a:lnTo>
                  <a:pt x="2786" y="1025"/>
                </a:lnTo>
                <a:lnTo>
                  <a:pt x="2783" y="1022"/>
                </a:lnTo>
                <a:lnTo>
                  <a:pt x="2778" y="1019"/>
                </a:lnTo>
                <a:lnTo>
                  <a:pt x="2775" y="1020"/>
                </a:lnTo>
                <a:lnTo>
                  <a:pt x="2775" y="1018"/>
                </a:lnTo>
                <a:lnTo>
                  <a:pt x="2767" y="1007"/>
                </a:lnTo>
                <a:lnTo>
                  <a:pt x="2767" y="1003"/>
                </a:lnTo>
                <a:lnTo>
                  <a:pt x="2763" y="1000"/>
                </a:lnTo>
                <a:lnTo>
                  <a:pt x="2763" y="995"/>
                </a:lnTo>
                <a:lnTo>
                  <a:pt x="2761" y="991"/>
                </a:lnTo>
                <a:lnTo>
                  <a:pt x="2748" y="984"/>
                </a:lnTo>
                <a:lnTo>
                  <a:pt x="2742" y="982"/>
                </a:lnTo>
                <a:lnTo>
                  <a:pt x="2737" y="985"/>
                </a:lnTo>
                <a:lnTo>
                  <a:pt x="2730" y="992"/>
                </a:lnTo>
                <a:lnTo>
                  <a:pt x="2723" y="995"/>
                </a:lnTo>
                <a:lnTo>
                  <a:pt x="2723" y="995"/>
                </a:lnTo>
                <a:lnTo>
                  <a:pt x="2723" y="997"/>
                </a:lnTo>
                <a:lnTo>
                  <a:pt x="2721" y="997"/>
                </a:lnTo>
                <a:lnTo>
                  <a:pt x="2719" y="998"/>
                </a:lnTo>
                <a:lnTo>
                  <a:pt x="2710" y="1003"/>
                </a:lnTo>
                <a:lnTo>
                  <a:pt x="2712" y="1005"/>
                </a:lnTo>
                <a:lnTo>
                  <a:pt x="2710" y="1009"/>
                </a:lnTo>
                <a:lnTo>
                  <a:pt x="2705" y="1009"/>
                </a:lnTo>
                <a:lnTo>
                  <a:pt x="2701" y="1009"/>
                </a:lnTo>
                <a:lnTo>
                  <a:pt x="2699" y="1009"/>
                </a:lnTo>
                <a:lnTo>
                  <a:pt x="2698" y="1008"/>
                </a:lnTo>
                <a:lnTo>
                  <a:pt x="2693" y="1005"/>
                </a:lnTo>
                <a:lnTo>
                  <a:pt x="2690" y="1005"/>
                </a:lnTo>
                <a:lnTo>
                  <a:pt x="2687" y="1005"/>
                </a:lnTo>
                <a:lnTo>
                  <a:pt x="2690" y="1002"/>
                </a:lnTo>
                <a:lnTo>
                  <a:pt x="2687" y="999"/>
                </a:lnTo>
                <a:lnTo>
                  <a:pt x="2687" y="1001"/>
                </a:lnTo>
                <a:lnTo>
                  <a:pt x="2682" y="1002"/>
                </a:lnTo>
                <a:lnTo>
                  <a:pt x="2678" y="997"/>
                </a:lnTo>
                <a:lnTo>
                  <a:pt x="2678" y="1002"/>
                </a:lnTo>
                <a:lnTo>
                  <a:pt x="2678" y="1002"/>
                </a:lnTo>
                <a:lnTo>
                  <a:pt x="2670" y="999"/>
                </a:lnTo>
                <a:lnTo>
                  <a:pt x="2662" y="1004"/>
                </a:lnTo>
                <a:lnTo>
                  <a:pt x="2658" y="1007"/>
                </a:lnTo>
                <a:lnTo>
                  <a:pt x="2656" y="1013"/>
                </a:lnTo>
                <a:lnTo>
                  <a:pt x="2658" y="1019"/>
                </a:lnTo>
                <a:lnTo>
                  <a:pt x="2659" y="1021"/>
                </a:lnTo>
                <a:lnTo>
                  <a:pt x="2660" y="1021"/>
                </a:lnTo>
                <a:lnTo>
                  <a:pt x="2662" y="1021"/>
                </a:lnTo>
                <a:lnTo>
                  <a:pt x="2658" y="1022"/>
                </a:lnTo>
                <a:lnTo>
                  <a:pt x="2658" y="1025"/>
                </a:lnTo>
                <a:lnTo>
                  <a:pt x="2658" y="1028"/>
                </a:lnTo>
                <a:lnTo>
                  <a:pt x="2647" y="1037"/>
                </a:lnTo>
                <a:lnTo>
                  <a:pt x="2645" y="1041"/>
                </a:lnTo>
                <a:lnTo>
                  <a:pt x="2629" y="1044"/>
                </a:lnTo>
                <a:lnTo>
                  <a:pt x="2623" y="1048"/>
                </a:lnTo>
                <a:lnTo>
                  <a:pt x="2627" y="1050"/>
                </a:lnTo>
                <a:lnTo>
                  <a:pt x="2623" y="1053"/>
                </a:lnTo>
                <a:lnTo>
                  <a:pt x="2622" y="1053"/>
                </a:lnTo>
                <a:lnTo>
                  <a:pt x="2614" y="1061"/>
                </a:lnTo>
                <a:lnTo>
                  <a:pt x="2609" y="1071"/>
                </a:lnTo>
                <a:lnTo>
                  <a:pt x="2611" y="1080"/>
                </a:lnTo>
                <a:lnTo>
                  <a:pt x="2617" y="1085"/>
                </a:lnTo>
                <a:lnTo>
                  <a:pt x="2606" y="1092"/>
                </a:lnTo>
                <a:lnTo>
                  <a:pt x="2601" y="1104"/>
                </a:lnTo>
                <a:lnTo>
                  <a:pt x="2604" y="1106"/>
                </a:lnTo>
                <a:lnTo>
                  <a:pt x="2595" y="1106"/>
                </a:lnTo>
                <a:lnTo>
                  <a:pt x="2590" y="1109"/>
                </a:lnTo>
                <a:lnTo>
                  <a:pt x="2584" y="1120"/>
                </a:lnTo>
                <a:lnTo>
                  <a:pt x="2580" y="1119"/>
                </a:lnTo>
                <a:lnTo>
                  <a:pt x="2573" y="1123"/>
                </a:lnTo>
                <a:lnTo>
                  <a:pt x="2571" y="1122"/>
                </a:lnTo>
                <a:lnTo>
                  <a:pt x="2551" y="1122"/>
                </a:lnTo>
                <a:lnTo>
                  <a:pt x="2547" y="1126"/>
                </a:lnTo>
                <a:lnTo>
                  <a:pt x="2539" y="1127"/>
                </a:lnTo>
                <a:lnTo>
                  <a:pt x="2536" y="1134"/>
                </a:lnTo>
                <a:lnTo>
                  <a:pt x="2535" y="1134"/>
                </a:lnTo>
                <a:lnTo>
                  <a:pt x="2534" y="1134"/>
                </a:lnTo>
                <a:lnTo>
                  <a:pt x="2534" y="1135"/>
                </a:lnTo>
                <a:lnTo>
                  <a:pt x="2536" y="1139"/>
                </a:lnTo>
                <a:lnTo>
                  <a:pt x="2544" y="1146"/>
                </a:lnTo>
                <a:lnTo>
                  <a:pt x="2549" y="1146"/>
                </a:lnTo>
                <a:lnTo>
                  <a:pt x="2559" y="1145"/>
                </a:lnTo>
                <a:lnTo>
                  <a:pt x="2564" y="1146"/>
                </a:lnTo>
                <a:lnTo>
                  <a:pt x="2566" y="1145"/>
                </a:lnTo>
                <a:lnTo>
                  <a:pt x="2571" y="1150"/>
                </a:lnTo>
                <a:lnTo>
                  <a:pt x="2572" y="1150"/>
                </a:lnTo>
                <a:lnTo>
                  <a:pt x="2571" y="1147"/>
                </a:lnTo>
                <a:lnTo>
                  <a:pt x="2573" y="1150"/>
                </a:lnTo>
                <a:lnTo>
                  <a:pt x="2580" y="1150"/>
                </a:lnTo>
                <a:lnTo>
                  <a:pt x="2586" y="1154"/>
                </a:lnTo>
                <a:lnTo>
                  <a:pt x="2585" y="1156"/>
                </a:lnTo>
                <a:lnTo>
                  <a:pt x="2588" y="1157"/>
                </a:lnTo>
                <a:lnTo>
                  <a:pt x="2588" y="1157"/>
                </a:lnTo>
                <a:lnTo>
                  <a:pt x="2588" y="1155"/>
                </a:lnTo>
                <a:lnTo>
                  <a:pt x="2586" y="1154"/>
                </a:lnTo>
                <a:lnTo>
                  <a:pt x="2588" y="1151"/>
                </a:lnTo>
                <a:lnTo>
                  <a:pt x="2581" y="1146"/>
                </a:lnTo>
                <a:lnTo>
                  <a:pt x="2588" y="1146"/>
                </a:lnTo>
                <a:lnTo>
                  <a:pt x="2594" y="1140"/>
                </a:lnTo>
                <a:lnTo>
                  <a:pt x="2599" y="1136"/>
                </a:lnTo>
                <a:lnTo>
                  <a:pt x="2602" y="1134"/>
                </a:lnTo>
                <a:lnTo>
                  <a:pt x="2604" y="1136"/>
                </a:lnTo>
                <a:lnTo>
                  <a:pt x="2608" y="1132"/>
                </a:lnTo>
                <a:lnTo>
                  <a:pt x="2611" y="1134"/>
                </a:lnTo>
                <a:lnTo>
                  <a:pt x="2617" y="1128"/>
                </a:lnTo>
                <a:lnTo>
                  <a:pt x="2630" y="1121"/>
                </a:lnTo>
                <a:lnTo>
                  <a:pt x="2647" y="1120"/>
                </a:lnTo>
                <a:lnTo>
                  <a:pt x="2650" y="1121"/>
                </a:lnTo>
                <a:lnTo>
                  <a:pt x="2655" y="1116"/>
                </a:lnTo>
                <a:lnTo>
                  <a:pt x="2664" y="1117"/>
                </a:lnTo>
                <a:lnTo>
                  <a:pt x="2669" y="1114"/>
                </a:lnTo>
                <a:lnTo>
                  <a:pt x="2682" y="1114"/>
                </a:lnTo>
                <a:lnTo>
                  <a:pt x="2690" y="1120"/>
                </a:lnTo>
                <a:lnTo>
                  <a:pt x="2696" y="1116"/>
                </a:lnTo>
                <a:lnTo>
                  <a:pt x="2703" y="1114"/>
                </a:lnTo>
                <a:lnTo>
                  <a:pt x="2703" y="1112"/>
                </a:lnTo>
                <a:lnTo>
                  <a:pt x="2708" y="1111"/>
                </a:lnTo>
                <a:lnTo>
                  <a:pt x="2709" y="1114"/>
                </a:lnTo>
                <a:lnTo>
                  <a:pt x="2715" y="1114"/>
                </a:lnTo>
                <a:lnTo>
                  <a:pt x="2718" y="1114"/>
                </a:lnTo>
                <a:lnTo>
                  <a:pt x="2715" y="1112"/>
                </a:lnTo>
                <a:lnTo>
                  <a:pt x="2715" y="1111"/>
                </a:lnTo>
                <a:lnTo>
                  <a:pt x="2726" y="1114"/>
                </a:lnTo>
                <a:lnTo>
                  <a:pt x="2729" y="1116"/>
                </a:lnTo>
                <a:lnTo>
                  <a:pt x="2733" y="1114"/>
                </a:lnTo>
                <a:lnTo>
                  <a:pt x="2738" y="1114"/>
                </a:lnTo>
                <a:lnTo>
                  <a:pt x="2740" y="1117"/>
                </a:lnTo>
                <a:lnTo>
                  <a:pt x="2753" y="1114"/>
                </a:lnTo>
                <a:lnTo>
                  <a:pt x="2755" y="1114"/>
                </a:lnTo>
                <a:lnTo>
                  <a:pt x="2755" y="1115"/>
                </a:lnTo>
                <a:lnTo>
                  <a:pt x="2755" y="1114"/>
                </a:lnTo>
                <a:lnTo>
                  <a:pt x="2756" y="1114"/>
                </a:lnTo>
                <a:lnTo>
                  <a:pt x="2756" y="1113"/>
                </a:lnTo>
                <a:lnTo>
                  <a:pt x="2756" y="1112"/>
                </a:lnTo>
                <a:lnTo>
                  <a:pt x="2759" y="1112"/>
                </a:lnTo>
                <a:lnTo>
                  <a:pt x="2762" y="1114"/>
                </a:lnTo>
                <a:lnTo>
                  <a:pt x="2760" y="1117"/>
                </a:lnTo>
                <a:lnTo>
                  <a:pt x="2764" y="1122"/>
                </a:lnTo>
                <a:lnTo>
                  <a:pt x="2762" y="1122"/>
                </a:lnTo>
                <a:lnTo>
                  <a:pt x="2764" y="1122"/>
                </a:lnTo>
                <a:lnTo>
                  <a:pt x="2774" y="1115"/>
                </a:lnTo>
                <a:lnTo>
                  <a:pt x="2775" y="1117"/>
                </a:lnTo>
                <a:lnTo>
                  <a:pt x="2770" y="1126"/>
                </a:lnTo>
                <a:lnTo>
                  <a:pt x="2766" y="1127"/>
                </a:lnTo>
                <a:lnTo>
                  <a:pt x="2764" y="1130"/>
                </a:lnTo>
                <a:lnTo>
                  <a:pt x="2766" y="1137"/>
                </a:lnTo>
                <a:lnTo>
                  <a:pt x="2771" y="1139"/>
                </a:lnTo>
                <a:lnTo>
                  <a:pt x="2771" y="1142"/>
                </a:lnTo>
                <a:lnTo>
                  <a:pt x="2774" y="1146"/>
                </a:lnTo>
                <a:lnTo>
                  <a:pt x="2770" y="1154"/>
                </a:lnTo>
                <a:lnTo>
                  <a:pt x="2760" y="1161"/>
                </a:lnTo>
                <a:lnTo>
                  <a:pt x="2759" y="1162"/>
                </a:lnTo>
                <a:lnTo>
                  <a:pt x="2760" y="1167"/>
                </a:lnTo>
                <a:lnTo>
                  <a:pt x="2764" y="1171"/>
                </a:lnTo>
                <a:lnTo>
                  <a:pt x="2764" y="1172"/>
                </a:lnTo>
                <a:lnTo>
                  <a:pt x="2767" y="1171"/>
                </a:lnTo>
                <a:lnTo>
                  <a:pt x="2767" y="1173"/>
                </a:lnTo>
                <a:lnTo>
                  <a:pt x="2770" y="1176"/>
                </a:lnTo>
                <a:lnTo>
                  <a:pt x="2771" y="1173"/>
                </a:lnTo>
                <a:lnTo>
                  <a:pt x="2771" y="1174"/>
                </a:lnTo>
                <a:lnTo>
                  <a:pt x="2774" y="1174"/>
                </a:lnTo>
                <a:lnTo>
                  <a:pt x="2776" y="1180"/>
                </a:lnTo>
                <a:lnTo>
                  <a:pt x="2780" y="1180"/>
                </a:lnTo>
                <a:lnTo>
                  <a:pt x="2781" y="1180"/>
                </a:lnTo>
                <a:lnTo>
                  <a:pt x="2792" y="1186"/>
                </a:lnTo>
                <a:lnTo>
                  <a:pt x="2801" y="1186"/>
                </a:lnTo>
                <a:lnTo>
                  <a:pt x="2807" y="1183"/>
                </a:lnTo>
                <a:lnTo>
                  <a:pt x="2820" y="1184"/>
                </a:lnTo>
                <a:lnTo>
                  <a:pt x="2823" y="1188"/>
                </a:lnTo>
                <a:lnTo>
                  <a:pt x="2834" y="1189"/>
                </a:lnTo>
                <a:lnTo>
                  <a:pt x="2838" y="1194"/>
                </a:lnTo>
                <a:lnTo>
                  <a:pt x="2839" y="1204"/>
                </a:lnTo>
                <a:lnTo>
                  <a:pt x="2842" y="1209"/>
                </a:lnTo>
                <a:lnTo>
                  <a:pt x="2849" y="1210"/>
                </a:lnTo>
                <a:lnTo>
                  <a:pt x="2857" y="1210"/>
                </a:lnTo>
                <a:lnTo>
                  <a:pt x="2865" y="1214"/>
                </a:lnTo>
                <a:lnTo>
                  <a:pt x="2877" y="1219"/>
                </a:lnTo>
                <a:lnTo>
                  <a:pt x="2890" y="1230"/>
                </a:lnTo>
                <a:lnTo>
                  <a:pt x="2895" y="1230"/>
                </a:lnTo>
                <a:lnTo>
                  <a:pt x="2899" y="1224"/>
                </a:lnTo>
                <a:lnTo>
                  <a:pt x="2905" y="1216"/>
                </a:lnTo>
                <a:lnTo>
                  <a:pt x="2906" y="1211"/>
                </a:lnTo>
                <a:lnTo>
                  <a:pt x="2902" y="1201"/>
                </a:lnTo>
                <a:lnTo>
                  <a:pt x="2906" y="1194"/>
                </a:lnTo>
                <a:lnTo>
                  <a:pt x="2913" y="1188"/>
                </a:lnTo>
                <a:lnTo>
                  <a:pt x="2919" y="1184"/>
                </a:lnTo>
                <a:lnTo>
                  <a:pt x="2925" y="1183"/>
                </a:lnTo>
                <a:lnTo>
                  <a:pt x="2928" y="1182"/>
                </a:lnTo>
                <a:lnTo>
                  <a:pt x="2937" y="1183"/>
                </a:lnTo>
                <a:lnTo>
                  <a:pt x="2948" y="1186"/>
                </a:lnTo>
                <a:lnTo>
                  <a:pt x="2948" y="1192"/>
                </a:lnTo>
                <a:lnTo>
                  <a:pt x="2950" y="1193"/>
                </a:lnTo>
                <a:lnTo>
                  <a:pt x="2961" y="1194"/>
                </a:lnTo>
                <a:lnTo>
                  <a:pt x="2966" y="1198"/>
                </a:lnTo>
                <a:lnTo>
                  <a:pt x="2979" y="1198"/>
                </a:lnTo>
                <a:lnTo>
                  <a:pt x="2982" y="1204"/>
                </a:lnTo>
                <a:lnTo>
                  <a:pt x="2978" y="1207"/>
                </a:lnTo>
                <a:lnTo>
                  <a:pt x="2979" y="1207"/>
                </a:lnTo>
                <a:lnTo>
                  <a:pt x="2989" y="1205"/>
                </a:lnTo>
                <a:lnTo>
                  <a:pt x="2999" y="1208"/>
                </a:lnTo>
                <a:lnTo>
                  <a:pt x="3008" y="1210"/>
                </a:lnTo>
                <a:lnTo>
                  <a:pt x="3010" y="1211"/>
                </a:lnTo>
                <a:lnTo>
                  <a:pt x="3012" y="1214"/>
                </a:lnTo>
                <a:lnTo>
                  <a:pt x="3016" y="1213"/>
                </a:lnTo>
                <a:lnTo>
                  <a:pt x="3018" y="1218"/>
                </a:lnTo>
                <a:lnTo>
                  <a:pt x="3023" y="1218"/>
                </a:lnTo>
                <a:lnTo>
                  <a:pt x="3034" y="1220"/>
                </a:lnTo>
                <a:lnTo>
                  <a:pt x="3040" y="1217"/>
                </a:lnTo>
                <a:lnTo>
                  <a:pt x="3048" y="1211"/>
                </a:lnTo>
                <a:lnTo>
                  <a:pt x="3049" y="1214"/>
                </a:lnTo>
                <a:lnTo>
                  <a:pt x="3052" y="1214"/>
                </a:lnTo>
                <a:lnTo>
                  <a:pt x="3053" y="1208"/>
                </a:lnTo>
                <a:lnTo>
                  <a:pt x="3055" y="1207"/>
                </a:lnTo>
                <a:lnTo>
                  <a:pt x="3064" y="1206"/>
                </a:lnTo>
                <a:lnTo>
                  <a:pt x="3063" y="1206"/>
                </a:lnTo>
                <a:lnTo>
                  <a:pt x="3067" y="1207"/>
                </a:lnTo>
                <a:lnTo>
                  <a:pt x="3071" y="1207"/>
                </a:lnTo>
                <a:lnTo>
                  <a:pt x="3073" y="1207"/>
                </a:lnTo>
                <a:lnTo>
                  <a:pt x="3076" y="1206"/>
                </a:lnTo>
                <a:lnTo>
                  <a:pt x="3074" y="1211"/>
                </a:lnTo>
                <a:lnTo>
                  <a:pt x="3076" y="1212"/>
                </a:lnTo>
                <a:lnTo>
                  <a:pt x="3078" y="1210"/>
                </a:lnTo>
                <a:lnTo>
                  <a:pt x="3078" y="1214"/>
                </a:lnTo>
                <a:lnTo>
                  <a:pt x="3082" y="1213"/>
                </a:lnTo>
                <a:lnTo>
                  <a:pt x="3079" y="1211"/>
                </a:lnTo>
                <a:lnTo>
                  <a:pt x="3086" y="1215"/>
                </a:lnTo>
                <a:lnTo>
                  <a:pt x="3092" y="1213"/>
                </a:lnTo>
                <a:lnTo>
                  <a:pt x="3092" y="1215"/>
                </a:lnTo>
                <a:lnTo>
                  <a:pt x="3098" y="1214"/>
                </a:lnTo>
                <a:lnTo>
                  <a:pt x="3102" y="1214"/>
                </a:lnTo>
                <a:lnTo>
                  <a:pt x="3109" y="1211"/>
                </a:lnTo>
                <a:lnTo>
                  <a:pt x="3110" y="1211"/>
                </a:lnTo>
                <a:lnTo>
                  <a:pt x="3109" y="1210"/>
                </a:lnTo>
                <a:lnTo>
                  <a:pt x="3109" y="1210"/>
                </a:lnTo>
                <a:lnTo>
                  <a:pt x="3108" y="1209"/>
                </a:lnTo>
                <a:lnTo>
                  <a:pt x="3108" y="1209"/>
                </a:lnTo>
                <a:lnTo>
                  <a:pt x="3111" y="1205"/>
                </a:lnTo>
                <a:lnTo>
                  <a:pt x="3116" y="1199"/>
                </a:lnTo>
                <a:lnTo>
                  <a:pt x="3120" y="1186"/>
                </a:lnTo>
                <a:lnTo>
                  <a:pt x="3120" y="1186"/>
                </a:lnTo>
                <a:lnTo>
                  <a:pt x="3120" y="1182"/>
                </a:lnTo>
                <a:lnTo>
                  <a:pt x="3118" y="1180"/>
                </a:lnTo>
                <a:lnTo>
                  <a:pt x="3124" y="1167"/>
                </a:lnTo>
                <a:lnTo>
                  <a:pt x="3128" y="1165"/>
                </a:lnTo>
                <a:lnTo>
                  <a:pt x="3128" y="1160"/>
                </a:lnTo>
                <a:lnTo>
                  <a:pt x="3132" y="1157"/>
                </a:lnTo>
                <a:lnTo>
                  <a:pt x="3132" y="1158"/>
                </a:lnTo>
                <a:lnTo>
                  <a:pt x="3135" y="1158"/>
                </a:lnTo>
                <a:lnTo>
                  <a:pt x="3132" y="1152"/>
                </a:lnTo>
                <a:lnTo>
                  <a:pt x="3132" y="1146"/>
                </a:lnTo>
                <a:lnTo>
                  <a:pt x="3132" y="1143"/>
                </a:lnTo>
                <a:lnTo>
                  <a:pt x="3132" y="1141"/>
                </a:lnTo>
                <a:lnTo>
                  <a:pt x="3132" y="1140"/>
                </a:lnTo>
                <a:lnTo>
                  <a:pt x="3134" y="1137"/>
                </a:lnTo>
                <a:lnTo>
                  <a:pt x="3135" y="1134"/>
                </a:lnTo>
                <a:lnTo>
                  <a:pt x="3132" y="1128"/>
                </a:lnTo>
                <a:lnTo>
                  <a:pt x="3136" y="1123"/>
                </a:lnTo>
                <a:lnTo>
                  <a:pt x="3136" y="1120"/>
                </a:lnTo>
                <a:close/>
                <a:moveTo>
                  <a:pt x="2946" y="1087"/>
                </a:moveTo>
                <a:lnTo>
                  <a:pt x="2947" y="1089"/>
                </a:lnTo>
                <a:lnTo>
                  <a:pt x="2948" y="1089"/>
                </a:lnTo>
                <a:lnTo>
                  <a:pt x="2948" y="1087"/>
                </a:lnTo>
                <a:lnTo>
                  <a:pt x="2950" y="1088"/>
                </a:lnTo>
                <a:lnTo>
                  <a:pt x="2952" y="1089"/>
                </a:lnTo>
                <a:lnTo>
                  <a:pt x="2952" y="1087"/>
                </a:lnTo>
                <a:lnTo>
                  <a:pt x="2950" y="1086"/>
                </a:lnTo>
                <a:lnTo>
                  <a:pt x="2948" y="1085"/>
                </a:lnTo>
                <a:lnTo>
                  <a:pt x="2945" y="1085"/>
                </a:lnTo>
                <a:lnTo>
                  <a:pt x="2946" y="1087"/>
                </a:lnTo>
                <a:close/>
                <a:moveTo>
                  <a:pt x="3216" y="1035"/>
                </a:moveTo>
                <a:lnTo>
                  <a:pt x="3219" y="1030"/>
                </a:lnTo>
                <a:lnTo>
                  <a:pt x="3214" y="1016"/>
                </a:lnTo>
                <a:lnTo>
                  <a:pt x="3211" y="1015"/>
                </a:lnTo>
                <a:lnTo>
                  <a:pt x="3209" y="1014"/>
                </a:lnTo>
                <a:lnTo>
                  <a:pt x="3208" y="1011"/>
                </a:lnTo>
                <a:lnTo>
                  <a:pt x="3204" y="1010"/>
                </a:lnTo>
                <a:lnTo>
                  <a:pt x="3198" y="1010"/>
                </a:lnTo>
                <a:lnTo>
                  <a:pt x="3196" y="1009"/>
                </a:lnTo>
                <a:lnTo>
                  <a:pt x="3188" y="1009"/>
                </a:lnTo>
                <a:lnTo>
                  <a:pt x="3188" y="1003"/>
                </a:lnTo>
                <a:lnTo>
                  <a:pt x="3173" y="987"/>
                </a:lnTo>
                <a:lnTo>
                  <a:pt x="3170" y="986"/>
                </a:lnTo>
                <a:lnTo>
                  <a:pt x="3166" y="985"/>
                </a:lnTo>
                <a:lnTo>
                  <a:pt x="3163" y="982"/>
                </a:lnTo>
                <a:lnTo>
                  <a:pt x="3160" y="980"/>
                </a:lnTo>
                <a:lnTo>
                  <a:pt x="3160" y="981"/>
                </a:lnTo>
                <a:lnTo>
                  <a:pt x="3158" y="981"/>
                </a:lnTo>
                <a:lnTo>
                  <a:pt x="3156" y="980"/>
                </a:lnTo>
                <a:lnTo>
                  <a:pt x="3154" y="977"/>
                </a:lnTo>
                <a:lnTo>
                  <a:pt x="3152" y="975"/>
                </a:lnTo>
                <a:lnTo>
                  <a:pt x="3144" y="971"/>
                </a:lnTo>
                <a:lnTo>
                  <a:pt x="3146" y="970"/>
                </a:lnTo>
                <a:lnTo>
                  <a:pt x="3148" y="969"/>
                </a:lnTo>
                <a:lnTo>
                  <a:pt x="3148" y="970"/>
                </a:lnTo>
                <a:lnTo>
                  <a:pt x="3152" y="969"/>
                </a:lnTo>
                <a:lnTo>
                  <a:pt x="3156" y="967"/>
                </a:lnTo>
                <a:lnTo>
                  <a:pt x="3160" y="968"/>
                </a:lnTo>
                <a:lnTo>
                  <a:pt x="3160" y="963"/>
                </a:lnTo>
                <a:lnTo>
                  <a:pt x="3159" y="963"/>
                </a:lnTo>
                <a:lnTo>
                  <a:pt x="3157" y="963"/>
                </a:lnTo>
                <a:lnTo>
                  <a:pt x="3161" y="960"/>
                </a:lnTo>
                <a:lnTo>
                  <a:pt x="3163" y="957"/>
                </a:lnTo>
                <a:lnTo>
                  <a:pt x="3164" y="957"/>
                </a:lnTo>
                <a:lnTo>
                  <a:pt x="3164" y="957"/>
                </a:lnTo>
                <a:lnTo>
                  <a:pt x="3166" y="953"/>
                </a:lnTo>
                <a:lnTo>
                  <a:pt x="3168" y="954"/>
                </a:lnTo>
                <a:lnTo>
                  <a:pt x="3171" y="956"/>
                </a:lnTo>
                <a:lnTo>
                  <a:pt x="3171" y="955"/>
                </a:lnTo>
                <a:lnTo>
                  <a:pt x="3172" y="953"/>
                </a:lnTo>
                <a:lnTo>
                  <a:pt x="3164" y="949"/>
                </a:lnTo>
                <a:lnTo>
                  <a:pt x="3163" y="949"/>
                </a:lnTo>
                <a:lnTo>
                  <a:pt x="3162" y="947"/>
                </a:lnTo>
                <a:lnTo>
                  <a:pt x="3160" y="945"/>
                </a:lnTo>
                <a:lnTo>
                  <a:pt x="3164" y="945"/>
                </a:lnTo>
                <a:lnTo>
                  <a:pt x="3168" y="942"/>
                </a:lnTo>
                <a:lnTo>
                  <a:pt x="3168" y="942"/>
                </a:lnTo>
                <a:lnTo>
                  <a:pt x="3168" y="941"/>
                </a:lnTo>
                <a:lnTo>
                  <a:pt x="3178" y="937"/>
                </a:lnTo>
                <a:lnTo>
                  <a:pt x="3180" y="937"/>
                </a:lnTo>
                <a:lnTo>
                  <a:pt x="3180" y="936"/>
                </a:lnTo>
                <a:lnTo>
                  <a:pt x="3180" y="933"/>
                </a:lnTo>
                <a:lnTo>
                  <a:pt x="3178" y="933"/>
                </a:lnTo>
                <a:lnTo>
                  <a:pt x="3175" y="934"/>
                </a:lnTo>
                <a:lnTo>
                  <a:pt x="3172" y="936"/>
                </a:lnTo>
                <a:lnTo>
                  <a:pt x="3171" y="934"/>
                </a:lnTo>
                <a:lnTo>
                  <a:pt x="3170" y="935"/>
                </a:lnTo>
                <a:lnTo>
                  <a:pt x="3167" y="937"/>
                </a:lnTo>
                <a:lnTo>
                  <a:pt x="3167" y="937"/>
                </a:lnTo>
                <a:lnTo>
                  <a:pt x="3164" y="937"/>
                </a:lnTo>
                <a:lnTo>
                  <a:pt x="3159" y="937"/>
                </a:lnTo>
                <a:lnTo>
                  <a:pt x="3156" y="941"/>
                </a:lnTo>
                <a:lnTo>
                  <a:pt x="3155" y="941"/>
                </a:lnTo>
                <a:lnTo>
                  <a:pt x="3139" y="945"/>
                </a:lnTo>
                <a:lnTo>
                  <a:pt x="3135" y="945"/>
                </a:lnTo>
                <a:lnTo>
                  <a:pt x="3126" y="949"/>
                </a:lnTo>
                <a:lnTo>
                  <a:pt x="3126" y="948"/>
                </a:lnTo>
                <a:lnTo>
                  <a:pt x="3126" y="948"/>
                </a:lnTo>
                <a:lnTo>
                  <a:pt x="3126" y="948"/>
                </a:lnTo>
                <a:lnTo>
                  <a:pt x="3126" y="948"/>
                </a:lnTo>
                <a:lnTo>
                  <a:pt x="3125" y="945"/>
                </a:lnTo>
                <a:lnTo>
                  <a:pt x="3123" y="948"/>
                </a:lnTo>
                <a:lnTo>
                  <a:pt x="3117" y="949"/>
                </a:lnTo>
                <a:lnTo>
                  <a:pt x="3115" y="953"/>
                </a:lnTo>
                <a:lnTo>
                  <a:pt x="3114" y="953"/>
                </a:lnTo>
                <a:lnTo>
                  <a:pt x="3112" y="951"/>
                </a:lnTo>
                <a:lnTo>
                  <a:pt x="3112" y="953"/>
                </a:lnTo>
                <a:lnTo>
                  <a:pt x="3112" y="953"/>
                </a:lnTo>
                <a:lnTo>
                  <a:pt x="3111" y="951"/>
                </a:lnTo>
                <a:lnTo>
                  <a:pt x="3110" y="949"/>
                </a:lnTo>
                <a:lnTo>
                  <a:pt x="3109" y="953"/>
                </a:lnTo>
                <a:lnTo>
                  <a:pt x="3110" y="954"/>
                </a:lnTo>
                <a:lnTo>
                  <a:pt x="3110" y="953"/>
                </a:lnTo>
                <a:lnTo>
                  <a:pt x="3112" y="953"/>
                </a:lnTo>
                <a:lnTo>
                  <a:pt x="3113" y="954"/>
                </a:lnTo>
                <a:lnTo>
                  <a:pt x="3114" y="954"/>
                </a:lnTo>
                <a:lnTo>
                  <a:pt x="3113" y="955"/>
                </a:lnTo>
                <a:lnTo>
                  <a:pt x="3112" y="957"/>
                </a:lnTo>
                <a:lnTo>
                  <a:pt x="3117" y="956"/>
                </a:lnTo>
                <a:lnTo>
                  <a:pt x="3114" y="961"/>
                </a:lnTo>
                <a:lnTo>
                  <a:pt x="3117" y="961"/>
                </a:lnTo>
                <a:lnTo>
                  <a:pt x="3121" y="962"/>
                </a:lnTo>
                <a:lnTo>
                  <a:pt x="3122" y="962"/>
                </a:lnTo>
                <a:lnTo>
                  <a:pt x="3117" y="953"/>
                </a:lnTo>
                <a:lnTo>
                  <a:pt x="3120" y="953"/>
                </a:lnTo>
                <a:lnTo>
                  <a:pt x="3123" y="960"/>
                </a:lnTo>
                <a:lnTo>
                  <a:pt x="3129" y="965"/>
                </a:lnTo>
                <a:lnTo>
                  <a:pt x="3135" y="964"/>
                </a:lnTo>
                <a:lnTo>
                  <a:pt x="3135" y="965"/>
                </a:lnTo>
                <a:lnTo>
                  <a:pt x="3136" y="965"/>
                </a:lnTo>
                <a:lnTo>
                  <a:pt x="3139" y="961"/>
                </a:lnTo>
                <a:lnTo>
                  <a:pt x="3144" y="964"/>
                </a:lnTo>
                <a:lnTo>
                  <a:pt x="3140" y="965"/>
                </a:lnTo>
                <a:lnTo>
                  <a:pt x="3140" y="971"/>
                </a:lnTo>
                <a:lnTo>
                  <a:pt x="3133" y="972"/>
                </a:lnTo>
                <a:lnTo>
                  <a:pt x="3129" y="968"/>
                </a:lnTo>
                <a:lnTo>
                  <a:pt x="3123" y="975"/>
                </a:lnTo>
                <a:lnTo>
                  <a:pt x="3121" y="973"/>
                </a:lnTo>
                <a:lnTo>
                  <a:pt x="3115" y="975"/>
                </a:lnTo>
                <a:lnTo>
                  <a:pt x="3112" y="980"/>
                </a:lnTo>
                <a:lnTo>
                  <a:pt x="3109" y="982"/>
                </a:lnTo>
                <a:lnTo>
                  <a:pt x="3106" y="984"/>
                </a:lnTo>
                <a:lnTo>
                  <a:pt x="3102" y="983"/>
                </a:lnTo>
                <a:lnTo>
                  <a:pt x="3098" y="981"/>
                </a:lnTo>
                <a:lnTo>
                  <a:pt x="3100" y="981"/>
                </a:lnTo>
                <a:lnTo>
                  <a:pt x="3100" y="975"/>
                </a:lnTo>
                <a:lnTo>
                  <a:pt x="3102" y="973"/>
                </a:lnTo>
                <a:lnTo>
                  <a:pt x="3101" y="969"/>
                </a:lnTo>
                <a:lnTo>
                  <a:pt x="3096" y="969"/>
                </a:lnTo>
                <a:lnTo>
                  <a:pt x="3091" y="969"/>
                </a:lnTo>
                <a:lnTo>
                  <a:pt x="3086" y="969"/>
                </a:lnTo>
                <a:lnTo>
                  <a:pt x="3084" y="966"/>
                </a:lnTo>
                <a:lnTo>
                  <a:pt x="3090" y="960"/>
                </a:lnTo>
                <a:lnTo>
                  <a:pt x="3102" y="954"/>
                </a:lnTo>
                <a:lnTo>
                  <a:pt x="3100" y="953"/>
                </a:lnTo>
                <a:lnTo>
                  <a:pt x="3100" y="951"/>
                </a:lnTo>
                <a:lnTo>
                  <a:pt x="3097" y="953"/>
                </a:lnTo>
                <a:lnTo>
                  <a:pt x="3096" y="949"/>
                </a:lnTo>
                <a:lnTo>
                  <a:pt x="3086" y="951"/>
                </a:lnTo>
                <a:lnTo>
                  <a:pt x="3075" y="948"/>
                </a:lnTo>
                <a:lnTo>
                  <a:pt x="3079" y="946"/>
                </a:lnTo>
                <a:lnTo>
                  <a:pt x="3076" y="946"/>
                </a:lnTo>
                <a:lnTo>
                  <a:pt x="3073" y="945"/>
                </a:lnTo>
                <a:lnTo>
                  <a:pt x="3072" y="945"/>
                </a:lnTo>
                <a:lnTo>
                  <a:pt x="3072" y="945"/>
                </a:lnTo>
                <a:lnTo>
                  <a:pt x="3069" y="945"/>
                </a:lnTo>
                <a:lnTo>
                  <a:pt x="3060" y="942"/>
                </a:lnTo>
                <a:lnTo>
                  <a:pt x="3060" y="946"/>
                </a:lnTo>
                <a:lnTo>
                  <a:pt x="3052" y="957"/>
                </a:lnTo>
                <a:lnTo>
                  <a:pt x="3046" y="957"/>
                </a:lnTo>
                <a:lnTo>
                  <a:pt x="3045" y="959"/>
                </a:lnTo>
                <a:lnTo>
                  <a:pt x="3044" y="961"/>
                </a:lnTo>
                <a:lnTo>
                  <a:pt x="3040" y="956"/>
                </a:lnTo>
                <a:lnTo>
                  <a:pt x="3040" y="961"/>
                </a:lnTo>
                <a:lnTo>
                  <a:pt x="3045" y="964"/>
                </a:lnTo>
                <a:lnTo>
                  <a:pt x="3044" y="967"/>
                </a:lnTo>
                <a:lnTo>
                  <a:pt x="3041" y="965"/>
                </a:lnTo>
                <a:lnTo>
                  <a:pt x="3039" y="964"/>
                </a:lnTo>
                <a:lnTo>
                  <a:pt x="3029" y="967"/>
                </a:lnTo>
                <a:lnTo>
                  <a:pt x="3023" y="965"/>
                </a:lnTo>
                <a:lnTo>
                  <a:pt x="3022" y="965"/>
                </a:lnTo>
                <a:lnTo>
                  <a:pt x="3022" y="964"/>
                </a:lnTo>
                <a:lnTo>
                  <a:pt x="3021" y="965"/>
                </a:lnTo>
                <a:lnTo>
                  <a:pt x="3021" y="966"/>
                </a:lnTo>
                <a:lnTo>
                  <a:pt x="3021" y="966"/>
                </a:lnTo>
                <a:lnTo>
                  <a:pt x="3021" y="966"/>
                </a:lnTo>
                <a:lnTo>
                  <a:pt x="3021" y="966"/>
                </a:lnTo>
                <a:lnTo>
                  <a:pt x="3023" y="967"/>
                </a:lnTo>
                <a:lnTo>
                  <a:pt x="3028" y="970"/>
                </a:lnTo>
                <a:lnTo>
                  <a:pt x="3037" y="967"/>
                </a:lnTo>
                <a:lnTo>
                  <a:pt x="3041" y="968"/>
                </a:lnTo>
                <a:lnTo>
                  <a:pt x="3042" y="971"/>
                </a:lnTo>
                <a:lnTo>
                  <a:pt x="3041" y="981"/>
                </a:lnTo>
                <a:lnTo>
                  <a:pt x="3033" y="981"/>
                </a:lnTo>
                <a:lnTo>
                  <a:pt x="3032" y="982"/>
                </a:lnTo>
                <a:lnTo>
                  <a:pt x="3026" y="986"/>
                </a:lnTo>
                <a:lnTo>
                  <a:pt x="3028" y="994"/>
                </a:lnTo>
                <a:lnTo>
                  <a:pt x="3025" y="999"/>
                </a:lnTo>
                <a:lnTo>
                  <a:pt x="3024" y="999"/>
                </a:lnTo>
                <a:lnTo>
                  <a:pt x="3024" y="1005"/>
                </a:lnTo>
                <a:lnTo>
                  <a:pt x="3020" y="1005"/>
                </a:lnTo>
                <a:lnTo>
                  <a:pt x="3016" y="1007"/>
                </a:lnTo>
                <a:lnTo>
                  <a:pt x="3016" y="1017"/>
                </a:lnTo>
                <a:lnTo>
                  <a:pt x="3014" y="1017"/>
                </a:lnTo>
                <a:lnTo>
                  <a:pt x="3011" y="1021"/>
                </a:lnTo>
                <a:lnTo>
                  <a:pt x="3014" y="1021"/>
                </a:lnTo>
                <a:lnTo>
                  <a:pt x="3016" y="1024"/>
                </a:lnTo>
                <a:lnTo>
                  <a:pt x="3019" y="1026"/>
                </a:lnTo>
                <a:lnTo>
                  <a:pt x="3012" y="1028"/>
                </a:lnTo>
                <a:lnTo>
                  <a:pt x="3015" y="1031"/>
                </a:lnTo>
                <a:lnTo>
                  <a:pt x="3021" y="1028"/>
                </a:lnTo>
                <a:lnTo>
                  <a:pt x="3020" y="1032"/>
                </a:lnTo>
                <a:lnTo>
                  <a:pt x="3021" y="1035"/>
                </a:lnTo>
                <a:lnTo>
                  <a:pt x="3026" y="1038"/>
                </a:lnTo>
                <a:lnTo>
                  <a:pt x="3032" y="1042"/>
                </a:lnTo>
                <a:lnTo>
                  <a:pt x="3032" y="1045"/>
                </a:lnTo>
                <a:lnTo>
                  <a:pt x="3033" y="1049"/>
                </a:lnTo>
                <a:lnTo>
                  <a:pt x="3030" y="1049"/>
                </a:lnTo>
                <a:lnTo>
                  <a:pt x="3028" y="1045"/>
                </a:lnTo>
                <a:lnTo>
                  <a:pt x="3028" y="1045"/>
                </a:lnTo>
                <a:lnTo>
                  <a:pt x="3024" y="1045"/>
                </a:lnTo>
                <a:lnTo>
                  <a:pt x="3021" y="1049"/>
                </a:lnTo>
                <a:lnTo>
                  <a:pt x="3014" y="1049"/>
                </a:lnTo>
                <a:lnTo>
                  <a:pt x="3011" y="1052"/>
                </a:lnTo>
                <a:lnTo>
                  <a:pt x="3003" y="1057"/>
                </a:lnTo>
                <a:lnTo>
                  <a:pt x="3009" y="1057"/>
                </a:lnTo>
                <a:lnTo>
                  <a:pt x="3014" y="1061"/>
                </a:lnTo>
                <a:lnTo>
                  <a:pt x="3019" y="1061"/>
                </a:lnTo>
                <a:lnTo>
                  <a:pt x="3018" y="1059"/>
                </a:lnTo>
                <a:lnTo>
                  <a:pt x="3018" y="1057"/>
                </a:lnTo>
                <a:lnTo>
                  <a:pt x="3020" y="1057"/>
                </a:lnTo>
                <a:lnTo>
                  <a:pt x="3020" y="1061"/>
                </a:lnTo>
                <a:lnTo>
                  <a:pt x="3036" y="1061"/>
                </a:lnTo>
                <a:lnTo>
                  <a:pt x="3038" y="1058"/>
                </a:lnTo>
                <a:lnTo>
                  <a:pt x="3033" y="1055"/>
                </a:lnTo>
                <a:lnTo>
                  <a:pt x="3038" y="1054"/>
                </a:lnTo>
                <a:lnTo>
                  <a:pt x="3043" y="1053"/>
                </a:lnTo>
                <a:lnTo>
                  <a:pt x="3048" y="1053"/>
                </a:lnTo>
                <a:lnTo>
                  <a:pt x="3041" y="1051"/>
                </a:lnTo>
                <a:lnTo>
                  <a:pt x="3038" y="1048"/>
                </a:lnTo>
                <a:lnTo>
                  <a:pt x="3036" y="1045"/>
                </a:lnTo>
                <a:lnTo>
                  <a:pt x="3038" y="1042"/>
                </a:lnTo>
                <a:lnTo>
                  <a:pt x="3051" y="1044"/>
                </a:lnTo>
                <a:lnTo>
                  <a:pt x="3054" y="1043"/>
                </a:lnTo>
                <a:lnTo>
                  <a:pt x="3058" y="1046"/>
                </a:lnTo>
                <a:lnTo>
                  <a:pt x="3062" y="1049"/>
                </a:lnTo>
                <a:lnTo>
                  <a:pt x="3068" y="1049"/>
                </a:lnTo>
                <a:lnTo>
                  <a:pt x="3073" y="1042"/>
                </a:lnTo>
                <a:lnTo>
                  <a:pt x="3082" y="1034"/>
                </a:lnTo>
                <a:lnTo>
                  <a:pt x="3099" y="1029"/>
                </a:lnTo>
                <a:lnTo>
                  <a:pt x="3119" y="1029"/>
                </a:lnTo>
                <a:lnTo>
                  <a:pt x="3121" y="1028"/>
                </a:lnTo>
                <a:lnTo>
                  <a:pt x="3122" y="1027"/>
                </a:lnTo>
                <a:lnTo>
                  <a:pt x="3126" y="1034"/>
                </a:lnTo>
                <a:lnTo>
                  <a:pt x="3130" y="1036"/>
                </a:lnTo>
                <a:lnTo>
                  <a:pt x="3137" y="1037"/>
                </a:lnTo>
                <a:lnTo>
                  <a:pt x="3136" y="1037"/>
                </a:lnTo>
                <a:lnTo>
                  <a:pt x="3136" y="1038"/>
                </a:lnTo>
                <a:lnTo>
                  <a:pt x="3139" y="1040"/>
                </a:lnTo>
                <a:lnTo>
                  <a:pt x="3143" y="1042"/>
                </a:lnTo>
                <a:lnTo>
                  <a:pt x="3145" y="1041"/>
                </a:lnTo>
                <a:lnTo>
                  <a:pt x="3147" y="1039"/>
                </a:lnTo>
                <a:lnTo>
                  <a:pt x="3148" y="1042"/>
                </a:lnTo>
                <a:lnTo>
                  <a:pt x="3148" y="1043"/>
                </a:lnTo>
                <a:lnTo>
                  <a:pt x="3157" y="1045"/>
                </a:lnTo>
                <a:lnTo>
                  <a:pt x="3160" y="1044"/>
                </a:lnTo>
                <a:lnTo>
                  <a:pt x="3162" y="1043"/>
                </a:lnTo>
                <a:lnTo>
                  <a:pt x="3163" y="1045"/>
                </a:lnTo>
                <a:lnTo>
                  <a:pt x="3163" y="1047"/>
                </a:lnTo>
                <a:lnTo>
                  <a:pt x="3171" y="1048"/>
                </a:lnTo>
                <a:lnTo>
                  <a:pt x="3186" y="1045"/>
                </a:lnTo>
                <a:lnTo>
                  <a:pt x="3198" y="1048"/>
                </a:lnTo>
                <a:lnTo>
                  <a:pt x="3216" y="1039"/>
                </a:lnTo>
                <a:lnTo>
                  <a:pt x="3218" y="1037"/>
                </a:lnTo>
                <a:lnTo>
                  <a:pt x="3216" y="1035"/>
                </a:lnTo>
                <a:close/>
                <a:moveTo>
                  <a:pt x="3032" y="981"/>
                </a:moveTo>
                <a:lnTo>
                  <a:pt x="3032" y="980"/>
                </a:lnTo>
                <a:lnTo>
                  <a:pt x="3031" y="981"/>
                </a:lnTo>
                <a:lnTo>
                  <a:pt x="3033" y="981"/>
                </a:lnTo>
                <a:lnTo>
                  <a:pt x="3032" y="981"/>
                </a:lnTo>
                <a:close/>
                <a:moveTo>
                  <a:pt x="3123" y="969"/>
                </a:moveTo>
                <a:lnTo>
                  <a:pt x="3126" y="969"/>
                </a:lnTo>
                <a:lnTo>
                  <a:pt x="3123" y="963"/>
                </a:lnTo>
                <a:lnTo>
                  <a:pt x="3121" y="966"/>
                </a:lnTo>
                <a:lnTo>
                  <a:pt x="3123" y="969"/>
                </a:lnTo>
                <a:close/>
                <a:moveTo>
                  <a:pt x="3245" y="529"/>
                </a:moveTo>
                <a:lnTo>
                  <a:pt x="3244" y="528"/>
                </a:lnTo>
                <a:lnTo>
                  <a:pt x="3242" y="527"/>
                </a:lnTo>
                <a:lnTo>
                  <a:pt x="3242" y="529"/>
                </a:lnTo>
                <a:lnTo>
                  <a:pt x="3244" y="530"/>
                </a:lnTo>
                <a:lnTo>
                  <a:pt x="3245" y="530"/>
                </a:lnTo>
                <a:lnTo>
                  <a:pt x="3245" y="529"/>
                </a:lnTo>
                <a:close/>
                <a:moveTo>
                  <a:pt x="3361" y="1326"/>
                </a:moveTo>
                <a:lnTo>
                  <a:pt x="3361" y="1326"/>
                </a:lnTo>
                <a:lnTo>
                  <a:pt x="3361" y="1326"/>
                </a:lnTo>
                <a:lnTo>
                  <a:pt x="3361" y="1326"/>
                </a:lnTo>
                <a:close/>
                <a:moveTo>
                  <a:pt x="3369" y="470"/>
                </a:moveTo>
                <a:lnTo>
                  <a:pt x="3369" y="471"/>
                </a:lnTo>
                <a:lnTo>
                  <a:pt x="3370" y="472"/>
                </a:lnTo>
                <a:lnTo>
                  <a:pt x="3373" y="470"/>
                </a:lnTo>
                <a:lnTo>
                  <a:pt x="3376" y="469"/>
                </a:lnTo>
                <a:lnTo>
                  <a:pt x="3375" y="467"/>
                </a:lnTo>
                <a:lnTo>
                  <a:pt x="3375" y="467"/>
                </a:lnTo>
                <a:lnTo>
                  <a:pt x="3371" y="467"/>
                </a:lnTo>
                <a:lnTo>
                  <a:pt x="3369" y="470"/>
                </a:lnTo>
                <a:close/>
                <a:moveTo>
                  <a:pt x="3409" y="1043"/>
                </a:moveTo>
                <a:lnTo>
                  <a:pt x="3399" y="1036"/>
                </a:lnTo>
                <a:lnTo>
                  <a:pt x="3397" y="1025"/>
                </a:lnTo>
                <a:lnTo>
                  <a:pt x="3395" y="1023"/>
                </a:lnTo>
                <a:lnTo>
                  <a:pt x="3387" y="1025"/>
                </a:lnTo>
                <a:lnTo>
                  <a:pt x="3383" y="1026"/>
                </a:lnTo>
                <a:lnTo>
                  <a:pt x="3382" y="1027"/>
                </a:lnTo>
                <a:lnTo>
                  <a:pt x="3381" y="1033"/>
                </a:lnTo>
                <a:lnTo>
                  <a:pt x="3382" y="1033"/>
                </a:lnTo>
                <a:lnTo>
                  <a:pt x="3381" y="1037"/>
                </a:lnTo>
                <a:lnTo>
                  <a:pt x="3381" y="1037"/>
                </a:lnTo>
                <a:lnTo>
                  <a:pt x="3377" y="1034"/>
                </a:lnTo>
                <a:lnTo>
                  <a:pt x="3377" y="1032"/>
                </a:lnTo>
                <a:lnTo>
                  <a:pt x="3374" y="1031"/>
                </a:lnTo>
                <a:lnTo>
                  <a:pt x="3369" y="1035"/>
                </a:lnTo>
                <a:lnTo>
                  <a:pt x="3369" y="1032"/>
                </a:lnTo>
                <a:lnTo>
                  <a:pt x="3370" y="1028"/>
                </a:lnTo>
                <a:lnTo>
                  <a:pt x="3376" y="1017"/>
                </a:lnTo>
                <a:lnTo>
                  <a:pt x="3368" y="1013"/>
                </a:lnTo>
                <a:lnTo>
                  <a:pt x="3365" y="1014"/>
                </a:lnTo>
                <a:lnTo>
                  <a:pt x="3363" y="1011"/>
                </a:lnTo>
                <a:lnTo>
                  <a:pt x="3361" y="1009"/>
                </a:lnTo>
                <a:lnTo>
                  <a:pt x="3353" y="1009"/>
                </a:lnTo>
                <a:lnTo>
                  <a:pt x="3353" y="1002"/>
                </a:lnTo>
                <a:lnTo>
                  <a:pt x="3353" y="1000"/>
                </a:lnTo>
                <a:lnTo>
                  <a:pt x="3352" y="997"/>
                </a:lnTo>
                <a:lnTo>
                  <a:pt x="3351" y="993"/>
                </a:lnTo>
                <a:lnTo>
                  <a:pt x="3349" y="990"/>
                </a:lnTo>
                <a:lnTo>
                  <a:pt x="3341" y="986"/>
                </a:lnTo>
                <a:lnTo>
                  <a:pt x="3341" y="982"/>
                </a:lnTo>
                <a:lnTo>
                  <a:pt x="3341" y="980"/>
                </a:lnTo>
                <a:lnTo>
                  <a:pt x="3349" y="982"/>
                </a:lnTo>
                <a:lnTo>
                  <a:pt x="3353" y="985"/>
                </a:lnTo>
                <a:lnTo>
                  <a:pt x="3360" y="985"/>
                </a:lnTo>
                <a:lnTo>
                  <a:pt x="3353" y="982"/>
                </a:lnTo>
                <a:lnTo>
                  <a:pt x="3353" y="980"/>
                </a:lnTo>
                <a:lnTo>
                  <a:pt x="3349" y="976"/>
                </a:lnTo>
                <a:lnTo>
                  <a:pt x="3349" y="975"/>
                </a:lnTo>
                <a:lnTo>
                  <a:pt x="3356" y="972"/>
                </a:lnTo>
                <a:lnTo>
                  <a:pt x="3357" y="969"/>
                </a:lnTo>
                <a:lnTo>
                  <a:pt x="3372" y="969"/>
                </a:lnTo>
                <a:lnTo>
                  <a:pt x="3383" y="969"/>
                </a:lnTo>
                <a:lnTo>
                  <a:pt x="3375" y="963"/>
                </a:lnTo>
                <a:lnTo>
                  <a:pt x="3381" y="955"/>
                </a:lnTo>
                <a:lnTo>
                  <a:pt x="3381" y="953"/>
                </a:lnTo>
                <a:lnTo>
                  <a:pt x="3381" y="953"/>
                </a:lnTo>
                <a:lnTo>
                  <a:pt x="3381" y="950"/>
                </a:lnTo>
                <a:lnTo>
                  <a:pt x="3380" y="951"/>
                </a:lnTo>
                <a:lnTo>
                  <a:pt x="3380" y="949"/>
                </a:lnTo>
                <a:lnTo>
                  <a:pt x="3383" y="951"/>
                </a:lnTo>
                <a:lnTo>
                  <a:pt x="3379" y="947"/>
                </a:lnTo>
                <a:lnTo>
                  <a:pt x="3381" y="945"/>
                </a:lnTo>
                <a:lnTo>
                  <a:pt x="3381" y="943"/>
                </a:lnTo>
                <a:lnTo>
                  <a:pt x="3381" y="942"/>
                </a:lnTo>
                <a:lnTo>
                  <a:pt x="3381" y="940"/>
                </a:lnTo>
                <a:lnTo>
                  <a:pt x="3380" y="939"/>
                </a:lnTo>
                <a:lnTo>
                  <a:pt x="3379" y="937"/>
                </a:lnTo>
                <a:lnTo>
                  <a:pt x="3372" y="937"/>
                </a:lnTo>
                <a:lnTo>
                  <a:pt x="3368" y="940"/>
                </a:lnTo>
                <a:lnTo>
                  <a:pt x="3364" y="939"/>
                </a:lnTo>
                <a:lnTo>
                  <a:pt x="3360" y="937"/>
                </a:lnTo>
                <a:lnTo>
                  <a:pt x="3353" y="937"/>
                </a:lnTo>
                <a:lnTo>
                  <a:pt x="3349" y="941"/>
                </a:lnTo>
                <a:lnTo>
                  <a:pt x="3343" y="941"/>
                </a:lnTo>
                <a:lnTo>
                  <a:pt x="3334" y="945"/>
                </a:lnTo>
                <a:lnTo>
                  <a:pt x="3327" y="945"/>
                </a:lnTo>
                <a:lnTo>
                  <a:pt x="3328" y="947"/>
                </a:lnTo>
                <a:lnTo>
                  <a:pt x="3329" y="948"/>
                </a:lnTo>
                <a:lnTo>
                  <a:pt x="3329" y="948"/>
                </a:lnTo>
                <a:lnTo>
                  <a:pt x="3329" y="948"/>
                </a:lnTo>
                <a:lnTo>
                  <a:pt x="3328" y="948"/>
                </a:lnTo>
                <a:lnTo>
                  <a:pt x="3327" y="947"/>
                </a:lnTo>
                <a:lnTo>
                  <a:pt x="3326" y="948"/>
                </a:lnTo>
                <a:lnTo>
                  <a:pt x="3325" y="949"/>
                </a:lnTo>
                <a:lnTo>
                  <a:pt x="3326" y="949"/>
                </a:lnTo>
                <a:lnTo>
                  <a:pt x="3328" y="953"/>
                </a:lnTo>
                <a:lnTo>
                  <a:pt x="3326" y="953"/>
                </a:lnTo>
                <a:lnTo>
                  <a:pt x="3324" y="953"/>
                </a:lnTo>
                <a:lnTo>
                  <a:pt x="3323" y="953"/>
                </a:lnTo>
                <a:lnTo>
                  <a:pt x="3317" y="953"/>
                </a:lnTo>
                <a:lnTo>
                  <a:pt x="3317" y="954"/>
                </a:lnTo>
                <a:lnTo>
                  <a:pt x="3317" y="956"/>
                </a:lnTo>
                <a:lnTo>
                  <a:pt x="3317" y="957"/>
                </a:lnTo>
                <a:lnTo>
                  <a:pt x="3315" y="958"/>
                </a:lnTo>
                <a:lnTo>
                  <a:pt x="3313" y="960"/>
                </a:lnTo>
                <a:lnTo>
                  <a:pt x="3307" y="963"/>
                </a:lnTo>
                <a:lnTo>
                  <a:pt x="3304" y="961"/>
                </a:lnTo>
                <a:lnTo>
                  <a:pt x="3302" y="960"/>
                </a:lnTo>
                <a:lnTo>
                  <a:pt x="3303" y="962"/>
                </a:lnTo>
                <a:lnTo>
                  <a:pt x="3303" y="965"/>
                </a:lnTo>
                <a:lnTo>
                  <a:pt x="3301" y="960"/>
                </a:lnTo>
                <a:lnTo>
                  <a:pt x="3301" y="962"/>
                </a:lnTo>
                <a:lnTo>
                  <a:pt x="3301" y="963"/>
                </a:lnTo>
                <a:lnTo>
                  <a:pt x="3301" y="967"/>
                </a:lnTo>
                <a:lnTo>
                  <a:pt x="3298" y="972"/>
                </a:lnTo>
                <a:lnTo>
                  <a:pt x="3295" y="977"/>
                </a:lnTo>
                <a:lnTo>
                  <a:pt x="3295" y="977"/>
                </a:lnTo>
                <a:lnTo>
                  <a:pt x="3293" y="977"/>
                </a:lnTo>
                <a:lnTo>
                  <a:pt x="3293" y="976"/>
                </a:lnTo>
                <a:lnTo>
                  <a:pt x="3292" y="978"/>
                </a:lnTo>
                <a:lnTo>
                  <a:pt x="3291" y="980"/>
                </a:lnTo>
                <a:lnTo>
                  <a:pt x="3290" y="981"/>
                </a:lnTo>
                <a:lnTo>
                  <a:pt x="3290" y="983"/>
                </a:lnTo>
                <a:lnTo>
                  <a:pt x="3290" y="984"/>
                </a:lnTo>
                <a:lnTo>
                  <a:pt x="3291" y="985"/>
                </a:lnTo>
                <a:lnTo>
                  <a:pt x="3293" y="986"/>
                </a:lnTo>
                <a:lnTo>
                  <a:pt x="3295" y="987"/>
                </a:lnTo>
                <a:lnTo>
                  <a:pt x="3299" y="993"/>
                </a:lnTo>
                <a:lnTo>
                  <a:pt x="3302" y="997"/>
                </a:lnTo>
                <a:lnTo>
                  <a:pt x="3302" y="997"/>
                </a:lnTo>
                <a:lnTo>
                  <a:pt x="3306" y="997"/>
                </a:lnTo>
                <a:lnTo>
                  <a:pt x="3301" y="1002"/>
                </a:lnTo>
                <a:lnTo>
                  <a:pt x="3301" y="1004"/>
                </a:lnTo>
                <a:lnTo>
                  <a:pt x="3302" y="1005"/>
                </a:lnTo>
                <a:lnTo>
                  <a:pt x="3303" y="1006"/>
                </a:lnTo>
                <a:lnTo>
                  <a:pt x="3303" y="1007"/>
                </a:lnTo>
                <a:lnTo>
                  <a:pt x="3302" y="1008"/>
                </a:lnTo>
                <a:lnTo>
                  <a:pt x="3301" y="1010"/>
                </a:lnTo>
                <a:lnTo>
                  <a:pt x="3301" y="1011"/>
                </a:lnTo>
                <a:lnTo>
                  <a:pt x="3303" y="1012"/>
                </a:lnTo>
                <a:lnTo>
                  <a:pt x="3305" y="1013"/>
                </a:lnTo>
                <a:lnTo>
                  <a:pt x="3305" y="1018"/>
                </a:lnTo>
                <a:lnTo>
                  <a:pt x="3309" y="1021"/>
                </a:lnTo>
                <a:lnTo>
                  <a:pt x="3312" y="1026"/>
                </a:lnTo>
                <a:lnTo>
                  <a:pt x="3314" y="1031"/>
                </a:lnTo>
                <a:lnTo>
                  <a:pt x="3315" y="1031"/>
                </a:lnTo>
                <a:lnTo>
                  <a:pt x="3317" y="1028"/>
                </a:lnTo>
                <a:lnTo>
                  <a:pt x="3324" y="1036"/>
                </a:lnTo>
                <a:lnTo>
                  <a:pt x="3324" y="1043"/>
                </a:lnTo>
                <a:lnTo>
                  <a:pt x="3329" y="1048"/>
                </a:lnTo>
                <a:lnTo>
                  <a:pt x="3329" y="1049"/>
                </a:lnTo>
                <a:lnTo>
                  <a:pt x="3340" y="1053"/>
                </a:lnTo>
                <a:lnTo>
                  <a:pt x="3342" y="1058"/>
                </a:lnTo>
                <a:lnTo>
                  <a:pt x="3335" y="1057"/>
                </a:lnTo>
                <a:lnTo>
                  <a:pt x="3331" y="1061"/>
                </a:lnTo>
                <a:lnTo>
                  <a:pt x="3327" y="1073"/>
                </a:lnTo>
                <a:lnTo>
                  <a:pt x="3328" y="1075"/>
                </a:lnTo>
                <a:lnTo>
                  <a:pt x="3327" y="1078"/>
                </a:lnTo>
                <a:lnTo>
                  <a:pt x="3325" y="1085"/>
                </a:lnTo>
                <a:lnTo>
                  <a:pt x="3324" y="1085"/>
                </a:lnTo>
                <a:lnTo>
                  <a:pt x="3325" y="1082"/>
                </a:lnTo>
                <a:lnTo>
                  <a:pt x="3323" y="1078"/>
                </a:lnTo>
                <a:lnTo>
                  <a:pt x="3321" y="1091"/>
                </a:lnTo>
                <a:lnTo>
                  <a:pt x="3323" y="1089"/>
                </a:lnTo>
                <a:lnTo>
                  <a:pt x="3325" y="1099"/>
                </a:lnTo>
                <a:lnTo>
                  <a:pt x="3326" y="1103"/>
                </a:lnTo>
                <a:lnTo>
                  <a:pt x="3331" y="1106"/>
                </a:lnTo>
                <a:lnTo>
                  <a:pt x="3341" y="1107"/>
                </a:lnTo>
                <a:lnTo>
                  <a:pt x="3345" y="1113"/>
                </a:lnTo>
                <a:lnTo>
                  <a:pt x="3356" y="1119"/>
                </a:lnTo>
                <a:lnTo>
                  <a:pt x="3367" y="1123"/>
                </a:lnTo>
                <a:lnTo>
                  <a:pt x="3393" y="1116"/>
                </a:lnTo>
                <a:lnTo>
                  <a:pt x="3393" y="1115"/>
                </a:lnTo>
                <a:lnTo>
                  <a:pt x="3396" y="1110"/>
                </a:lnTo>
                <a:lnTo>
                  <a:pt x="3397" y="1110"/>
                </a:lnTo>
                <a:lnTo>
                  <a:pt x="3393" y="1099"/>
                </a:lnTo>
                <a:lnTo>
                  <a:pt x="3393" y="1086"/>
                </a:lnTo>
                <a:lnTo>
                  <a:pt x="3395" y="1083"/>
                </a:lnTo>
                <a:lnTo>
                  <a:pt x="3398" y="1080"/>
                </a:lnTo>
                <a:lnTo>
                  <a:pt x="3395" y="1078"/>
                </a:lnTo>
                <a:lnTo>
                  <a:pt x="3393" y="1077"/>
                </a:lnTo>
                <a:lnTo>
                  <a:pt x="3392" y="1074"/>
                </a:lnTo>
                <a:lnTo>
                  <a:pt x="3390" y="1073"/>
                </a:lnTo>
                <a:lnTo>
                  <a:pt x="3392" y="1073"/>
                </a:lnTo>
                <a:lnTo>
                  <a:pt x="3395" y="1073"/>
                </a:lnTo>
                <a:lnTo>
                  <a:pt x="3392" y="1070"/>
                </a:lnTo>
                <a:lnTo>
                  <a:pt x="3390" y="1068"/>
                </a:lnTo>
                <a:lnTo>
                  <a:pt x="3392" y="1065"/>
                </a:lnTo>
                <a:lnTo>
                  <a:pt x="3382" y="1065"/>
                </a:lnTo>
                <a:lnTo>
                  <a:pt x="3383" y="1067"/>
                </a:lnTo>
                <a:lnTo>
                  <a:pt x="3377" y="1060"/>
                </a:lnTo>
                <a:lnTo>
                  <a:pt x="3377" y="1054"/>
                </a:lnTo>
                <a:lnTo>
                  <a:pt x="3381" y="1048"/>
                </a:lnTo>
                <a:lnTo>
                  <a:pt x="3381" y="1042"/>
                </a:lnTo>
                <a:lnTo>
                  <a:pt x="3385" y="1047"/>
                </a:lnTo>
                <a:lnTo>
                  <a:pt x="3388" y="1048"/>
                </a:lnTo>
                <a:lnTo>
                  <a:pt x="3390" y="1048"/>
                </a:lnTo>
                <a:lnTo>
                  <a:pt x="3392" y="1045"/>
                </a:lnTo>
                <a:lnTo>
                  <a:pt x="3395" y="1051"/>
                </a:lnTo>
                <a:lnTo>
                  <a:pt x="3404" y="1048"/>
                </a:lnTo>
                <a:lnTo>
                  <a:pt x="3400" y="1045"/>
                </a:lnTo>
                <a:lnTo>
                  <a:pt x="3403" y="1043"/>
                </a:lnTo>
                <a:lnTo>
                  <a:pt x="3403" y="1043"/>
                </a:lnTo>
                <a:lnTo>
                  <a:pt x="3403" y="1043"/>
                </a:lnTo>
                <a:lnTo>
                  <a:pt x="3404" y="1047"/>
                </a:lnTo>
                <a:lnTo>
                  <a:pt x="3408" y="1045"/>
                </a:lnTo>
                <a:lnTo>
                  <a:pt x="3409" y="1043"/>
                </a:lnTo>
                <a:close/>
                <a:moveTo>
                  <a:pt x="3302" y="998"/>
                </a:moveTo>
                <a:lnTo>
                  <a:pt x="3302" y="997"/>
                </a:lnTo>
                <a:lnTo>
                  <a:pt x="3302" y="998"/>
                </a:lnTo>
                <a:lnTo>
                  <a:pt x="3301" y="999"/>
                </a:lnTo>
                <a:lnTo>
                  <a:pt x="3302" y="998"/>
                </a:lnTo>
                <a:close/>
                <a:moveTo>
                  <a:pt x="3599" y="1330"/>
                </a:moveTo>
                <a:lnTo>
                  <a:pt x="3598" y="1329"/>
                </a:lnTo>
                <a:lnTo>
                  <a:pt x="3598" y="1330"/>
                </a:lnTo>
                <a:lnTo>
                  <a:pt x="3599" y="1330"/>
                </a:lnTo>
                <a:close/>
                <a:moveTo>
                  <a:pt x="3808" y="422"/>
                </a:moveTo>
                <a:lnTo>
                  <a:pt x="3804" y="412"/>
                </a:lnTo>
                <a:lnTo>
                  <a:pt x="3806" y="411"/>
                </a:lnTo>
                <a:lnTo>
                  <a:pt x="3807" y="411"/>
                </a:lnTo>
                <a:lnTo>
                  <a:pt x="3807" y="408"/>
                </a:lnTo>
                <a:lnTo>
                  <a:pt x="3806" y="409"/>
                </a:lnTo>
                <a:lnTo>
                  <a:pt x="3804" y="412"/>
                </a:lnTo>
                <a:lnTo>
                  <a:pt x="3806" y="417"/>
                </a:lnTo>
                <a:lnTo>
                  <a:pt x="3808" y="422"/>
                </a:lnTo>
                <a:close/>
                <a:moveTo>
                  <a:pt x="3929" y="1344"/>
                </a:moveTo>
                <a:lnTo>
                  <a:pt x="3929" y="1344"/>
                </a:lnTo>
                <a:lnTo>
                  <a:pt x="3929" y="1344"/>
                </a:lnTo>
                <a:lnTo>
                  <a:pt x="3929" y="1344"/>
                </a:lnTo>
                <a:close/>
                <a:moveTo>
                  <a:pt x="3959" y="1382"/>
                </a:moveTo>
                <a:lnTo>
                  <a:pt x="3957" y="1379"/>
                </a:lnTo>
                <a:lnTo>
                  <a:pt x="3959" y="1383"/>
                </a:lnTo>
                <a:lnTo>
                  <a:pt x="3959" y="1382"/>
                </a:lnTo>
                <a:close/>
                <a:moveTo>
                  <a:pt x="4182" y="1451"/>
                </a:moveTo>
                <a:lnTo>
                  <a:pt x="4183" y="1451"/>
                </a:lnTo>
                <a:lnTo>
                  <a:pt x="4184" y="1452"/>
                </a:lnTo>
                <a:lnTo>
                  <a:pt x="4184" y="1451"/>
                </a:lnTo>
                <a:lnTo>
                  <a:pt x="4184" y="1451"/>
                </a:lnTo>
                <a:lnTo>
                  <a:pt x="4184" y="1450"/>
                </a:lnTo>
                <a:lnTo>
                  <a:pt x="4183" y="1450"/>
                </a:lnTo>
                <a:lnTo>
                  <a:pt x="4182" y="1451"/>
                </a:lnTo>
                <a:close/>
                <a:moveTo>
                  <a:pt x="4168" y="1448"/>
                </a:moveTo>
                <a:lnTo>
                  <a:pt x="4168" y="1448"/>
                </a:lnTo>
                <a:lnTo>
                  <a:pt x="4168" y="1448"/>
                </a:lnTo>
                <a:lnTo>
                  <a:pt x="4168" y="1448"/>
                </a:lnTo>
                <a:close/>
                <a:moveTo>
                  <a:pt x="4155" y="1540"/>
                </a:moveTo>
                <a:lnTo>
                  <a:pt x="4157" y="1543"/>
                </a:lnTo>
                <a:lnTo>
                  <a:pt x="4157" y="1543"/>
                </a:lnTo>
                <a:lnTo>
                  <a:pt x="4155" y="1540"/>
                </a:lnTo>
                <a:close/>
                <a:moveTo>
                  <a:pt x="4163" y="1375"/>
                </a:moveTo>
                <a:lnTo>
                  <a:pt x="4160" y="1375"/>
                </a:lnTo>
                <a:lnTo>
                  <a:pt x="4162" y="1376"/>
                </a:lnTo>
                <a:lnTo>
                  <a:pt x="4163" y="1377"/>
                </a:lnTo>
                <a:lnTo>
                  <a:pt x="4163" y="1375"/>
                </a:lnTo>
                <a:close/>
                <a:moveTo>
                  <a:pt x="4193" y="1365"/>
                </a:moveTo>
                <a:lnTo>
                  <a:pt x="4192" y="1365"/>
                </a:lnTo>
                <a:lnTo>
                  <a:pt x="4192" y="1365"/>
                </a:lnTo>
                <a:lnTo>
                  <a:pt x="4193" y="1365"/>
                </a:lnTo>
                <a:close/>
                <a:moveTo>
                  <a:pt x="4226" y="1369"/>
                </a:moveTo>
                <a:lnTo>
                  <a:pt x="4226" y="1369"/>
                </a:lnTo>
                <a:lnTo>
                  <a:pt x="4226" y="1369"/>
                </a:lnTo>
                <a:lnTo>
                  <a:pt x="4226" y="1369"/>
                </a:lnTo>
                <a:lnTo>
                  <a:pt x="4225" y="1369"/>
                </a:lnTo>
                <a:lnTo>
                  <a:pt x="4225" y="1369"/>
                </a:lnTo>
                <a:lnTo>
                  <a:pt x="4226" y="1369"/>
                </a:lnTo>
                <a:lnTo>
                  <a:pt x="4226" y="1369"/>
                </a:lnTo>
                <a:lnTo>
                  <a:pt x="4226" y="1370"/>
                </a:lnTo>
                <a:lnTo>
                  <a:pt x="4226" y="1369"/>
                </a:lnTo>
                <a:lnTo>
                  <a:pt x="4226" y="1369"/>
                </a:lnTo>
                <a:close/>
                <a:moveTo>
                  <a:pt x="4381" y="1238"/>
                </a:moveTo>
                <a:lnTo>
                  <a:pt x="4381" y="1238"/>
                </a:lnTo>
                <a:lnTo>
                  <a:pt x="4381" y="1237"/>
                </a:lnTo>
                <a:lnTo>
                  <a:pt x="4381" y="1237"/>
                </a:lnTo>
                <a:lnTo>
                  <a:pt x="4381" y="1238"/>
                </a:lnTo>
                <a:close/>
                <a:moveTo>
                  <a:pt x="4380" y="1240"/>
                </a:moveTo>
                <a:lnTo>
                  <a:pt x="4381" y="1240"/>
                </a:lnTo>
                <a:lnTo>
                  <a:pt x="4381" y="1241"/>
                </a:lnTo>
                <a:lnTo>
                  <a:pt x="4382" y="1241"/>
                </a:lnTo>
                <a:lnTo>
                  <a:pt x="4381" y="1240"/>
                </a:lnTo>
                <a:lnTo>
                  <a:pt x="4381" y="1239"/>
                </a:lnTo>
                <a:lnTo>
                  <a:pt x="4380" y="1240"/>
                </a:lnTo>
                <a:close/>
                <a:moveTo>
                  <a:pt x="4361" y="1228"/>
                </a:moveTo>
                <a:lnTo>
                  <a:pt x="4363" y="1226"/>
                </a:lnTo>
                <a:lnTo>
                  <a:pt x="4363" y="1226"/>
                </a:lnTo>
                <a:lnTo>
                  <a:pt x="4361" y="1226"/>
                </a:lnTo>
                <a:lnTo>
                  <a:pt x="4361" y="1228"/>
                </a:lnTo>
                <a:close/>
                <a:moveTo>
                  <a:pt x="4343" y="1294"/>
                </a:moveTo>
                <a:lnTo>
                  <a:pt x="4344" y="1295"/>
                </a:lnTo>
                <a:lnTo>
                  <a:pt x="4345" y="1297"/>
                </a:lnTo>
                <a:lnTo>
                  <a:pt x="4346" y="1297"/>
                </a:lnTo>
                <a:lnTo>
                  <a:pt x="4347" y="1297"/>
                </a:lnTo>
                <a:lnTo>
                  <a:pt x="4345" y="1295"/>
                </a:lnTo>
                <a:lnTo>
                  <a:pt x="4343" y="1294"/>
                </a:lnTo>
                <a:close/>
                <a:moveTo>
                  <a:pt x="4339" y="1309"/>
                </a:moveTo>
                <a:lnTo>
                  <a:pt x="4342" y="1310"/>
                </a:lnTo>
                <a:lnTo>
                  <a:pt x="4342" y="1309"/>
                </a:lnTo>
                <a:lnTo>
                  <a:pt x="4339" y="1309"/>
                </a:lnTo>
                <a:close/>
                <a:moveTo>
                  <a:pt x="4475" y="1036"/>
                </a:moveTo>
                <a:lnTo>
                  <a:pt x="4474" y="1035"/>
                </a:lnTo>
                <a:lnTo>
                  <a:pt x="4474" y="1035"/>
                </a:lnTo>
                <a:lnTo>
                  <a:pt x="4473" y="1037"/>
                </a:lnTo>
                <a:lnTo>
                  <a:pt x="4467" y="1037"/>
                </a:lnTo>
                <a:lnTo>
                  <a:pt x="4461" y="1037"/>
                </a:lnTo>
                <a:lnTo>
                  <a:pt x="4458" y="1033"/>
                </a:lnTo>
                <a:lnTo>
                  <a:pt x="4456" y="1029"/>
                </a:lnTo>
                <a:lnTo>
                  <a:pt x="4453" y="1031"/>
                </a:lnTo>
                <a:lnTo>
                  <a:pt x="4450" y="1033"/>
                </a:lnTo>
                <a:lnTo>
                  <a:pt x="4450" y="1036"/>
                </a:lnTo>
                <a:lnTo>
                  <a:pt x="4449" y="1038"/>
                </a:lnTo>
                <a:lnTo>
                  <a:pt x="4446" y="1043"/>
                </a:lnTo>
                <a:lnTo>
                  <a:pt x="4442" y="1049"/>
                </a:lnTo>
                <a:lnTo>
                  <a:pt x="4443" y="1049"/>
                </a:lnTo>
                <a:lnTo>
                  <a:pt x="4450" y="1041"/>
                </a:lnTo>
                <a:lnTo>
                  <a:pt x="4450" y="1038"/>
                </a:lnTo>
                <a:lnTo>
                  <a:pt x="4451" y="1036"/>
                </a:lnTo>
                <a:lnTo>
                  <a:pt x="4457" y="1033"/>
                </a:lnTo>
                <a:lnTo>
                  <a:pt x="4460" y="1040"/>
                </a:lnTo>
                <a:lnTo>
                  <a:pt x="4466" y="1040"/>
                </a:lnTo>
                <a:lnTo>
                  <a:pt x="4472" y="1041"/>
                </a:lnTo>
                <a:lnTo>
                  <a:pt x="4475" y="1036"/>
                </a:lnTo>
                <a:close/>
                <a:moveTo>
                  <a:pt x="4490" y="1022"/>
                </a:moveTo>
                <a:lnTo>
                  <a:pt x="4487" y="1025"/>
                </a:lnTo>
                <a:lnTo>
                  <a:pt x="4484" y="1029"/>
                </a:lnTo>
                <a:lnTo>
                  <a:pt x="4472" y="1029"/>
                </a:lnTo>
                <a:lnTo>
                  <a:pt x="4472" y="1030"/>
                </a:lnTo>
                <a:lnTo>
                  <a:pt x="4473" y="1031"/>
                </a:lnTo>
                <a:lnTo>
                  <a:pt x="4473" y="1033"/>
                </a:lnTo>
                <a:lnTo>
                  <a:pt x="4484" y="1033"/>
                </a:lnTo>
                <a:lnTo>
                  <a:pt x="4487" y="1029"/>
                </a:lnTo>
                <a:lnTo>
                  <a:pt x="4489" y="1025"/>
                </a:lnTo>
                <a:lnTo>
                  <a:pt x="4490" y="1022"/>
                </a:lnTo>
                <a:close/>
                <a:moveTo>
                  <a:pt x="4496" y="1018"/>
                </a:moveTo>
                <a:lnTo>
                  <a:pt x="4495" y="1018"/>
                </a:lnTo>
                <a:lnTo>
                  <a:pt x="4494" y="1018"/>
                </a:lnTo>
                <a:lnTo>
                  <a:pt x="4492" y="1018"/>
                </a:lnTo>
                <a:lnTo>
                  <a:pt x="4490" y="1021"/>
                </a:lnTo>
                <a:lnTo>
                  <a:pt x="4493" y="1023"/>
                </a:lnTo>
                <a:lnTo>
                  <a:pt x="4494" y="1022"/>
                </a:lnTo>
                <a:lnTo>
                  <a:pt x="4495" y="1021"/>
                </a:lnTo>
                <a:lnTo>
                  <a:pt x="4496" y="1018"/>
                </a:lnTo>
                <a:close/>
                <a:moveTo>
                  <a:pt x="4514" y="1010"/>
                </a:moveTo>
                <a:lnTo>
                  <a:pt x="4510" y="1011"/>
                </a:lnTo>
                <a:lnTo>
                  <a:pt x="4506" y="1013"/>
                </a:lnTo>
                <a:lnTo>
                  <a:pt x="4506" y="1015"/>
                </a:lnTo>
                <a:lnTo>
                  <a:pt x="4506" y="1015"/>
                </a:lnTo>
                <a:lnTo>
                  <a:pt x="4506" y="1015"/>
                </a:lnTo>
                <a:lnTo>
                  <a:pt x="4502" y="1013"/>
                </a:lnTo>
                <a:lnTo>
                  <a:pt x="4502" y="1010"/>
                </a:lnTo>
                <a:lnTo>
                  <a:pt x="4501" y="1008"/>
                </a:lnTo>
                <a:lnTo>
                  <a:pt x="4499" y="1007"/>
                </a:lnTo>
                <a:lnTo>
                  <a:pt x="4497" y="1011"/>
                </a:lnTo>
                <a:lnTo>
                  <a:pt x="4502" y="1013"/>
                </a:lnTo>
                <a:lnTo>
                  <a:pt x="4502" y="1017"/>
                </a:lnTo>
                <a:lnTo>
                  <a:pt x="4506" y="1020"/>
                </a:lnTo>
                <a:lnTo>
                  <a:pt x="4506" y="1018"/>
                </a:lnTo>
                <a:lnTo>
                  <a:pt x="4505" y="1016"/>
                </a:lnTo>
                <a:lnTo>
                  <a:pt x="4507" y="1015"/>
                </a:lnTo>
                <a:lnTo>
                  <a:pt x="4506" y="1015"/>
                </a:lnTo>
                <a:lnTo>
                  <a:pt x="4508" y="1014"/>
                </a:lnTo>
                <a:lnTo>
                  <a:pt x="4514" y="1013"/>
                </a:lnTo>
                <a:lnTo>
                  <a:pt x="4514" y="1010"/>
                </a:lnTo>
                <a:close/>
                <a:moveTo>
                  <a:pt x="4519" y="1004"/>
                </a:moveTo>
                <a:lnTo>
                  <a:pt x="4519" y="1003"/>
                </a:lnTo>
                <a:lnTo>
                  <a:pt x="4519" y="1004"/>
                </a:lnTo>
                <a:lnTo>
                  <a:pt x="4517" y="1006"/>
                </a:lnTo>
                <a:lnTo>
                  <a:pt x="4517" y="1009"/>
                </a:lnTo>
                <a:lnTo>
                  <a:pt x="4518" y="1007"/>
                </a:lnTo>
                <a:lnTo>
                  <a:pt x="4519" y="1004"/>
                </a:lnTo>
                <a:close/>
                <a:moveTo>
                  <a:pt x="4977" y="748"/>
                </a:moveTo>
                <a:lnTo>
                  <a:pt x="4979" y="747"/>
                </a:lnTo>
                <a:lnTo>
                  <a:pt x="4980" y="746"/>
                </a:lnTo>
                <a:lnTo>
                  <a:pt x="4978" y="746"/>
                </a:lnTo>
                <a:lnTo>
                  <a:pt x="4978" y="747"/>
                </a:lnTo>
                <a:lnTo>
                  <a:pt x="4977" y="748"/>
                </a:lnTo>
                <a:close/>
                <a:moveTo>
                  <a:pt x="4970" y="751"/>
                </a:moveTo>
                <a:lnTo>
                  <a:pt x="4971" y="752"/>
                </a:lnTo>
                <a:lnTo>
                  <a:pt x="4971" y="751"/>
                </a:lnTo>
                <a:lnTo>
                  <a:pt x="4970" y="751"/>
                </a:lnTo>
                <a:close/>
                <a:moveTo>
                  <a:pt x="5131" y="432"/>
                </a:moveTo>
                <a:lnTo>
                  <a:pt x="5126" y="431"/>
                </a:lnTo>
                <a:lnTo>
                  <a:pt x="5127" y="434"/>
                </a:lnTo>
                <a:lnTo>
                  <a:pt x="5131" y="432"/>
                </a:lnTo>
                <a:close/>
                <a:moveTo>
                  <a:pt x="5314" y="519"/>
                </a:moveTo>
                <a:lnTo>
                  <a:pt x="5310" y="517"/>
                </a:lnTo>
                <a:lnTo>
                  <a:pt x="5310" y="519"/>
                </a:lnTo>
                <a:lnTo>
                  <a:pt x="5309" y="523"/>
                </a:lnTo>
                <a:lnTo>
                  <a:pt x="5310" y="523"/>
                </a:lnTo>
                <a:lnTo>
                  <a:pt x="5314" y="519"/>
                </a:lnTo>
                <a:close/>
                <a:moveTo>
                  <a:pt x="4690" y="829"/>
                </a:moveTo>
                <a:lnTo>
                  <a:pt x="4690" y="832"/>
                </a:lnTo>
                <a:lnTo>
                  <a:pt x="4691" y="832"/>
                </a:lnTo>
                <a:lnTo>
                  <a:pt x="4691" y="831"/>
                </a:lnTo>
                <a:lnTo>
                  <a:pt x="4690" y="829"/>
                </a:lnTo>
                <a:close/>
                <a:moveTo>
                  <a:pt x="3338" y="974"/>
                </a:moveTo>
                <a:lnTo>
                  <a:pt x="3335" y="975"/>
                </a:lnTo>
                <a:lnTo>
                  <a:pt x="3339" y="979"/>
                </a:lnTo>
                <a:lnTo>
                  <a:pt x="3339" y="979"/>
                </a:lnTo>
                <a:lnTo>
                  <a:pt x="3339" y="976"/>
                </a:lnTo>
                <a:lnTo>
                  <a:pt x="3338" y="975"/>
                </a:lnTo>
                <a:lnTo>
                  <a:pt x="3339" y="974"/>
                </a:lnTo>
                <a:lnTo>
                  <a:pt x="3338" y="974"/>
                </a:lnTo>
                <a:close/>
                <a:moveTo>
                  <a:pt x="4174" y="1377"/>
                </a:moveTo>
                <a:lnTo>
                  <a:pt x="4175" y="1375"/>
                </a:lnTo>
                <a:lnTo>
                  <a:pt x="4173" y="1376"/>
                </a:lnTo>
                <a:lnTo>
                  <a:pt x="4171" y="1377"/>
                </a:lnTo>
                <a:lnTo>
                  <a:pt x="4174" y="1377"/>
                </a:lnTo>
                <a:close/>
                <a:moveTo>
                  <a:pt x="4043" y="1501"/>
                </a:moveTo>
                <a:lnTo>
                  <a:pt x="4041" y="1501"/>
                </a:lnTo>
                <a:lnTo>
                  <a:pt x="4041" y="1506"/>
                </a:lnTo>
                <a:lnTo>
                  <a:pt x="4043" y="1505"/>
                </a:lnTo>
                <a:lnTo>
                  <a:pt x="4043" y="1501"/>
                </a:lnTo>
                <a:close/>
                <a:moveTo>
                  <a:pt x="3221" y="1440"/>
                </a:moveTo>
                <a:lnTo>
                  <a:pt x="3220" y="1442"/>
                </a:lnTo>
                <a:lnTo>
                  <a:pt x="3224" y="1443"/>
                </a:lnTo>
                <a:lnTo>
                  <a:pt x="3221" y="1440"/>
                </a:lnTo>
                <a:close/>
                <a:moveTo>
                  <a:pt x="3380" y="949"/>
                </a:moveTo>
                <a:lnTo>
                  <a:pt x="3380" y="949"/>
                </a:lnTo>
                <a:lnTo>
                  <a:pt x="3380" y="949"/>
                </a:lnTo>
                <a:lnTo>
                  <a:pt x="3380" y="949"/>
                </a:lnTo>
                <a:lnTo>
                  <a:pt x="3380" y="949"/>
                </a:lnTo>
                <a:close/>
                <a:moveTo>
                  <a:pt x="3234" y="1483"/>
                </a:moveTo>
                <a:lnTo>
                  <a:pt x="3234" y="1480"/>
                </a:lnTo>
                <a:lnTo>
                  <a:pt x="3232" y="1480"/>
                </a:lnTo>
                <a:lnTo>
                  <a:pt x="3234" y="1483"/>
                </a:lnTo>
                <a:close/>
                <a:moveTo>
                  <a:pt x="3191" y="1460"/>
                </a:moveTo>
                <a:lnTo>
                  <a:pt x="3198" y="1460"/>
                </a:lnTo>
                <a:lnTo>
                  <a:pt x="3196" y="1459"/>
                </a:lnTo>
                <a:lnTo>
                  <a:pt x="3194" y="1459"/>
                </a:lnTo>
                <a:lnTo>
                  <a:pt x="3194" y="1456"/>
                </a:lnTo>
                <a:lnTo>
                  <a:pt x="3193" y="1455"/>
                </a:lnTo>
                <a:lnTo>
                  <a:pt x="3193" y="1456"/>
                </a:lnTo>
                <a:lnTo>
                  <a:pt x="3191" y="1456"/>
                </a:lnTo>
                <a:lnTo>
                  <a:pt x="3193" y="1459"/>
                </a:lnTo>
                <a:lnTo>
                  <a:pt x="3191" y="1459"/>
                </a:lnTo>
                <a:lnTo>
                  <a:pt x="3191" y="1460"/>
                </a:lnTo>
                <a:close/>
                <a:moveTo>
                  <a:pt x="3224" y="1443"/>
                </a:moveTo>
                <a:lnTo>
                  <a:pt x="3221" y="1443"/>
                </a:lnTo>
                <a:lnTo>
                  <a:pt x="3220" y="1442"/>
                </a:lnTo>
                <a:lnTo>
                  <a:pt x="3220" y="1443"/>
                </a:lnTo>
                <a:lnTo>
                  <a:pt x="3225" y="1445"/>
                </a:lnTo>
                <a:lnTo>
                  <a:pt x="3225" y="1442"/>
                </a:lnTo>
                <a:lnTo>
                  <a:pt x="3225" y="1442"/>
                </a:lnTo>
                <a:lnTo>
                  <a:pt x="3225" y="1442"/>
                </a:lnTo>
                <a:lnTo>
                  <a:pt x="3224" y="1443"/>
                </a:lnTo>
                <a:close/>
                <a:moveTo>
                  <a:pt x="3183" y="1781"/>
                </a:moveTo>
                <a:lnTo>
                  <a:pt x="3180" y="1785"/>
                </a:lnTo>
                <a:lnTo>
                  <a:pt x="3180" y="1788"/>
                </a:lnTo>
                <a:lnTo>
                  <a:pt x="3184" y="1790"/>
                </a:lnTo>
                <a:lnTo>
                  <a:pt x="3188" y="1792"/>
                </a:lnTo>
                <a:lnTo>
                  <a:pt x="3188" y="1792"/>
                </a:lnTo>
                <a:lnTo>
                  <a:pt x="3188" y="1792"/>
                </a:lnTo>
                <a:lnTo>
                  <a:pt x="3189" y="1790"/>
                </a:lnTo>
                <a:lnTo>
                  <a:pt x="3188" y="1788"/>
                </a:lnTo>
                <a:lnTo>
                  <a:pt x="3186" y="1785"/>
                </a:lnTo>
                <a:lnTo>
                  <a:pt x="3183" y="1781"/>
                </a:lnTo>
                <a:close/>
                <a:moveTo>
                  <a:pt x="3192" y="1780"/>
                </a:moveTo>
                <a:lnTo>
                  <a:pt x="3192" y="1773"/>
                </a:lnTo>
                <a:lnTo>
                  <a:pt x="3192" y="1768"/>
                </a:lnTo>
                <a:lnTo>
                  <a:pt x="3188" y="1768"/>
                </a:lnTo>
                <a:lnTo>
                  <a:pt x="3188" y="1773"/>
                </a:lnTo>
                <a:lnTo>
                  <a:pt x="3189" y="1780"/>
                </a:lnTo>
                <a:lnTo>
                  <a:pt x="3192" y="1780"/>
                </a:lnTo>
                <a:close/>
                <a:moveTo>
                  <a:pt x="3194" y="1452"/>
                </a:moveTo>
                <a:lnTo>
                  <a:pt x="3193" y="1452"/>
                </a:lnTo>
                <a:lnTo>
                  <a:pt x="3193" y="1453"/>
                </a:lnTo>
                <a:lnTo>
                  <a:pt x="3194" y="1453"/>
                </a:lnTo>
                <a:lnTo>
                  <a:pt x="3194" y="1452"/>
                </a:lnTo>
                <a:close/>
                <a:moveTo>
                  <a:pt x="4044" y="1524"/>
                </a:moveTo>
                <a:lnTo>
                  <a:pt x="4043" y="1525"/>
                </a:lnTo>
                <a:lnTo>
                  <a:pt x="4044" y="1528"/>
                </a:lnTo>
                <a:lnTo>
                  <a:pt x="4044" y="1524"/>
                </a:lnTo>
                <a:close/>
                <a:moveTo>
                  <a:pt x="4102" y="1517"/>
                </a:moveTo>
                <a:lnTo>
                  <a:pt x="4102" y="1520"/>
                </a:lnTo>
                <a:lnTo>
                  <a:pt x="4103" y="1520"/>
                </a:lnTo>
                <a:lnTo>
                  <a:pt x="4102" y="1517"/>
                </a:lnTo>
                <a:lnTo>
                  <a:pt x="4102" y="1517"/>
                </a:lnTo>
                <a:close/>
                <a:moveTo>
                  <a:pt x="4099" y="1513"/>
                </a:moveTo>
                <a:lnTo>
                  <a:pt x="4099" y="1514"/>
                </a:lnTo>
                <a:lnTo>
                  <a:pt x="4101" y="1514"/>
                </a:lnTo>
                <a:lnTo>
                  <a:pt x="4099" y="1513"/>
                </a:lnTo>
                <a:lnTo>
                  <a:pt x="4099" y="1513"/>
                </a:lnTo>
                <a:close/>
                <a:moveTo>
                  <a:pt x="4072" y="1588"/>
                </a:moveTo>
                <a:lnTo>
                  <a:pt x="4072" y="1588"/>
                </a:lnTo>
                <a:lnTo>
                  <a:pt x="4072" y="1587"/>
                </a:lnTo>
                <a:lnTo>
                  <a:pt x="4072" y="1588"/>
                </a:lnTo>
                <a:lnTo>
                  <a:pt x="4072" y="1588"/>
                </a:lnTo>
                <a:close/>
                <a:moveTo>
                  <a:pt x="4123" y="1544"/>
                </a:moveTo>
                <a:lnTo>
                  <a:pt x="4123" y="1544"/>
                </a:lnTo>
                <a:lnTo>
                  <a:pt x="4123" y="1539"/>
                </a:lnTo>
                <a:lnTo>
                  <a:pt x="4123" y="1536"/>
                </a:lnTo>
                <a:lnTo>
                  <a:pt x="4123" y="1536"/>
                </a:lnTo>
                <a:lnTo>
                  <a:pt x="4121" y="1539"/>
                </a:lnTo>
                <a:lnTo>
                  <a:pt x="4123" y="1544"/>
                </a:lnTo>
                <a:close/>
                <a:moveTo>
                  <a:pt x="4066" y="1555"/>
                </a:moveTo>
                <a:lnTo>
                  <a:pt x="4066" y="1552"/>
                </a:lnTo>
                <a:lnTo>
                  <a:pt x="4066" y="1552"/>
                </a:lnTo>
                <a:lnTo>
                  <a:pt x="4066" y="1555"/>
                </a:lnTo>
                <a:close/>
                <a:moveTo>
                  <a:pt x="4166" y="1377"/>
                </a:moveTo>
                <a:lnTo>
                  <a:pt x="4167" y="1380"/>
                </a:lnTo>
                <a:lnTo>
                  <a:pt x="4168" y="1379"/>
                </a:lnTo>
                <a:lnTo>
                  <a:pt x="4168" y="1378"/>
                </a:lnTo>
                <a:lnTo>
                  <a:pt x="4167" y="1378"/>
                </a:lnTo>
                <a:lnTo>
                  <a:pt x="4166" y="1377"/>
                </a:lnTo>
                <a:close/>
                <a:moveTo>
                  <a:pt x="4066" y="1547"/>
                </a:moveTo>
                <a:lnTo>
                  <a:pt x="4066" y="1549"/>
                </a:lnTo>
                <a:lnTo>
                  <a:pt x="4066" y="1549"/>
                </a:lnTo>
                <a:lnTo>
                  <a:pt x="4066" y="1547"/>
                </a:lnTo>
                <a:close/>
                <a:moveTo>
                  <a:pt x="4069" y="1579"/>
                </a:moveTo>
                <a:lnTo>
                  <a:pt x="4071" y="1586"/>
                </a:lnTo>
                <a:lnTo>
                  <a:pt x="4072" y="1587"/>
                </a:lnTo>
                <a:lnTo>
                  <a:pt x="4071" y="1586"/>
                </a:lnTo>
                <a:lnTo>
                  <a:pt x="4069" y="1579"/>
                </a:lnTo>
                <a:close/>
                <a:moveTo>
                  <a:pt x="3341" y="974"/>
                </a:moveTo>
                <a:lnTo>
                  <a:pt x="3341" y="975"/>
                </a:lnTo>
                <a:lnTo>
                  <a:pt x="3343" y="974"/>
                </a:lnTo>
                <a:lnTo>
                  <a:pt x="3341" y="974"/>
                </a:lnTo>
                <a:close/>
                <a:moveTo>
                  <a:pt x="2961" y="1141"/>
                </a:moveTo>
                <a:lnTo>
                  <a:pt x="2962" y="1139"/>
                </a:lnTo>
                <a:lnTo>
                  <a:pt x="2957" y="1141"/>
                </a:lnTo>
                <a:lnTo>
                  <a:pt x="2952" y="1138"/>
                </a:lnTo>
                <a:lnTo>
                  <a:pt x="2952" y="1138"/>
                </a:lnTo>
                <a:lnTo>
                  <a:pt x="2952" y="1140"/>
                </a:lnTo>
                <a:lnTo>
                  <a:pt x="2952" y="1144"/>
                </a:lnTo>
                <a:lnTo>
                  <a:pt x="2955" y="1146"/>
                </a:lnTo>
                <a:lnTo>
                  <a:pt x="2965" y="1146"/>
                </a:lnTo>
                <a:lnTo>
                  <a:pt x="2963" y="1143"/>
                </a:lnTo>
                <a:lnTo>
                  <a:pt x="2961" y="1141"/>
                </a:lnTo>
                <a:close/>
                <a:moveTo>
                  <a:pt x="2984" y="1145"/>
                </a:moveTo>
                <a:lnTo>
                  <a:pt x="2984" y="1146"/>
                </a:lnTo>
                <a:lnTo>
                  <a:pt x="2980" y="1146"/>
                </a:lnTo>
                <a:lnTo>
                  <a:pt x="2971" y="1146"/>
                </a:lnTo>
                <a:lnTo>
                  <a:pt x="2966" y="1146"/>
                </a:lnTo>
                <a:lnTo>
                  <a:pt x="2968" y="1148"/>
                </a:lnTo>
                <a:lnTo>
                  <a:pt x="2968" y="1150"/>
                </a:lnTo>
                <a:lnTo>
                  <a:pt x="2974" y="1150"/>
                </a:lnTo>
                <a:lnTo>
                  <a:pt x="2989" y="1149"/>
                </a:lnTo>
                <a:lnTo>
                  <a:pt x="2990" y="1149"/>
                </a:lnTo>
                <a:lnTo>
                  <a:pt x="2992" y="1148"/>
                </a:lnTo>
                <a:lnTo>
                  <a:pt x="2992" y="1146"/>
                </a:lnTo>
                <a:lnTo>
                  <a:pt x="2987" y="1149"/>
                </a:lnTo>
                <a:lnTo>
                  <a:pt x="2984" y="1145"/>
                </a:lnTo>
                <a:close/>
                <a:moveTo>
                  <a:pt x="2967" y="1119"/>
                </a:moveTo>
                <a:lnTo>
                  <a:pt x="2965" y="1119"/>
                </a:lnTo>
                <a:lnTo>
                  <a:pt x="2965" y="1121"/>
                </a:lnTo>
                <a:lnTo>
                  <a:pt x="2967" y="1121"/>
                </a:lnTo>
                <a:lnTo>
                  <a:pt x="2967" y="1119"/>
                </a:lnTo>
                <a:close/>
                <a:moveTo>
                  <a:pt x="2954" y="1099"/>
                </a:moveTo>
                <a:lnTo>
                  <a:pt x="2952" y="1099"/>
                </a:lnTo>
                <a:lnTo>
                  <a:pt x="2954" y="1099"/>
                </a:lnTo>
                <a:lnTo>
                  <a:pt x="2954" y="1099"/>
                </a:lnTo>
                <a:close/>
                <a:moveTo>
                  <a:pt x="2952" y="1102"/>
                </a:moveTo>
                <a:lnTo>
                  <a:pt x="2952" y="1103"/>
                </a:lnTo>
                <a:lnTo>
                  <a:pt x="2952" y="1103"/>
                </a:lnTo>
                <a:lnTo>
                  <a:pt x="2954" y="1102"/>
                </a:lnTo>
                <a:lnTo>
                  <a:pt x="2952" y="1102"/>
                </a:lnTo>
                <a:close/>
                <a:moveTo>
                  <a:pt x="2992" y="1146"/>
                </a:moveTo>
                <a:lnTo>
                  <a:pt x="2993" y="1146"/>
                </a:lnTo>
                <a:lnTo>
                  <a:pt x="2992" y="1146"/>
                </a:lnTo>
                <a:lnTo>
                  <a:pt x="2992" y="1146"/>
                </a:lnTo>
                <a:close/>
                <a:moveTo>
                  <a:pt x="3003" y="1103"/>
                </a:moveTo>
                <a:lnTo>
                  <a:pt x="2999" y="1102"/>
                </a:lnTo>
                <a:lnTo>
                  <a:pt x="2999" y="1103"/>
                </a:lnTo>
                <a:lnTo>
                  <a:pt x="2998" y="1103"/>
                </a:lnTo>
                <a:lnTo>
                  <a:pt x="3000" y="1104"/>
                </a:lnTo>
                <a:lnTo>
                  <a:pt x="3003" y="1103"/>
                </a:lnTo>
                <a:close/>
                <a:moveTo>
                  <a:pt x="2995" y="1121"/>
                </a:moveTo>
                <a:lnTo>
                  <a:pt x="2994" y="1122"/>
                </a:lnTo>
                <a:lnTo>
                  <a:pt x="2993" y="1122"/>
                </a:lnTo>
                <a:lnTo>
                  <a:pt x="2996" y="1122"/>
                </a:lnTo>
                <a:lnTo>
                  <a:pt x="2995" y="1122"/>
                </a:lnTo>
                <a:lnTo>
                  <a:pt x="2995" y="1121"/>
                </a:lnTo>
                <a:close/>
                <a:moveTo>
                  <a:pt x="2962" y="1057"/>
                </a:moveTo>
                <a:lnTo>
                  <a:pt x="2965" y="1059"/>
                </a:lnTo>
                <a:lnTo>
                  <a:pt x="2966" y="1059"/>
                </a:lnTo>
                <a:lnTo>
                  <a:pt x="2962" y="1057"/>
                </a:lnTo>
                <a:close/>
                <a:moveTo>
                  <a:pt x="2971" y="1052"/>
                </a:moveTo>
                <a:lnTo>
                  <a:pt x="2971" y="1049"/>
                </a:lnTo>
                <a:lnTo>
                  <a:pt x="2969" y="1049"/>
                </a:lnTo>
                <a:lnTo>
                  <a:pt x="2967" y="1050"/>
                </a:lnTo>
                <a:lnTo>
                  <a:pt x="2969" y="1052"/>
                </a:lnTo>
                <a:lnTo>
                  <a:pt x="2971" y="1052"/>
                </a:lnTo>
                <a:close/>
                <a:moveTo>
                  <a:pt x="2972" y="1118"/>
                </a:moveTo>
                <a:lnTo>
                  <a:pt x="2974" y="1118"/>
                </a:lnTo>
                <a:lnTo>
                  <a:pt x="2972" y="1116"/>
                </a:lnTo>
                <a:lnTo>
                  <a:pt x="2972" y="1118"/>
                </a:lnTo>
                <a:close/>
                <a:moveTo>
                  <a:pt x="2973" y="1106"/>
                </a:moveTo>
                <a:lnTo>
                  <a:pt x="2973" y="1108"/>
                </a:lnTo>
                <a:lnTo>
                  <a:pt x="2974" y="1108"/>
                </a:lnTo>
                <a:lnTo>
                  <a:pt x="2973" y="1106"/>
                </a:lnTo>
                <a:close/>
                <a:moveTo>
                  <a:pt x="2967" y="1084"/>
                </a:moveTo>
                <a:lnTo>
                  <a:pt x="2969" y="1082"/>
                </a:lnTo>
                <a:lnTo>
                  <a:pt x="2967" y="1079"/>
                </a:lnTo>
                <a:lnTo>
                  <a:pt x="2966" y="1080"/>
                </a:lnTo>
                <a:lnTo>
                  <a:pt x="2967" y="1084"/>
                </a:lnTo>
                <a:close/>
                <a:moveTo>
                  <a:pt x="3002" y="1142"/>
                </a:moveTo>
                <a:lnTo>
                  <a:pt x="3003" y="1140"/>
                </a:lnTo>
                <a:lnTo>
                  <a:pt x="3000" y="1142"/>
                </a:lnTo>
                <a:lnTo>
                  <a:pt x="3002" y="1142"/>
                </a:lnTo>
                <a:close/>
                <a:moveTo>
                  <a:pt x="3020" y="1057"/>
                </a:moveTo>
                <a:lnTo>
                  <a:pt x="3020" y="1057"/>
                </a:lnTo>
                <a:lnTo>
                  <a:pt x="3022" y="1057"/>
                </a:lnTo>
                <a:lnTo>
                  <a:pt x="3020" y="1057"/>
                </a:lnTo>
                <a:close/>
                <a:moveTo>
                  <a:pt x="2965" y="1103"/>
                </a:moveTo>
                <a:lnTo>
                  <a:pt x="2965" y="1106"/>
                </a:lnTo>
                <a:lnTo>
                  <a:pt x="2965" y="1106"/>
                </a:lnTo>
                <a:lnTo>
                  <a:pt x="2966" y="1103"/>
                </a:lnTo>
                <a:lnTo>
                  <a:pt x="2965" y="1103"/>
                </a:lnTo>
                <a:close/>
                <a:moveTo>
                  <a:pt x="2966" y="1110"/>
                </a:moveTo>
                <a:lnTo>
                  <a:pt x="2967" y="1108"/>
                </a:lnTo>
                <a:lnTo>
                  <a:pt x="2966" y="1106"/>
                </a:lnTo>
                <a:lnTo>
                  <a:pt x="2966" y="1110"/>
                </a:lnTo>
                <a:close/>
                <a:moveTo>
                  <a:pt x="2966" y="1114"/>
                </a:moveTo>
                <a:lnTo>
                  <a:pt x="2967" y="1114"/>
                </a:lnTo>
                <a:lnTo>
                  <a:pt x="2967" y="1111"/>
                </a:lnTo>
                <a:lnTo>
                  <a:pt x="2966" y="1111"/>
                </a:lnTo>
                <a:lnTo>
                  <a:pt x="2966" y="1114"/>
                </a:lnTo>
                <a:close/>
                <a:moveTo>
                  <a:pt x="3145" y="967"/>
                </a:moveTo>
                <a:lnTo>
                  <a:pt x="3145" y="967"/>
                </a:lnTo>
                <a:lnTo>
                  <a:pt x="3145" y="968"/>
                </a:lnTo>
                <a:lnTo>
                  <a:pt x="3144" y="968"/>
                </a:lnTo>
                <a:lnTo>
                  <a:pt x="3145" y="967"/>
                </a:lnTo>
                <a:lnTo>
                  <a:pt x="3145" y="967"/>
                </a:lnTo>
                <a:lnTo>
                  <a:pt x="3145" y="967"/>
                </a:lnTo>
                <a:close/>
                <a:moveTo>
                  <a:pt x="3146" y="967"/>
                </a:moveTo>
                <a:lnTo>
                  <a:pt x="3145" y="967"/>
                </a:lnTo>
                <a:lnTo>
                  <a:pt x="3146" y="967"/>
                </a:lnTo>
                <a:lnTo>
                  <a:pt x="3146" y="967"/>
                </a:lnTo>
                <a:close/>
                <a:moveTo>
                  <a:pt x="3145" y="967"/>
                </a:moveTo>
                <a:lnTo>
                  <a:pt x="3147" y="968"/>
                </a:lnTo>
                <a:lnTo>
                  <a:pt x="3146" y="967"/>
                </a:lnTo>
                <a:lnTo>
                  <a:pt x="3145" y="967"/>
                </a:lnTo>
                <a:close/>
                <a:moveTo>
                  <a:pt x="3145" y="967"/>
                </a:moveTo>
                <a:lnTo>
                  <a:pt x="3145" y="967"/>
                </a:lnTo>
                <a:lnTo>
                  <a:pt x="3145" y="967"/>
                </a:lnTo>
                <a:lnTo>
                  <a:pt x="3145" y="967"/>
                </a:lnTo>
                <a:close/>
                <a:moveTo>
                  <a:pt x="3126" y="948"/>
                </a:moveTo>
                <a:lnTo>
                  <a:pt x="3126" y="948"/>
                </a:lnTo>
                <a:lnTo>
                  <a:pt x="3121" y="951"/>
                </a:lnTo>
                <a:lnTo>
                  <a:pt x="3126" y="948"/>
                </a:lnTo>
                <a:close/>
                <a:moveTo>
                  <a:pt x="3147" y="968"/>
                </a:moveTo>
                <a:lnTo>
                  <a:pt x="3148" y="968"/>
                </a:lnTo>
                <a:lnTo>
                  <a:pt x="3148" y="969"/>
                </a:lnTo>
                <a:lnTo>
                  <a:pt x="3149" y="968"/>
                </a:lnTo>
                <a:lnTo>
                  <a:pt x="3147" y="968"/>
                </a:lnTo>
                <a:close/>
                <a:moveTo>
                  <a:pt x="3044" y="961"/>
                </a:moveTo>
                <a:lnTo>
                  <a:pt x="3045" y="961"/>
                </a:lnTo>
                <a:lnTo>
                  <a:pt x="3044" y="961"/>
                </a:lnTo>
                <a:lnTo>
                  <a:pt x="3044" y="961"/>
                </a:lnTo>
                <a:lnTo>
                  <a:pt x="3044" y="961"/>
                </a:lnTo>
                <a:close/>
                <a:moveTo>
                  <a:pt x="3115" y="1138"/>
                </a:moveTo>
                <a:lnTo>
                  <a:pt x="3115" y="1138"/>
                </a:lnTo>
                <a:lnTo>
                  <a:pt x="3115" y="1138"/>
                </a:lnTo>
                <a:lnTo>
                  <a:pt x="3115" y="1138"/>
                </a:lnTo>
                <a:close/>
                <a:moveTo>
                  <a:pt x="3115" y="1140"/>
                </a:moveTo>
                <a:lnTo>
                  <a:pt x="3115" y="1138"/>
                </a:lnTo>
                <a:lnTo>
                  <a:pt x="3104" y="1145"/>
                </a:lnTo>
                <a:lnTo>
                  <a:pt x="3115" y="1140"/>
                </a:lnTo>
                <a:close/>
                <a:moveTo>
                  <a:pt x="3015" y="1122"/>
                </a:moveTo>
                <a:lnTo>
                  <a:pt x="3015" y="1122"/>
                </a:lnTo>
                <a:lnTo>
                  <a:pt x="3014" y="1122"/>
                </a:lnTo>
                <a:lnTo>
                  <a:pt x="3014" y="1122"/>
                </a:lnTo>
                <a:lnTo>
                  <a:pt x="3015" y="1122"/>
                </a:lnTo>
                <a:close/>
                <a:moveTo>
                  <a:pt x="3015" y="1121"/>
                </a:moveTo>
                <a:lnTo>
                  <a:pt x="3014" y="1122"/>
                </a:lnTo>
                <a:lnTo>
                  <a:pt x="3015" y="1122"/>
                </a:lnTo>
                <a:lnTo>
                  <a:pt x="3015" y="1121"/>
                </a:lnTo>
                <a:close/>
                <a:moveTo>
                  <a:pt x="3009" y="1126"/>
                </a:moveTo>
                <a:lnTo>
                  <a:pt x="3009" y="1126"/>
                </a:lnTo>
                <a:lnTo>
                  <a:pt x="3010" y="1125"/>
                </a:lnTo>
                <a:lnTo>
                  <a:pt x="3007" y="1125"/>
                </a:lnTo>
                <a:lnTo>
                  <a:pt x="3009" y="1126"/>
                </a:lnTo>
                <a:close/>
                <a:moveTo>
                  <a:pt x="3006" y="1142"/>
                </a:moveTo>
                <a:lnTo>
                  <a:pt x="3007" y="1134"/>
                </a:lnTo>
                <a:lnTo>
                  <a:pt x="3003" y="1138"/>
                </a:lnTo>
                <a:lnTo>
                  <a:pt x="3006" y="1142"/>
                </a:lnTo>
                <a:close/>
                <a:moveTo>
                  <a:pt x="3088" y="1146"/>
                </a:moveTo>
                <a:lnTo>
                  <a:pt x="3088" y="1150"/>
                </a:lnTo>
                <a:lnTo>
                  <a:pt x="3088" y="1150"/>
                </a:lnTo>
                <a:lnTo>
                  <a:pt x="3084" y="1151"/>
                </a:lnTo>
                <a:lnTo>
                  <a:pt x="3081" y="1150"/>
                </a:lnTo>
                <a:lnTo>
                  <a:pt x="3084" y="1154"/>
                </a:lnTo>
                <a:lnTo>
                  <a:pt x="3091" y="1154"/>
                </a:lnTo>
                <a:lnTo>
                  <a:pt x="3092" y="1155"/>
                </a:lnTo>
                <a:lnTo>
                  <a:pt x="3092" y="1155"/>
                </a:lnTo>
                <a:lnTo>
                  <a:pt x="3095" y="1154"/>
                </a:lnTo>
                <a:lnTo>
                  <a:pt x="3096" y="1154"/>
                </a:lnTo>
                <a:lnTo>
                  <a:pt x="3100" y="1152"/>
                </a:lnTo>
                <a:lnTo>
                  <a:pt x="3100" y="1150"/>
                </a:lnTo>
                <a:lnTo>
                  <a:pt x="3109" y="1150"/>
                </a:lnTo>
                <a:lnTo>
                  <a:pt x="3104" y="1146"/>
                </a:lnTo>
                <a:lnTo>
                  <a:pt x="3104" y="1145"/>
                </a:lnTo>
                <a:lnTo>
                  <a:pt x="3104" y="1145"/>
                </a:lnTo>
                <a:lnTo>
                  <a:pt x="3102" y="1146"/>
                </a:lnTo>
                <a:lnTo>
                  <a:pt x="3088" y="1146"/>
                </a:lnTo>
                <a:close/>
                <a:moveTo>
                  <a:pt x="3014" y="1122"/>
                </a:moveTo>
                <a:lnTo>
                  <a:pt x="3014" y="1122"/>
                </a:lnTo>
                <a:lnTo>
                  <a:pt x="3013" y="1122"/>
                </a:lnTo>
                <a:lnTo>
                  <a:pt x="3014" y="1122"/>
                </a:lnTo>
                <a:lnTo>
                  <a:pt x="3014" y="1122"/>
                </a:lnTo>
                <a:close/>
                <a:moveTo>
                  <a:pt x="3012" y="1129"/>
                </a:moveTo>
                <a:lnTo>
                  <a:pt x="3012" y="1134"/>
                </a:lnTo>
                <a:lnTo>
                  <a:pt x="3014" y="1133"/>
                </a:lnTo>
                <a:lnTo>
                  <a:pt x="3018" y="1129"/>
                </a:lnTo>
                <a:lnTo>
                  <a:pt x="3020" y="1125"/>
                </a:lnTo>
                <a:lnTo>
                  <a:pt x="3014" y="1127"/>
                </a:lnTo>
                <a:lnTo>
                  <a:pt x="3012" y="1129"/>
                </a:lnTo>
                <a:close/>
                <a:moveTo>
                  <a:pt x="2918" y="768"/>
                </a:moveTo>
                <a:lnTo>
                  <a:pt x="2918" y="767"/>
                </a:lnTo>
                <a:lnTo>
                  <a:pt x="2914" y="772"/>
                </a:lnTo>
                <a:lnTo>
                  <a:pt x="2917" y="772"/>
                </a:lnTo>
                <a:lnTo>
                  <a:pt x="2918" y="768"/>
                </a:lnTo>
                <a:close/>
                <a:moveTo>
                  <a:pt x="2974" y="1103"/>
                </a:moveTo>
                <a:lnTo>
                  <a:pt x="2974" y="1099"/>
                </a:lnTo>
                <a:lnTo>
                  <a:pt x="2971" y="1099"/>
                </a:lnTo>
                <a:lnTo>
                  <a:pt x="2974" y="1103"/>
                </a:lnTo>
                <a:close/>
                <a:moveTo>
                  <a:pt x="2908" y="673"/>
                </a:moveTo>
                <a:lnTo>
                  <a:pt x="2908" y="671"/>
                </a:lnTo>
                <a:lnTo>
                  <a:pt x="2906" y="671"/>
                </a:lnTo>
                <a:lnTo>
                  <a:pt x="2905" y="671"/>
                </a:lnTo>
                <a:lnTo>
                  <a:pt x="2908" y="673"/>
                </a:lnTo>
                <a:close/>
                <a:moveTo>
                  <a:pt x="2910" y="669"/>
                </a:moveTo>
                <a:lnTo>
                  <a:pt x="2912" y="668"/>
                </a:lnTo>
                <a:lnTo>
                  <a:pt x="2910" y="668"/>
                </a:lnTo>
                <a:lnTo>
                  <a:pt x="2910" y="669"/>
                </a:lnTo>
                <a:close/>
                <a:moveTo>
                  <a:pt x="3092" y="2090"/>
                </a:moveTo>
                <a:lnTo>
                  <a:pt x="3091" y="2090"/>
                </a:lnTo>
                <a:lnTo>
                  <a:pt x="3092" y="2091"/>
                </a:lnTo>
                <a:lnTo>
                  <a:pt x="3092" y="2090"/>
                </a:lnTo>
                <a:close/>
                <a:moveTo>
                  <a:pt x="2925" y="662"/>
                </a:moveTo>
                <a:lnTo>
                  <a:pt x="2923" y="662"/>
                </a:lnTo>
                <a:lnTo>
                  <a:pt x="2925" y="663"/>
                </a:lnTo>
                <a:lnTo>
                  <a:pt x="2925" y="662"/>
                </a:lnTo>
                <a:close/>
                <a:moveTo>
                  <a:pt x="2934" y="705"/>
                </a:moveTo>
                <a:lnTo>
                  <a:pt x="2932" y="707"/>
                </a:lnTo>
                <a:lnTo>
                  <a:pt x="2934" y="708"/>
                </a:lnTo>
                <a:lnTo>
                  <a:pt x="2931" y="712"/>
                </a:lnTo>
                <a:lnTo>
                  <a:pt x="2931" y="714"/>
                </a:lnTo>
                <a:lnTo>
                  <a:pt x="2934" y="712"/>
                </a:lnTo>
                <a:lnTo>
                  <a:pt x="2938" y="708"/>
                </a:lnTo>
                <a:lnTo>
                  <a:pt x="2945" y="708"/>
                </a:lnTo>
                <a:lnTo>
                  <a:pt x="2950" y="704"/>
                </a:lnTo>
                <a:lnTo>
                  <a:pt x="2953" y="704"/>
                </a:lnTo>
                <a:lnTo>
                  <a:pt x="2947" y="700"/>
                </a:lnTo>
                <a:lnTo>
                  <a:pt x="2931" y="701"/>
                </a:lnTo>
                <a:lnTo>
                  <a:pt x="2934" y="705"/>
                </a:lnTo>
                <a:close/>
                <a:moveTo>
                  <a:pt x="2935" y="667"/>
                </a:moveTo>
                <a:lnTo>
                  <a:pt x="2936" y="668"/>
                </a:lnTo>
                <a:lnTo>
                  <a:pt x="2937" y="667"/>
                </a:lnTo>
                <a:lnTo>
                  <a:pt x="2935" y="667"/>
                </a:lnTo>
                <a:close/>
                <a:moveTo>
                  <a:pt x="2939" y="696"/>
                </a:moveTo>
                <a:lnTo>
                  <a:pt x="2940" y="700"/>
                </a:lnTo>
                <a:lnTo>
                  <a:pt x="2943" y="700"/>
                </a:lnTo>
                <a:lnTo>
                  <a:pt x="2945" y="700"/>
                </a:lnTo>
                <a:lnTo>
                  <a:pt x="2950" y="700"/>
                </a:lnTo>
                <a:lnTo>
                  <a:pt x="2947" y="694"/>
                </a:lnTo>
                <a:lnTo>
                  <a:pt x="2943" y="691"/>
                </a:lnTo>
                <a:lnTo>
                  <a:pt x="2939" y="694"/>
                </a:lnTo>
                <a:lnTo>
                  <a:pt x="2934" y="696"/>
                </a:lnTo>
                <a:lnTo>
                  <a:pt x="2939" y="696"/>
                </a:lnTo>
                <a:close/>
                <a:moveTo>
                  <a:pt x="2908" y="669"/>
                </a:moveTo>
                <a:lnTo>
                  <a:pt x="2908" y="671"/>
                </a:lnTo>
                <a:lnTo>
                  <a:pt x="2910" y="671"/>
                </a:lnTo>
                <a:lnTo>
                  <a:pt x="2908" y="669"/>
                </a:lnTo>
                <a:close/>
                <a:moveTo>
                  <a:pt x="2860" y="732"/>
                </a:moveTo>
                <a:lnTo>
                  <a:pt x="2851" y="745"/>
                </a:lnTo>
                <a:lnTo>
                  <a:pt x="2851" y="753"/>
                </a:lnTo>
                <a:lnTo>
                  <a:pt x="2863" y="732"/>
                </a:lnTo>
                <a:lnTo>
                  <a:pt x="2860" y="732"/>
                </a:lnTo>
                <a:close/>
                <a:moveTo>
                  <a:pt x="2880" y="687"/>
                </a:moveTo>
                <a:lnTo>
                  <a:pt x="2882" y="688"/>
                </a:lnTo>
                <a:lnTo>
                  <a:pt x="2883" y="687"/>
                </a:lnTo>
                <a:lnTo>
                  <a:pt x="2880" y="687"/>
                </a:lnTo>
                <a:close/>
                <a:moveTo>
                  <a:pt x="2879" y="740"/>
                </a:moveTo>
                <a:lnTo>
                  <a:pt x="2880" y="735"/>
                </a:lnTo>
                <a:lnTo>
                  <a:pt x="2885" y="733"/>
                </a:lnTo>
                <a:lnTo>
                  <a:pt x="2885" y="722"/>
                </a:lnTo>
                <a:lnTo>
                  <a:pt x="2886" y="720"/>
                </a:lnTo>
                <a:lnTo>
                  <a:pt x="2885" y="720"/>
                </a:lnTo>
                <a:lnTo>
                  <a:pt x="2877" y="727"/>
                </a:lnTo>
                <a:lnTo>
                  <a:pt x="2879" y="739"/>
                </a:lnTo>
                <a:lnTo>
                  <a:pt x="2877" y="740"/>
                </a:lnTo>
                <a:lnTo>
                  <a:pt x="2879" y="740"/>
                </a:lnTo>
                <a:close/>
                <a:moveTo>
                  <a:pt x="2887" y="719"/>
                </a:moveTo>
                <a:lnTo>
                  <a:pt x="2886" y="720"/>
                </a:lnTo>
                <a:lnTo>
                  <a:pt x="2887" y="720"/>
                </a:lnTo>
                <a:lnTo>
                  <a:pt x="2887" y="719"/>
                </a:lnTo>
                <a:close/>
                <a:moveTo>
                  <a:pt x="2883" y="683"/>
                </a:moveTo>
                <a:lnTo>
                  <a:pt x="2883" y="684"/>
                </a:lnTo>
                <a:lnTo>
                  <a:pt x="2885" y="681"/>
                </a:lnTo>
                <a:lnTo>
                  <a:pt x="2883" y="683"/>
                </a:lnTo>
                <a:close/>
                <a:moveTo>
                  <a:pt x="2900" y="668"/>
                </a:moveTo>
                <a:lnTo>
                  <a:pt x="2902" y="671"/>
                </a:lnTo>
                <a:lnTo>
                  <a:pt x="2903" y="673"/>
                </a:lnTo>
                <a:lnTo>
                  <a:pt x="2905" y="671"/>
                </a:lnTo>
                <a:lnTo>
                  <a:pt x="2903" y="668"/>
                </a:lnTo>
                <a:lnTo>
                  <a:pt x="2905" y="667"/>
                </a:lnTo>
                <a:lnTo>
                  <a:pt x="2905" y="668"/>
                </a:lnTo>
                <a:lnTo>
                  <a:pt x="2905" y="669"/>
                </a:lnTo>
                <a:lnTo>
                  <a:pt x="2907" y="667"/>
                </a:lnTo>
                <a:lnTo>
                  <a:pt x="2903" y="666"/>
                </a:lnTo>
                <a:lnTo>
                  <a:pt x="2902" y="666"/>
                </a:lnTo>
                <a:lnTo>
                  <a:pt x="2903" y="667"/>
                </a:lnTo>
                <a:lnTo>
                  <a:pt x="2901" y="669"/>
                </a:lnTo>
                <a:lnTo>
                  <a:pt x="2901" y="667"/>
                </a:lnTo>
                <a:lnTo>
                  <a:pt x="2900" y="668"/>
                </a:lnTo>
                <a:close/>
                <a:moveTo>
                  <a:pt x="2890" y="718"/>
                </a:moveTo>
                <a:lnTo>
                  <a:pt x="2891" y="719"/>
                </a:lnTo>
                <a:lnTo>
                  <a:pt x="2891" y="718"/>
                </a:lnTo>
                <a:lnTo>
                  <a:pt x="2894" y="715"/>
                </a:lnTo>
                <a:lnTo>
                  <a:pt x="2891" y="715"/>
                </a:lnTo>
                <a:lnTo>
                  <a:pt x="2890" y="718"/>
                </a:lnTo>
                <a:close/>
                <a:moveTo>
                  <a:pt x="2891" y="707"/>
                </a:moveTo>
                <a:lnTo>
                  <a:pt x="2893" y="709"/>
                </a:lnTo>
                <a:lnTo>
                  <a:pt x="2894" y="707"/>
                </a:lnTo>
                <a:lnTo>
                  <a:pt x="2891" y="707"/>
                </a:lnTo>
                <a:close/>
                <a:moveTo>
                  <a:pt x="2954" y="701"/>
                </a:moveTo>
                <a:lnTo>
                  <a:pt x="2951" y="698"/>
                </a:lnTo>
                <a:lnTo>
                  <a:pt x="2950" y="700"/>
                </a:lnTo>
                <a:lnTo>
                  <a:pt x="2954" y="701"/>
                </a:lnTo>
                <a:close/>
                <a:moveTo>
                  <a:pt x="2704" y="617"/>
                </a:moveTo>
                <a:lnTo>
                  <a:pt x="2704" y="617"/>
                </a:lnTo>
                <a:lnTo>
                  <a:pt x="2699" y="616"/>
                </a:lnTo>
                <a:lnTo>
                  <a:pt x="2701" y="617"/>
                </a:lnTo>
                <a:lnTo>
                  <a:pt x="2704" y="617"/>
                </a:lnTo>
                <a:close/>
                <a:moveTo>
                  <a:pt x="3135" y="569"/>
                </a:moveTo>
                <a:lnTo>
                  <a:pt x="3133" y="569"/>
                </a:lnTo>
                <a:lnTo>
                  <a:pt x="3136" y="569"/>
                </a:lnTo>
                <a:lnTo>
                  <a:pt x="3135" y="569"/>
                </a:lnTo>
                <a:close/>
                <a:moveTo>
                  <a:pt x="2951" y="690"/>
                </a:moveTo>
                <a:lnTo>
                  <a:pt x="2950" y="690"/>
                </a:lnTo>
                <a:lnTo>
                  <a:pt x="2950" y="692"/>
                </a:lnTo>
                <a:lnTo>
                  <a:pt x="2954" y="692"/>
                </a:lnTo>
                <a:lnTo>
                  <a:pt x="2951" y="690"/>
                </a:lnTo>
                <a:close/>
                <a:moveTo>
                  <a:pt x="2776" y="562"/>
                </a:moveTo>
                <a:lnTo>
                  <a:pt x="2775" y="562"/>
                </a:lnTo>
                <a:lnTo>
                  <a:pt x="2774" y="564"/>
                </a:lnTo>
                <a:lnTo>
                  <a:pt x="2776" y="564"/>
                </a:lnTo>
                <a:lnTo>
                  <a:pt x="2776" y="562"/>
                </a:lnTo>
                <a:close/>
                <a:moveTo>
                  <a:pt x="3128" y="549"/>
                </a:moveTo>
                <a:lnTo>
                  <a:pt x="3131" y="555"/>
                </a:lnTo>
                <a:lnTo>
                  <a:pt x="3133" y="553"/>
                </a:lnTo>
                <a:lnTo>
                  <a:pt x="3133" y="549"/>
                </a:lnTo>
                <a:lnTo>
                  <a:pt x="3128" y="549"/>
                </a:lnTo>
                <a:close/>
                <a:moveTo>
                  <a:pt x="3585" y="443"/>
                </a:moveTo>
                <a:lnTo>
                  <a:pt x="3589" y="443"/>
                </a:lnTo>
                <a:lnTo>
                  <a:pt x="3585" y="442"/>
                </a:lnTo>
                <a:lnTo>
                  <a:pt x="3585" y="443"/>
                </a:lnTo>
                <a:close/>
                <a:moveTo>
                  <a:pt x="4241" y="298"/>
                </a:moveTo>
                <a:lnTo>
                  <a:pt x="4239" y="302"/>
                </a:lnTo>
                <a:lnTo>
                  <a:pt x="4237" y="306"/>
                </a:lnTo>
                <a:lnTo>
                  <a:pt x="4230" y="306"/>
                </a:lnTo>
                <a:lnTo>
                  <a:pt x="4242" y="313"/>
                </a:lnTo>
                <a:lnTo>
                  <a:pt x="4245" y="313"/>
                </a:lnTo>
                <a:lnTo>
                  <a:pt x="4249" y="313"/>
                </a:lnTo>
                <a:lnTo>
                  <a:pt x="4252" y="310"/>
                </a:lnTo>
                <a:lnTo>
                  <a:pt x="4256" y="308"/>
                </a:lnTo>
                <a:lnTo>
                  <a:pt x="4258" y="305"/>
                </a:lnTo>
                <a:lnTo>
                  <a:pt x="4259" y="303"/>
                </a:lnTo>
                <a:lnTo>
                  <a:pt x="4250" y="301"/>
                </a:lnTo>
                <a:lnTo>
                  <a:pt x="4241" y="298"/>
                </a:lnTo>
                <a:close/>
                <a:moveTo>
                  <a:pt x="3590" y="438"/>
                </a:moveTo>
                <a:lnTo>
                  <a:pt x="3585" y="441"/>
                </a:lnTo>
                <a:lnTo>
                  <a:pt x="3589" y="442"/>
                </a:lnTo>
                <a:lnTo>
                  <a:pt x="3590" y="438"/>
                </a:lnTo>
                <a:close/>
                <a:moveTo>
                  <a:pt x="3140" y="559"/>
                </a:moveTo>
                <a:lnTo>
                  <a:pt x="3142" y="559"/>
                </a:lnTo>
                <a:lnTo>
                  <a:pt x="3141" y="559"/>
                </a:lnTo>
                <a:lnTo>
                  <a:pt x="3140" y="559"/>
                </a:lnTo>
                <a:lnTo>
                  <a:pt x="3140" y="559"/>
                </a:lnTo>
                <a:close/>
                <a:moveTo>
                  <a:pt x="2930" y="663"/>
                </a:moveTo>
                <a:lnTo>
                  <a:pt x="2930" y="663"/>
                </a:lnTo>
                <a:lnTo>
                  <a:pt x="2930" y="665"/>
                </a:lnTo>
                <a:lnTo>
                  <a:pt x="2934" y="667"/>
                </a:lnTo>
                <a:lnTo>
                  <a:pt x="2930" y="663"/>
                </a:lnTo>
                <a:close/>
                <a:moveTo>
                  <a:pt x="2920" y="597"/>
                </a:moveTo>
                <a:lnTo>
                  <a:pt x="2922" y="600"/>
                </a:lnTo>
                <a:lnTo>
                  <a:pt x="2925" y="598"/>
                </a:lnTo>
                <a:lnTo>
                  <a:pt x="2920" y="597"/>
                </a:lnTo>
                <a:close/>
                <a:moveTo>
                  <a:pt x="2930" y="671"/>
                </a:moveTo>
                <a:lnTo>
                  <a:pt x="2932" y="669"/>
                </a:lnTo>
                <a:lnTo>
                  <a:pt x="2928" y="669"/>
                </a:lnTo>
                <a:lnTo>
                  <a:pt x="2930" y="671"/>
                </a:lnTo>
                <a:close/>
                <a:moveTo>
                  <a:pt x="2868" y="615"/>
                </a:moveTo>
                <a:lnTo>
                  <a:pt x="2868" y="614"/>
                </a:lnTo>
                <a:lnTo>
                  <a:pt x="2865" y="614"/>
                </a:lnTo>
                <a:lnTo>
                  <a:pt x="2868" y="618"/>
                </a:lnTo>
                <a:lnTo>
                  <a:pt x="2868" y="615"/>
                </a:lnTo>
                <a:close/>
                <a:moveTo>
                  <a:pt x="2883" y="666"/>
                </a:moveTo>
                <a:lnTo>
                  <a:pt x="2882" y="665"/>
                </a:lnTo>
                <a:lnTo>
                  <a:pt x="2880" y="665"/>
                </a:lnTo>
                <a:lnTo>
                  <a:pt x="2883" y="666"/>
                </a:lnTo>
                <a:close/>
                <a:moveTo>
                  <a:pt x="2880" y="660"/>
                </a:moveTo>
                <a:lnTo>
                  <a:pt x="2880" y="662"/>
                </a:lnTo>
                <a:lnTo>
                  <a:pt x="2883" y="665"/>
                </a:lnTo>
                <a:lnTo>
                  <a:pt x="2880" y="660"/>
                </a:lnTo>
                <a:close/>
                <a:moveTo>
                  <a:pt x="2946" y="583"/>
                </a:moveTo>
                <a:lnTo>
                  <a:pt x="2943" y="585"/>
                </a:lnTo>
                <a:lnTo>
                  <a:pt x="2946" y="585"/>
                </a:lnTo>
                <a:lnTo>
                  <a:pt x="2946" y="583"/>
                </a:lnTo>
                <a:close/>
                <a:moveTo>
                  <a:pt x="2897" y="669"/>
                </a:moveTo>
                <a:lnTo>
                  <a:pt x="2898" y="671"/>
                </a:lnTo>
                <a:lnTo>
                  <a:pt x="2900" y="669"/>
                </a:lnTo>
                <a:lnTo>
                  <a:pt x="2898" y="668"/>
                </a:lnTo>
                <a:lnTo>
                  <a:pt x="2897" y="669"/>
                </a:lnTo>
                <a:close/>
                <a:moveTo>
                  <a:pt x="2686" y="687"/>
                </a:moveTo>
                <a:lnTo>
                  <a:pt x="2686" y="686"/>
                </a:lnTo>
                <a:lnTo>
                  <a:pt x="2686" y="692"/>
                </a:lnTo>
                <a:lnTo>
                  <a:pt x="2687" y="690"/>
                </a:lnTo>
                <a:lnTo>
                  <a:pt x="2686" y="687"/>
                </a:lnTo>
                <a:close/>
                <a:moveTo>
                  <a:pt x="2734" y="784"/>
                </a:moveTo>
                <a:lnTo>
                  <a:pt x="2735" y="780"/>
                </a:lnTo>
                <a:lnTo>
                  <a:pt x="2734" y="780"/>
                </a:lnTo>
                <a:lnTo>
                  <a:pt x="2734" y="784"/>
                </a:lnTo>
                <a:close/>
                <a:moveTo>
                  <a:pt x="2712" y="808"/>
                </a:moveTo>
                <a:lnTo>
                  <a:pt x="2713" y="806"/>
                </a:lnTo>
                <a:lnTo>
                  <a:pt x="2712" y="806"/>
                </a:lnTo>
                <a:lnTo>
                  <a:pt x="2712" y="808"/>
                </a:lnTo>
                <a:close/>
                <a:moveTo>
                  <a:pt x="2684" y="820"/>
                </a:moveTo>
                <a:lnTo>
                  <a:pt x="2688" y="818"/>
                </a:lnTo>
                <a:lnTo>
                  <a:pt x="2687" y="815"/>
                </a:lnTo>
                <a:lnTo>
                  <a:pt x="2684" y="818"/>
                </a:lnTo>
                <a:lnTo>
                  <a:pt x="2684" y="820"/>
                </a:lnTo>
                <a:close/>
                <a:moveTo>
                  <a:pt x="2735" y="778"/>
                </a:moveTo>
                <a:lnTo>
                  <a:pt x="2735" y="780"/>
                </a:lnTo>
                <a:lnTo>
                  <a:pt x="2737" y="780"/>
                </a:lnTo>
                <a:lnTo>
                  <a:pt x="2735" y="779"/>
                </a:lnTo>
                <a:lnTo>
                  <a:pt x="2737" y="778"/>
                </a:lnTo>
                <a:lnTo>
                  <a:pt x="2735" y="778"/>
                </a:lnTo>
                <a:close/>
                <a:moveTo>
                  <a:pt x="2681" y="666"/>
                </a:moveTo>
                <a:lnTo>
                  <a:pt x="2683" y="669"/>
                </a:lnTo>
                <a:lnTo>
                  <a:pt x="2683" y="666"/>
                </a:lnTo>
                <a:lnTo>
                  <a:pt x="2681" y="662"/>
                </a:lnTo>
                <a:lnTo>
                  <a:pt x="2681" y="666"/>
                </a:lnTo>
                <a:close/>
                <a:moveTo>
                  <a:pt x="2735" y="786"/>
                </a:moveTo>
                <a:lnTo>
                  <a:pt x="2735" y="784"/>
                </a:lnTo>
                <a:lnTo>
                  <a:pt x="2734" y="785"/>
                </a:lnTo>
                <a:lnTo>
                  <a:pt x="2735" y="786"/>
                </a:lnTo>
                <a:close/>
                <a:moveTo>
                  <a:pt x="2739" y="784"/>
                </a:moveTo>
                <a:lnTo>
                  <a:pt x="2735" y="784"/>
                </a:lnTo>
                <a:lnTo>
                  <a:pt x="2739" y="785"/>
                </a:lnTo>
                <a:lnTo>
                  <a:pt x="2739" y="784"/>
                </a:lnTo>
                <a:close/>
                <a:moveTo>
                  <a:pt x="2566" y="927"/>
                </a:moveTo>
                <a:lnTo>
                  <a:pt x="2565" y="926"/>
                </a:lnTo>
                <a:lnTo>
                  <a:pt x="2567" y="930"/>
                </a:lnTo>
                <a:lnTo>
                  <a:pt x="2566" y="927"/>
                </a:lnTo>
                <a:close/>
                <a:moveTo>
                  <a:pt x="2741" y="789"/>
                </a:moveTo>
                <a:lnTo>
                  <a:pt x="2741" y="786"/>
                </a:lnTo>
                <a:lnTo>
                  <a:pt x="2739" y="789"/>
                </a:lnTo>
                <a:lnTo>
                  <a:pt x="2741" y="789"/>
                </a:lnTo>
                <a:close/>
                <a:moveTo>
                  <a:pt x="2740" y="1704"/>
                </a:moveTo>
                <a:lnTo>
                  <a:pt x="2741" y="1702"/>
                </a:lnTo>
                <a:lnTo>
                  <a:pt x="2740" y="1703"/>
                </a:lnTo>
                <a:lnTo>
                  <a:pt x="2740" y="1704"/>
                </a:lnTo>
                <a:close/>
                <a:moveTo>
                  <a:pt x="2742" y="1638"/>
                </a:moveTo>
                <a:lnTo>
                  <a:pt x="2741" y="1638"/>
                </a:lnTo>
                <a:lnTo>
                  <a:pt x="2739" y="1642"/>
                </a:lnTo>
                <a:lnTo>
                  <a:pt x="2737" y="1642"/>
                </a:lnTo>
                <a:lnTo>
                  <a:pt x="2737" y="1645"/>
                </a:lnTo>
                <a:lnTo>
                  <a:pt x="2741" y="1646"/>
                </a:lnTo>
                <a:lnTo>
                  <a:pt x="2742" y="1642"/>
                </a:lnTo>
                <a:lnTo>
                  <a:pt x="2742" y="1638"/>
                </a:lnTo>
                <a:close/>
                <a:moveTo>
                  <a:pt x="2681" y="654"/>
                </a:moveTo>
                <a:lnTo>
                  <a:pt x="2687" y="657"/>
                </a:lnTo>
                <a:lnTo>
                  <a:pt x="2686" y="655"/>
                </a:lnTo>
                <a:lnTo>
                  <a:pt x="2681" y="654"/>
                </a:lnTo>
                <a:close/>
                <a:moveTo>
                  <a:pt x="2686" y="664"/>
                </a:moveTo>
                <a:lnTo>
                  <a:pt x="2686" y="662"/>
                </a:lnTo>
                <a:lnTo>
                  <a:pt x="2681" y="661"/>
                </a:lnTo>
                <a:lnTo>
                  <a:pt x="2686" y="664"/>
                </a:lnTo>
                <a:close/>
                <a:moveTo>
                  <a:pt x="2686" y="670"/>
                </a:moveTo>
                <a:lnTo>
                  <a:pt x="2686" y="672"/>
                </a:lnTo>
                <a:lnTo>
                  <a:pt x="2687" y="672"/>
                </a:lnTo>
                <a:lnTo>
                  <a:pt x="2686" y="670"/>
                </a:lnTo>
                <a:close/>
                <a:moveTo>
                  <a:pt x="2690" y="658"/>
                </a:moveTo>
                <a:lnTo>
                  <a:pt x="2689" y="658"/>
                </a:lnTo>
                <a:lnTo>
                  <a:pt x="2690" y="659"/>
                </a:lnTo>
                <a:lnTo>
                  <a:pt x="2690" y="658"/>
                </a:lnTo>
                <a:close/>
                <a:moveTo>
                  <a:pt x="2687" y="661"/>
                </a:moveTo>
                <a:lnTo>
                  <a:pt x="2689" y="658"/>
                </a:lnTo>
                <a:lnTo>
                  <a:pt x="2687" y="657"/>
                </a:lnTo>
                <a:lnTo>
                  <a:pt x="2687" y="659"/>
                </a:lnTo>
                <a:lnTo>
                  <a:pt x="2683" y="658"/>
                </a:lnTo>
                <a:lnTo>
                  <a:pt x="2687" y="661"/>
                </a:lnTo>
                <a:close/>
                <a:moveTo>
                  <a:pt x="2756" y="782"/>
                </a:moveTo>
                <a:lnTo>
                  <a:pt x="2757" y="782"/>
                </a:lnTo>
                <a:lnTo>
                  <a:pt x="2760" y="782"/>
                </a:lnTo>
                <a:lnTo>
                  <a:pt x="2759" y="781"/>
                </a:lnTo>
                <a:lnTo>
                  <a:pt x="2756" y="780"/>
                </a:lnTo>
                <a:lnTo>
                  <a:pt x="2756" y="781"/>
                </a:lnTo>
                <a:lnTo>
                  <a:pt x="2756" y="782"/>
                </a:lnTo>
                <a:close/>
                <a:moveTo>
                  <a:pt x="2753" y="779"/>
                </a:moveTo>
                <a:lnTo>
                  <a:pt x="2756" y="780"/>
                </a:lnTo>
                <a:lnTo>
                  <a:pt x="2756" y="779"/>
                </a:lnTo>
                <a:lnTo>
                  <a:pt x="2753" y="779"/>
                </a:lnTo>
                <a:close/>
                <a:moveTo>
                  <a:pt x="2808" y="785"/>
                </a:moveTo>
                <a:lnTo>
                  <a:pt x="2805" y="785"/>
                </a:lnTo>
                <a:lnTo>
                  <a:pt x="2805" y="786"/>
                </a:lnTo>
                <a:lnTo>
                  <a:pt x="2808" y="786"/>
                </a:lnTo>
                <a:lnTo>
                  <a:pt x="2808" y="785"/>
                </a:lnTo>
                <a:close/>
                <a:moveTo>
                  <a:pt x="2825" y="773"/>
                </a:moveTo>
                <a:lnTo>
                  <a:pt x="2824" y="777"/>
                </a:lnTo>
                <a:lnTo>
                  <a:pt x="2829" y="781"/>
                </a:lnTo>
                <a:lnTo>
                  <a:pt x="2831" y="777"/>
                </a:lnTo>
                <a:lnTo>
                  <a:pt x="2825" y="773"/>
                </a:lnTo>
                <a:close/>
                <a:moveTo>
                  <a:pt x="2773" y="733"/>
                </a:moveTo>
                <a:lnTo>
                  <a:pt x="2775" y="731"/>
                </a:lnTo>
                <a:lnTo>
                  <a:pt x="2771" y="733"/>
                </a:lnTo>
                <a:lnTo>
                  <a:pt x="2773" y="733"/>
                </a:lnTo>
                <a:close/>
                <a:moveTo>
                  <a:pt x="2767" y="765"/>
                </a:moveTo>
                <a:lnTo>
                  <a:pt x="2768" y="761"/>
                </a:lnTo>
                <a:lnTo>
                  <a:pt x="2767" y="759"/>
                </a:lnTo>
                <a:lnTo>
                  <a:pt x="2767" y="765"/>
                </a:lnTo>
                <a:close/>
                <a:moveTo>
                  <a:pt x="2816" y="797"/>
                </a:moveTo>
                <a:lnTo>
                  <a:pt x="2815" y="798"/>
                </a:lnTo>
                <a:lnTo>
                  <a:pt x="2817" y="799"/>
                </a:lnTo>
                <a:lnTo>
                  <a:pt x="2818" y="798"/>
                </a:lnTo>
                <a:lnTo>
                  <a:pt x="2816" y="797"/>
                </a:lnTo>
                <a:close/>
                <a:moveTo>
                  <a:pt x="2815" y="798"/>
                </a:moveTo>
                <a:lnTo>
                  <a:pt x="2815" y="798"/>
                </a:lnTo>
                <a:lnTo>
                  <a:pt x="2812" y="795"/>
                </a:lnTo>
                <a:lnTo>
                  <a:pt x="2815" y="798"/>
                </a:lnTo>
                <a:close/>
                <a:moveTo>
                  <a:pt x="2819" y="802"/>
                </a:moveTo>
                <a:lnTo>
                  <a:pt x="2819" y="801"/>
                </a:lnTo>
                <a:lnTo>
                  <a:pt x="2817" y="799"/>
                </a:lnTo>
                <a:lnTo>
                  <a:pt x="2815" y="802"/>
                </a:lnTo>
                <a:lnTo>
                  <a:pt x="2819" y="802"/>
                </a:lnTo>
                <a:close/>
                <a:moveTo>
                  <a:pt x="2776" y="790"/>
                </a:moveTo>
                <a:lnTo>
                  <a:pt x="2775" y="789"/>
                </a:lnTo>
                <a:lnTo>
                  <a:pt x="2774" y="790"/>
                </a:lnTo>
                <a:lnTo>
                  <a:pt x="2776" y="790"/>
                </a:lnTo>
                <a:close/>
                <a:moveTo>
                  <a:pt x="2785" y="784"/>
                </a:moveTo>
                <a:lnTo>
                  <a:pt x="2784" y="781"/>
                </a:lnTo>
                <a:lnTo>
                  <a:pt x="2782" y="782"/>
                </a:lnTo>
                <a:lnTo>
                  <a:pt x="2786" y="788"/>
                </a:lnTo>
                <a:lnTo>
                  <a:pt x="2786" y="787"/>
                </a:lnTo>
                <a:lnTo>
                  <a:pt x="2789" y="784"/>
                </a:lnTo>
                <a:lnTo>
                  <a:pt x="2789" y="783"/>
                </a:lnTo>
                <a:lnTo>
                  <a:pt x="2788" y="784"/>
                </a:lnTo>
                <a:lnTo>
                  <a:pt x="2785" y="784"/>
                </a:lnTo>
                <a:close/>
                <a:moveTo>
                  <a:pt x="2795" y="767"/>
                </a:moveTo>
                <a:lnTo>
                  <a:pt x="2796" y="767"/>
                </a:lnTo>
                <a:lnTo>
                  <a:pt x="2796" y="766"/>
                </a:lnTo>
                <a:lnTo>
                  <a:pt x="2796" y="766"/>
                </a:lnTo>
                <a:lnTo>
                  <a:pt x="2795" y="767"/>
                </a:lnTo>
                <a:close/>
                <a:moveTo>
                  <a:pt x="2784" y="760"/>
                </a:moveTo>
                <a:lnTo>
                  <a:pt x="2782" y="763"/>
                </a:lnTo>
                <a:lnTo>
                  <a:pt x="2784" y="766"/>
                </a:lnTo>
                <a:lnTo>
                  <a:pt x="2785" y="761"/>
                </a:lnTo>
                <a:lnTo>
                  <a:pt x="2787" y="763"/>
                </a:lnTo>
                <a:lnTo>
                  <a:pt x="2786" y="761"/>
                </a:lnTo>
                <a:lnTo>
                  <a:pt x="2785" y="759"/>
                </a:lnTo>
                <a:lnTo>
                  <a:pt x="2791" y="757"/>
                </a:lnTo>
                <a:lnTo>
                  <a:pt x="2796" y="758"/>
                </a:lnTo>
                <a:lnTo>
                  <a:pt x="2795" y="761"/>
                </a:lnTo>
                <a:lnTo>
                  <a:pt x="2796" y="766"/>
                </a:lnTo>
                <a:lnTo>
                  <a:pt x="2796" y="766"/>
                </a:lnTo>
                <a:lnTo>
                  <a:pt x="2789" y="771"/>
                </a:lnTo>
                <a:lnTo>
                  <a:pt x="2792" y="775"/>
                </a:lnTo>
                <a:lnTo>
                  <a:pt x="2786" y="780"/>
                </a:lnTo>
                <a:lnTo>
                  <a:pt x="2787" y="780"/>
                </a:lnTo>
                <a:lnTo>
                  <a:pt x="2787" y="780"/>
                </a:lnTo>
                <a:lnTo>
                  <a:pt x="2790" y="779"/>
                </a:lnTo>
                <a:lnTo>
                  <a:pt x="2795" y="782"/>
                </a:lnTo>
                <a:lnTo>
                  <a:pt x="2789" y="783"/>
                </a:lnTo>
                <a:lnTo>
                  <a:pt x="2789" y="783"/>
                </a:lnTo>
                <a:lnTo>
                  <a:pt x="2785" y="781"/>
                </a:lnTo>
                <a:lnTo>
                  <a:pt x="2784" y="781"/>
                </a:lnTo>
                <a:lnTo>
                  <a:pt x="2783" y="779"/>
                </a:lnTo>
                <a:lnTo>
                  <a:pt x="2783" y="780"/>
                </a:lnTo>
                <a:lnTo>
                  <a:pt x="2781" y="780"/>
                </a:lnTo>
                <a:lnTo>
                  <a:pt x="2775" y="780"/>
                </a:lnTo>
                <a:lnTo>
                  <a:pt x="2774" y="768"/>
                </a:lnTo>
                <a:lnTo>
                  <a:pt x="2771" y="765"/>
                </a:lnTo>
                <a:lnTo>
                  <a:pt x="2775" y="766"/>
                </a:lnTo>
                <a:lnTo>
                  <a:pt x="2781" y="763"/>
                </a:lnTo>
                <a:lnTo>
                  <a:pt x="2775" y="760"/>
                </a:lnTo>
                <a:lnTo>
                  <a:pt x="2784" y="760"/>
                </a:lnTo>
                <a:close/>
                <a:moveTo>
                  <a:pt x="2786" y="766"/>
                </a:moveTo>
                <a:lnTo>
                  <a:pt x="2788" y="766"/>
                </a:lnTo>
                <a:lnTo>
                  <a:pt x="2788" y="765"/>
                </a:lnTo>
                <a:lnTo>
                  <a:pt x="2786" y="766"/>
                </a:lnTo>
                <a:close/>
                <a:moveTo>
                  <a:pt x="2782" y="782"/>
                </a:moveTo>
                <a:lnTo>
                  <a:pt x="2781" y="784"/>
                </a:lnTo>
                <a:lnTo>
                  <a:pt x="2775" y="781"/>
                </a:lnTo>
                <a:lnTo>
                  <a:pt x="2774" y="782"/>
                </a:lnTo>
                <a:lnTo>
                  <a:pt x="2773" y="784"/>
                </a:lnTo>
                <a:lnTo>
                  <a:pt x="2779" y="788"/>
                </a:lnTo>
                <a:lnTo>
                  <a:pt x="2785" y="788"/>
                </a:lnTo>
                <a:lnTo>
                  <a:pt x="2782" y="782"/>
                </a:lnTo>
                <a:close/>
                <a:moveTo>
                  <a:pt x="2796" y="766"/>
                </a:moveTo>
                <a:lnTo>
                  <a:pt x="2796" y="766"/>
                </a:lnTo>
                <a:lnTo>
                  <a:pt x="2796" y="766"/>
                </a:lnTo>
                <a:lnTo>
                  <a:pt x="2796" y="766"/>
                </a:lnTo>
                <a:close/>
                <a:moveTo>
                  <a:pt x="2767" y="786"/>
                </a:moveTo>
                <a:lnTo>
                  <a:pt x="2773" y="777"/>
                </a:lnTo>
                <a:lnTo>
                  <a:pt x="2767" y="782"/>
                </a:lnTo>
                <a:lnTo>
                  <a:pt x="2767" y="786"/>
                </a:lnTo>
                <a:close/>
                <a:moveTo>
                  <a:pt x="2780" y="801"/>
                </a:moveTo>
                <a:lnTo>
                  <a:pt x="2780" y="798"/>
                </a:lnTo>
                <a:lnTo>
                  <a:pt x="2778" y="798"/>
                </a:lnTo>
                <a:lnTo>
                  <a:pt x="2780" y="801"/>
                </a:lnTo>
                <a:close/>
                <a:moveTo>
                  <a:pt x="2860" y="459"/>
                </a:moveTo>
                <a:lnTo>
                  <a:pt x="2858" y="456"/>
                </a:lnTo>
                <a:lnTo>
                  <a:pt x="2856" y="461"/>
                </a:lnTo>
                <a:lnTo>
                  <a:pt x="2860" y="460"/>
                </a:lnTo>
                <a:lnTo>
                  <a:pt x="2860" y="459"/>
                </a:lnTo>
                <a:lnTo>
                  <a:pt x="2858" y="459"/>
                </a:lnTo>
                <a:lnTo>
                  <a:pt x="2860" y="459"/>
                </a:lnTo>
                <a:close/>
                <a:moveTo>
                  <a:pt x="2797" y="530"/>
                </a:moveTo>
                <a:lnTo>
                  <a:pt x="2794" y="530"/>
                </a:lnTo>
                <a:lnTo>
                  <a:pt x="2792" y="534"/>
                </a:lnTo>
                <a:lnTo>
                  <a:pt x="2796" y="531"/>
                </a:lnTo>
                <a:lnTo>
                  <a:pt x="2795" y="531"/>
                </a:lnTo>
                <a:lnTo>
                  <a:pt x="2797" y="530"/>
                </a:lnTo>
                <a:close/>
                <a:moveTo>
                  <a:pt x="2808" y="514"/>
                </a:moveTo>
                <a:lnTo>
                  <a:pt x="2800" y="515"/>
                </a:lnTo>
                <a:lnTo>
                  <a:pt x="2802" y="515"/>
                </a:lnTo>
                <a:lnTo>
                  <a:pt x="2807" y="515"/>
                </a:lnTo>
                <a:lnTo>
                  <a:pt x="2807" y="515"/>
                </a:lnTo>
                <a:lnTo>
                  <a:pt x="2808" y="514"/>
                </a:lnTo>
                <a:close/>
                <a:moveTo>
                  <a:pt x="2829" y="486"/>
                </a:moveTo>
                <a:lnTo>
                  <a:pt x="2828" y="487"/>
                </a:lnTo>
                <a:lnTo>
                  <a:pt x="2830" y="487"/>
                </a:lnTo>
                <a:lnTo>
                  <a:pt x="2829" y="486"/>
                </a:lnTo>
                <a:lnTo>
                  <a:pt x="2829" y="486"/>
                </a:lnTo>
                <a:lnTo>
                  <a:pt x="2829" y="486"/>
                </a:lnTo>
                <a:close/>
                <a:moveTo>
                  <a:pt x="5086" y="427"/>
                </a:moveTo>
                <a:lnTo>
                  <a:pt x="5088" y="427"/>
                </a:lnTo>
                <a:lnTo>
                  <a:pt x="5088" y="426"/>
                </a:lnTo>
                <a:lnTo>
                  <a:pt x="5086" y="427"/>
                </a:lnTo>
                <a:close/>
                <a:moveTo>
                  <a:pt x="2687" y="626"/>
                </a:moveTo>
                <a:lnTo>
                  <a:pt x="2687" y="626"/>
                </a:lnTo>
                <a:lnTo>
                  <a:pt x="2687" y="627"/>
                </a:lnTo>
                <a:lnTo>
                  <a:pt x="2687" y="627"/>
                </a:lnTo>
                <a:lnTo>
                  <a:pt x="2687" y="626"/>
                </a:lnTo>
                <a:close/>
                <a:moveTo>
                  <a:pt x="2875" y="689"/>
                </a:moveTo>
                <a:lnTo>
                  <a:pt x="2879" y="688"/>
                </a:lnTo>
                <a:lnTo>
                  <a:pt x="2879" y="688"/>
                </a:lnTo>
                <a:lnTo>
                  <a:pt x="2879" y="686"/>
                </a:lnTo>
                <a:lnTo>
                  <a:pt x="2875" y="687"/>
                </a:lnTo>
                <a:lnTo>
                  <a:pt x="2875" y="689"/>
                </a:lnTo>
                <a:close/>
                <a:moveTo>
                  <a:pt x="2691" y="671"/>
                </a:moveTo>
                <a:lnTo>
                  <a:pt x="2690" y="672"/>
                </a:lnTo>
                <a:lnTo>
                  <a:pt x="2691" y="675"/>
                </a:lnTo>
                <a:lnTo>
                  <a:pt x="2692" y="672"/>
                </a:lnTo>
                <a:lnTo>
                  <a:pt x="2691" y="672"/>
                </a:lnTo>
                <a:lnTo>
                  <a:pt x="2691" y="671"/>
                </a:lnTo>
                <a:close/>
                <a:moveTo>
                  <a:pt x="3071" y="435"/>
                </a:moveTo>
                <a:lnTo>
                  <a:pt x="3068" y="433"/>
                </a:lnTo>
                <a:lnTo>
                  <a:pt x="3068" y="434"/>
                </a:lnTo>
                <a:lnTo>
                  <a:pt x="3070" y="435"/>
                </a:lnTo>
                <a:lnTo>
                  <a:pt x="3071" y="435"/>
                </a:lnTo>
                <a:close/>
                <a:moveTo>
                  <a:pt x="5230" y="455"/>
                </a:moveTo>
                <a:lnTo>
                  <a:pt x="5230" y="455"/>
                </a:lnTo>
                <a:lnTo>
                  <a:pt x="5230" y="455"/>
                </a:lnTo>
                <a:lnTo>
                  <a:pt x="5230" y="455"/>
                </a:lnTo>
                <a:lnTo>
                  <a:pt x="5230" y="455"/>
                </a:lnTo>
                <a:close/>
                <a:moveTo>
                  <a:pt x="5258" y="472"/>
                </a:moveTo>
                <a:lnTo>
                  <a:pt x="5254" y="468"/>
                </a:lnTo>
                <a:lnTo>
                  <a:pt x="5249" y="465"/>
                </a:lnTo>
                <a:lnTo>
                  <a:pt x="5249" y="466"/>
                </a:lnTo>
                <a:lnTo>
                  <a:pt x="5257" y="475"/>
                </a:lnTo>
                <a:lnTo>
                  <a:pt x="5258" y="473"/>
                </a:lnTo>
                <a:lnTo>
                  <a:pt x="5258" y="472"/>
                </a:lnTo>
                <a:close/>
                <a:moveTo>
                  <a:pt x="2864" y="685"/>
                </a:moveTo>
                <a:lnTo>
                  <a:pt x="2864" y="684"/>
                </a:lnTo>
                <a:lnTo>
                  <a:pt x="2862" y="684"/>
                </a:lnTo>
                <a:lnTo>
                  <a:pt x="2864" y="685"/>
                </a:lnTo>
                <a:close/>
                <a:moveTo>
                  <a:pt x="5224" y="453"/>
                </a:moveTo>
                <a:lnTo>
                  <a:pt x="5224" y="453"/>
                </a:lnTo>
                <a:lnTo>
                  <a:pt x="5224" y="453"/>
                </a:lnTo>
                <a:lnTo>
                  <a:pt x="5224" y="453"/>
                </a:lnTo>
                <a:lnTo>
                  <a:pt x="5224" y="453"/>
                </a:lnTo>
                <a:close/>
                <a:moveTo>
                  <a:pt x="4453" y="1159"/>
                </a:moveTo>
                <a:lnTo>
                  <a:pt x="4454" y="1158"/>
                </a:lnTo>
                <a:lnTo>
                  <a:pt x="4453" y="1158"/>
                </a:lnTo>
                <a:lnTo>
                  <a:pt x="4453" y="1158"/>
                </a:lnTo>
                <a:lnTo>
                  <a:pt x="4453" y="1159"/>
                </a:lnTo>
                <a:close/>
                <a:moveTo>
                  <a:pt x="3200" y="564"/>
                </a:moveTo>
                <a:lnTo>
                  <a:pt x="3200" y="564"/>
                </a:lnTo>
                <a:lnTo>
                  <a:pt x="3199" y="564"/>
                </a:lnTo>
                <a:lnTo>
                  <a:pt x="3200" y="564"/>
                </a:lnTo>
                <a:lnTo>
                  <a:pt x="3200" y="564"/>
                </a:lnTo>
                <a:close/>
                <a:moveTo>
                  <a:pt x="3199" y="564"/>
                </a:moveTo>
                <a:lnTo>
                  <a:pt x="3199" y="563"/>
                </a:lnTo>
                <a:lnTo>
                  <a:pt x="3196" y="563"/>
                </a:lnTo>
                <a:lnTo>
                  <a:pt x="3198" y="563"/>
                </a:lnTo>
                <a:lnTo>
                  <a:pt x="3199" y="564"/>
                </a:lnTo>
                <a:close/>
                <a:moveTo>
                  <a:pt x="4449" y="359"/>
                </a:moveTo>
                <a:lnTo>
                  <a:pt x="4449" y="360"/>
                </a:lnTo>
                <a:lnTo>
                  <a:pt x="4450" y="361"/>
                </a:lnTo>
                <a:lnTo>
                  <a:pt x="4450" y="361"/>
                </a:lnTo>
                <a:lnTo>
                  <a:pt x="4450" y="361"/>
                </a:lnTo>
                <a:lnTo>
                  <a:pt x="4449" y="361"/>
                </a:lnTo>
                <a:lnTo>
                  <a:pt x="4449" y="363"/>
                </a:lnTo>
                <a:lnTo>
                  <a:pt x="4452" y="363"/>
                </a:lnTo>
                <a:lnTo>
                  <a:pt x="4451" y="361"/>
                </a:lnTo>
                <a:lnTo>
                  <a:pt x="4459" y="362"/>
                </a:lnTo>
                <a:lnTo>
                  <a:pt x="4466" y="363"/>
                </a:lnTo>
                <a:lnTo>
                  <a:pt x="4470" y="366"/>
                </a:lnTo>
                <a:lnTo>
                  <a:pt x="4482" y="373"/>
                </a:lnTo>
                <a:lnTo>
                  <a:pt x="4487" y="372"/>
                </a:lnTo>
                <a:lnTo>
                  <a:pt x="4491" y="371"/>
                </a:lnTo>
                <a:lnTo>
                  <a:pt x="4493" y="371"/>
                </a:lnTo>
                <a:lnTo>
                  <a:pt x="4491" y="370"/>
                </a:lnTo>
                <a:lnTo>
                  <a:pt x="4489" y="369"/>
                </a:lnTo>
                <a:lnTo>
                  <a:pt x="4494" y="366"/>
                </a:lnTo>
                <a:lnTo>
                  <a:pt x="4492" y="365"/>
                </a:lnTo>
                <a:lnTo>
                  <a:pt x="4491" y="365"/>
                </a:lnTo>
                <a:lnTo>
                  <a:pt x="4493" y="363"/>
                </a:lnTo>
                <a:lnTo>
                  <a:pt x="4491" y="363"/>
                </a:lnTo>
                <a:lnTo>
                  <a:pt x="4489" y="363"/>
                </a:lnTo>
                <a:lnTo>
                  <a:pt x="4481" y="363"/>
                </a:lnTo>
                <a:lnTo>
                  <a:pt x="4467" y="355"/>
                </a:lnTo>
                <a:lnTo>
                  <a:pt x="4458" y="357"/>
                </a:lnTo>
                <a:lnTo>
                  <a:pt x="4451" y="358"/>
                </a:lnTo>
                <a:lnTo>
                  <a:pt x="4450" y="358"/>
                </a:lnTo>
                <a:lnTo>
                  <a:pt x="4449" y="359"/>
                </a:lnTo>
                <a:close/>
                <a:moveTo>
                  <a:pt x="4799" y="388"/>
                </a:moveTo>
                <a:lnTo>
                  <a:pt x="4800" y="387"/>
                </a:lnTo>
                <a:lnTo>
                  <a:pt x="4799" y="387"/>
                </a:lnTo>
                <a:lnTo>
                  <a:pt x="4799" y="387"/>
                </a:lnTo>
                <a:lnTo>
                  <a:pt x="4799" y="388"/>
                </a:lnTo>
                <a:close/>
                <a:moveTo>
                  <a:pt x="2847" y="467"/>
                </a:moveTo>
                <a:lnTo>
                  <a:pt x="2850" y="467"/>
                </a:lnTo>
                <a:lnTo>
                  <a:pt x="2847" y="466"/>
                </a:lnTo>
                <a:lnTo>
                  <a:pt x="2847" y="466"/>
                </a:lnTo>
                <a:lnTo>
                  <a:pt x="2847" y="466"/>
                </a:lnTo>
                <a:lnTo>
                  <a:pt x="2851" y="465"/>
                </a:lnTo>
                <a:lnTo>
                  <a:pt x="2851" y="463"/>
                </a:lnTo>
                <a:lnTo>
                  <a:pt x="2852" y="463"/>
                </a:lnTo>
                <a:lnTo>
                  <a:pt x="2851" y="458"/>
                </a:lnTo>
                <a:lnTo>
                  <a:pt x="2846" y="456"/>
                </a:lnTo>
                <a:lnTo>
                  <a:pt x="2839" y="466"/>
                </a:lnTo>
                <a:lnTo>
                  <a:pt x="2843" y="460"/>
                </a:lnTo>
                <a:lnTo>
                  <a:pt x="2840" y="457"/>
                </a:lnTo>
                <a:lnTo>
                  <a:pt x="2843" y="455"/>
                </a:lnTo>
                <a:lnTo>
                  <a:pt x="2839" y="455"/>
                </a:lnTo>
                <a:lnTo>
                  <a:pt x="2844" y="450"/>
                </a:lnTo>
                <a:lnTo>
                  <a:pt x="2846" y="446"/>
                </a:lnTo>
                <a:lnTo>
                  <a:pt x="2837" y="451"/>
                </a:lnTo>
                <a:lnTo>
                  <a:pt x="2835" y="452"/>
                </a:lnTo>
                <a:lnTo>
                  <a:pt x="2837" y="456"/>
                </a:lnTo>
                <a:lnTo>
                  <a:pt x="2838" y="455"/>
                </a:lnTo>
                <a:lnTo>
                  <a:pt x="2835" y="460"/>
                </a:lnTo>
                <a:lnTo>
                  <a:pt x="2837" y="463"/>
                </a:lnTo>
                <a:lnTo>
                  <a:pt x="2832" y="467"/>
                </a:lnTo>
                <a:lnTo>
                  <a:pt x="2833" y="467"/>
                </a:lnTo>
                <a:lnTo>
                  <a:pt x="2831" y="468"/>
                </a:lnTo>
                <a:lnTo>
                  <a:pt x="2831" y="468"/>
                </a:lnTo>
                <a:lnTo>
                  <a:pt x="2831" y="468"/>
                </a:lnTo>
                <a:lnTo>
                  <a:pt x="2831" y="468"/>
                </a:lnTo>
                <a:lnTo>
                  <a:pt x="2831" y="468"/>
                </a:lnTo>
                <a:lnTo>
                  <a:pt x="2825" y="471"/>
                </a:lnTo>
                <a:lnTo>
                  <a:pt x="2827" y="469"/>
                </a:lnTo>
                <a:lnTo>
                  <a:pt x="2821" y="471"/>
                </a:lnTo>
                <a:lnTo>
                  <a:pt x="2820" y="471"/>
                </a:lnTo>
                <a:lnTo>
                  <a:pt x="2821" y="475"/>
                </a:lnTo>
                <a:lnTo>
                  <a:pt x="2819" y="475"/>
                </a:lnTo>
                <a:lnTo>
                  <a:pt x="2818" y="478"/>
                </a:lnTo>
                <a:lnTo>
                  <a:pt x="2827" y="473"/>
                </a:lnTo>
                <a:lnTo>
                  <a:pt x="2830" y="469"/>
                </a:lnTo>
                <a:lnTo>
                  <a:pt x="2828" y="473"/>
                </a:lnTo>
                <a:lnTo>
                  <a:pt x="2837" y="467"/>
                </a:lnTo>
                <a:lnTo>
                  <a:pt x="2838" y="467"/>
                </a:lnTo>
                <a:lnTo>
                  <a:pt x="2833" y="475"/>
                </a:lnTo>
                <a:lnTo>
                  <a:pt x="2838" y="475"/>
                </a:lnTo>
                <a:lnTo>
                  <a:pt x="2840" y="469"/>
                </a:lnTo>
                <a:lnTo>
                  <a:pt x="2843" y="471"/>
                </a:lnTo>
                <a:lnTo>
                  <a:pt x="2846" y="467"/>
                </a:lnTo>
                <a:lnTo>
                  <a:pt x="2847" y="467"/>
                </a:lnTo>
                <a:lnTo>
                  <a:pt x="2846" y="469"/>
                </a:lnTo>
                <a:lnTo>
                  <a:pt x="2851" y="468"/>
                </a:lnTo>
                <a:lnTo>
                  <a:pt x="2851" y="467"/>
                </a:lnTo>
                <a:lnTo>
                  <a:pt x="2847" y="468"/>
                </a:lnTo>
                <a:lnTo>
                  <a:pt x="2847" y="467"/>
                </a:lnTo>
                <a:close/>
                <a:moveTo>
                  <a:pt x="2950" y="674"/>
                </a:moveTo>
                <a:lnTo>
                  <a:pt x="2949" y="674"/>
                </a:lnTo>
                <a:lnTo>
                  <a:pt x="2949" y="674"/>
                </a:lnTo>
                <a:lnTo>
                  <a:pt x="2948" y="674"/>
                </a:lnTo>
                <a:lnTo>
                  <a:pt x="2945" y="674"/>
                </a:lnTo>
                <a:lnTo>
                  <a:pt x="2948" y="675"/>
                </a:lnTo>
                <a:lnTo>
                  <a:pt x="2949" y="675"/>
                </a:lnTo>
                <a:lnTo>
                  <a:pt x="2949" y="675"/>
                </a:lnTo>
                <a:lnTo>
                  <a:pt x="2949" y="675"/>
                </a:lnTo>
                <a:lnTo>
                  <a:pt x="2950" y="674"/>
                </a:lnTo>
                <a:close/>
                <a:moveTo>
                  <a:pt x="4252" y="1362"/>
                </a:moveTo>
                <a:lnTo>
                  <a:pt x="4252" y="1363"/>
                </a:lnTo>
                <a:lnTo>
                  <a:pt x="4253" y="1363"/>
                </a:lnTo>
                <a:lnTo>
                  <a:pt x="4253" y="1363"/>
                </a:lnTo>
                <a:lnTo>
                  <a:pt x="4252" y="1362"/>
                </a:lnTo>
                <a:close/>
                <a:moveTo>
                  <a:pt x="4198" y="1515"/>
                </a:moveTo>
                <a:lnTo>
                  <a:pt x="4198" y="1514"/>
                </a:lnTo>
                <a:lnTo>
                  <a:pt x="4198" y="1514"/>
                </a:lnTo>
                <a:lnTo>
                  <a:pt x="4198" y="1515"/>
                </a:lnTo>
                <a:lnTo>
                  <a:pt x="4198" y="1515"/>
                </a:lnTo>
                <a:close/>
                <a:moveTo>
                  <a:pt x="4350" y="1290"/>
                </a:moveTo>
                <a:lnTo>
                  <a:pt x="4350" y="1290"/>
                </a:lnTo>
                <a:lnTo>
                  <a:pt x="4350" y="1290"/>
                </a:lnTo>
                <a:lnTo>
                  <a:pt x="4350" y="1290"/>
                </a:lnTo>
                <a:lnTo>
                  <a:pt x="4350" y="1290"/>
                </a:lnTo>
                <a:lnTo>
                  <a:pt x="4353" y="1291"/>
                </a:lnTo>
                <a:lnTo>
                  <a:pt x="4353" y="1291"/>
                </a:lnTo>
                <a:lnTo>
                  <a:pt x="4351" y="1288"/>
                </a:lnTo>
                <a:lnTo>
                  <a:pt x="4350" y="1289"/>
                </a:lnTo>
                <a:lnTo>
                  <a:pt x="4350" y="1290"/>
                </a:lnTo>
                <a:lnTo>
                  <a:pt x="4350" y="1290"/>
                </a:lnTo>
                <a:lnTo>
                  <a:pt x="4350" y="1290"/>
                </a:lnTo>
                <a:close/>
                <a:moveTo>
                  <a:pt x="4197" y="1515"/>
                </a:moveTo>
                <a:lnTo>
                  <a:pt x="4197" y="1515"/>
                </a:lnTo>
                <a:lnTo>
                  <a:pt x="4197" y="1515"/>
                </a:lnTo>
                <a:lnTo>
                  <a:pt x="4199" y="1515"/>
                </a:lnTo>
                <a:lnTo>
                  <a:pt x="4198" y="1515"/>
                </a:lnTo>
                <a:lnTo>
                  <a:pt x="4198" y="1515"/>
                </a:lnTo>
                <a:lnTo>
                  <a:pt x="4197" y="1515"/>
                </a:lnTo>
                <a:close/>
                <a:moveTo>
                  <a:pt x="4452" y="1159"/>
                </a:moveTo>
                <a:lnTo>
                  <a:pt x="4453" y="1160"/>
                </a:lnTo>
                <a:lnTo>
                  <a:pt x="4453" y="1159"/>
                </a:lnTo>
                <a:lnTo>
                  <a:pt x="4453" y="1159"/>
                </a:lnTo>
                <a:lnTo>
                  <a:pt x="4452" y="1159"/>
                </a:lnTo>
                <a:close/>
                <a:moveTo>
                  <a:pt x="4453" y="1113"/>
                </a:moveTo>
                <a:lnTo>
                  <a:pt x="4453" y="1113"/>
                </a:lnTo>
                <a:lnTo>
                  <a:pt x="4453" y="1113"/>
                </a:lnTo>
                <a:lnTo>
                  <a:pt x="4453" y="1113"/>
                </a:lnTo>
                <a:close/>
                <a:moveTo>
                  <a:pt x="4372" y="1261"/>
                </a:moveTo>
                <a:lnTo>
                  <a:pt x="4371" y="1263"/>
                </a:lnTo>
                <a:lnTo>
                  <a:pt x="4372" y="1264"/>
                </a:lnTo>
                <a:lnTo>
                  <a:pt x="4372" y="1264"/>
                </a:lnTo>
                <a:lnTo>
                  <a:pt x="4372" y="1263"/>
                </a:lnTo>
                <a:lnTo>
                  <a:pt x="4372" y="1261"/>
                </a:lnTo>
                <a:lnTo>
                  <a:pt x="4372" y="1261"/>
                </a:lnTo>
                <a:lnTo>
                  <a:pt x="4372" y="1261"/>
                </a:lnTo>
                <a:close/>
                <a:moveTo>
                  <a:pt x="4350" y="1290"/>
                </a:moveTo>
                <a:lnTo>
                  <a:pt x="4350" y="1290"/>
                </a:lnTo>
                <a:lnTo>
                  <a:pt x="4350" y="1290"/>
                </a:lnTo>
                <a:lnTo>
                  <a:pt x="4350" y="1290"/>
                </a:lnTo>
                <a:close/>
                <a:moveTo>
                  <a:pt x="2736" y="745"/>
                </a:moveTo>
                <a:lnTo>
                  <a:pt x="2738" y="743"/>
                </a:lnTo>
                <a:lnTo>
                  <a:pt x="2741" y="745"/>
                </a:lnTo>
                <a:lnTo>
                  <a:pt x="2742" y="743"/>
                </a:lnTo>
                <a:lnTo>
                  <a:pt x="2743" y="739"/>
                </a:lnTo>
                <a:lnTo>
                  <a:pt x="2739" y="742"/>
                </a:lnTo>
                <a:lnTo>
                  <a:pt x="2741" y="739"/>
                </a:lnTo>
                <a:lnTo>
                  <a:pt x="2746" y="736"/>
                </a:lnTo>
                <a:lnTo>
                  <a:pt x="2738" y="736"/>
                </a:lnTo>
                <a:lnTo>
                  <a:pt x="2731" y="743"/>
                </a:lnTo>
                <a:lnTo>
                  <a:pt x="2731" y="745"/>
                </a:lnTo>
                <a:lnTo>
                  <a:pt x="2736" y="746"/>
                </a:lnTo>
                <a:lnTo>
                  <a:pt x="2736" y="745"/>
                </a:lnTo>
                <a:close/>
                <a:moveTo>
                  <a:pt x="4045" y="1529"/>
                </a:moveTo>
                <a:lnTo>
                  <a:pt x="4044" y="1530"/>
                </a:lnTo>
                <a:lnTo>
                  <a:pt x="4044" y="1531"/>
                </a:lnTo>
                <a:lnTo>
                  <a:pt x="4045" y="1530"/>
                </a:lnTo>
                <a:lnTo>
                  <a:pt x="4045" y="1529"/>
                </a:lnTo>
                <a:close/>
                <a:moveTo>
                  <a:pt x="2691" y="832"/>
                </a:moveTo>
                <a:lnTo>
                  <a:pt x="2692" y="831"/>
                </a:lnTo>
                <a:lnTo>
                  <a:pt x="2691" y="830"/>
                </a:lnTo>
                <a:lnTo>
                  <a:pt x="2694" y="830"/>
                </a:lnTo>
                <a:lnTo>
                  <a:pt x="2695" y="828"/>
                </a:lnTo>
                <a:lnTo>
                  <a:pt x="2695" y="828"/>
                </a:lnTo>
                <a:lnTo>
                  <a:pt x="2695" y="828"/>
                </a:lnTo>
                <a:lnTo>
                  <a:pt x="2695" y="828"/>
                </a:lnTo>
                <a:lnTo>
                  <a:pt x="2692" y="825"/>
                </a:lnTo>
                <a:lnTo>
                  <a:pt x="2691" y="824"/>
                </a:lnTo>
                <a:lnTo>
                  <a:pt x="2688" y="820"/>
                </a:lnTo>
                <a:lnTo>
                  <a:pt x="2687" y="821"/>
                </a:lnTo>
                <a:lnTo>
                  <a:pt x="2684" y="820"/>
                </a:lnTo>
                <a:lnTo>
                  <a:pt x="2682" y="828"/>
                </a:lnTo>
                <a:lnTo>
                  <a:pt x="2690" y="832"/>
                </a:lnTo>
                <a:lnTo>
                  <a:pt x="2691" y="832"/>
                </a:lnTo>
                <a:close/>
                <a:moveTo>
                  <a:pt x="2794" y="792"/>
                </a:moveTo>
                <a:lnTo>
                  <a:pt x="2795" y="792"/>
                </a:lnTo>
                <a:lnTo>
                  <a:pt x="2795" y="791"/>
                </a:lnTo>
                <a:lnTo>
                  <a:pt x="2794" y="791"/>
                </a:lnTo>
                <a:lnTo>
                  <a:pt x="2793" y="793"/>
                </a:lnTo>
                <a:lnTo>
                  <a:pt x="2794" y="792"/>
                </a:lnTo>
                <a:lnTo>
                  <a:pt x="2794" y="792"/>
                </a:lnTo>
                <a:close/>
                <a:moveTo>
                  <a:pt x="2720" y="1628"/>
                </a:moveTo>
                <a:lnTo>
                  <a:pt x="2719" y="1630"/>
                </a:lnTo>
                <a:lnTo>
                  <a:pt x="2722" y="1630"/>
                </a:lnTo>
                <a:lnTo>
                  <a:pt x="2721" y="1628"/>
                </a:lnTo>
                <a:lnTo>
                  <a:pt x="2721" y="1628"/>
                </a:lnTo>
                <a:lnTo>
                  <a:pt x="2720" y="1628"/>
                </a:lnTo>
                <a:close/>
                <a:moveTo>
                  <a:pt x="3927" y="1348"/>
                </a:moveTo>
                <a:lnTo>
                  <a:pt x="3928" y="1348"/>
                </a:lnTo>
                <a:lnTo>
                  <a:pt x="3927" y="1348"/>
                </a:lnTo>
                <a:lnTo>
                  <a:pt x="3927" y="1348"/>
                </a:lnTo>
                <a:lnTo>
                  <a:pt x="3927" y="1348"/>
                </a:lnTo>
                <a:close/>
                <a:moveTo>
                  <a:pt x="3927" y="1349"/>
                </a:moveTo>
                <a:lnTo>
                  <a:pt x="3927" y="1352"/>
                </a:lnTo>
                <a:lnTo>
                  <a:pt x="3927" y="1352"/>
                </a:lnTo>
                <a:lnTo>
                  <a:pt x="3928" y="1355"/>
                </a:lnTo>
                <a:lnTo>
                  <a:pt x="3927" y="1356"/>
                </a:lnTo>
                <a:lnTo>
                  <a:pt x="3927" y="1358"/>
                </a:lnTo>
                <a:lnTo>
                  <a:pt x="3927" y="1359"/>
                </a:lnTo>
                <a:lnTo>
                  <a:pt x="3927" y="1359"/>
                </a:lnTo>
                <a:lnTo>
                  <a:pt x="3928" y="1359"/>
                </a:lnTo>
                <a:lnTo>
                  <a:pt x="3928" y="1359"/>
                </a:lnTo>
                <a:lnTo>
                  <a:pt x="3931" y="1358"/>
                </a:lnTo>
                <a:lnTo>
                  <a:pt x="3931" y="1352"/>
                </a:lnTo>
                <a:lnTo>
                  <a:pt x="3928" y="1348"/>
                </a:lnTo>
                <a:lnTo>
                  <a:pt x="3928" y="1348"/>
                </a:lnTo>
                <a:lnTo>
                  <a:pt x="3928" y="1348"/>
                </a:lnTo>
                <a:lnTo>
                  <a:pt x="3927" y="1349"/>
                </a:lnTo>
                <a:close/>
                <a:moveTo>
                  <a:pt x="5326" y="503"/>
                </a:moveTo>
                <a:lnTo>
                  <a:pt x="5325" y="503"/>
                </a:lnTo>
                <a:lnTo>
                  <a:pt x="5326" y="503"/>
                </a:lnTo>
                <a:lnTo>
                  <a:pt x="5326" y="503"/>
                </a:lnTo>
                <a:lnTo>
                  <a:pt x="5326" y="503"/>
                </a:lnTo>
                <a:close/>
                <a:moveTo>
                  <a:pt x="3584" y="443"/>
                </a:moveTo>
                <a:lnTo>
                  <a:pt x="3582" y="442"/>
                </a:lnTo>
                <a:lnTo>
                  <a:pt x="3582" y="443"/>
                </a:lnTo>
                <a:lnTo>
                  <a:pt x="3584" y="443"/>
                </a:lnTo>
                <a:close/>
                <a:moveTo>
                  <a:pt x="3582" y="427"/>
                </a:moveTo>
                <a:lnTo>
                  <a:pt x="3582" y="427"/>
                </a:lnTo>
                <a:lnTo>
                  <a:pt x="3583" y="427"/>
                </a:lnTo>
                <a:lnTo>
                  <a:pt x="3582" y="427"/>
                </a:lnTo>
                <a:close/>
                <a:moveTo>
                  <a:pt x="3585" y="427"/>
                </a:moveTo>
                <a:lnTo>
                  <a:pt x="3584" y="427"/>
                </a:lnTo>
                <a:lnTo>
                  <a:pt x="3583" y="427"/>
                </a:lnTo>
                <a:lnTo>
                  <a:pt x="3584" y="427"/>
                </a:lnTo>
                <a:lnTo>
                  <a:pt x="3585" y="427"/>
                </a:lnTo>
                <a:close/>
                <a:moveTo>
                  <a:pt x="3819" y="409"/>
                </a:moveTo>
                <a:lnTo>
                  <a:pt x="3819" y="409"/>
                </a:lnTo>
                <a:lnTo>
                  <a:pt x="3819" y="409"/>
                </a:lnTo>
                <a:lnTo>
                  <a:pt x="3819" y="409"/>
                </a:lnTo>
                <a:close/>
                <a:moveTo>
                  <a:pt x="3444" y="460"/>
                </a:moveTo>
                <a:lnTo>
                  <a:pt x="3442" y="461"/>
                </a:lnTo>
                <a:lnTo>
                  <a:pt x="3454" y="458"/>
                </a:lnTo>
                <a:lnTo>
                  <a:pt x="3454" y="458"/>
                </a:lnTo>
                <a:lnTo>
                  <a:pt x="3444" y="460"/>
                </a:lnTo>
                <a:close/>
                <a:moveTo>
                  <a:pt x="3819" y="409"/>
                </a:moveTo>
                <a:lnTo>
                  <a:pt x="3819" y="409"/>
                </a:lnTo>
                <a:lnTo>
                  <a:pt x="3819" y="409"/>
                </a:lnTo>
                <a:lnTo>
                  <a:pt x="3819" y="409"/>
                </a:lnTo>
                <a:close/>
                <a:moveTo>
                  <a:pt x="4728" y="375"/>
                </a:moveTo>
                <a:lnTo>
                  <a:pt x="4728" y="375"/>
                </a:lnTo>
                <a:lnTo>
                  <a:pt x="4729" y="374"/>
                </a:lnTo>
                <a:lnTo>
                  <a:pt x="4727" y="375"/>
                </a:lnTo>
                <a:lnTo>
                  <a:pt x="4727" y="375"/>
                </a:lnTo>
                <a:lnTo>
                  <a:pt x="4728" y="375"/>
                </a:lnTo>
                <a:close/>
                <a:moveTo>
                  <a:pt x="3821" y="403"/>
                </a:moveTo>
                <a:lnTo>
                  <a:pt x="3821" y="403"/>
                </a:lnTo>
                <a:lnTo>
                  <a:pt x="3821" y="403"/>
                </a:lnTo>
                <a:lnTo>
                  <a:pt x="3820" y="405"/>
                </a:lnTo>
                <a:lnTo>
                  <a:pt x="3819" y="409"/>
                </a:lnTo>
                <a:lnTo>
                  <a:pt x="3823" y="407"/>
                </a:lnTo>
                <a:lnTo>
                  <a:pt x="3821" y="403"/>
                </a:lnTo>
                <a:close/>
                <a:moveTo>
                  <a:pt x="3470" y="455"/>
                </a:moveTo>
                <a:lnTo>
                  <a:pt x="3467" y="454"/>
                </a:lnTo>
                <a:lnTo>
                  <a:pt x="3467" y="455"/>
                </a:lnTo>
                <a:lnTo>
                  <a:pt x="3473" y="455"/>
                </a:lnTo>
                <a:lnTo>
                  <a:pt x="3470" y="455"/>
                </a:lnTo>
                <a:close/>
                <a:moveTo>
                  <a:pt x="2948" y="423"/>
                </a:moveTo>
                <a:lnTo>
                  <a:pt x="2948" y="423"/>
                </a:lnTo>
                <a:lnTo>
                  <a:pt x="2948" y="423"/>
                </a:lnTo>
                <a:lnTo>
                  <a:pt x="2948" y="423"/>
                </a:lnTo>
                <a:close/>
                <a:moveTo>
                  <a:pt x="2860" y="455"/>
                </a:moveTo>
                <a:lnTo>
                  <a:pt x="2860" y="455"/>
                </a:lnTo>
                <a:lnTo>
                  <a:pt x="2858" y="456"/>
                </a:lnTo>
                <a:lnTo>
                  <a:pt x="2860" y="455"/>
                </a:lnTo>
                <a:close/>
                <a:moveTo>
                  <a:pt x="2883" y="434"/>
                </a:moveTo>
                <a:lnTo>
                  <a:pt x="2875" y="430"/>
                </a:lnTo>
                <a:lnTo>
                  <a:pt x="2875" y="435"/>
                </a:lnTo>
                <a:lnTo>
                  <a:pt x="2875" y="435"/>
                </a:lnTo>
                <a:lnTo>
                  <a:pt x="2877" y="437"/>
                </a:lnTo>
                <a:lnTo>
                  <a:pt x="2873" y="439"/>
                </a:lnTo>
                <a:lnTo>
                  <a:pt x="2882" y="439"/>
                </a:lnTo>
                <a:lnTo>
                  <a:pt x="2883" y="439"/>
                </a:lnTo>
                <a:lnTo>
                  <a:pt x="2883" y="434"/>
                </a:lnTo>
                <a:close/>
                <a:moveTo>
                  <a:pt x="3393" y="471"/>
                </a:moveTo>
                <a:lnTo>
                  <a:pt x="3393" y="471"/>
                </a:lnTo>
                <a:lnTo>
                  <a:pt x="3393" y="471"/>
                </a:lnTo>
                <a:lnTo>
                  <a:pt x="3393" y="471"/>
                </a:lnTo>
                <a:lnTo>
                  <a:pt x="3393" y="471"/>
                </a:lnTo>
                <a:close/>
                <a:moveTo>
                  <a:pt x="2837" y="479"/>
                </a:moveTo>
                <a:lnTo>
                  <a:pt x="2837" y="479"/>
                </a:lnTo>
                <a:lnTo>
                  <a:pt x="2833" y="479"/>
                </a:lnTo>
                <a:lnTo>
                  <a:pt x="2837" y="479"/>
                </a:lnTo>
                <a:close/>
                <a:moveTo>
                  <a:pt x="2992" y="398"/>
                </a:moveTo>
                <a:lnTo>
                  <a:pt x="2989" y="400"/>
                </a:lnTo>
                <a:lnTo>
                  <a:pt x="2989" y="400"/>
                </a:lnTo>
                <a:lnTo>
                  <a:pt x="2992" y="398"/>
                </a:lnTo>
                <a:close/>
                <a:moveTo>
                  <a:pt x="3192" y="561"/>
                </a:moveTo>
                <a:lnTo>
                  <a:pt x="3192" y="561"/>
                </a:lnTo>
                <a:lnTo>
                  <a:pt x="3194" y="562"/>
                </a:lnTo>
                <a:lnTo>
                  <a:pt x="3192" y="561"/>
                </a:lnTo>
                <a:lnTo>
                  <a:pt x="3192" y="561"/>
                </a:lnTo>
                <a:close/>
                <a:moveTo>
                  <a:pt x="3213" y="500"/>
                </a:moveTo>
                <a:lnTo>
                  <a:pt x="3212" y="503"/>
                </a:lnTo>
                <a:lnTo>
                  <a:pt x="3213" y="503"/>
                </a:lnTo>
                <a:lnTo>
                  <a:pt x="3213" y="500"/>
                </a:lnTo>
                <a:close/>
                <a:moveTo>
                  <a:pt x="3662" y="500"/>
                </a:moveTo>
                <a:lnTo>
                  <a:pt x="3662" y="500"/>
                </a:lnTo>
                <a:lnTo>
                  <a:pt x="3662" y="500"/>
                </a:lnTo>
                <a:lnTo>
                  <a:pt x="3662" y="500"/>
                </a:lnTo>
                <a:lnTo>
                  <a:pt x="3662" y="500"/>
                </a:lnTo>
                <a:close/>
                <a:moveTo>
                  <a:pt x="4232" y="313"/>
                </a:moveTo>
                <a:lnTo>
                  <a:pt x="4232" y="313"/>
                </a:lnTo>
                <a:lnTo>
                  <a:pt x="4232" y="313"/>
                </a:lnTo>
                <a:lnTo>
                  <a:pt x="4232" y="313"/>
                </a:lnTo>
                <a:lnTo>
                  <a:pt x="4232" y="313"/>
                </a:lnTo>
                <a:close/>
                <a:moveTo>
                  <a:pt x="4251" y="314"/>
                </a:moveTo>
                <a:lnTo>
                  <a:pt x="4251" y="314"/>
                </a:lnTo>
                <a:lnTo>
                  <a:pt x="4251" y="314"/>
                </a:lnTo>
                <a:lnTo>
                  <a:pt x="4251" y="314"/>
                </a:lnTo>
                <a:lnTo>
                  <a:pt x="4251" y="314"/>
                </a:lnTo>
                <a:close/>
                <a:moveTo>
                  <a:pt x="4409" y="350"/>
                </a:moveTo>
                <a:lnTo>
                  <a:pt x="4406" y="350"/>
                </a:lnTo>
                <a:lnTo>
                  <a:pt x="4409" y="351"/>
                </a:lnTo>
                <a:lnTo>
                  <a:pt x="4409" y="350"/>
                </a:lnTo>
                <a:close/>
                <a:moveTo>
                  <a:pt x="4257" y="252"/>
                </a:moveTo>
                <a:lnTo>
                  <a:pt x="4257" y="252"/>
                </a:lnTo>
                <a:lnTo>
                  <a:pt x="4258" y="252"/>
                </a:lnTo>
                <a:lnTo>
                  <a:pt x="4257" y="252"/>
                </a:lnTo>
                <a:close/>
                <a:moveTo>
                  <a:pt x="4409" y="321"/>
                </a:moveTo>
                <a:lnTo>
                  <a:pt x="4409" y="321"/>
                </a:lnTo>
                <a:lnTo>
                  <a:pt x="4409" y="321"/>
                </a:lnTo>
                <a:lnTo>
                  <a:pt x="4409" y="321"/>
                </a:lnTo>
                <a:lnTo>
                  <a:pt x="4409" y="321"/>
                </a:lnTo>
                <a:close/>
                <a:moveTo>
                  <a:pt x="4257" y="250"/>
                </a:moveTo>
                <a:lnTo>
                  <a:pt x="4258" y="250"/>
                </a:lnTo>
                <a:lnTo>
                  <a:pt x="4252" y="250"/>
                </a:lnTo>
                <a:lnTo>
                  <a:pt x="4257" y="252"/>
                </a:lnTo>
                <a:lnTo>
                  <a:pt x="4257" y="251"/>
                </a:lnTo>
                <a:lnTo>
                  <a:pt x="4257" y="250"/>
                </a:lnTo>
                <a:close/>
                <a:moveTo>
                  <a:pt x="4538" y="375"/>
                </a:moveTo>
                <a:lnTo>
                  <a:pt x="4538" y="376"/>
                </a:lnTo>
                <a:lnTo>
                  <a:pt x="4540" y="375"/>
                </a:lnTo>
                <a:lnTo>
                  <a:pt x="4538" y="375"/>
                </a:lnTo>
                <a:close/>
                <a:moveTo>
                  <a:pt x="4453" y="330"/>
                </a:moveTo>
                <a:lnTo>
                  <a:pt x="4453" y="330"/>
                </a:lnTo>
                <a:lnTo>
                  <a:pt x="4453" y="330"/>
                </a:lnTo>
                <a:lnTo>
                  <a:pt x="4453" y="330"/>
                </a:lnTo>
                <a:lnTo>
                  <a:pt x="4453" y="330"/>
                </a:lnTo>
                <a:close/>
                <a:moveTo>
                  <a:pt x="3823" y="414"/>
                </a:moveTo>
                <a:lnTo>
                  <a:pt x="3823" y="415"/>
                </a:lnTo>
                <a:lnTo>
                  <a:pt x="3821" y="418"/>
                </a:lnTo>
                <a:lnTo>
                  <a:pt x="3824" y="414"/>
                </a:lnTo>
                <a:lnTo>
                  <a:pt x="3823" y="412"/>
                </a:lnTo>
                <a:lnTo>
                  <a:pt x="3823" y="414"/>
                </a:lnTo>
                <a:close/>
                <a:moveTo>
                  <a:pt x="3987" y="253"/>
                </a:moveTo>
                <a:lnTo>
                  <a:pt x="3986" y="253"/>
                </a:lnTo>
                <a:lnTo>
                  <a:pt x="3985" y="254"/>
                </a:lnTo>
                <a:lnTo>
                  <a:pt x="3986" y="254"/>
                </a:lnTo>
                <a:lnTo>
                  <a:pt x="3987" y="253"/>
                </a:lnTo>
                <a:close/>
                <a:moveTo>
                  <a:pt x="3815" y="420"/>
                </a:moveTo>
                <a:lnTo>
                  <a:pt x="3815" y="420"/>
                </a:lnTo>
                <a:lnTo>
                  <a:pt x="3815" y="422"/>
                </a:lnTo>
                <a:lnTo>
                  <a:pt x="3817" y="423"/>
                </a:lnTo>
                <a:lnTo>
                  <a:pt x="3815" y="421"/>
                </a:lnTo>
                <a:lnTo>
                  <a:pt x="3815" y="420"/>
                </a:lnTo>
                <a:close/>
                <a:moveTo>
                  <a:pt x="3817" y="423"/>
                </a:moveTo>
                <a:lnTo>
                  <a:pt x="3817" y="423"/>
                </a:lnTo>
                <a:lnTo>
                  <a:pt x="3817" y="423"/>
                </a:lnTo>
                <a:lnTo>
                  <a:pt x="3817" y="423"/>
                </a:lnTo>
                <a:close/>
                <a:moveTo>
                  <a:pt x="3818" y="425"/>
                </a:moveTo>
                <a:lnTo>
                  <a:pt x="3817" y="423"/>
                </a:lnTo>
                <a:lnTo>
                  <a:pt x="3816" y="423"/>
                </a:lnTo>
                <a:lnTo>
                  <a:pt x="3818" y="425"/>
                </a:lnTo>
                <a:close/>
                <a:moveTo>
                  <a:pt x="3859" y="292"/>
                </a:moveTo>
                <a:lnTo>
                  <a:pt x="3862" y="293"/>
                </a:lnTo>
                <a:lnTo>
                  <a:pt x="3862" y="293"/>
                </a:lnTo>
                <a:lnTo>
                  <a:pt x="3859" y="292"/>
                </a:lnTo>
                <a:close/>
                <a:moveTo>
                  <a:pt x="3858" y="299"/>
                </a:moveTo>
                <a:lnTo>
                  <a:pt x="3856" y="302"/>
                </a:lnTo>
                <a:lnTo>
                  <a:pt x="3860" y="302"/>
                </a:lnTo>
                <a:lnTo>
                  <a:pt x="3865" y="301"/>
                </a:lnTo>
                <a:lnTo>
                  <a:pt x="3863" y="300"/>
                </a:lnTo>
                <a:lnTo>
                  <a:pt x="3858" y="299"/>
                </a:lnTo>
                <a:close/>
                <a:moveTo>
                  <a:pt x="3780" y="327"/>
                </a:moveTo>
                <a:lnTo>
                  <a:pt x="3780" y="327"/>
                </a:lnTo>
                <a:lnTo>
                  <a:pt x="3775" y="327"/>
                </a:lnTo>
                <a:lnTo>
                  <a:pt x="3778" y="329"/>
                </a:lnTo>
                <a:lnTo>
                  <a:pt x="3779" y="328"/>
                </a:lnTo>
                <a:lnTo>
                  <a:pt x="3779" y="327"/>
                </a:lnTo>
                <a:lnTo>
                  <a:pt x="3780" y="327"/>
                </a:lnTo>
                <a:close/>
                <a:moveTo>
                  <a:pt x="2910" y="1091"/>
                </a:moveTo>
                <a:lnTo>
                  <a:pt x="2906" y="1095"/>
                </a:lnTo>
                <a:lnTo>
                  <a:pt x="2913" y="1097"/>
                </a:lnTo>
                <a:lnTo>
                  <a:pt x="2910" y="1091"/>
                </a:lnTo>
                <a:close/>
                <a:moveTo>
                  <a:pt x="2765" y="1014"/>
                </a:moveTo>
                <a:lnTo>
                  <a:pt x="2765" y="1010"/>
                </a:lnTo>
                <a:lnTo>
                  <a:pt x="2761" y="1012"/>
                </a:lnTo>
                <a:lnTo>
                  <a:pt x="2765" y="1014"/>
                </a:lnTo>
                <a:close/>
                <a:moveTo>
                  <a:pt x="2752" y="1049"/>
                </a:moveTo>
                <a:lnTo>
                  <a:pt x="2754" y="1047"/>
                </a:lnTo>
                <a:lnTo>
                  <a:pt x="2753" y="1042"/>
                </a:lnTo>
                <a:lnTo>
                  <a:pt x="2748" y="1042"/>
                </a:lnTo>
                <a:lnTo>
                  <a:pt x="2739" y="1049"/>
                </a:lnTo>
                <a:lnTo>
                  <a:pt x="2735" y="1049"/>
                </a:lnTo>
                <a:lnTo>
                  <a:pt x="2734" y="1047"/>
                </a:lnTo>
                <a:lnTo>
                  <a:pt x="2732" y="1053"/>
                </a:lnTo>
                <a:lnTo>
                  <a:pt x="2734" y="1053"/>
                </a:lnTo>
                <a:lnTo>
                  <a:pt x="2737" y="1058"/>
                </a:lnTo>
                <a:lnTo>
                  <a:pt x="2735" y="1065"/>
                </a:lnTo>
                <a:lnTo>
                  <a:pt x="2739" y="1065"/>
                </a:lnTo>
                <a:lnTo>
                  <a:pt x="2737" y="1068"/>
                </a:lnTo>
                <a:lnTo>
                  <a:pt x="2735" y="1072"/>
                </a:lnTo>
                <a:lnTo>
                  <a:pt x="2737" y="1077"/>
                </a:lnTo>
                <a:lnTo>
                  <a:pt x="2735" y="1077"/>
                </a:lnTo>
                <a:lnTo>
                  <a:pt x="2735" y="1081"/>
                </a:lnTo>
                <a:lnTo>
                  <a:pt x="2737" y="1079"/>
                </a:lnTo>
                <a:lnTo>
                  <a:pt x="2737" y="1079"/>
                </a:lnTo>
                <a:lnTo>
                  <a:pt x="2741" y="1081"/>
                </a:lnTo>
                <a:lnTo>
                  <a:pt x="2743" y="1081"/>
                </a:lnTo>
                <a:lnTo>
                  <a:pt x="2743" y="1080"/>
                </a:lnTo>
                <a:lnTo>
                  <a:pt x="2743" y="1075"/>
                </a:lnTo>
                <a:lnTo>
                  <a:pt x="2752" y="1079"/>
                </a:lnTo>
                <a:lnTo>
                  <a:pt x="2753" y="1062"/>
                </a:lnTo>
                <a:lnTo>
                  <a:pt x="2753" y="1058"/>
                </a:lnTo>
                <a:lnTo>
                  <a:pt x="2756" y="1054"/>
                </a:lnTo>
                <a:lnTo>
                  <a:pt x="2753" y="1049"/>
                </a:lnTo>
                <a:lnTo>
                  <a:pt x="2752" y="1049"/>
                </a:lnTo>
                <a:close/>
                <a:moveTo>
                  <a:pt x="3002" y="1116"/>
                </a:moveTo>
                <a:lnTo>
                  <a:pt x="3003" y="1115"/>
                </a:lnTo>
                <a:lnTo>
                  <a:pt x="3000" y="1114"/>
                </a:lnTo>
                <a:lnTo>
                  <a:pt x="3002" y="1116"/>
                </a:lnTo>
                <a:close/>
                <a:moveTo>
                  <a:pt x="2670" y="1061"/>
                </a:moveTo>
                <a:lnTo>
                  <a:pt x="2670" y="1063"/>
                </a:lnTo>
                <a:lnTo>
                  <a:pt x="2675" y="1066"/>
                </a:lnTo>
                <a:lnTo>
                  <a:pt x="2675" y="1064"/>
                </a:lnTo>
                <a:lnTo>
                  <a:pt x="2674" y="1061"/>
                </a:lnTo>
                <a:lnTo>
                  <a:pt x="2670" y="1061"/>
                </a:lnTo>
                <a:close/>
                <a:moveTo>
                  <a:pt x="2911" y="1083"/>
                </a:moveTo>
                <a:lnTo>
                  <a:pt x="2910" y="1082"/>
                </a:lnTo>
                <a:lnTo>
                  <a:pt x="2910" y="1082"/>
                </a:lnTo>
                <a:lnTo>
                  <a:pt x="2910" y="1087"/>
                </a:lnTo>
                <a:lnTo>
                  <a:pt x="2911" y="1086"/>
                </a:lnTo>
                <a:lnTo>
                  <a:pt x="2911" y="1083"/>
                </a:lnTo>
                <a:close/>
                <a:moveTo>
                  <a:pt x="2945" y="1126"/>
                </a:moveTo>
                <a:lnTo>
                  <a:pt x="2945" y="1128"/>
                </a:lnTo>
                <a:lnTo>
                  <a:pt x="2944" y="1129"/>
                </a:lnTo>
                <a:lnTo>
                  <a:pt x="2947" y="1129"/>
                </a:lnTo>
                <a:lnTo>
                  <a:pt x="2947" y="1127"/>
                </a:lnTo>
                <a:lnTo>
                  <a:pt x="2946" y="1127"/>
                </a:lnTo>
                <a:lnTo>
                  <a:pt x="2945" y="1126"/>
                </a:lnTo>
                <a:close/>
                <a:moveTo>
                  <a:pt x="2911" y="1102"/>
                </a:moveTo>
                <a:lnTo>
                  <a:pt x="2913" y="1103"/>
                </a:lnTo>
                <a:lnTo>
                  <a:pt x="2914" y="1103"/>
                </a:lnTo>
                <a:lnTo>
                  <a:pt x="2917" y="1103"/>
                </a:lnTo>
                <a:lnTo>
                  <a:pt x="2911" y="1099"/>
                </a:lnTo>
                <a:lnTo>
                  <a:pt x="2911" y="1102"/>
                </a:lnTo>
                <a:close/>
                <a:moveTo>
                  <a:pt x="2978" y="1104"/>
                </a:moveTo>
                <a:lnTo>
                  <a:pt x="2976" y="1103"/>
                </a:lnTo>
                <a:lnTo>
                  <a:pt x="2974" y="1103"/>
                </a:lnTo>
                <a:lnTo>
                  <a:pt x="2978" y="1106"/>
                </a:lnTo>
                <a:lnTo>
                  <a:pt x="2978" y="1104"/>
                </a:lnTo>
                <a:close/>
                <a:moveTo>
                  <a:pt x="2739" y="1033"/>
                </a:moveTo>
                <a:lnTo>
                  <a:pt x="2742" y="1033"/>
                </a:lnTo>
                <a:lnTo>
                  <a:pt x="2743" y="1033"/>
                </a:lnTo>
                <a:lnTo>
                  <a:pt x="2743" y="1033"/>
                </a:lnTo>
                <a:lnTo>
                  <a:pt x="2743" y="1035"/>
                </a:lnTo>
                <a:lnTo>
                  <a:pt x="2749" y="1039"/>
                </a:lnTo>
                <a:lnTo>
                  <a:pt x="2750" y="1033"/>
                </a:lnTo>
                <a:lnTo>
                  <a:pt x="2753" y="1027"/>
                </a:lnTo>
                <a:lnTo>
                  <a:pt x="2754" y="1024"/>
                </a:lnTo>
                <a:lnTo>
                  <a:pt x="2753" y="1009"/>
                </a:lnTo>
                <a:lnTo>
                  <a:pt x="2750" y="1009"/>
                </a:lnTo>
                <a:lnTo>
                  <a:pt x="2749" y="1017"/>
                </a:lnTo>
                <a:lnTo>
                  <a:pt x="2747" y="1017"/>
                </a:lnTo>
                <a:lnTo>
                  <a:pt x="2742" y="1019"/>
                </a:lnTo>
                <a:lnTo>
                  <a:pt x="2739" y="1022"/>
                </a:lnTo>
                <a:lnTo>
                  <a:pt x="2742" y="1025"/>
                </a:lnTo>
                <a:lnTo>
                  <a:pt x="2739" y="1025"/>
                </a:lnTo>
                <a:lnTo>
                  <a:pt x="2739" y="1025"/>
                </a:lnTo>
                <a:lnTo>
                  <a:pt x="2739" y="1027"/>
                </a:lnTo>
                <a:lnTo>
                  <a:pt x="2739" y="1033"/>
                </a:lnTo>
                <a:close/>
                <a:moveTo>
                  <a:pt x="2858" y="1013"/>
                </a:moveTo>
                <a:lnTo>
                  <a:pt x="2859" y="1015"/>
                </a:lnTo>
                <a:lnTo>
                  <a:pt x="2859" y="1013"/>
                </a:lnTo>
                <a:lnTo>
                  <a:pt x="2858" y="1013"/>
                </a:lnTo>
                <a:close/>
                <a:moveTo>
                  <a:pt x="2846" y="1011"/>
                </a:moveTo>
                <a:lnTo>
                  <a:pt x="2850" y="1010"/>
                </a:lnTo>
                <a:lnTo>
                  <a:pt x="2846" y="1010"/>
                </a:lnTo>
                <a:lnTo>
                  <a:pt x="2846" y="1011"/>
                </a:lnTo>
                <a:close/>
                <a:moveTo>
                  <a:pt x="2859" y="1015"/>
                </a:moveTo>
                <a:lnTo>
                  <a:pt x="2855" y="1014"/>
                </a:lnTo>
                <a:lnTo>
                  <a:pt x="2858" y="1017"/>
                </a:lnTo>
                <a:lnTo>
                  <a:pt x="2863" y="1017"/>
                </a:lnTo>
                <a:lnTo>
                  <a:pt x="2859" y="1016"/>
                </a:lnTo>
                <a:lnTo>
                  <a:pt x="2859" y="1015"/>
                </a:lnTo>
                <a:close/>
                <a:moveTo>
                  <a:pt x="2858" y="1010"/>
                </a:moveTo>
                <a:lnTo>
                  <a:pt x="2861" y="1010"/>
                </a:lnTo>
                <a:lnTo>
                  <a:pt x="2863" y="1009"/>
                </a:lnTo>
                <a:lnTo>
                  <a:pt x="2860" y="1009"/>
                </a:lnTo>
                <a:lnTo>
                  <a:pt x="2852" y="1009"/>
                </a:lnTo>
                <a:lnTo>
                  <a:pt x="2857" y="1010"/>
                </a:lnTo>
                <a:lnTo>
                  <a:pt x="2858" y="1010"/>
                </a:lnTo>
                <a:close/>
                <a:moveTo>
                  <a:pt x="2634" y="1086"/>
                </a:moveTo>
                <a:lnTo>
                  <a:pt x="2636" y="1086"/>
                </a:lnTo>
                <a:lnTo>
                  <a:pt x="2634" y="1084"/>
                </a:lnTo>
                <a:lnTo>
                  <a:pt x="2634" y="1086"/>
                </a:lnTo>
                <a:close/>
                <a:moveTo>
                  <a:pt x="2815" y="1048"/>
                </a:moveTo>
                <a:lnTo>
                  <a:pt x="2815" y="1050"/>
                </a:lnTo>
                <a:lnTo>
                  <a:pt x="2816" y="1050"/>
                </a:lnTo>
                <a:lnTo>
                  <a:pt x="2815" y="1048"/>
                </a:lnTo>
                <a:close/>
                <a:moveTo>
                  <a:pt x="2630" y="1080"/>
                </a:moveTo>
                <a:lnTo>
                  <a:pt x="2633" y="1082"/>
                </a:lnTo>
                <a:lnTo>
                  <a:pt x="2637" y="1080"/>
                </a:lnTo>
                <a:lnTo>
                  <a:pt x="2637" y="1079"/>
                </a:lnTo>
                <a:lnTo>
                  <a:pt x="2633" y="1080"/>
                </a:lnTo>
                <a:lnTo>
                  <a:pt x="2630" y="1080"/>
                </a:lnTo>
                <a:close/>
                <a:moveTo>
                  <a:pt x="2659" y="1065"/>
                </a:moveTo>
                <a:lnTo>
                  <a:pt x="2656" y="1065"/>
                </a:lnTo>
                <a:lnTo>
                  <a:pt x="2646" y="1069"/>
                </a:lnTo>
                <a:lnTo>
                  <a:pt x="2646" y="1071"/>
                </a:lnTo>
                <a:lnTo>
                  <a:pt x="2651" y="1069"/>
                </a:lnTo>
                <a:lnTo>
                  <a:pt x="2653" y="1072"/>
                </a:lnTo>
                <a:lnTo>
                  <a:pt x="2659" y="1075"/>
                </a:lnTo>
                <a:lnTo>
                  <a:pt x="2660" y="1073"/>
                </a:lnTo>
                <a:lnTo>
                  <a:pt x="2665" y="1069"/>
                </a:lnTo>
                <a:lnTo>
                  <a:pt x="2660" y="1069"/>
                </a:lnTo>
                <a:lnTo>
                  <a:pt x="2659" y="1065"/>
                </a:lnTo>
                <a:close/>
                <a:moveTo>
                  <a:pt x="2859" y="1015"/>
                </a:moveTo>
                <a:lnTo>
                  <a:pt x="2859" y="1015"/>
                </a:lnTo>
                <a:lnTo>
                  <a:pt x="2859" y="1015"/>
                </a:lnTo>
                <a:lnTo>
                  <a:pt x="2859" y="1015"/>
                </a:lnTo>
                <a:close/>
                <a:moveTo>
                  <a:pt x="2978" y="1116"/>
                </a:moveTo>
                <a:lnTo>
                  <a:pt x="2979" y="1115"/>
                </a:lnTo>
                <a:lnTo>
                  <a:pt x="2978" y="1115"/>
                </a:lnTo>
                <a:lnTo>
                  <a:pt x="2978" y="1116"/>
                </a:lnTo>
                <a:close/>
                <a:moveTo>
                  <a:pt x="2988" y="1105"/>
                </a:moveTo>
                <a:lnTo>
                  <a:pt x="2988" y="1106"/>
                </a:lnTo>
                <a:lnTo>
                  <a:pt x="2991" y="1105"/>
                </a:lnTo>
                <a:lnTo>
                  <a:pt x="2995" y="1103"/>
                </a:lnTo>
                <a:lnTo>
                  <a:pt x="2989" y="1104"/>
                </a:lnTo>
                <a:lnTo>
                  <a:pt x="2988" y="1105"/>
                </a:lnTo>
                <a:close/>
                <a:moveTo>
                  <a:pt x="2980" y="1119"/>
                </a:moveTo>
                <a:lnTo>
                  <a:pt x="2978" y="1118"/>
                </a:lnTo>
                <a:lnTo>
                  <a:pt x="2980" y="1121"/>
                </a:lnTo>
                <a:lnTo>
                  <a:pt x="2980" y="1119"/>
                </a:lnTo>
                <a:close/>
                <a:moveTo>
                  <a:pt x="2980" y="1111"/>
                </a:moveTo>
                <a:lnTo>
                  <a:pt x="2980" y="1111"/>
                </a:lnTo>
                <a:lnTo>
                  <a:pt x="2980" y="1111"/>
                </a:lnTo>
                <a:lnTo>
                  <a:pt x="2979" y="1114"/>
                </a:lnTo>
                <a:lnTo>
                  <a:pt x="2980" y="1114"/>
                </a:lnTo>
                <a:lnTo>
                  <a:pt x="2980" y="1114"/>
                </a:lnTo>
                <a:lnTo>
                  <a:pt x="2979" y="1115"/>
                </a:lnTo>
                <a:lnTo>
                  <a:pt x="2980" y="1116"/>
                </a:lnTo>
                <a:lnTo>
                  <a:pt x="2984" y="1115"/>
                </a:lnTo>
                <a:lnTo>
                  <a:pt x="2980" y="1111"/>
                </a:lnTo>
                <a:close/>
                <a:moveTo>
                  <a:pt x="2980" y="1106"/>
                </a:moveTo>
                <a:lnTo>
                  <a:pt x="2978" y="1106"/>
                </a:lnTo>
                <a:lnTo>
                  <a:pt x="2980" y="1108"/>
                </a:lnTo>
                <a:lnTo>
                  <a:pt x="2980" y="1106"/>
                </a:lnTo>
                <a:close/>
                <a:moveTo>
                  <a:pt x="2978" y="1064"/>
                </a:moveTo>
                <a:lnTo>
                  <a:pt x="2978" y="1063"/>
                </a:lnTo>
                <a:lnTo>
                  <a:pt x="2980" y="1067"/>
                </a:lnTo>
                <a:lnTo>
                  <a:pt x="2980" y="1061"/>
                </a:lnTo>
                <a:lnTo>
                  <a:pt x="2976" y="1063"/>
                </a:lnTo>
                <a:lnTo>
                  <a:pt x="2976" y="1064"/>
                </a:lnTo>
                <a:lnTo>
                  <a:pt x="2978" y="1067"/>
                </a:lnTo>
                <a:lnTo>
                  <a:pt x="2978" y="1064"/>
                </a:lnTo>
                <a:close/>
                <a:moveTo>
                  <a:pt x="2980" y="1125"/>
                </a:moveTo>
                <a:lnTo>
                  <a:pt x="2980" y="1126"/>
                </a:lnTo>
                <a:lnTo>
                  <a:pt x="2981" y="1125"/>
                </a:lnTo>
                <a:lnTo>
                  <a:pt x="2980" y="1125"/>
                </a:lnTo>
                <a:close/>
                <a:moveTo>
                  <a:pt x="2981" y="1086"/>
                </a:moveTo>
                <a:lnTo>
                  <a:pt x="2981" y="1087"/>
                </a:lnTo>
                <a:lnTo>
                  <a:pt x="2984" y="1086"/>
                </a:lnTo>
                <a:lnTo>
                  <a:pt x="2981" y="1086"/>
                </a:lnTo>
                <a:close/>
                <a:moveTo>
                  <a:pt x="2978" y="1118"/>
                </a:moveTo>
                <a:lnTo>
                  <a:pt x="2978" y="1116"/>
                </a:lnTo>
                <a:lnTo>
                  <a:pt x="2976" y="1118"/>
                </a:lnTo>
                <a:lnTo>
                  <a:pt x="2978" y="1118"/>
                </a:lnTo>
                <a:close/>
                <a:moveTo>
                  <a:pt x="2991" y="1080"/>
                </a:moveTo>
                <a:lnTo>
                  <a:pt x="2993" y="1081"/>
                </a:lnTo>
                <a:lnTo>
                  <a:pt x="2998" y="1081"/>
                </a:lnTo>
                <a:lnTo>
                  <a:pt x="2997" y="1078"/>
                </a:lnTo>
                <a:lnTo>
                  <a:pt x="2995" y="1075"/>
                </a:lnTo>
                <a:lnTo>
                  <a:pt x="2992" y="1073"/>
                </a:lnTo>
                <a:lnTo>
                  <a:pt x="2987" y="1076"/>
                </a:lnTo>
                <a:lnTo>
                  <a:pt x="2989" y="1078"/>
                </a:lnTo>
                <a:lnTo>
                  <a:pt x="2991" y="1080"/>
                </a:lnTo>
                <a:close/>
                <a:moveTo>
                  <a:pt x="2992" y="1061"/>
                </a:moveTo>
                <a:lnTo>
                  <a:pt x="2992" y="1059"/>
                </a:lnTo>
                <a:lnTo>
                  <a:pt x="2988" y="1059"/>
                </a:lnTo>
                <a:lnTo>
                  <a:pt x="2988" y="1060"/>
                </a:lnTo>
                <a:lnTo>
                  <a:pt x="2987" y="1061"/>
                </a:lnTo>
                <a:lnTo>
                  <a:pt x="2988" y="1061"/>
                </a:lnTo>
                <a:lnTo>
                  <a:pt x="2992" y="1061"/>
                </a:lnTo>
                <a:close/>
                <a:moveTo>
                  <a:pt x="2993" y="1067"/>
                </a:moveTo>
                <a:lnTo>
                  <a:pt x="2993" y="1069"/>
                </a:lnTo>
                <a:lnTo>
                  <a:pt x="2993" y="1069"/>
                </a:lnTo>
                <a:lnTo>
                  <a:pt x="2993" y="1066"/>
                </a:lnTo>
                <a:lnTo>
                  <a:pt x="2992" y="1066"/>
                </a:lnTo>
                <a:lnTo>
                  <a:pt x="2993" y="1067"/>
                </a:lnTo>
                <a:close/>
                <a:moveTo>
                  <a:pt x="2989" y="1095"/>
                </a:moveTo>
                <a:lnTo>
                  <a:pt x="2992" y="1093"/>
                </a:lnTo>
                <a:lnTo>
                  <a:pt x="2992" y="1087"/>
                </a:lnTo>
                <a:lnTo>
                  <a:pt x="2987" y="1087"/>
                </a:lnTo>
                <a:lnTo>
                  <a:pt x="2988" y="1092"/>
                </a:lnTo>
                <a:lnTo>
                  <a:pt x="2987" y="1093"/>
                </a:lnTo>
                <a:lnTo>
                  <a:pt x="2989" y="1095"/>
                </a:lnTo>
                <a:close/>
                <a:moveTo>
                  <a:pt x="2985" y="1125"/>
                </a:moveTo>
                <a:lnTo>
                  <a:pt x="2985" y="1126"/>
                </a:lnTo>
                <a:lnTo>
                  <a:pt x="2987" y="1126"/>
                </a:lnTo>
                <a:lnTo>
                  <a:pt x="2985" y="1125"/>
                </a:lnTo>
                <a:lnTo>
                  <a:pt x="2985" y="1125"/>
                </a:lnTo>
                <a:close/>
                <a:moveTo>
                  <a:pt x="2985" y="1056"/>
                </a:moveTo>
                <a:lnTo>
                  <a:pt x="2984" y="1053"/>
                </a:lnTo>
                <a:lnTo>
                  <a:pt x="2980" y="1053"/>
                </a:lnTo>
                <a:lnTo>
                  <a:pt x="2984" y="1056"/>
                </a:lnTo>
                <a:lnTo>
                  <a:pt x="2985" y="1056"/>
                </a:lnTo>
                <a:close/>
                <a:moveTo>
                  <a:pt x="2988" y="1118"/>
                </a:moveTo>
                <a:lnTo>
                  <a:pt x="2985" y="1118"/>
                </a:lnTo>
                <a:lnTo>
                  <a:pt x="2987" y="1119"/>
                </a:lnTo>
                <a:lnTo>
                  <a:pt x="2988" y="1118"/>
                </a:lnTo>
                <a:close/>
                <a:moveTo>
                  <a:pt x="2874" y="1014"/>
                </a:moveTo>
                <a:lnTo>
                  <a:pt x="2874" y="1015"/>
                </a:lnTo>
                <a:lnTo>
                  <a:pt x="2875" y="1015"/>
                </a:lnTo>
                <a:lnTo>
                  <a:pt x="2875" y="1015"/>
                </a:lnTo>
                <a:lnTo>
                  <a:pt x="2874" y="1014"/>
                </a:lnTo>
                <a:close/>
                <a:moveTo>
                  <a:pt x="2966" y="1102"/>
                </a:moveTo>
                <a:lnTo>
                  <a:pt x="2964" y="1098"/>
                </a:lnTo>
                <a:lnTo>
                  <a:pt x="2964" y="1102"/>
                </a:lnTo>
                <a:lnTo>
                  <a:pt x="2966" y="1102"/>
                </a:lnTo>
                <a:close/>
                <a:moveTo>
                  <a:pt x="2948" y="1125"/>
                </a:moveTo>
                <a:lnTo>
                  <a:pt x="2948" y="1125"/>
                </a:lnTo>
                <a:lnTo>
                  <a:pt x="2947" y="1124"/>
                </a:lnTo>
                <a:lnTo>
                  <a:pt x="2948" y="1125"/>
                </a:lnTo>
                <a:lnTo>
                  <a:pt x="2948" y="1125"/>
                </a:lnTo>
                <a:close/>
                <a:moveTo>
                  <a:pt x="2947" y="1078"/>
                </a:moveTo>
                <a:lnTo>
                  <a:pt x="2947" y="1078"/>
                </a:lnTo>
                <a:lnTo>
                  <a:pt x="2947" y="1078"/>
                </a:lnTo>
                <a:lnTo>
                  <a:pt x="2947" y="1078"/>
                </a:lnTo>
                <a:lnTo>
                  <a:pt x="2947" y="1078"/>
                </a:lnTo>
                <a:close/>
                <a:moveTo>
                  <a:pt x="2929" y="1094"/>
                </a:moveTo>
                <a:lnTo>
                  <a:pt x="2924" y="1096"/>
                </a:lnTo>
                <a:lnTo>
                  <a:pt x="2919" y="1093"/>
                </a:lnTo>
                <a:lnTo>
                  <a:pt x="2919" y="1097"/>
                </a:lnTo>
                <a:lnTo>
                  <a:pt x="2916" y="1099"/>
                </a:lnTo>
                <a:lnTo>
                  <a:pt x="2923" y="1108"/>
                </a:lnTo>
                <a:lnTo>
                  <a:pt x="2923" y="1110"/>
                </a:lnTo>
                <a:lnTo>
                  <a:pt x="2922" y="1114"/>
                </a:lnTo>
                <a:lnTo>
                  <a:pt x="2923" y="1116"/>
                </a:lnTo>
                <a:lnTo>
                  <a:pt x="2923" y="1118"/>
                </a:lnTo>
                <a:lnTo>
                  <a:pt x="2928" y="1119"/>
                </a:lnTo>
                <a:lnTo>
                  <a:pt x="2930" y="1119"/>
                </a:lnTo>
                <a:lnTo>
                  <a:pt x="2929" y="1118"/>
                </a:lnTo>
                <a:lnTo>
                  <a:pt x="2932" y="1118"/>
                </a:lnTo>
                <a:lnTo>
                  <a:pt x="2935" y="1126"/>
                </a:lnTo>
                <a:lnTo>
                  <a:pt x="2935" y="1121"/>
                </a:lnTo>
                <a:lnTo>
                  <a:pt x="2939" y="1118"/>
                </a:lnTo>
                <a:lnTo>
                  <a:pt x="2943" y="1118"/>
                </a:lnTo>
                <a:lnTo>
                  <a:pt x="2945" y="1123"/>
                </a:lnTo>
                <a:lnTo>
                  <a:pt x="2947" y="1124"/>
                </a:lnTo>
                <a:lnTo>
                  <a:pt x="2945" y="1121"/>
                </a:lnTo>
                <a:lnTo>
                  <a:pt x="2946" y="1120"/>
                </a:lnTo>
                <a:lnTo>
                  <a:pt x="2947" y="1119"/>
                </a:lnTo>
                <a:lnTo>
                  <a:pt x="2943" y="1104"/>
                </a:lnTo>
                <a:lnTo>
                  <a:pt x="2947" y="1108"/>
                </a:lnTo>
                <a:lnTo>
                  <a:pt x="2948" y="1109"/>
                </a:lnTo>
                <a:lnTo>
                  <a:pt x="2948" y="1111"/>
                </a:lnTo>
                <a:lnTo>
                  <a:pt x="2951" y="1110"/>
                </a:lnTo>
                <a:lnTo>
                  <a:pt x="2954" y="1110"/>
                </a:lnTo>
                <a:lnTo>
                  <a:pt x="2952" y="1106"/>
                </a:lnTo>
                <a:lnTo>
                  <a:pt x="2948" y="1106"/>
                </a:lnTo>
                <a:lnTo>
                  <a:pt x="2948" y="1106"/>
                </a:lnTo>
                <a:lnTo>
                  <a:pt x="2947" y="1104"/>
                </a:lnTo>
                <a:lnTo>
                  <a:pt x="2947" y="1103"/>
                </a:lnTo>
                <a:lnTo>
                  <a:pt x="2947" y="1102"/>
                </a:lnTo>
                <a:lnTo>
                  <a:pt x="2945" y="1102"/>
                </a:lnTo>
                <a:lnTo>
                  <a:pt x="2944" y="1102"/>
                </a:lnTo>
                <a:lnTo>
                  <a:pt x="2929" y="1094"/>
                </a:lnTo>
                <a:close/>
                <a:moveTo>
                  <a:pt x="2956" y="1063"/>
                </a:moveTo>
                <a:lnTo>
                  <a:pt x="2953" y="1061"/>
                </a:lnTo>
                <a:lnTo>
                  <a:pt x="2951" y="1061"/>
                </a:lnTo>
                <a:lnTo>
                  <a:pt x="2952" y="1063"/>
                </a:lnTo>
                <a:lnTo>
                  <a:pt x="2956" y="1063"/>
                </a:lnTo>
                <a:close/>
                <a:moveTo>
                  <a:pt x="2899" y="1067"/>
                </a:moveTo>
                <a:lnTo>
                  <a:pt x="2898" y="1064"/>
                </a:lnTo>
                <a:lnTo>
                  <a:pt x="2897" y="1067"/>
                </a:lnTo>
                <a:lnTo>
                  <a:pt x="2897" y="1068"/>
                </a:lnTo>
                <a:lnTo>
                  <a:pt x="2899" y="1071"/>
                </a:lnTo>
                <a:lnTo>
                  <a:pt x="2898" y="1068"/>
                </a:lnTo>
                <a:lnTo>
                  <a:pt x="2899" y="1067"/>
                </a:lnTo>
                <a:close/>
                <a:moveTo>
                  <a:pt x="2902" y="1069"/>
                </a:moveTo>
                <a:lnTo>
                  <a:pt x="2903" y="1069"/>
                </a:lnTo>
                <a:lnTo>
                  <a:pt x="2903" y="1069"/>
                </a:lnTo>
                <a:lnTo>
                  <a:pt x="2902" y="1069"/>
                </a:lnTo>
                <a:close/>
                <a:moveTo>
                  <a:pt x="2899" y="1071"/>
                </a:moveTo>
                <a:lnTo>
                  <a:pt x="2903" y="1073"/>
                </a:lnTo>
                <a:lnTo>
                  <a:pt x="2903" y="1072"/>
                </a:lnTo>
                <a:lnTo>
                  <a:pt x="2902" y="1071"/>
                </a:lnTo>
                <a:lnTo>
                  <a:pt x="2899" y="1071"/>
                </a:lnTo>
                <a:close/>
                <a:moveTo>
                  <a:pt x="3002" y="1120"/>
                </a:moveTo>
                <a:lnTo>
                  <a:pt x="3006" y="1119"/>
                </a:lnTo>
                <a:lnTo>
                  <a:pt x="3007" y="1118"/>
                </a:lnTo>
                <a:lnTo>
                  <a:pt x="3003" y="1118"/>
                </a:lnTo>
                <a:lnTo>
                  <a:pt x="3002" y="1120"/>
                </a:lnTo>
                <a:close/>
                <a:moveTo>
                  <a:pt x="2698" y="670"/>
                </a:moveTo>
                <a:lnTo>
                  <a:pt x="2699" y="669"/>
                </a:lnTo>
                <a:lnTo>
                  <a:pt x="2698" y="669"/>
                </a:lnTo>
                <a:lnTo>
                  <a:pt x="2698" y="670"/>
                </a:lnTo>
                <a:close/>
                <a:moveTo>
                  <a:pt x="3022" y="1124"/>
                </a:moveTo>
                <a:lnTo>
                  <a:pt x="3020" y="1125"/>
                </a:lnTo>
                <a:lnTo>
                  <a:pt x="3023" y="1122"/>
                </a:lnTo>
                <a:lnTo>
                  <a:pt x="3021" y="1122"/>
                </a:lnTo>
                <a:lnTo>
                  <a:pt x="3022" y="1124"/>
                </a:lnTo>
                <a:close/>
                <a:moveTo>
                  <a:pt x="2735" y="608"/>
                </a:moveTo>
                <a:lnTo>
                  <a:pt x="2735" y="609"/>
                </a:lnTo>
                <a:lnTo>
                  <a:pt x="2735" y="608"/>
                </a:lnTo>
                <a:lnTo>
                  <a:pt x="2735" y="608"/>
                </a:lnTo>
                <a:close/>
                <a:moveTo>
                  <a:pt x="4257" y="266"/>
                </a:moveTo>
                <a:lnTo>
                  <a:pt x="4257" y="266"/>
                </a:lnTo>
                <a:lnTo>
                  <a:pt x="4258" y="266"/>
                </a:lnTo>
                <a:lnTo>
                  <a:pt x="4257" y="266"/>
                </a:lnTo>
                <a:close/>
                <a:moveTo>
                  <a:pt x="2996" y="1089"/>
                </a:moveTo>
                <a:lnTo>
                  <a:pt x="2996" y="1094"/>
                </a:lnTo>
                <a:lnTo>
                  <a:pt x="2992" y="1094"/>
                </a:lnTo>
                <a:lnTo>
                  <a:pt x="2992" y="1095"/>
                </a:lnTo>
                <a:lnTo>
                  <a:pt x="3001" y="1098"/>
                </a:lnTo>
                <a:lnTo>
                  <a:pt x="3001" y="1098"/>
                </a:lnTo>
                <a:lnTo>
                  <a:pt x="3001" y="1098"/>
                </a:lnTo>
                <a:lnTo>
                  <a:pt x="3002" y="1096"/>
                </a:lnTo>
                <a:lnTo>
                  <a:pt x="3002" y="1095"/>
                </a:lnTo>
                <a:lnTo>
                  <a:pt x="3000" y="1089"/>
                </a:lnTo>
                <a:lnTo>
                  <a:pt x="2996" y="1089"/>
                </a:lnTo>
                <a:close/>
                <a:moveTo>
                  <a:pt x="3002" y="1095"/>
                </a:moveTo>
                <a:lnTo>
                  <a:pt x="3003" y="1095"/>
                </a:lnTo>
                <a:lnTo>
                  <a:pt x="3003" y="1095"/>
                </a:lnTo>
                <a:lnTo>
                  <a:pt x="3002" y="1095"/>
                </a:lnTo>
                <a:lnTo>
                  <a:pt x="3002" y="1095"/>
                </a:lnTo>
                <a:close/>
                <a:moveTo>
                  <a:pt x="2882" y="1021"/>
                </a:moveTo>
                <a:lnTo>
                  <a:pt x="2882" y="1021"/>
                </a:lnTo>
                <a:lnTo>
                  <a:pt x="2882" y="1021"/>
                </a:lnTo>
                <a:lnTo>
                  <a:pt x="2882" y="1021"/>
                </a:lnTo>
                <a:close/>
                <a:moveTo>
                  <a:pt x="3008" y="1118"/>
                </a:moveTo>
                <a:lnTo>
                  <a:pt x="3007" y="1118"/>
                </a:lnTo>
                <a:lnTo>
                  <a:pt x="3008" y="1118"/>
                </a:lnTo>
                <a:lnTo>
                  <a:pt x="3014" y="1118"/>
                </a:lnTo>
                <a:lnTo>
                  <a:pt x="3014" y="1117"/>
                </a:lnTo>
                <a:lnTo>
                  <a:pt x="3008" y="1117"/>
                </a:lnTo>
                <a:lnTo>
                  <a:pt x="3008" y="1118"/>
                </a:lnTo>
                <a:close/>
                <a:moveTo>
                  <a:pt x="2586" y="1154"/>
                </a:moveTo>
                <a:lnTo>
                  <a:pt x="2586" y="1154"/>
                </a:lnTo>
                <a:lnTo>
                  <a:pt x="2586" y="1154"/>
                </a:lnTo>
                <a:lnTo>
                  <a:pt x="2586" y="1154"/>
                </a:lnTo>
                <a:lnTo>
                  <a:pt x="2586" y="1154"/>
                </a:lnTo>
                <a:close/>
                <a:moveTo>
                  <a:pt x="2829" y="990"/>
                </a:moveTo>
                <a:lnTo>
                  <a:pt x="2834" y="995"/>
                </a:lnTo>
                <a:lnTo>
                  <a:pt x="2832" y="991"/>
                </a:lnTo>
                <a:lnTo>
                  <a:pt x="2829" y="990"/>
                </a:lnTo>
                <a:close/>
                <a:moveTo>
                  <a:pt x="2755" y="1114"/>
                </a:moveTo>
                <a:lnTo>
                  <a:pt x="2755" y="1114"/>
                </a:lnTo>
                <a:lnTo>
                  <a:pt x="2756" y="1113"/>
                </a:lnTo>
                <a:lnTo>
                  <a:pt x="2755" y="1112"/>
                </a:lnTo>
                <a:lnTo>
                  <a:pt x="2755" y="1114"/>
                </a:lnTo>
                <a:close/>
                <a:moveTo>
                  <a:pt x="2566" y="1142"/>
                </a:moveTo>
                <a:lnTo>
                  <a:pt x="2566" y="1145"/>
                </a:lnTo>
                <a:lnTo>
                  <a:pt x="2566" y="1145"/>
                </a:lnTo>
                <a:lnTo>
                  <a:pt x="2567" y="1145"/>
                </a:lnTo>
                <a:lnTo>
                  <a:pt x="2566" y="1142"/>
                </a:lnTo>
                <a:close/>
                <a:moveTo>
                  <a:pt x="3078" y="1210"/>
                </a:moveTo>
                <a:lnTo>
                  <a:pt x="3078" y="1210"/>
                </a:lnTo>
                <a:lnTo>
                  <a:pt x="3078" y="1210"/>
                </a:lnTo>
                <a:lnTo>
                  <a:pt x="3078" y="1210"/>
                </a:lnTo>
                <a:lnTo>
                  <a:pt x="3078" y="1210"/>
                </a:lnTo>
                <a:close/>
                <a:moveTo>
                  <a:pt x="2681" y="1005"/>
                </a:moveTo>
                <a:lnTo>
                  <a:pt x="2678" y="1002"/>
                </a:lnTo>
                <a:lnTo>
                  <a:pt x="2678" y="1005"/>
                </a:lnTo>
                <a:lnTo>
                  <a:pt x="2681" y="1005"/>
                </a:lnTo>
                <a:close/>
                <a:moveTo>
                  <a:pt x="2835" y="986"/>
                </a:moveTo>
                <a:lnTo>
                  <a:pt x="2827" y="980"/>
                </a:lnTo>
                <a:lnTo>
                  <a:pt x="2832" y="986"/>
                </a:lnTo>
                <a:lnTo>
                  <a:pt x="2835" y="986"/>
                </a:lnTo>
                <a:close/>
                <a:moveTo>
                  <a:pt x="2882" y="1021"/>
                </a:moveTo>
                <a:lnTo>
                  <a:pt x="2879" y="1018"/>
                </a:lnTo>
                <a:lnTo>
                  <a:pt x="2879" y="1021"/>
                </a:lnTo>
                <a:lnTo>
                  <a:pt x="2882" y="1021"/>
                </a:lnTo>
                <a:close/>
                <a:moveTo>
                  <a:pt x="2829" y="977"/>
                </a:moveTo>
                <a:lnTo>
                  <a:pt x="2823" y="971"/>
                </a:lnTo>
                <a:lnTo>
                  <a:pt x="2823" y="974"/>
                </a:lnTo>
                <a:lnTo>
                  <a:pt x="2821" y="972"/>
                </a:lnTo>
                <a:lnTo>
                  <a:pt x="2822" y="977"/>
                </a:lnTo>
                <a:lnTo>
                  <a:pt x="2821" y="977"/>
                </a:lnTo>
                <a:lnTo>
                  <a:pt x="2823" y="981"/>
                </a:lnTo>
                <a:lnTo>
                  <a:pt x="2823" y="975"/>
                </a:lnTo>
                <a:lnTo>
                  <a:pt x="2827" y="977"/>
                </a:lnTo>
                <a:lnTo>
                  <a:pt x="2829" y="977"/>
                </a:lnTo>
                <a:close/>
                <a:moveTo>
                  <a:pt x="2952" y="1078"/>
                </a:moveTo>
                <a:lnTo>
                  <a:pt x="2952" y="1078"/>
                </a:lnTo>
                <a:lnTo>
                  <a:pt x="2954" y="1076"/>
                </a:lnTo>
                <a:lnTo>
                  <a:pt x="2952" y="1076"/>
                </a:lnTo>
                <a:lnTo>
                  <a:pt x="2952" y="1078"/>
                </a:lnTo>
                <a:close/>
                <a:moveTo>
                  <a:pt x="2873" y="1015"/>
                </a:moveTo>
                <a:lnTo>
                  <a:pt x="2872" y="1017"/>
                </a:lnTo>
                <a:lnTo>
                  <a:pt x="2873" y="1017"/>
                </a:lnTo>
                <a:lnTo>
                  <a:pt x="2875" y="1015"/>
                </a:lnTo>
                <a:lnTo>
                  <a:pt x="2874" y="1015"/>
                </a:lnTo>
                <a:lnTo>
                  <a:pt x="2873" y="1015"/>
                </a:lnTo>
                <a:close/>
                <a:moveTo>
                  <a:pt x="2869" y="1017"/>
                </a:moveTo>
                <a:lnTo>
                  <a:pt x="2872" y="1017"/>
                </a:lnTo>
                <a:lnTo>
                  <a:pt x="2861" y="1013"/>
                </a:lnTo>
                <a:lnTo>
                  <a:pt x="2869" y="1017"/>
                </a:lnTo>
                <a:close/>
                <a:moveTo>
                  <a:pt x="2838" y="1094"/>
                </a:moveTo>
                <a:lnTo>
                  <a:pt x="2831" y="1098"/>
                </a:lnTo>
                <a:lnTo>
                  <a:pt x="2829" y="1098"/>
                </a:lnTo>
                <a:lnTo>
                  <a:pt x="2824" y="1098"/>
                </a:lnTo>
                <a:lnTo>
                  <a:pt x="2812" y="1100"/>
                </a:lnTo>
                <a:lnTo>
                  <a:pt x="2808" y="1097"/>
                </a:lnTo>
                <a:lnTo>
                  <a:pt x="2807" y="1093"/>
                </a:lnTo>
                <a:lnTo>
                  <a:pt x="2803" y="1096"/>
                </a:lnTo>
                <a:lnTo>
                  <a:pt x="2803" y="1098"/>
                </a:lnTo>
                <a:lnTo>
                  <a:pt x="2801" y="1098"/>
                </a:lnTo>
                <a:lnTo>
                  <a:pt x="2798" y="1096"/>
                </a:lnTo>
                <a:lnTo>
                  <a:pt x="2796" y="1100"/>
                </a:lnTo>
                <a:lnTo>
                  <a:pt x="2794" y="1103"/>
                </a:lnTo>
                <a:lnTo>
                  <a:pt x="2797" y="1105"/>
                </a:lnTo>
                <a:lnTo>
                  <a:pt x="2805" y="1107"/>
                </a:lnTo>
                <a:lnTo>
                  <a:pt x="2815" y="1114"/>
                </a:lnTo>
                <a:lnTo>
                  <a:pt x="2819" y="1115"/>
                </a:lnTo>
                <a:lnTo>
                  <a:pt x="2824" y="1120"/>
                </a:lnTo>
                <a:lnTo>
                  <a:pt x="2831" y="1123"/>
                </a:lnTo>
                <a:lnTo>
                  <a:pt x="2834" y="1117"/>
                </a:lnTo>
                <a:lnTo>
                  <a:pt x="2835" y="1115"/>
                </a:lnTo>
                <a:lnTo>
                  <a:pt x="2831" y="1107"/>
                </a:lnTo>
                <a:lnTo>
                  <a:pt x="2834" y="1103"/>
                </a:lnTo>
                <a:lnTo>
                  <a:pt x="2839" y="1096"/>
                </a:lnTo>
                <a:lnTo>
                  <a:pt x="2839" y="1094"/>
                </a:lnTo>
                <a:lnTo>
                  <a:pt x="2838" y="1094"/>
                </a:lnTo>
                <a:close/>
                <a:moveTo>
                  <a:pt x="2879" y="1018"/>
                </a:moveTo>
                <a:lnTo>
                  <a:pt x="2879" y="1018"/>
                </a:lnTo>
                <a:lnTo>
                  <a:pt x="2877" y="1016"/>
                </a:lnTo>
                <a:lnTo>
                  <a:pt x="2879" y="1018"/>
                </a:lnTo>
                <a:close/>
                <a:moveTo>
                  <a:pt x="2847" y="1030"/>
                </a:moveTo>
                <a:lnTo>
                  <a:pt x="2844" y="1033"/>
                </a:lnTo>
                <a:lnTo>
                  <a:pt x="2847" y="1033"/>
                </a:lnTo>
                <a:lnTo>
                  <a:pt x="2847" y="1030"/>
                </a:lnTo>
                <a:close/>
                <a:moveTo>
                  <a:pt x="4465" y="1151"/>
                </a:moveTo>
                <a:lnTo>
                  <a:pt x="4465" y="1152"/>
                </a:lnTo>
                <a:lnTo>
                  <a:pt x="4466" y="1153"/>
                </a:lnTo>
                <a:lnTo>
                  <a:pt x="4466" y="1154"/>
                </a:lnTo>
                <a:lnTo>
                  <a:pt x="4466" y="1154"/>
                </a:lnTo>
                <a:lnTo>
                  <a:pt x="4466" y="1154"/>
                </a:lnTo>
                <a:lnTo>
                  <a:pt x="4466" y="1152"/>
                </a:lnTo>
                <a:lnTo>
                  <a:pt x="4466" y="1150"/>
                </a:lnTo>
                <a:lnTo>
                  <a:pt x="4465" y="1150"/>
                </a:lnTo>
                <a:lnTo>
                  <a:pt x="4465" y="1151"/>
                </a:lnTo>
                <a:close/>
                <a:moveTo>
                  <a:pt x="2875" y="1015"/>
                </a:moveTo>
                <a:lnTo>
                  <a:pt x="2877" y="1016"/>
                </a:lnTo>
                <a:lnTo>
                  <a:pt x="2875" y="1015"/>
                </a:lnTo>
                <a:lnTo>
                  <a:pt x="2875" y="1015"/>
                </a:lnTo>
                <a:lnTo>
                  <a:pt x="2875" y="1015"/>
                </a:lnTo>
                <a:close/>
                <a:moveTo>
                  <a:pt x="1841" y="543"/>
                </a:moveTo>
                <a:lnTo>
                  <a:pt x="1842" y="543"/>
                </a:lnTo>
                <a:lnTo>
                  <a:pt x="1841" y="543"/>
                </a:lnTo>
                <a:lnTo>
                  <a:pt x="1841" y="543"/>
                </a:lnTo>
                <a:close/>
                <a:moveTo>
                  <a:pt x="2414" y="555"/>
                </a:moveTo>
                <a:lnTo>
                  <a:pt x="2413" y="555"/>
                </a:lnTo>
                <a:lnTo>
                  <a:pt x="2410" y="555"/>
                </a:lnTo>
                <a:lnTo>
                  <a:pt x="2413" y="557"/>
                </a:lnTo>
                <a:lnTo>
                  <a:pt x="2414" y="555"/>
                </a:lnTo>
                <a:close/>
                <a:moveTo>
                  <a:pt x="4060" y="1599"/>
                </a:moveTo>
                <a:lnTo>
                  <a:pt x="4060" y="1598"/>
                </a:lnTo>
                <a:lnTo>
                  <a:pt x="4061" y="1600"/>
                </a:lnTo>
                <a:lnTo>
                  <a:pt x="4062" y="1598"/>
                </a:lnTo>
                <a:lnTo>
                  <a:pt x="4062" y="1596"/>
                </a:lnTo>
                <a:lnTo>
                  <a:pt x="4060" y="1596"/>
                </a:lnTo>
                <a:lnTo>
                  <a:pt x="4060" y="1596"/>
                </a:lnTo>
                <a:lnTo>
                  <a:pt x="4059" y="1596"/>
                </a:lnTo>
                <a:lnTo>
                  <a:pt x="4059" y="1596"/>
                </a:lnTo>
                <a:lnTo>
                  <a:pt x="4059" y="1597"/>
                </a:lnTo>
                <a:lnTo>
                  <a:pt x="4058" y="1598"/>
                </a:lnTo>
                <a:lnTo>
                  <a:pt x="4060" y="1599"/>
                </a:lnTo>
                <a:close/>
                <a:moveTo>
                  <a:pt x="2409" y="555"/>
                </a:moveTo>
                <a:lnTo>
                  <a:pt x="2410" y="555"/>
                </a:lnTo>
                <a:lnTo>
                  <a:pt x="2409" y="554"/>
                </a:lnTo>
                <a:lnTo>
                  <a:pt x="2408" y="554"/>
                </a:lnTo>
                <a:lnTo>
                  <a:pt x="2409" y="555"/>
                </a:lnTo>
                <a:close/>
                <a:moveTo>
                  <a:pt x="2257" y="535"/>
                </a:moveTo>
                <a:lnTo>
                  <a:pt x="2257" y="538"/>
                </a:lnTo>
                <a:lnTo>
                  <a:pt x="2266" y="543"/>
                </a:lnTo>
                <a:lnTo>
                  <a:pt x="2263" y="543"/>
                </a:lnTo>
                <a:lnTo>
                  <a:pt x="2257" y="541"/>
                </a:lnTo>
                <a:lnTo>
                  <a:pt x="2254" y="543"/>
                </a:lnTo>
                <a:lnTo>
                  <a:pt x="2264" y="546"/>
                </a:lnTo>
                <a:lnTo>
                  <a:pt x="2272" y="543"/>
                </a:lnTo>
                <a:lnTo>
                  <a:pt x="2268" y="543"/>
                </a:lnTo>
                <a:lnTo>
                  <a:pt x="2257" y="535"/>
                </a:lnTo>
                <a:close/>
                <a:moveTo>
                  <a:pt x="2296" y="349"/>
                </a:moveTo>
                <a:lnTo>
                  <a:pt x="2292" y="353"/>
                </a:lnTo>
                <a:lnTo>
                  <a:pt x="2295" y="355"/>
                </a:lnTo>
                <a:lnTo>
                  <a:pt x="2296" y="359"/>
                </a:lnTo>
                <a:lnTo>
                  <a:pt x="2288" y="359"/>
                </a:lnTo>
                <a:lnTo>
                  <a:pt x="2296" y="362"/>
                </a:lnTo>
                <a:lnTo>
                  <a:pt x="2295" y="365"/>
                </a:lnTo>
                <a:lnTo>
                  <a:pt x="2283" y="362"/>
                </a:lnTo>
                <a:lnTo>
                  <a:pt x="2293" y="368"/>
                </a:lnTo>
                <a:lnTo>
                  <a:pt x="2293" y="371"/>
                </a:lnTo>
                <a:lnTo>
                  <a:pt x="2290" y="372"/>
                </a:lnTo>
                <a:lnTo>
                  <a:pt x="2267" y="362"/>
                </a:lnTo>
                <a:lnTo>
                  <a:pt x="2260" y="360"/>
                </a:lnTo>
                <a:lnTo>
                  <a:pt x="2258" y="352"/>
                </a:lnTo>
                <a:lnTo>
                  <a:pt x="2274" y="350"/>
                </a:lnTo>
                <a:lnTo>
                  <a:pt x="2258" y="349"/>
                </a:lnTo>
                <a:lnTo>
                  <a:pt x="2257" y="348"/>
                </a:lnTo>
                <a:lnTo>
                  <a:pt x="2277" y="346"/>
                </a:lnTo>
                <a:lnTo>
                  <a:pt x="2289" y="348"/>
                </a:lnTo>
                <a:lnTo>
                  <a:pt x="2296" y="349"/>
                </a:lnTo>
                <a:close/>
                <a:moveTo>
                  <a:pt x="2287" y="359"/>
                </a:moveTo>
                <a:lnTo>
                  <a:pt x="2283" y="354"/>
                </a:lnTo>
                <a:lnTo>
                  <a:pt x="2286" y="358"/>
                </a:lnTo>
                <a:lnTo>
                  <a:pt x="2287" y="359"/>
                </a:lnTo>
                <a:close/>
                <a:moveTo>
                  <a:pt x="2351" y="589"/>
                </a:moveTo>
                <a:lnTo>
                  <a:pt x="2350" y="588"/>
                </a:lnTo>
                <a:lnTo>
                  <a:pt x="2351" y="585"/>
                </a:lnTo>
                <a:lnTo>
                  <a:pt x="2363" y="584"/>
                </a:lnTo>
                <a:lnTo>
                  <a:pt x="2366" y="581"/>
                </a:lnTo>
                <a:lnTo>
                  <a:pt x="2366" y="584"/>
                </a:lnTo>
                <a:lnTo>
                  <a:pt x="2370" y="583"/>
                </a:lnTo>
                <a:lnTo>
                  <a:pt x="2376" y="576"/>
                </a:lnTo>
                <a:lnTo>
                  <a:pt x="2385" y="573"/>
                </a:lnTo>
                <a:lnTo>
                  <a:pt x="2385" y="571"/>
                </a:lnTo>
                <a:lnTo>
                  <a:pt x="2392" y="574"/>
                </a:lnTo>
                <a:lnTo>
                  <a:pt x="2396" y="571"/>
                </a:lnTo>
                <a:lnTo>
                  <a:pt x="2400" y="571"/>
                </a:lnTo>
                <a:lnTo>
                  <a:pt x="2402" y="567"/>
                </a:lnTo>
                <a:lnTo>
                  <a:pt x="2399" y="567"/>
                </a:lnTo>
                <a:lnTo>
                  <a:pt x="2402" y="563"/>
                </a:lnTo>
                <a:lnTo>
                  <a:pt x="2400" y="559"/>
                </a:lnTo>
                <a:lnTo>
                  <a:pt x="2404" y="563"/>
                </a:lnTo>
                <a:lnTo>
                  <a:pt x="2407" y="563"/>
                </a:lnTo>
                <a:lnTo>
                  <a:pt x="2406" y="562"/>
                </a:lnTo>
                <a:lnTo>
                  <a:pt x="2411" y="558"/>
                </a:lnTo>
                <a:lnTo>
                  <a:pt x="2409" y="555"/>
                </a:lnTo>
                <a:lnTo>
                  <a:pt x="2406" y="555"/>
                </a:lnTo>
                <a:lnTo>
                  <a:pt x="2408" y="554"/>
                </a:lnTo>
                <a:lnTo>
                  <a:pt x="2407" y="553"/>
                </a:lnTo>
                <a:lnTo>
                  <a:pt x="2409" y="554"/>
                </a:lnTo>
                <a:lnTo>
                  <a:pt x="2414" y="552"/>
                </a:lnTo>
                <a:lnTo>
                  <a:pt x="2411" y="548"/>
                </a:lnTo>
                <a:lnTo>
                  <a:pt x="2413" y="543"/>
                </a:lnTo>
                <a:lnTo>
                  <a:pt x="2413" y="542"/>
                </a:lnTo>
                <a:lnTo>
                  <a:pt x="2401" y="540"/>
                </a:lnTo>
                <a:lnTo>
                  <a:pt x="2401" y="536"/>
                </a:lnTo>
                <a:lnTo>
                  <a:pt x="2394" y="538"/>
                </a:lnTo>
                <a:lnTo>
                  <a:pt x="2398" y="531"/>
                </a:lnTo>
                <a:lnTo>
                  <a:pt x="2391" y="529"/>
                </a:lnTo>
                <a:lnTo>
                  <a:pt x="2393" y="527"/>
                </a:lnTo>
                <a:lnTo>
                  <a:pt x="2393" y="524"/>
                </a:lnTo>
                <a:lnTo>
                  <a:pt x="2396" y="523"/>
                </a:lnTo>
                <a:lnTo>
                  <a:pt x="2393" y="523"/>
                </a:lnTo>
                <a:lnTo>
                  <a:pt x="2387" y="527"/>
                </a:lnTo>
                <a:lnTo>
                  <a:pt x="2381" y="525"/>
                </a:lnTo>
                <a:lnTo>
                  <a:pt x="2381" y="522"/>
                </a:lnTo>
                <a:lnTo>
                  <a:pt x="2377" y="516"/>
                </a:lnTo>
                <a:lnTo>
                  <a:pt x="2369" y="519"/>
                </a:lnTo>
                <a:lnTo>
                  <a:pt x="2373" y="524"/>
                </a:lnTo>
                <a:lnTo>
                  <a:pt x="2368" y="527"/>
                </a:lnTo>
                <a:lnTo>
                  <a:pt x="2369" y="529"/>
                </a:lnTo>
                <a:lnTo>
                  <a:pt x="2362" y="527"/>
                </a:lnTo>
                <a:lnTo>
                  <a:pt x="2358" y="535"/>
                </a:lnTo>
                <a:lnTo>
                  <a:pt x="2355" y="535"/>
                </a:lnTo>
                <a:lnTo>
                  <a:pt x="2350" y="527"/>
                </a:lnTo>
                <a:lnTo>
                  <a:pt x="2345" y="527"/>
                </a:lnTo>
                <a:lnTo>
                  <a:pt x="2345" y="530"/>
                </a:lnTo>
                <a:lnTo>
                  <a:pt x="2345" y="535"/>
                </a:lnTo>
                <a:lnTo>
                  <a:pt x="2345" y="540"/>
                </a:lnTo>
                <a:lnTo>
                  <a:pt x="2345" y="534"/>
                </a:lnTo>
                <a:lnTo>
                  <a:pt x="2342" y="531"/>
                </a:lnTo>
                <a:lnTo>
                  <a:pt x="2340" y="529"/>
                </a:lnTo>
                <a:lnTo>
                  <a:pt x="2337" y="527"/>
                </a:lnTo>
                <a:lnTo>
                  <a:pt x="2333" y="527"/>
                </a:lnTo>
                <a:lnTo>
                  <a:pt x="2333" y="529"/>
                </a:lnTo>
                <a:lnTo>
                  <a:pt x="2325" y="530"/>
                </a:lnTo>
                <a:lnTo>
                  <a:pt x="2325" y="531"/>
                </a:lnTo>
                <a:lnTo>
                  <a:pt x="2328" y="535"/>
                </a:lnTo>
                <a:lnTo>
                  <a:pt x="2328" y="538"/>
                </a:lnTo>
                <a:lnTo>
                  <a:pt x="2325" y="537"/>
                </a:lnTo>
                <a:lnTo>
                  <a:pt x="2318" y="531"/>
                </a:lnTo>
                <a:lnTo>
                  <a:pt x="2313" y="531"/>
                </a:lnTo>
                <a:lnTo>
                  <a:pt x="2317" y="537"/>
                </a:lnTo>
                <a:lnTo>
                  <a:pt x="2314" y="541"/>
                </a:lnTo>
                <a:lnTo>
                  <a:pt x="2313" y="543"/>
                </a:lnTo>
                <a:lnTo>
                  <a:pt x="2309" y="542"/>
                </a:lnTo>
                <a:lnTo>
                  <a:pt x="2309" y="538"/>
                </a:lnTo>
                <a:lnTo>
                  <a:pt x="2306" y="543"/>
                </a:lnTo>
                <a:lnTo>
                  <a:pt x="2306" y="547"/>
                </a:lnTo>
                <a:lnTo>
                  <a:pt x="2301" y="547"/>
                </a:lnTo>
                <a:lnTo>
                  <a:pt x="2301" y="551"/>
                </a:lnTo>
                <a:lnTo>
                  <a:pt x="2299" y="542"/>
                </a:lnTo>
                <a:lnTo>
                  <a:pt x="2294" y="540"/>
                </a:lnTo>
                <a:lnTo>
                  <a:pt x="2294" y="537"/>
                </a:lnTo>
                <a:lnTo>
                  <a:pt x="2297" y="538"/>
                </a:lnTo>
                <a:lnTo>
                  <a:pt x="2297" y="534"/>
                </a:lnTo>
                <a:lnTo>
                  <a:pt x="2296" y="532"/>
                </a:lnTo>
                <a:lnTo>
                  <a:pt x="2299" y="531"/>
                </a:lnTo>
                <a:lnTo>
                  <a:pt x="2295" y="531"/>
                </a:lnTo>
                <a:lnTo>
                  <a:pt x="2294" y="527"/>
                </a:lnTo>
                <a:lnTo>
                  <a:pt x="2288" y="525"/>
                </a:lnTo>
                <a:lnTo>
                  <a:pt x="2285" y="523"/>
                </a:lnTo>
                <a:lnTo>
                  <a:pt x="2276" y="523"/>
                </a:lnTo>
                <a:lnTo>
                  <a:pt x="2273" y="525"/>
                </a:lnTo>
                <a:lnTo>
                  <a:pt x="2285" y="527"/>
                </a:lnTo>
                <a:lnTo>
                  <a:pt x="2276" y="527"/>
                </a:lnTo>
                <a:lnTo>
                  <a:pt x="2281" y="530"/>
                </a:lnTo>
                <a:lnTo>
                  <a:pt x="2281" y="531"/>
                </a:lnTo>
                <a:lnTo>
                  <a:pt x="2281" y="535"/>
                </a:lnTo>
                <a:lnTo>
                  <a:pt x="2281" y="531"/>
                </a:lnTo>
                <a:lnTo>
                  <a:pt x="2280" y="530"/>
                </a:lnTo>
                <a:lnTo>
                  <a:pt x="2279" y="531"/>
                </a:lnTo>
                <a:lnTo>
                  <a:pt x="2269" y="527"/>
                </a:lnTo>
                <a:lnTo>
                  <a:pt x="2267" y="529"/>
                </a:lnTo>
                <a:lnTo>
                  <a:pt x="2272" y="532"/>
                </a:lnTo>
                <a:lnTo>
                  <a:pt x="2266" y="531"/>
                </a:lnTo>
                <a:lnTo>
                  <a:pt x="2264" y="531"/>
                </a:lnTo>
                <a:lnTo>
                  <a:pt x="2273" y="535"/>
                </a:lnTo>
                <a:lnTo>
                  <a:pt x="2266" y="534"/>
                </a:lnTo>
                <a:lnTo>
                  <a:pt x="2264" y="537"/>
                </a:lnTo>
                <a:lnTo>
                  <a:pt x="2266" y="539"/>
                </a:lnTo>
                <a:lnTo>
                  <a:pt x="2273" y="539"/>
                </a:lnTo>
                <a:lnTo>
                  <a:pt x="2268" y="541"/>
                </a:lnTo>
                <a:lnTo>
                  <a:pt x="2272" y="543"/>
                </a:lnTo>
                <a:lnTo>
                  <a:pt x="2275" y="542"/>
                </a:lnTo>
                <a:lnTo>
                  <a:pt x="2285" y="543"/>
                </a:lnTo>
                <a:lnTo>
                  <a:pt x="2289" y="542"/>
                </a:lnTo>
                <a:lnTo>
                  <a:pt x="2287" y="543"/>
                </a:lnTo>
                <a:lnTo>
                  <a:pt x="2295" y="546"/>
                </a:lnTo>
                <a:lnTo>
                  <a:pt x="2283" y="551"/>
                </a:lnTo>
                <a:lnTo>
                  <a:pt x="2289" y="553"/>
                </a:lnTo>
                <a:lnTo>
                  <a:pt x="2294" y="551"/>
                </a:lnTo>
                <a:lnTo>
                  <a:pt x="2292" y="555"/>
                </a:lnTo>
                <a:lnTo>
                  <a:pt x="2273" y="555"/>
                </a:lnTo>
                <a:lnTo>
                  <a:pt x="2268" y="559"/>
                </a:lnTo>
                <a:lnTo>
                  <a:pt x="2261" y="559"/>
                </a:lnTo>
                <a:lnTo>
                  <a:pt x="2264" y="563"/>
                </a:lnTo>
                <a:lnTo>
                  <a:pt x="2269" y="559"/>
                </a:lnTo>
                <a:lnTo>
                  <a:pt x="2285" y="559"/>
                </a:lnTo>
                <a:lnTo>
                  <a:pt x="2287" y="563"/>
                </a:lnTo>
                <a:lnTo>
                  <a:pt x="2285" y="565"/>
                </a:lnTo>
                <a:lnTo>
                  <a:pt x="2287" y="566"/>
                </a:lnTo>
                <a:lnTo>
                  <a:pt x="2288" y="568"/>
                </a:lnTo>
                <a:lnTo>
                  <a:pt x="2294" y="566"/>
                </a:lnTo>
                <a:lnTo>
                  <a:pt x="2291" y="569"/>
                </a:lnTo>
                <a:lnTo>
                  <a:pt x="2289" y="573"/>
                </a:lnTo>
                <a:lnTo>
                  <a:pt x="2293" y="573"/>
                </a:lnTo>
                <a:lnTo>
                  <a:pt x="2292" y="575"/>
                </a:lnTo>
                <a:lnTo>
                  <a:pt x="2295" y="575"/>
                </a:lnTo>
                <a:lnTo>
                  <a:pt x="2291" y="577"/>
                </a:lnTo>
                <a:lnTo>
                  <a:pt x="2292" y="579"/>
                </a:lnTo>
                <a:lnTo>
                  <a:pt x="2291" y="579"/>
                </a:lnTo>
                <a:lnTo>
                  <a:pt x="2283" y="580"/>
                </a:lnTo>
                <a:lnTo>
                  <a:pt x="2281" y="579"/>
                </a:lnTo>
                <a:lnTo>
                  <a:pt x="2280" y="587"/>
                </a:lnTo>
                <a:lnTo>
                  <a:pt x="2295" y="587"/>
                </a:lnTo>
                <a:lnTo>
                  <a:pt x="2303" y="583"/>
                </a:lnTo>
                <a:lnTo>
                  <a:pt x="2307" y="585"/>
                </a:lnTo>
                <a:lnTo>
                  <a:pt x="2310" y="583"/>
                </a:lnTo>
                <a:lnTo>
                  <a:pt x="2312" y="585"/>
                </a:lnTo>
                <a:lnTo>
                  <a:pt x="2310" y="587"/>
                </a:lnTo>
                <a:lnTo>
                  <a:pt x="2312" y="587"/>
                </a:lnTo>
                <a:lnTo>
                  <a:pt x="2317" y="592"/>
                </a:lnTo>
                <a:lnTo>
                  <a:pt x="2339" y="594"/>
                </a:lnTo>
                <a:lnTo>
                  <a:pt x="2350" y="591"/>
                </a:lnTo>
                <a:lnTo>
                  <a:pt x="2351" y="589"/>
                </a:lnTo>
                <a:close/>
                <a:moveTo>
                  <a:pt x="2403" y="1266"/>
                </a:moveTo>
                <a:lnTo>
                  <a:pt x="2405" y="1266"/>
                </a:lnTo>
                <a:lnTo>
                  <a:pt x="2407" y="1262"/>
                </a:lnTo>
                <a:lnTo>
                  <a:pt x="2409" y="1257"/>
                </a:lnTo>
                <a:lnTo>
                  <a:pt x="2409" y="1254"/>
                </a:lnTo>
                <a:lnTo>
                  <a:pt x="2409" y="1254"/>
                </a:lnTo>
                <a:lnTo>
                  <a:pt x="2406" y="1263"/>
                </a:lnTo>
                <a:lnTo>
                  <a:pt x="2403" y="1266"/>
                </a:lnTo>
                <a:close/>
                <a:moveTo>
                  <a:pt x="3162" y="2447"/>
                </a:moveTo>
                <a:lnTo>
                  <a:pt x="3161" y="2447"/>
                </a:lnTo>
                <a:lnTo>
                  <a:pt x="3164" y="2449"/>
                </a:lnTo>
                <a:lnTo>
                  <a:pt x="3164" y="2447"/>
                </a:lnTo>
                <a:lnTo>
                  <a:pt x="3163" y="2446"/>
                </a:lnTo>
                <a:lnTo>
                  <a:pt x="3162" y="2447"/>
                </a:lnTo>
                <a:close/>
                <a:moveTo>
                  <a:pt x="2412" y="1250"/>
                </a:moveTo>
                <a:lnTo>
                  <a:pt x="2413" y="1252"/>
                </a:lnTo>
                <a:lnTo>
                  <a:pt x="2415" y="1250"/>
                </a:lnTo>
                <a:lnTo>
                  <a:pt x="2417" y="1245"/>
                </a:lnTo>
                <a:lnTo>
                  <a:pt x="2413" y="1248"/>
                </a:lnTo>
                <a:lnTo>
                  <a:pt x="2412" y="1250"/>
                </a:lnTo>
                <a:close/>
                <a:moveTo>
                  <a:pt x="2248" y="402"/>
                </a:moveTo>
                <a:lnTo>
                  <a:pt x="2247" y="400"/>
                </a:lnTo>
                <a:lnTo>
                  <a:pt x="2243" y="400"/>
                </a:lnTo>
                <a:lnTo>
                  <a:pt x="2248" y="402"/>
                </a:lnTo>
                <a:close/>
                <a:moveTo>
                  <a:pt x="2248" y="398"/>
                </a:moveTo>
                <a:lnTo>
                  <a:pt x="2244" y="399"/>
                </a:lnTo>
                <a:lnTo>
                  <a:pt x="2248" y="399"/>
                </a:lnTo>
                <a:lnTo>
                  <a:pt x="2248" y="398"/>
                </a:lnTo>
                <a:close/>
                <a:moveTo>
                  <a:pt x="2254" y="353"/>
                </a:moveTo>
                <a:lnTo>
                  <a:pt x="2255" y="349"/>
                </a:lnTo>
                <a:lnTo>
                  <a:pt x="2249" y="352"/>
                </a:lnTo>
                <a:lnTo>
                  <a:pt x="2254" y="353"/>
                </a:lnTo>
                <a:close/>
                <a:moveTo>
                  <a:pt x="2255" y="1471"/>
                </a:moveTo>
                <a:lnTo>
                  <a:pt x="2255" y="1472"/>
                </a:lnTo>
                <a:lnTo>
                  <a:pt x="2258" y="1471"/>
                </a:lnTo>
                <a:lnTo>
                  <a:pt x="2255" y="1468"/>
                </a:lnTo>
                <a:lnTo>
                  <a:pt x="2255" y="1471"/>
                </a:lnTo>
                <a:close/>
                <a:moveTo>
                  <a:pt x="2258" y="1443"/>
                </a:moveTo>
                <a:lnTo>
                  <a:pt x="2258" y="1442"/>
                </a:lnTo>
                <a:lnTo>
                  <a:pt x="2255" y="1441"/>
                </a:lnTo>
                <a:lnTo>
                  <a:pt x="2258" y="1443"/>
                </a:lnTo>
                <a:close/>
                <a:moveTo>
                  <a:pt x="2277" y="1452"/>
                </a:moveTo>
                <a:lnTo>
                  <a:pt x="2281" y="1452"/>
                </a:lnTo>
                <a:lnTo>
                  <a:pt x="2282" y="1450"/>
                </a:lnTo>
                <a:lnTo>
                  <a:pt x="2281" y="1449"/>
                </a:lnTo>
                <a:lnTo>
                  <a:pt x="2277" y="1452"/>
                </a:lnTo>
                <a:close/>
                <a:moveTo>
                  <a:pt x="2266" y="1468"/>
                </a:moveTo>
                <a:lnTo>
                  <a:pt x="2270" y="1471"/>
                </a:lnTo>
                <a:lnTo>
                  <a:pt x="2271" y="1468"/>
                </a:lnTo>
                <a:lnTo>
                  <a:pt x="2269" y="1464"/>
                </a:lnTo>
                <a:lnTo>
                  <a:pt x="2266" y="1468"/>
                </a:lnTo>
                <a:close/>
                <a:moveTo>
                  <a:pt x="2258" y="1442"/>
                </a:moveTo>
                <a:lnTo>
                  <a:pt x="2263" y="1443"/>
                </a:lnTo>
                <a:lnTo>
                  <a:pt x="2258" y="1441"/>
                </a:lnTo>
                <a:lnTo>
                  <a:pt x="2258" y="1442"/>
                </a:lnTo>
                <a:close/>
                <a:moveTo>
                  <a:pt x="2272" y="543"/>
                </a:moveTo>
                <a:lnTo>
                  <a:pt x="2272" y="543"/>
                </a:lnTo>
                <a:lnTo>
                  <a:pt x="2272" y="543"/>
                </a:lnTo>
                <a:lnTo>
                  <a:pt x="2272" y="543"/>
                </a:lnTo>
                <a:close/>
                <a:moveTo>
                  <a:pt x="2404" y="1810"/>
                </a:moveTo>
                <a:lnTo>
                  <a:pt x="2405" y="1810"/>
                </a:lnTo>
                <a:lnTo>
                  <a:pt x="2404" y="1810"/>
                </a:lnTo>
                <a:lnTo>
                  <a:pt x="2404" y="1810"/>
                </a:lnTo>
                <a:close/>
                <a:moveTo>
                  <a:pt x="2531" y="1934"/>
                </a:moveTo>
                <a:lnTo>
                  <a:pt x="2531" y="1932"/>
                </a:lnTo>
                <a:lnTo>
                  <a:pt x="2530" y="1934"/>
                </a:lnTo>
                <a:lnTo>
                  <a:pt x="2531" y="1934"/>
                </a:lnTo>
                <a:close/>
                <a:moveTo>
                  <a:pt x="2719" y="1668"/>
                </a:moveTo>
                <a:lnTo>
                  <a:pt x="2719" y="1669"/>
                </a:lnTo>
                <a:lnTo>
                  <a:pt x="2721" y="1668"/>
                </a:lnTo>
                <a:lnTo>
                  <a:pt x="2719" y="1666"/>
                </a:lnTo>
                <a:lnTo>
                  <a:pt x="2719" y="1668"/>
                </a:lnTo>
                <a:close/>
                <a:moveTo>
                  <a:pt x="2435" y="2276"/>
                </a:moveTo>
                <a:lnTo>
                  <a:pt x="2436" y="2275"/>
                </a:lnTo>
                <a:lnTo>
                  <a:pt x="2435" y="2275"/>
                </a:lnTo>
                <a:lnTo>
                  <a:pt x="2435" y="2276"/>
                </a:lnTo>
                <a:close/>
                <a:moveTo>
                  <a:pt x="2709" y="1693"/>
                </a:moveTo>
                <a:lnTo>
                  <a:pt x="2712" y="1692"/>
                </a:lnTo>
                <a:lnTo>
                  <a:pt x="2712" y="1689"/>
                </a:lnTo>
                <a:lnTo>
                  <a:pt x="2709" y="1690"/>
                </a:lnTo>
                <a:lnTo>
                  <a:pt x="2709" y="1693"/>
                </a:lnTo>
                <a:close/>
                <a:moveTo>
                  <a:pt x="2745" y="1716"/>
                </a:moveTo>
                <a:lnTo>
                  <a:pt x="2745" y="1716"/>
                </a:lnTo>
                <a:lnTo>
                  <a:pt x="2745" y="1716"/>
                </a:lnTo>
                <a:lnTo>
                  <a:pt x="2745" y="1717"/>
                </a:lnTo>
                <a:lnTo>
                  <a:pt x="2745" y="1716"/>
                </a:lnTo>
                <a:close/>
                <a:moveTo>
                  <a:pt x="2742" y="1711"/>
                </a:moveTo>
                <a:lnTo>
                  <a:pt x="2742" y="1711"/>
                </a:lnTo>
                <a:lnTo>
                  <a:pt x="2744" y="1716"/>
                </a:lnTo>
                <a:lnTo>
                  <a:pt x="2745" y="1715"/>
                </a:lnTo>
                <a:lnTo>
                  <a:pt x="2742" y="1711"/>
                </a:lnTo>
                <a:close/>
                <a:moveTo>
                  <a:pt x="2745" y="1716"/>
                </a:moveTo>
                <a:lnTo>
                  <a:pt x="2744" y="1716"/>
                </a:lnTo>
                <a:lnTo>
                  <a:pt x="2744" y="1716"/>
                </a:lnTo>
                <a:lnTo>
                  <a:pt x="2745" y="1716"/>
                </a:lnTo>
                <a:close/>
                <a:moveTo>
                  <a:pt x="2382" y="1516"/>
                </a:moveTo>
                <a:lnTo>
                  <a:pt x="2378" y="1516"/>
                </a:lnTo>
                <a:lnTo>
                  <a:pt x="2379" y="1518"/>
                </a:lnTo>
                <a:lnTo>
                  <a:pt x="2382" y="1516"/>
                </a:lnTo>
                <a:close/>
                <a:moveTo>
                  <a:pt x="2350" y="1272"/>
                </a:moveTo>
                <a:lnTo>
                  <a:pt x="2352" y="1268"/>
                </a:lnTo>
                <a:lnTo>
                  <a:pt x="2349" y="1269"/>
                </a:lnTo>
                <a:lnTo>
                  <a:pt x="2350" y="1272"/>
                </a:lnTo>
                <a:close/>
                <a:moveTo>
                  <a:pt x="2350" y="1253"/>
                </a:moveTo>
                <a:lnTo>
                  <a:pt x="2353" y="1258"/>
                </a:lnTo>
                <a:lnTo>
                  <a:pt x="2353" y="1257"/>
                </a:lnTo>
                <a:lnTo>
                  <a:pt x="2355" y="1253"/>
                </a:lnTo>
                <a:lnTo>
                  <a:pt x="2352" y="1252"/>
                </a:lnTo>
                <a:lnTo>
                  <a:pt x="2350" y="1253"/>
                </a:lnTo>
                <a:close/>
                <a:moveTo>
                  <a:pt x="2374" y="1264"/>
                </a:moveTo>
                <a:lnTo>
                  <a:pt x="2377" y="1258"/>
                </a:lnTo>
                <a:lnTo>
                  <a:pt x="2374" y="1258"/>
                </a:lnTo>
                <a:lnTo>
                  <a:pt x="2371" y="1258"/>
                </a:lnTo>
                <a:lnTo>
                  <a:pt x="2366" y="1261"/>
                </a:lnTo>
                <a:lnTo>
                  <a:pt x="2370" y="1265"/>
                </a:lnTo>
                <a:lnTo>
                  <a:pt x="2374" y="1264"/>
                </a:lnTo>
                <a:close/>
                <a:moveTo>
                  <a:pt x="2359" y="1263"/>
                </a:moveTo>
                <a:lnTo>
                  <a:pt x="2361" y="1264"/>
                </a:lnTo>
                <a:lnTo>
                  <a:pt x="2364" y="1263"/>
                </a:lnTo>
                <a:lnTo>
                  <a:pt x="2361" y="1261"/>
                </a:lnTo>
                <a:lnTo>
                  <a:pt x="2359" y="1263"/>
                </a:lnTo>
                <a:close/>
                <a:moveTo>
                  <a:pt x="2371" y="1187"/>
                </a:moveTo>
                <a:lnTo>
                  <a:pt x="2365" y="1186"/>
                </a:lnTo>
                <a:lnTo>
                  <a:pt x="2363" y="1186"/>
                </a:lnTo>
                <a:lnTo>
                  <a:pt x="2368" y="1190"/>
                </a:lnTo>
                <a:lnTo>
                  <a:pt x="2371" y="1187"/>
                </a:lnTo>
                <a:close/>
                <a:moveTo>
                  <a:pt x="2379" y="1523"/>
                </a:moveTo>
                <a:lnTo>
                  <a:pt x="2382" y="1523"/>
                </a:lnTo>
                <a:lnTo>
                  <a:pt x="2382" y="1521"/>
                </a:lnTo>
                <a:lnTo>
                  <a:pt x="2379" y="1521"/>
                </a:lnTo>
                <a:lnTo>
                  <a:pt x="2379" y="1523"/>
                </a:lnTo>
                <a:close/>
                <a:moveTo>
                  <a:pt x="2376" y="1521"/>
                </a:moveTo>
                <a:lnTo>
                  <a:pt x="2375" y="1521"/>
                </a:lnTo>
                <a:lnTo>
                  <a:pt x="2376" y="1523"/>
                </a:lnTo>
                <a:lnTo>
                  <a:pt x="2376" y="1521"/>
                </a:lnTo>
                <a:close/>
                <a:moveTo>
                  <a:pt x="2379" y="1526"/>
                </a:moveTo>
                <a:lnTo>
                  <a:pt x="2376" y="1529"/>
                </a:lnTo>
                <a:lnTo>
                  <a:pt x="2378" y="1530"/>
                </a:lnTo>
                <a:lnTo>
                  <a:pt x="2379" y="1530"/>
                </a:lnTo>
                <a:lnTo>
                  <a:pt x="2382" y="1526"/>
                </a:lnTo>
                <a:lnTo>
                  <a:pt x="2379" y="1529"/>
                </a:lnTo>
                <a:lnTo>
                  <a:pt x="2379" y="1526"/>
                </a:lnTo>
                <a:close/>
                <a:moveTo>
                  <a:pt x="2382" y="1266"/>
                </a:moveTo>
                <a:lnTo>
                  <a:pt x="2385" y="1269"/>
                </a:lnTo>
                <a:lnTo>
                  <a:pt x="2389" y="1268"/>
                </a:lnTo>
                <a:lnTo>
                  <a:pt x="2389" y="1264"/>
                </a:lnTo>
                <a:lnTo>
                  <a:pt x="2389" y="1263"/>
                </a:lnTo>
                <a:lnTo>
                  <a:pt x="2383" y="1263"/>
                </a:lnTo>
                <a:lnTo>
                  <a:pt x="2382" y="1266"/>
                </a:lnTo>
                <a:close/>
                <a:moveTo>
                  <a:pt x="2032" y="35"/>
                </a:moveTo>
                <a:lnTo>
                  <a:pt x="2027" y="34"/>
                </a:lnTo>
                <a:lnTo>
                  <a:pt x="2031" y="35"/>
                </a:lnTo>
                <a:lnTo>
                  <a:pt x="2032" y="35"/>
                </a:lnTo>
                <a:close/>
                <a:moveTo>
                  <a:pt x="1848" y="387"/>
                </a:moveTo>
                <a:lnTo>
                  <a:pt x="1835" y="387"/>
                </a:lnTo>
                <a:lnTo>
                  <a:pt x="1835" y="388"/>
                </a:lnTo>
                <a:lnTo>
                  <a:pt x="1840" y="389"/>
                </a:lnTo>
                <a:lnTo>
                  <a:pt x="1848" y="387"/>
                </a:lnTo>
                <a:close/>
                <a:moveTo>
                  <a:pt x="1579" y="212"/>
                </a:moveTo>
                <a:lnTo>
                  <a:pt x="1583" y="216"/>
                </a:lnTo>
                <a:lnTo>
                  <a:pt x="1597" y="215"/>
                </a:lnTo>
                <a:lnTo>
                  <a:pt x="1579" y="212"/>
                </a:lnTo>
                <a:close/>
                <a:moveTo>
                  <a:pt x="1860" y="404"/>
                </a:moveTo>
                <a:lnTo>
                  <a:pt x="1856" y="406"/>
                </a:lnTo>
                <a:lnTo>
                  <a:pt x="1866" y="407"/>
                </a:lnTo>
                <a:lnTo>
                  <a:pt x="1860" y="404"/>
                </a:lnTo>
                <a:close/>
                <a:moveTo>
                  <a:pt x="2321" y="321"/>
                </a:moveTo>
                <a:lnTo>
                  <a:pt x="2325" y="321"/>
                </a:lnTo>
                <a:lnTo>
                  <a:pt x="2322" y="319"/>
                </a:lnTo>
                <a:lnTo>
                  <a:pt x="2321" y="321"/>
                </a:lnTo>
                <a:close/>
                <a:moveTo>
                  <a:pt x="2348" y="300"/>
                </a:moveTo>
                <a:lnTo>
                  <a:pt x="2348" y="298"/>
                </a:lnTo>
                <a:lnTo>
                  <a:pt x="2344" y="296"/>
                </a:lnTo>
                <a:lnTo>
                  <a:pt x="2347" y="300"/>
                </a:lnTo>
                <a:lnTo>
                  <a:pt x="2348" y="300"/>
                </a:lnTo>
                <a:close/>
                <a:moveTo>
                  <a:pt x="2341" y="302"/>
                </a:moveTo>
                <a:lnTo>
                  <a:pt x="2343" y="300"/>
                </a:lnTo>
                <a:lnTo>
                  <a:pt x="2341" y="298"/>
                </a:lnTo>
                <a:lnTo>
                  <a:pt x="2335" y="302"/>
                </a:lnTo>
                <a:lnTo>
                  <a:pt x="2341" y="302"/>
                </a:lnTo>
                <a:close/>
                <a:moveTo>
                  <a:pt x="2341" y="258"/>
                </a:moveTo>
                <a:lnTo>
                  <a:pt x="2341" y="257"/>
                </a:lnTo>
                <a:lnTo>
                  <a:pt x="2341" y="254"/>
                </a:lnTo>
                <a:lnTo>
                  <a:pt x="2342" y="252"/>
                </a:lnTo>
                <a:lnTo>
                  <a:pt x="2341" y="243"/>
                </a:lnTo>
                <a:lnTo>
                  <a:pt x="2341" y="239"/>
                </a:lnTo>
                <a:lnTo>
                  <a:pt x="2337" y="235"/>
                </a:lnTo>
                <a:lnTo>
                  <a:pt x="2337" y="239"/>
                </a:lnTo>
                <a:lnTo>
                  <a:pt x="2340" y="241"/>
                </a:lnTo>
                <a:lnTo>
                  <a:pt x="2334" y="243"/>
                </a:lnTo>
                <a:lnTo>
                  <a:pt x="2341" y="258"/>
                </a:lnTo>
                <a:close/>
                <a:moveTo>
                  <a:pt x="2248" y="451"/>
                </a:moveTo>
                <a:lnTo>
                  <a:pt x="2251" y="453"/>
                </a:lnTo>
                <a:lnTo>
                  <a:pt x="2248" y="457"/>
                </a:lnTo>
                <a:lnTo>
                  <a:pt x="2243" y="456"/>
                </a:lnTo>
                <a:lnTo>
                  <a:pt x="2247" y="459"/>
                </a:lnTo>
                <a:lnTo>
                  <a:pt x="2241" y="459"/>
                </a:lnTo>
                <a:lnTo>
                  <a:pt x="2243" y="462"/>
                </a:lnTo>
                <a:lnTo>
                  <a:pt x="2232" y="465"/>
                </a:lnTo>
                <a:lnTo>
                  <a:pt x="2217" y="471"/>
                </a:lnTo>
                <a:lnTo>
                  <a:pt x="2214" y="471"/>
                </a:lnTo>
                <a:lnTo>
                  <a:pt x="2212" y="470"/>
                </a:lnTo>
                <a:lnTo>
                  <a:pt x="2205" y="468"/>
                </a:lnTo>
                <a:lnTo>
                  <a:pt x="2205" y="475"/>
                </a:lnTo>
                <a:lnTo>
                  <a:pt x="2202" y="475"/>
                </a:lnTo>
                <a:lnTo>
                  <a:pt x="2195" y="476"/>
                </a:lnTo>
                <a:lnTo>
                  <a:pt x="2189" y="472"/>
                </a:lnTo>
                <a:lnTo>
                  <a:pt x="2189" y="475"/>
                </a:lnTo>
                <a:lnTo>
                  <a:pt x="2185" y="475"/>
                </a:lnTo>
                <a:lnTo>
                  <a:pt x="2185" y="478"/>
                </a:lnTo>
                <a:lnTo>
                  <a:pt x="2184" y="477"/>
                </a:lnTo>
                <a:lnTo>
                  <a:pt x="2184" y="476"/>
                </a:lnTo>
                <a:lnTo>
                  <a:pt x="2183" y="476"/>
                </a:lnTo>
                <a:lnTo>
                  <a:pt x="2181" y="474"/>
                </a:lnTo>
                <a:lnTo>
                  <a:pt x="2181" y="471"/>
                </a:lnTo>
                <a:lnTo>
                  <a:pt x="2176" y="478"/>
                </a:lnTo>
                <a:lnTo>
                  <a:pt x="2179" y="483"/>
                </a:lnTo>
                <a:lnTo>
                  <a:pt x="2172" y="483"/>
                </a:lnTo>
                <a:lnTo>
                  <a:pt x="2172" y="478"/>
                </a:lnTo>
                <a:lnTo>
                  <a:pt x="2169" y="479"/>
                </a:lnTo>
                <a:lnTo>
                  <a:pt x="2168" y="479"/>
                </a:lnTo>
                <a:lnTo>
                  <a:pt x="2168" y="483"/>
                </a:lnTo>
                <a:lnTo>
                  <a:pt x="2164" y="483"/>
                </a:lnTo>
                <a:lnTo>
                  <a:pt x="2157" y="481"/>
                </a:lnTo>
                <a:lnTo>
                  <a:pt x="2158" y="478"/>
                </a:lnTo>
                <a:lnTo>
                  <a:pt x="2156" y="480"/>
                </a:lnTo>
                <a:lnTo>
                  <a:pt x="2154" y="480"/>
                </a:lnTo>
                <a:lnTo>
                  <a:pt x="2153" y="479"/>
                </a:lnTo>
                <a:lnTo>
                  <a:pt x="2156" y="479"/>
                </a:lnTo>
                <a:lnTo>
                  <a:pt x="2150" y="479"/>
                </a:lnTo>
                <a:lnTo>
                  <a:pt x="2140" y="467"/>
                </a:lnTo>
                <a:lnTo>
                  <a:pt x="2140" y="469"/>
                </a:lnTo>
                <a:lnTo>
                  <a:pt x="2140" y="471"/>
                </a:lnTo>
                <a:lnTo>
                  <a:pt x="2145" y="475"/>
                </a:lnTo>
                <a:lnTo>
                  <a:pt x="2148" y="479"/>
                </a:lnTo>
                <a:lnTo>
                  <a:pt x="2143" y="479"/>
                </a:lnTo>
                <a:lnTo>
                  <a:pt x="2150" y="480"/>
                </a:lnTo>
                <a:lnTo>
                  <a:pt x="2148" y="487"/>
                </a:lnTo>
                <a:lnTo>
                  <a:pt x="2142" y="487"/>
                </a:lnTo>
                <a:lnTo>
                  <a:pt x="2138" y="490"/>
                </a:lnTo>
                <a:lnTo>
                  <a:pt x="2131" y="490"/>
                </a:lnTo>
                <a:lnTo>
                  <a:pt x="2134" y="491"/>
                </a:lnTo>
                <a:lnTo>
                  <a:pt x="2128" y="494"/>
                </a:lnTo>
                <a:lnTo>
                  <a:pt x="2128" y="497"/>
                </a:lnTo>
                <a:lnTo>
                  <a:pt x="2126" y="498"/>
                </a:lnTo>
                <a:lnTo>
                  <a:pt x="2131" y="502"/>
                </a:lnTo>
                <a:lnTo>
                  <a:pt x="2124" y="509"/>
                </a:lnTo>
                <a:lnTo>
                  <a:pt x="2121" y="507"/>
                </a:lnTo>
                <a:lnTo>
                  <a:pt x="2119" y="513"/>
                </a:lnTo>
                <a:lnTo>
                  <a:pt x="2115" y="518"/>
                </a:lnTo>
                <a:lnTo>
                  <a:pt x="2112" y="517"/>
                </a:lnTo>
                <a:lnTo>
                  <a:pt x="2112" y="518"/>
                </a:lnTo>
                <a:lnTo>
                  <a:pt x="2108" y="524"/>
                </a:lnTo>
                <a:lnTo>
                  <a:pt x="2105" y="525"/>
                </a:lnTo>
                <a:lnTo>
                  <a:pt x="2104" y="524"/>
                </a:lnTo>
                <a:lnTo>
                  <a:pt x="2104" y="522"/>
                </a:lnTo>
                <a:lnTo>
                  <a:pt x="2103" y="525"/>
                </a:lnTo>
                <a:lnTo>
                  <a:pt x="2105" y="527"/>
                </a:lnTo>
                <a:lnTo>
                  <a:pt x="2103" y="527"/>
                </a:lnTo>
                <a:lnTo>
                  <a:pt x="2101" y="527"/>
                </a:lnTo>
                <a:lnTo>
                  <a:pt x="2101" y="527"/>
                </a:lnTo>
                <a:lnTo>
                  <a:pt x="2100" y="527"/>
                </a:lnTo>
                <a:lnTo>
                  <a:pt x="2101" y="527"/>
                </a:lnTo>
                <a:lnTo>
                  <a:pt x="2100" y="527"/>
                </a:lnTo>
                <a:lnTo>
                  <a:pt x="2100" y="527"/>
                </a:lnTo>
                <a:lnTo>
                  <a:pt x="2100" y="526"/>
                </a:lnTo>
                <a:lnTo>
                  <a:pt x="2094" y="524"/>
                </a:lnTo>
                <a:lnTo>
                  <a:pt x="2098" y="527"/>
                </a:lnTo>
                <a:lnTo>
                  <a:pt x="2096" y="527"/>
                </a:lnTo>
                <a:lnTo>
                  <a:pt x="2096" y="529"/>
                </a:lnTo>
                <a:lnTo>
                  <a:pt x="2087" y="535"/>
                </a:lnTo>
                <a:lnTo>
                  <a:pt x="2087" y="536"/>
                </a:lnTo>
                <a:lnTo>
                  <a:pt x="2086" y="534"/>
                </a:lnTo>
                <a:lnTo>
                  <a:pt x="2088" y="531"/>
                </a:lnTo>
                <a:lnTo>
                  <a:pt x="2080" y="531"/>
                </a:lnTo>
                <a:lnTo>
                  <a:pt x="2080" y="531"/>
                </a:lnTo>
                <a:lnTo>
                  <a:pt x="2080" y="533"/>
                </a:lnTo>
                <a:lnTo>
                  <a:pt x="2076" y="536"/>
                </a:lnTo>
                <a:lnTo>
                  <a:pt x="2076" y="533"/>
                </a:lnTo>
                <a:lnTo>
                  <a:pt x="2076" y="535"/>
                </a:lnTo>
                <a:lnTo>
                  <a:pt x="2075" y="535"/>
                </a:lnTo>
                <a:lnTo>
                  <a:pt x="2076" y="538"/>
                </a:lnTo>
                <a:lnTo>
                  <a:pt x="2075" y="537"/>
                </a:lnTo>
                <a:lnTo>
                  <a:pt x="2070" y="536"/>
                </a:lnTo>
                <a:lnTo>
                  <a:pt x="2073" y="537"/>
                </a:lnTo>
                <a:lnTo>
                  <a:pt x="2070" y="536"/>
                </a:lnTo>
                <a:lnTo>
                  <a:pt x="2073" y="540"/>
                </a:lnTo>
                <a:lnTo>
                  <a:pt x="2069" y="543"/>
                </a:lnTo>
                <a:lnTo>
                  <a:pt x="2067" y="543"/>
                </a:lnTo>
                <a:lnTo>
                  <a:pt x="2060" y="543"/>
                </a:lnTo>
                <a:lnTo>
                  <a:pt x="2060" y="539"/>
                </a:lnTo>
                <a:lnTo>
                  <a:pt x="2060" y="539"/>
                </a:lnTo>
                <a:lnTo>
                  <a:pt x="2058" y="541"/>
                </a:lnTo>
                <a:lnTo>
                  <a:pt x="2053" y="540"/>
                </a:lnTo>
                <a:lnTo>
                  <a:pt x="2053" y="543"/>
                </a:lnTo>
                <a:lnTo>
                  <a:pt x="2053" y="543"/>
                </a:lnTo>
                <a:lnTo>
                  <a:pt x="2050" y="545"/>
                </a:lnTo>
                <a:lnTo>
                  <a:pt x="2051" y="543"/>
                </a:lnTo>
                <a:lnTo>
                  <a:pt x="2047" y="543"/>
                </a:lnTo>
                <a:lnTo>
                  <a:pt x="2043" y="540"/>
                </a:lnTo>
                <a:lnTo>
                  <a:pt x="2046" y="543"/>
                </a:lnTo>
                <a:lnTo>
                  <a:pt x="2043" y="545"/>
                </a:lnTo>
                <a:lnTo>
                  <a:pt x="2038" y="540"/>
                </a:lnTo>
                <a:lnTo>
                  <a:pt x="2036" y="543"/>
                </a:lnTo>
                <a:lnTo>
                  <a:pt x="2036" y="545"/>
                </a:lnTo>
                <a:lnTo>
                  <a:pt x="2031" y="543"/>
                </a:lnTo>
                <a:lnTo>
                  <a:pt x="2031" y="545"/>
                </a:lnTo>
                <a:lnTo>
                  <a:pt x="2036" y="547"/>
                </a:lnTo>
                <a:lnTo>
                  <a:pt x="2035" y="548"/>
                </a:lnTo>
                <a:lnTo>
                  <a:pt x="2038" y="551"/>
                </a:lnTo>
                <a:lnTo>
                  <a:pt x="2031" y="556"/>
                </a:lnTo>
                <a:lnTo>
                  <a:pt x="2025" y="552"/>
                </a:lnTo>
                <a:lnTo>
                  <a:pt x="2024" y="556"/>
                </a:lnTo>
                <a:lnTo>
                  <a:pt x="2019" y="554"/>
                </a:lnTo>
                <a:lnTo>
                  <a:pt x="2017" y="558"/>
                </a:lnTo>
                <a:lnTo>
                  <a:pt x="2024" y="564"/>
                </a:lnTo>
                <a:lnTo>
                  <a:pt x="2024" y="569"/>
                </a:lnTo>
                <a:lnTo>
                  <a:pt x="2028" y="575"/>
                </a:lnTo>
                <a:lnTo>
                  <a:pt x="2024" y="575"/>
                </a:lnTo>
                <a:lnTo>
                  <a:pt x="2024" y="575"/>
                </a:lnTo>
                <a:lnTo>
                  <a:pt x="2024" y="575"/>
                </a:lnTo>
                <a:lnTo>
                  <a:pt x="2022" y="575"/>
                </a:lnTo>
                <a:lnTo>
                  <a:pt x="2023" y="575"/>
                </a:lnTo>
                <a:lnTo>
                  <a:pt x="2022" y="575"/>
                </a:lnTo>
                <a:lnTo>
                  <a:pt x="2012" y="576"/>
                </a:lnTo>
                <a:lnTo>
                  <a:pt x="2014" y="577"/>
                </a:lnTo>
                <a:lnTo>
                  <a:pt x="2025" y="580"/>
                </a:lnTo>
                <a:lnTo>
                  <a:pt x="2023" y="583"/>
                </a:lnTo>
                <a:lnTo>
                  <a:pt x="2025" y="583"/>
                </a:lnTo>
                <a:lnTo>
                  <a:pt x="2027" y="587"/>
                </a:lnTo>
                <a:lnTo>
                  <a:pt x="2020" y="587"/>
                </a:lnTo>
                <a:lnTo>
                  <a:pt x="2013" y="583"/>
                </a:lnTo>
                <a:lnTo>
                  <a:pt x="2012" y="586"/>
                </a:lnTo>
                <a:lnTo>
                  <a:pt x="2020" y="590"/>
                </a:lnTo>
                <a:lnTo>
                  <a:pt x="2024" y="595"/>
                </a:lnTo>
                <a:lnTo>
                  <a:pt x="2019" y="595"/>
                </a:lnTo>
                <a:lnTo>
                  <a:pt x="2017" y="595"/>
                </a:lnTo>
                <a:lnTo>
                  <a:pt x="2016" y="595"/>
                </a:lnTo>
                <a:lnTo>
                  <a:pt x="2016" y="594"/>
                </a:lnTo>
                <a:lnTo>
                  <a:pt x="2015" y="594"/>
                </a:lnTo>
                <a:lnTo>
                  <a:pt x="2012" y="592"/>
                </a:lnTo>
                <a:lnTo>
                  <a:pt x="2017" y="597"/>
                </a:lnTo>
                <a:lnTo>
                  <a:pt x="2010" y="592"/>
                </a:lnTo>
                <a:lnTo>
                  <a:pt x="2016" y="597"/>
                </a:lnTo>
                <a:lnTo>
                  <a:pt x="2017" y="600"/>
                </a:lnTo>
                <a:lnTo>
                  <a:pt x="2013" y="598"/>
                </a:lnTo>
                <a:lnTo>
                  <a:pt x="2006" y="594"/>
                </a:lnTo>
                <a:lnTo>
                  <a:pt x="2013" y="604"/>
                </a:lnTo>
                <a:lnTo>
                  <a:pt x="2012" y="604"/>
                </a:lnTo>
                <a:lnTo>
                  <a:pt x="2005" y="600"/>
                </a:lnTo>
                <a:lnTo>
                  <a:pt x="2010" y="607"/>
                </a:lnTo>
                <a:lnTo>
                  <a:pt x="2012" y="607"/>
                </a:lnTo>
                <a:lnTo>
                  <a:pt x="2011" y="608"/>
                </a:lnTo>
                <a:lnTo>
                  <a:pt x="2012" y="608"/>
                </a:lnTo>
                <a:lnTo>
                  <a:pt x="2011" y="608"/>
                </a:lnTo>
                <a:lnTo>
                  <a:pt x="2008" y="612"/>
                </a:lnTo>
                <a:lnTo>
                  <a:pt x="2001" y="612"/>
                </a:lnTo>
                <a:lnTo>
                  <a:pt x="2006" y="610"/>
                </a:lnTo>
                <a:lnTo>
                  <a:pt x="2000" y="609"/>
                </a:lnTo>
                <a:lnTo>
                  <a:pt x="2000" y="610"/>
                </a:lnTo>
                <a:lnTo>
                  <a:pt x="2000" y="606"/>
                </a:lnTo>
                <a:lnTo>
                  <a:pt x="1996" y="607"/>
                </a:lnTo>
                <a:lnTo>
                  <a:pt x="1996" y="609"/>
                </a:lnTo>
                <a:lnTo>
                  <a:pt x="1997" y="612"/>
                </a:lnTo>
                <a:lnTo>
                  <a:pt x="1988" y="612"/>
                </a:lnTo>
                <a:lnTo>
                  <a:pt x="1988" y="612"/>
                </a:lnTo>
                <a:lnTo>
                  <a:pt x="2000" y="616"/>
                </a:lnTo>
                <a:lnTo>
                  <a:pt x="2000" y="619"/>
                </a:lnTo>
                <a:lnTo>
                  <a:pt x="1991" y="617"/>
                </a:lnTo>
                <a:lnTo>
                  <a:pt x="2001" y="623"/>
                </a:lnTo>
                <a:lnTo>
                  <a:pt x="2000" y="627"/>
                </a:lnTo>
                <a:lnTo>
                  <a:pt x="1997" y="632"/>
                </a:lnTo>
                <a:lnTo>
                  <a:pt x="1998" y="632"/>
                </a:lnTo>
                <a:lnTo>
                  <a:pt x="2001" y="635"/>
                </a:lnTo>
                <a:lnTo>
                  <a:pt x="2000" y="636"/>
                </a:lnTo>
                <a:lnTo>
                  <a:pt x="1992" y="636"/>
                </a:lnTo>
                <a:lnTo>
                  <a:pt x="2000" y="638"/>
                </a:lnTo>
                <a:lnTo>
                  <a:pt x="1998" y="639"/>
                </a:lnTo>
                <a:lnTo>
                  <a:pt x="1989" y="637"/>
                </a:lnTo>
                <a:lnTo>
                  <a:pt x="1996" y="639"/>
                </a:lnTo>
                <a:lnTo>
                  <a:pt x="1996" y="641"/>
                </a:lnTo>
                <a:lnTo>
                  <a:pt x="1996" y="644"/>
                </a:lnTo>
                <a:lnTo>
                  <a:pt x="1993" y="645"/>
                </a:lnTo>
                <a:lnTo>
                  <a:pt x="1997" y="648"/>
                </a:lnTo>
                <a:lnTo>
                  <a:pt x="1990" y="648"/>
                </a:lnTo>
                <a:lnTo>
                  <a:pt x="1994" y="652"/>
                </a:lnTo>
                <a:lnTo>
                  <a:pt x="1991" y="652"/>
                </a:lnTo>
                <a:lnTo>
                  <a:pt x="1989" y="653"/>
                </a:lnTo>
                <a:lnTo>
                  <a:pt x="1985" y="652"/>
                </a:lnTo>
                <a:lnTo>
                  <a:pt x="1985" y="652"/>
                </a:lnTo>
                <a:lnTo>
                  <a:pt x="1994" y="656"/>
                </a:lnTo>
                <a:lnTo>
                  <a:pt x="1982" y="656"/>
                </a:lnTo>
                <a:lnTo>
                  <a:pt x="1994" y="657"/>
                </a:lnTo>
                <a:lnTo>
                  <a:pt x="1990" y="660"/>
                </a:lnTo>
                <a:lnTo>
                  <a:pt x="1992" y="660"/>
                </a:lnTo>
                <a:lnTo>
                  <a:pt x="1994" y="660"/>
                </a:lnTo>
                <a:lnTo>
                  <a:pt x="1990" y="664"/>
                </a:lnTo>
                <a:lnTo>
                  <a:pt x="1987" y="664"/>
                </a:lnTo>
                <a:lnTo>
                  <a:pt x="1985" y="663"/>
                </a:lnTo>
                <a:lnTo>
                  <a:pt x="1981" y="667"/>
                </a:lnTo>
                <a:lnTo>
                  <a:pt x="1988" y="665"/>
                </a:lnTo>
                <a:lnTo>
                  <a:pt x="1988" y="668"/>
                </a:lnTo>
                <a:lnTo>
                  <a:pt x="1988" y="671"/>
                </a:lnTo>
                <a:lnTo>
                  <a:pt x="1986" y="673"/>
                </a:lnTo>
                <a:lnTo>
                  <a:pt x="1982" y="671"/>
                </a:lnTo>
                <a:lnTo>
                  <a:pt x="1984" y="673"/>
                </a:lnTo>
                <a:lnTo>
                  <a:pt x="1982" y="674"/>
                </a:lnTo>
                <a:lnTo>
                  <a:pt x="1978" y="673"/>
                </a:lnTo>
                <a:lnTo>
                  <a:pt x="1974" y="669"/>
                </a:lnTo>
                <a:lnTo>
                  <a:pt x="1975" y="667"/>
                </a:lnTo>
                <a:lnTo>
                  <a:pt x="1972" y="665"/>
                </a:lnTo>
                <a:lnTo>
                  <a:pt x="1972" y="667"/>
                </a:lnTo>
                <a:lnTo>
                  <a:pt x="1968" y="670"/>
                </a:lnTo>
                <a:lnTo>
                  <a:pt x="1967" y="674"/>
                </a:lnTo>
                <a:lnTo>
                  <a:pt x="1958" y="673"/>
                </a:lnTo>
                <a:lnTo>
                  <a:pt x="1960" y="672"/>
                </a:lnTo>
                <a:lnTo>
                  <a:pt x="1964" y="672"/>
                </a:lnTo>
                <a:lnTo>
                  <a:pt x="1969" y="663"/>
                </a:lnTo>
                <a:lnTo>
                  <a:pt x="1964" y="668"/>
                </a:lnTo>
                <a:lnTo>
                  <a:pt x="1958" y="669"/>
                </a:lnTo>
                <a:lnTo>
                  <a:pt x="1967" y="656"/>
                </a:lnTo>
                <a:lnTo>
                  <a:pt x="1958" y="663"/>
                </a:lnTo>
                <a:lnTo>
                  <a:pt x="1957" y="662"/>
                </a:lnTo>
                <a:lnTo>
                  <a:pt x="1960" y="659"/>
                </a:lnTo>
                <a:lnTo>
                  <a:pt x="1954" y="663"/>
                </a:lnTo>
                <a:lnTo>
                  <a:pt x="1951" y="660"/>
                </a:lnTo>
                <a:lnTo>
                  <a:pt x="1949" y="660"/>
                </a:lnTo>
                <a:lnTo>
                  <a:pt x="1951" y="656"/>
                </a:lnTo>
                <a:lnTo>
                  <a:pt x="1949" y="656"/>
                </a:lnTo>
                <a:lnTo>
                  <a:pt x="1946" y="660"/>
                </a:lnTo>
                <a:lnTo>
                  <a:pt x="1945" y="660"/>
                </a:lnTo>
                <a:lnTo>
                  <a:pt x="1947" y="655"/>
                </a:lnTo>
                <a:lnTo>
                  <a:pt x="1953" y="651"/>
                </a:lnTo>
                <a:lnTo>
                  <a:pt x="1958" y="648"/>
                </a:lnTo>
                <a:lnTo>
                  <a:pt x="1955" y="648"/>
                </a:lnTo>
                <a:lnTo>
                  <a:pt x="1952" y="645"/>
                </a:lnTo>
                <a:lnTo>
                  <a:pt x="1952" y="648"/>
                </a:lnTo>
                <a:lnTo>
                  <a:pt x="1951" y="650"/>
                </a:lnTo>
                <a:lnTo>
                  <a:pt x="1944" y="653"/>
                </a:lnTo>
                <a:lnTo>
                  <a:pt x="1935" y="656"/>
                </a:lnTo>
                <a:lnTo>
                  <a:pt x="1935" y="656"/>
                </a:lnTo>
                <a:lnTo>
                  <a:pt x="1944" y="651"/>
                </a:lnTo>
                <a:lnTo>
                  <a:pt x="1944" y="651"/>
                </a:lnTo>
                <a:lnTo>
                  <a:pt x="1941" y="649"/>
                </a:lnTo>
                <a:lnTo>
                  <a:pt x="1939" y="653"/>
                </a:lnTo>
                <a:lnTo>
                  <a:pt x="1935" y="652"/>
                </a:lnTo>
                <a:lnTo>
                  <a:pt x="1935" y="654"/>
                </a:lnTo>
                <a:lnTo>
                  <a:pt x="1935" y="656"/>
                </a:lnTo>
                <a:lnTo>
                  <a:pt x="1934" y="656"/>
                </a:lnTo>
                <a:lnTo>
                  <a:pt x="1934" y="653"/>
                </a:lnTo>
                <a:lnTo>
                  <a:pt x="1920" y="656"/>
                </a:lnTo>
                <a:lnTo>
                  <a:pt x="1922" y="656"/>
                </a:lnTo>
                <a:lnTo>
                  <a:pt x="1920" y="660"/>
                </a:lnTo>
                <a:lnTo>
                  <a:pt x="1924" y="660"/>
                </a:lnTo>
                <a:lnTo>
                  <a:pt x="1920" y="661"/>
                </a:lnTo>
                <a:lnTo>
                  <a:pt x="1913" y="655"/>
                </a:lnTo>
                <a:lnTo>
                  <a:pt x="1919" y="652"/>
                </a:lnTo>
                <a:lnTo>
                  <a:pt x="1915" y="652"/>
                </a:lnTo>
                <a:lnTo>
                  <a:pt x="1915" y="651"/>
                </a:lnTo>
                <a:lnTo>
                  <a:pt x="1912" y="651"/>
                </a:lnTo>
                <a:lnTo>
                  <a:pt x="1915" y="651"/>
                </a:lnTo>
                <a:lnTo>
                  <a:pt x="1915" y="650"/>
                </a:lnTo>
                <a:lnTo>
                  <a:pt x="1911" y="648"/>
                </a:lnTo>
                <a:lnTo>
                  <a:pt x="1911" y="648"/>
                </a:lnTo>
                <a:lnTo>
                  <a:pt x="1908" y="648"/>
                </a:lnTo>
                <a:lnTo>
                  <a:pt x="1912" y="644"/>
                </a:lnTo>
                <a:lnTo>
                  <a:pt x="1901" y="641"/>
                </a:lnTo>
                <a:lnTo>
                  <a:pt x="1904" y="641"/>
                </a:lnTo>
                <a:lnTo>
                  <a:pt x="1899" y="640"/>
                </a:lnTo>
                <a:lnTo>
                  <a:pt x="1905" y="640"/>
                </a:lnTo>
                <a:lnTo>
                  <a:pt x="1904" y="641"/>
                </a:lnTo>
                <a:lnTo>
                  <a:pt x="1915" y="639"/>
                </a:lnTo>
                <a:lnTo>
                  <a:pt x="1912" y="637"/>
                </a:lnTo>
                <a:lnTo>
                  <a:pt x="1906" y="640"/>
                </a:lnTo>
                <a:lnTo>
                  <a:pt x="1904" y="640"/>
                </a:lnTo>
                <a:lnTo>
                  <a:pt x="1899" y="640"/>
                </a:lnTo>
                <a:lnTo>
                  <a:pt x="1899" y="635"/>
                </a:lnTo>
                <a:lnTo>
                  <a:pt x="1899" y="635"/>
                </a:lnTo>
                <a:lnTo>
                  <a:pt x="1897" y="633"/>
                </a:lnTo>
                <a:lnTo>
                  <a:pt x="1899" y="629"/>
                </a:lnTo>
                <a:lnTo>
                  <a:pt x="1895" y="632"/>
                </a:lnTo>
                <a:lnTo>
                  <a:pt x="1895" y="629"/>
                </a:lnTo>
                <a:lnTo>
                  <a:pt x="1903" y="628"/>
                </a:lnTo>
                <a:lnTo>
                  <a:pt x="1899" y="626"/>
                </a:lnTo>
                <a:lnTo>
                  <a:pt x="1899" y="625"/>
                </a:lnTo>
                <a:lnTo>
                  <a:pt x="1899" y="624"/>
                </a:lnTo>
                <a:lnTo>
                  <a:pt x="1899" y="624"/>
                </a:lnTo>
                <a:lnTo>
                  <a:pt x="1899" y="624"/>
                </a:lnTo>
                <a:lnTo>
                  <a:pt x="1899" y="624"/>
                </a:lnTo>
                <a:lnTo>
                  <a:pt x="1897" y="624"/>
                </a:lnTo>
                <a:lnTo>
                  <a:pt x="1894" y="624"/>
                </a:lnTo>
                <a:lnTo>
                  <a:pt x="1891" y="624"/>
                </a:lnTo>
                <a:lnTo>
                  <a:pt x="1883" y="617"/>
                </a:lnTo>
                <a:lnTo>
                  <a:pt x="1883" y="612"/>
                </a:lnTo>
                <a:lnTo>
                  <a:pt x="1883" y="606"/>
                </a:lnTo>
                <a:lnTo>
                  <a:pt x="1879" y="610"/>
                </a:lnTo>
                <a:lnTo>
                  <a:pt x="1879" y="606"/>
                </a:lnTo>
                <a:lnTo>
                  <a:pt x="1879" y="603"/>
                </a:lnTo>
                <a:lnTo>
                  <a:pt x="1886" y="598"/>
                </a:lnTo>
                <a:lnTo>
                  <a:pt x="1876" y="600"/>
                </a:lnTo>
                <a:lnTo>
                  <a:pt x="1877" y="599"/>
                </a:lnTo>
                <a:lnTo>
                  <a:pt x="1874" y="600"/>
                </a:lnTo>
                <a:lnTo>
                  <a:pt x="1872" y="597"/>
                </a:lnTo>
                <a:lnTo>
                  <a:pt x="1885" y="595"/>
                </a:lnTo>
                <a:lnTo>
                  <a:pt x="1878" y="595"/>
                </a:lnTo>
                <a:lnTo>
                  <a:pt x="1874" y="595"/>
                </a:lnTo>
                <a:lnTo>
                  <a:pt x="1872" y="591"/>
                </a:lnTo>
                <a:lnTo>
                  <a:pt x="1874" y="591"/>
                </a:lnTo>
                <a:lnTo>
                  <a:pt x="1871" y="590"/>
                </a:lnTo>
                <a:lnTo>
                  <a:pt x="1871" y="592"/>
                </a:lnTo>
                <a:lnTo>
                  <a:pt x="1865" y="587"/>
                </a:lnTo>
                <a:lnTo>
                  <a:pt x="1873" y="582"/>
                </a:lnTo>
                <a:lnTo>
                  <a:pt x="1863" y="586"/>
                </a:lnTo>
                <a:lnTo>
                  <a:pt x="1863" y="583"/>
                </a:lnTo>
                <a:lnTo>
                  <a:pt x="1867" y="583"/>
                </a:lnTo>
                <a:lnTo>
                  <a:pt x="1867" y="582"/>
                </a:lnTo>
                <a:lnTo>
                  <a:pt x="1888" y="579"/>
                </a:lnTo>
                <a:lnTo>
                  <a:pt x="1879" y="579"/>
                </a:lnTo>
                <a:lnTo>
                  <a:pt x="1881" y="577"/>
                </a:lnTo>
                <a:lnTo>
                  <a:pt x="1875" y="578"/>
                </a:lnTo>
                <a:lnTo>
                  <a:pt x="1877" y="575"/>
                </a:lnTo>
                <a:lnTo>
                  <a:pt x="1874" y="575"/>
                </a:lnTo>
                <a:lnTo>
                  <a:pt x="1877" y="571"/>
                </a:lnTo>
                <a:lnTo>
                  <a:pt x="1882" y="572"/>
                </a:lnTo>
                <a:lnTo>
                  <a:pt x="1886" y="571"/>
                </a:lnTo>
                <a:lnTo>
                  <a:pt x="1886" y="571"/>
                </a:lnTo>
                <a:lnTo>
                  <a:pt x="1894" y="572"/>
                </a:lnTo>
                <a:lnTo>
                  <a:pt x="1888" y="568"/>
                </a:lnTo>
                <a:lnTo>
                  <a:pt x="1886" y="567"/>
                </a:lnTo>
                <a:lnTo>
                  <a:pt x="1889" y="567"/>
                </a:lnTo>
                <a:lnTo>
                  <a:pt x="1885" y="567"/>
                </a:lnTo>
                <a:lnTo>
                  <a:pt x="1888" y="561"/>
                </a:lnTo>
                <a:lnTo>
                  <a:pt x="1885" y="563"/>
                </a:lnTo>
                <a:lnTo>
                  <a:pt x="1879" y="563"/>
                </a:lnTo>
                <a:lnTo>
                  <a:pt x="1872" y="567"/>
                </a:lnTo>
                <a:lnTo>
                  <a:pt x="1871" y="567"/>
                </a:lnTo>
                <a:lnTo>
                  <a:pt x="1874" y="563"/>
                </a:lnTo>
                <a:lnTo>
                  <a:pt x="1871" y="563"/>
                </a:lnTo>
                <a:lnTo>
                  <a:pt x="1864" y="574"/>
                </a:lnTo>
                <a:lnTo>
                  <a:pt x="1859" y="575"/>
                </a:lnTo>
                <a:lnTo>
                  <a:pt x="1859" y="571"/>
                </a:lnTo>
                <a:lnTo>
                  <a:pt x="1856" y="571"/>
                </a:lnTo>
                <a:lnTo>
                  <a:pt x="1859" y="566"/>
                </a:lnTo>
                <a:lnTo>
                  <a:pt x="1856" y="564"/>
                </a:lnTo>
                <a:lnTo>
                  <a:pt x="1858" y="563"/>
                </a:lnTo>
                <a:lnTo>
                  <a:pt x="1856" y="563"/>
                </a:lnTo>
                <a:lnTo>
                  <a:pt x="1860" y="559"/>
                </a:lnTo>
                <a:lnTo>
                  <a:pt x="1859" y="559"/>
                </a:lnTo>
                <a:lnTo>
                  <a:pt x="1855" y="560"/>
                </a:lnTo>
                <a:lnTo>
                  <a:pt x="1855" y="559"/>
                </a:lnTo>
                <a:lnTo>
                  <a:pt x="1859" y="559"/>
                </a:lnTo>
                <a:lnTo>
                  <a:pt x="1855" y="556"/>
                </a:lnTo>
                <a:lnTo>
                  <a:pt x="1856" y="555"/>
                </a:lnTo>
                <a:lnTo>
                  <a:pt x="1855" y="555"/>
                </a:lnTo>
                <a:lnTo>
                  <a:pt x="1855" y="550"/>
                </a:lnTo>
                <a:lnTo>
                  <a:pt x="1853" y="552"/>
                </a:lnTo>
                <a:lnTo>
                  <a:pt x="1852" y="548"/>
                </a:lnTo>
                <a:lnTo>
                  <a:pt x="1864" y="543"/>
                </a:lnTo>
                <a:lnTo>
                  <a:pt x="1860" y="541"/>
                </a:lnTo>
                <a:lnTo>
                  <a:pt x="1864" y="540"/>
                </a:lnTo>
                <a:lnTo>
                  <a:pt x="1869" y="538"/>
                </a:lnTo>
                <a:lnTo>
                  <a:pt x="1866" y="537"/>
                </a:lnTo>
                <a:lnTo>
                  <a:pt x="1859" y="541"/>
                </a:lnTo>
                <a:lnTo>
                  <a:pt x="1859" y="543"/>
                </a:lnTo>
                <a:lnTo>
                  <a:pt x="1852" y="548"/>
                </a:lnTo>
                <a:lnTo>
                  <a:pt x="1852" y="545"/>
                </a:lnTo>
                <a:lnTo>
                  <a:pt x="1853" y="541"/>
                </a:lnTo>
                <a:lnTo>
                  <a:pt x="1851" y="543"/>
                </a:lnTo>
                <a:lnTo>
                  <a:pt x="1848" y="543"/>
                </a:lnTo>
                <a:lnTo>
                  <a:pt x="1845" y="543"/>
                </a:lnTo>
                <a:lnTo>
                  <a:pt x="1848" y="541"/>
                </a:lnTo>
                <a:lnTo>
                  <a:pt x="1842" y="543"/>
                </a:lnTo>
                <a:lnTo>
                  <a:pt x="1846" y="538"/>
                </a:lnTo>
                <a:lnTo>
                  <a:pt x="1843" y="538"/>
                </a:lnTo>
                <a:lnTo>
                  <a:pt x="1841" y="537"/>
                </a:lnTo>
                <a:lnTo>
                  <a:pt x="1846" y="532"/>
                </a:lnTo>
                <a:lnTo>
                  <a:pt x="1841" y="535"/>
                </a:lnTo>
                <a:lnTo>
                  <a:pt x="1838" y="535"/>
                </a:lnTo>
                <a:lnTo>
                  <a:pt x="1843" y="531"/>
                </a:lnTo>
                <a:lnTo>
                  <a:pt x="1838" y="530"/>
                </a:lnTo>
                <a:lnTo>
                  <a:pt x="1838" y="531"/>
                </a:lnTo>
                <a:lnTo>
                  <a:pt x="1838" y="531"/>
                </a:lnTo>
                <a:lnTo>
                  <a:pt x="1837" y="531"/>
                </a:lnTo>
                <a:lnTo>
                  <a:pt x="1838" y="530"/>
                </a:lnTo>
                <a:lnTo>
                  <a:pt x="1838" y="531"/>
                </a:lnTo>
                <a:lnTo>
                  <a:pt x="1835" y="531"/>
                </a:lnTo>
                <a:lnTo>
                  <a:pt x="1835" y="529"/>
                </a:lnTo>
                <a:lnTo>
                  <a:pt x="1834" y="529"/>
                </a:lnTo>
                <a:lnTo>
                  <a:pt x="1842" y="525"/>
                </a:lnTo>
                <a:lnTo>
                  <a:pt x="1836" y="526"/>
                </a:lnTo>
                <a:lnTo>
                  <a:pt x="1831" y="525"/>
                </a:lnTo>
                <a:lnTo>
                  <a:pt x="1831" y="520"/>
                </a:lnTo>
                <a:lnTo>
                  <a:pt x="1853" y="519"/>
                </a:lnTo>
                <a:lnTo>
                  <a:pt x="1841" y="519"/>
                </a:lnTo>
                <a:lnTo>
                  <a:pt x="1838" y="518"/>
                </a:lnTo>
                <a:lnTo>
                  <a:pt x="1852" y="515"/>
                </a:lnTo>
                <a:lnTo>
                  <a:pt x="1841" y="515"/>
                </a:lnTo>
                <a:lnTo>
                  <a:pt x="1843" y="515"/>
                </a:lnTo>
                <a:lnTo>
                  <a:pt x="1845" y="515"/>
                </a:lnTo>
                <a:lnTo>
                  <a:pt x="1855" y="515"/>
                </a:lnTo>
                <a:lnTo>
                  <a:pt x="1853" y="511"/>
                </a:lnTo>
                <a:lnTo>
                  <a:pt x="1846" y="511"/>
                </a:lnTo>
                <a:lnTo>
                  <a:pt x="1838" y="513"/>
                </a:lnTo>
                <a:lnTo>
                  <a:pt x="1840" y="511"/>
                </a:lnTo>
                <a:lnTo>
                  <a:pt x="1835" y="511"/>
                </a:lnTo>
                <a:lnTo>
                  <a:pt x="1834" y="509"/>
                </a:lnTo>
                <a:lnTo>
                  <a:pt x="1841" y="507"/>
                </a:lnTo>
                <a:lnTo>
                  <a:pt x="1834" y="507"/>
                </a:lnTo>
                <a:lnTo>
                  <a:pt x="1830" y="507"/>
                </a:lnTo>
                <a:lnTo>
                  <a:pt x="1834" y="504"/>
                </a:lnTo>
                <a:lnTo>
                  <a:pt x="1840" y="503"/>
                </a:lnTo>
                <a:lnTo>
                  <a:pt x="1837" y="503"/>
                </a:lnTo>
                <a:lnTo>
                  <a:pt x="1856" y="499"/>
                </a:lnTo>
                <a:lnTo>
                  <a:pt x="1867" y="499"/>
                </a:lnTo>
                <a:lnTo>
                  <a:pt x="1872" y="498"/>
                </a:lnTo>
                <a:lnTo>
                  <a:pt x="1841" y="498"/>
                </a:lnTo>
                <a:lnTo>
                  <a:pt x="1834" y="502"/>
                </a:lnTo>
                <a:lnTo>
                  <a:pt x="1833" y="501"/>
                </a:lnTo>
                <a:lnTo>
                  <a:pt x="1835" y="496"/>
                </a:lnTo>
                <a:lnTo>
                  <a:pt x="1837" y="495"/>
                </a:lnTo>
                <a:lnTo>
                  <a:pt x="1835" y="495"/>
                </a:lnTo>
                <a:lnTo>
                  <a:pt x="1834" y="492"/>
                </a:lnTo>
                <a:lnTo>
                  <a:pt x="1837" y="490"/>
                </a:lnTo>
                <a:lnTo>
                  <a:pt x="1837" y="490"/>
                </a:lnTo>
                <a:lnTo>
                  <a:pt x="1835" y="490"/>
                </a:lnTo>
                <a:lnTo>
                  <a:pt x="1834" y="487"/>
                </a:lnTo>
                <a:lnTo>
                  <a:pt x="1836" y="488"/>
                </a:lnTo>
                <a:lnTo>
                  <a:pt x="1835" y="487"/>
                </a:lnTo>
                <a:lnTo>
                  <a:pt x="1839" y="487"/>
                </a:lnTo>
                <a:lnTo>
                  <a:pt x="1839" y="486"/>
                </a:lnTo>
                <a:lnTo>
                  <a:pt x="1838" y="486"/>
                </a:lnTo>
                <a:lnTo>
                  <a:pt x="1839" y="486"/>
                </a:lnTo>
                <a:lnTo>
                  <a:pt x="1839" y="484"/>
                </a:lnTo>
                <a:lnTo>
                  <a:pt x="1844" y="483"/>
                </a:lnTo>
                <a:lnTo>
                  <a:pt x="1843" y="483"/>
                </a:lnTo>
                <a:lnTo>
                  <a:pt x="1839" y="483"/>
                </a:lnTo>
                <a:lnTo>
                  <a:pt x="1838" y="483"/>
                </a:lnTo>
                <a:lnTo>
                  <a:pt x="1839" y="482"/>
                </a:lnTo>
                <a:lnTo>
                  <a:pt x="1839" y="481"/>
                </a:lnTo>
                <a:lnTo>
                  <a:pt x="1839" y="482"/>
                </a:lnTo>
                <a:lnTo>
                  <a:pt x="1840" y="481"/>
                </a:lnTo>
                <a:lnTo>
                  <a:pt x="1841" y="481"/>
                </a:lnTo>
                <a:lnTo>
                  <a:pt x="1841" y="480"/>
                </a:lnTo>
                <a:lnTo>
                  <a:pt x="1854" y="480"/>
                </a:lnTo>
                <a:lnTo>
                  <a:pt x="1860" y="482"/>
                </a:lnTo>
                <a:lnTo>
                  <a:pt x="1860" y="483"/>
                </a:lnTo>
                <a:lnTo>
                  <a:pt x="1862" y="483"/>
                </a:lnTo>
                <a:lnTo>
                  <a:pt x="1861" y="481"/>
                </a:lnTo>
                <a:lnTo>
                  <a:pt x="1865" y="480"/>
                </a:lnTo>
                <a:lnTo>
                  <a:pt x="1868" y="481"/>
                </a:lnTo>
                <a:lnTo>
                  <a:pt x="1870" y="483"/>
                </a:lnTo>
                <a:lnTo>
                  <a:pt x="1872" y="483"/>
                </a:lnTo>
                <a:lnTo>
                  <a:pt x="1873" y="484"/>
                </a:lnTo>
                <a:lnTo>
                  <a:pt x="1866" y="484"/>
                </a:lnTo>
                <a:lnTo>
                  <a:pt x="1868" y="487"/>
                </a:lnTo>
                <a:lnTo>
                  <a:pt x="1864" y="491"/>
                </a:lnTo>
                <a:lnTo>
                  <a:pt x="1862" y="490"/>
                </a:lnTo>
                <a:lnTo>
                  <a:pt x="1866" y="487"/>
                </a:lnTo>
                <a:lnTo>
                  <a:pt x="1855" y="487"/>
                </a:lnTo>
                <a:lnTo>
                  <a:pt x="1866" y="483"/>
                </a:lnTo>
                <a:lnTo>
                  <a:pt x="1845" y="490"/>
                </a:lnTo>
                <a:lnTo>
                  <a:pt x="1839" y="494"/>
                </a:lnTo>
                <a:lnTo>
                  <a:pt x="1846" y="491"/>
                </a:lnTo>
                <a:lnTo>
                  <a:pt x="1852" y="491"/>
                </a:lnTo>
                <a:lnTo>
                  <a:pt x="1853" y="491"/>
                </a:lnTo>
                <a:lnTo>
                  <a:pt x="1862" y="493"/>
                </a:lnTo>
                <a:lnTo>
                  <a:pt x="1868" y="492"/>
                </a:lnTo>
                <a:lnTo>
                  <a:pt x="1878" y="499"/>
                </a:lnTo>
                <a:lnTo>
                  <a:pt x="1879" y="499"/>
                </a:lnTo>
                <a:lnTo>
                  <a:pt x="1886" y="499"/>
                </a:lnTo>
                <a:lnTo>
                  <a:pt x="1888" y="496"/>
                </a:lnTo>
                <a:lnTo>
                  <a:pt x="1879" y="495"/>
                </a:lnTo>
                <a:lnTo>
                  <a:pt x="1877" y="491"/>
                </a:lnTo>
                <a:lnTo>
                  <a:pt x="1885" y="490"/>
                </a:lnTo>
                <a:lnTo>
                  <a:pt x="1874" y="492"/>
                </a:lnTo>
                <a:lnTo>
                  <a:pt x="1871" y="490"/>
                </a:lnTo>
                <a:lnTo>
                  <a:pt x="1871" y="490"/>
                </a:lnTo>
                <a:lnTo>
                  <a:pt x="1868" y="487"/>
                </a:lnTo>
                <a:lnTo>
                  <a:pt x="1875" y="487"/>
                </a:lnTo>
                <a:lnTo>
                  <a:pt x="1874" y="484"/>
                </a:lnTo>
                <a:lnTo>
                  <a:pt x="1875" y="485"/>
                </a:lnTo>
                <a:lnTo>
                  <a:pt x="1875" y="487"/>
                </a:lnTo>
                <a:lnTo>
                  <a:pt x="1878" y="487"/>
                </a:lnTo>
                <a:lnTo>
                  <a:pt x="1873" y="489"/>
                </a:lnTo>
                <a:lnTo>
                  <a:pt x="1879" y="487"/>
                </a:lnTo>
                <a:lnTo>
                  <a:pt x="1879" y="487"/>
                </a:lnTo>
                <a:lnTo>
                  <a:pt x="1886" y="487"/>
                </a:lnTo>
                <a:lnTo>
                  <a:pt x="1870" y="481"/>
                </a:lnTo>
                <a:lnTo>
                  <a:pt x="1868" y="481"/>
                </a:lnTo>
                <a:lnTo>
                  <a:pt x="1867" y="479"/>
                </a:lnTo>
                <a:lnTo>
                  <a:pt x="1875" y="479"/>
                </a:lnTo>
                <a:lnTo>
                  <a:pt x="1870" y="477"/>
                </a:lnTo>
                <a:lnTo>
                  <a:pt x="1871" y="474"/>
                </a:lnTo>
                <a:lnTo>
                  <a:pt x="1871" y="472"/>
                </a:lnTo>
                <a:lnTo>
                  <a:pt x="1877" y="469"/>
                </a:lnTo>
                <a:lnTo>
                  <a:pt x="1866" y="472"/>
                </a:lnTo>
                <a:lnTo>
                  <a:pt x="1871" y="475"/>
                </a:lnTo>
                <a:lnTo>
                  <a:pt x="1864" y="477"/>
                </a:lnTo>
                <a:lnTo>
                  <a:pt x="1855" y="478"/>
                </a:lnTo>
                <a:lnTo>
                  <a:pt x="1857" y="478"/>
                </a:lnTo>
                <a:lnTo>
                  <a:pt x="1853" y="479"/>
                </a:lnTo>
                <a:lnTo>
                  <a:pt x="1852" y="479"/>
                </a:lnTo>
                <a:lnTo>
                  <a:pt x="1846" y="479"/>
                </a:lnTo>
                <a:lnTo>
                  <a:pt x="1848" y="476"/>
                </a:lnTo>
                <a:lnTo>
                  <a:pt x="1839" y="476"/>
                </a:lnTo>
                <a:lnTo>
                  <a:pt x="1839" y="475"/>
                </a:lnTo>
                <a:lnTo>
                  <a:pt x="1843" y="475"/>
                </a:lnTo>
                <a:lnTo>
                  <a:pt x="1853" y="471"/>
                </a:lnTo>
                <a:lnTo>
                  <a:pt x="1860" y="471"/>
                </a:lnTo>
                <a:lnTo>
                  <a:pt x="1865" y="470"/>
                </a:lnTo>
                <a:lnTo>
                  <a:pt x="1875" y="467"/>
                </a:lnTo>
                <a:lnTo>
                  <a:pt x="1875" y="464"/>
                </a:lnTo>
                <a:lnTo>
                  <a:pt x="1873" y="463"/>
                </a:lnTo>
                <a:lnTo>
                  <a:pt x="1871" y="464"/>
                </a:lnTo>
                <a:lnTo>
                  <a:pt x="1875" y="459"/>
                </a:lnTo>
                <a:lnTo>
                  <a:pt x="1872" y="459"/>
                </a:lnTo>
                <a:lnTo>
                  <a:pt x="1874" y="455"/>
                </a:lnTo>
                <a:lnTo>
                  <a:pt x="1872" y="455"/>
                </a:lnTo>
                <a:lnTo>
                  <a:pt x="1877" y="448"/>
                </a:lnTo>
                <a:lnTo>
                  <a:pt x="1886" y="447"/>
                </a:lnTo>
                <a:lnTo>
                  <a:pt x="1875" y="447"/>
                </a:lnTo>
                <a:lnTo>
                  <a:pt x="1877" y="442"/>
                </a:lnTo>
                <a:lnTo>
                  <a:pt x="1882" y="441"/>
                </a:lnTo>
                <a:lnTo>
                  <a:pt x="1877" y="439"/>
                </a:lnTo>
                <a:lnTo>
                  <a:pt x="1879" y="439"/>
                </a:lnTo>
                <a:lnTo>
                  <a:pt x="1886" y="439"/>
                </a:lnTo>
                <a:lnTo>
                  <a:pt x="1885" y="434"/>
                </a:lnTo>
                <a:lnTo>
                  <a:pt x="1879" y="432"/>
                </a:lnTo>
                <a:lnTo>
                  <a:pt x="1885" y="430"/>
                </a:lnTo>
                <a:lnTo>
                  <a:pt x="1871" y="432"/>
                </a:lnTo>
                <a:lnTo>
                  <a:pt x="1877" y="430"/>
                </a:lnTo>
                <a:lnTo>
                  <a:pt x="1871" y="429"/>
                </a:lnTo>
                <a:lnTo>
                  <a:pt x="1867" y="432"/>
                </a:lnTo>
                <a:lnTo>
                  <a:pt x="1855" y="429"/>
                </a:lnTo>
                <a:lnTo>
                  <a:pt x="1849" y="423"/>
                </a:lnTo>
                <a:lnTo>
                  <a:pt x="1833" y="421"/>
                </a:lnTo>
                <a:lnTo>
                  <a:pt x="1821" y="411"/>
                </a:lnTo>
                <a:lnTo>
                  <a:pt x="1829" y="407"/>
                </a:lnTo>
                <a:lnTo>
                  <a:pt x="1849" y="410"/>
                </a:lnTo>
                <a:lnTo>
                  <a:pt x="1866" y="418"/>
                </a:lnTo>
                <a:lnTo>
                  <a:pt x="1879" y="422"/>
                </a:lnTo>
                <a:lnTo>
                  <a:pt x="1881" y="421"/>
                </a:lnTo>
                <a:lnTo>
                  <a:pt x="1878" y="418"/>
                </a:lnTo>
                <a:lnTo>
                  <a:pt x="1881" y="417"/>
                </a:lnTo>
                <a:lnTo>
                  <a:pt x="1875" y="418"/>
                </a:lnTo>
                <a:lnTo>
                  <a:pt x="1868" y="415"/>
                </a:lnTo>
                <a:lnTo>
                  <a:pt x="1871" y="414"/>
                </a:lnTo>
                <a:lnTo>
                  <a:pt x="1875" y="417"/>
                </a:lnTo>
                <a:lnTo>
                  <a:pt x="1878" y="416"/>
                </a:lnTo>
                <a:lnTo>
                  <a:pt x="1874" y="415"/>
                </a:lnTo>
                <a:lnTo>
                  <a:pt x="1879" y="415"/>
                </a:lnTo>
                <a:lnTo>
                  <a:pt x="1867" y="411"/>
                </a:lnTo>
                <a:lnTo>
                  <a:pt x="1871" y="410"/>
                </a:lnTo>
                <a:lnTo>
                  <a:pt x="1879" y="411"/>
                </a:lnTo>
                <a:lnTo>
                  <a:pt x="1875" y="410"/>
                </a:lnTo>
                <a:lnTo>
                  <a:pt x="1877" y="407"/>
                </a:lnTo>
                <a:lnTo>
                  <a:pt x="1872" y="407"/>
                </a:lnTo>
                <a:lnTo>
                  <a:pt x="1860" y="402"/>
                </a:lnTo>
                <a:lnTo>
                  <a:pt x="1875" y="404"/>
                </a:lnTo>
                <a:lnTo>
                  <a:pt x="1867" y="402"/>
                </a:lnTo>
                <a:lnTo>
                  <a:pt x="1871" y="399"/>
                </a:lnTo>
                <a:lnTo>
                  <a:pt x="1855" y="400"/>
                </a:lnTo>
                <a:lnTo>
                  <a:pt x="1867" y="395"/>
                </a:lnTo>
                <a:lnTo>
                  <a:pt x="1866" y="394"/>
                </a:lnTo>
                <a:lnTo>
                  <a:pt x="1851" y="399"/>
                </a:lnTo>
                <a:lnTo>
                  <a:pt x="1855" y="395"/>
                </a:lnTo>
                <a:lnTo>
                  <a:pt x="1855" y="394"/>
                </a:lnTo>
                <a:lnTo>
                  <a:pt x="1868" y="392"/>
                </a:lnTo>
                <a:lnTo>
                  <a:pt x="1864" y="390"/>
                </a:lnTo>
                <a:lnTo>
                  <a:pt x="1862" y="391"/>
                </a:lnTo>
                <a:lnTo>
                  <a:pt x="1866" y="386"/>
                </a:lnTo>
                <a:lnTo>
                  <a:pt x="1856" y="387"/>
                </a:lnTo>
                <a:lnTo>
                  <a:pt x="1841" y="384"/>
                </a:lnTo>
                <a:lnTo>
                  <a:pt x="1849" y="376"/>
                </a:lnTo>
                <a:lnTo>
                  <a:pt x="1846" y="377"/>
                </a:lnTo>
                <a:lnTo>
                  <a:pt x="1844" y="380"/>
                </a:lnTo>
                <a:lnTo>
                  <a:pt x="1839" y="381"/>
                </a:lnTo>
                <a:lnTo>
                  <a:pt x="1839" y="381"/>
                </a:lnTo>
                <a:lnTo>
                  <a:pt x="1835" y="383"/>
                </a:lnTo>
                <a:lnTo>
                  <a:pt x="1833" y="383"/>
                </a:lnTo>
                <a:lnTo>
                  <a:pt x="1831" y="384"/>
                </a:lnTo>
                <a:lnTo>
                  <a:pt x="1831" y="387"/>
                </a:lnTo>
                <a:lnTo>
                  <a:pt x="1827" y="384"/>
                </a:lnTo>
                <a:lnTo>
                  <a:pt x="1827" y="387"/>
                </a:lnTo>
                <a:lnTo>
                  <a:pt x="1831" y="388"/>
                </a:lnTo>
                <a:lnTo>
                  <a:pt x="1831" y="391"/>
                </a:lnTo>
                <a:lnTo>
                  <a:pt x="1819" y="395"/>
                </a:lnTo>
                <a:lnTo>
                  <a:pt x="1813" y="390"/>
                </a:lnTo>
                <a:lnTo>
                  <a:pt x="1815" y="395"/>
                </a:lnTo>
                <a:lnTo>
                  <a:pt x="1812" y="395"/>
                </a:lnTo>
                <a:lnTo>
                  <a:pt x="1807" y="387"/>
                </a:lnTo>
                <a:lnTo>
                  <a:pt x="1808" y="387"/>
                </a:lnTo>
                <a:lnTo>
                  <a:pt x="1803" y="384"/>
                </a:lnTo>
                <a:lnTo>
                  <a:pt x="1812" y="380"/>
                </a:lnTo>
                <a:lnTo>
                  <a:pt x="1815" y="379"/>
                </a:lnTo>
                <a:lnTo>
                  <a:pt x="1812" y="379"/>
                </a:lnTo>
                <a:lnTo>
                  <a:pt x="1808" y="378"/>
                </a:lnTo>
                <a:lnTo>
                  <a:pt x="1808" y="377"/>
                </a:lnTo>
                <a:lnTo>
                  <a:pt x="1811" y="375"/>
                </a:lnTo>
                <a:lnTo>
                  <a:pt x="1807" y="375"/>
                </a:lnTo>
                <a:lnTo>
                  <a:pt x="1815" y="367"/>
                </a:lnTo>
                <a:lnTo>
                  <a:pt x="1813" y="366"/>
                </a:lnTo>
                <a:lnTo>
                  <a:pt x="1807" y="362"/>
                </a:lnTo>
                <a:lnTo>
                  <a:pt x="1810" y="361"/>
                </a:lnTo>
                <a:lnTo>
                  <a:pt x="1826" y="362"/>
                </a:lnTo>
                <a:lnTo>
                  <a:pt x="1816" y="361"/>
                </a:lnTo>
                <a:lnTo>
                  <a:pt x="1818" y="358"/>
                </a:lnTo>
                <a:lnTo>
                  <a:pt x="1821" y="354"/>
                </a:lnTo>
                <a:lnTo>
                  <a:pt x="1818" y="354"/>
                </a:lnTo>
                <a:lnTo>
                  <a:pt x="1822" y="353"/>
                </a:lnTo>
                <a:lnTo>
                  <a:pt x="1818" y="346"/>
                </a:lnTo>
                <a:lnTo>
                  <a:pt x="1807" y="344"/>
                </a:lnTo>
                <a:lnTo>
                  <a:pt x="1815" y="341"/>
                </a:lnTo>
                <a:lnTo>
                  <a:pt x="1810" y="340"/>
                </a:lnTo>
                <a:lnTo>
                  <a:pt x="1813" y="338"/>
                </a:lnTo>
                <a:lnTo>
                  <a:pt x="1815" y="338"/>
                </a:lnTo>
                <a:lnTo>
                  <a:pt x="1800" y="330"/>
                </a:lnTo>
                <a:lnTo>
                  <a:pt x="1799" y="330"/>
                </a:lnTo>
                <a:lnTo>
                  <a:pt x="1799" y="330"/>
                </a:lnTo>
                <a:lnTo>
                  <a:pt x="1799" y="330"/>
                </a:lnTo>
                <a:lnTo>
                  <a:pt x="1799" y="329"/>
                </a:lnTo>
                <a:lnTo>
                  <a:pt x="1799" y="325"/>
                </a:lnTo>
                <a:lnTo>
                  <a:pt x="1806" y="326"/>
                </a:lnTo>
                <a:lnTo>
                  <a:pt x="1801" y="324"/>
                </a:lnTo>
                <a:lnTo>
                  <a:pt x="1807" y="323"/>
                </a:lnTo>
                <a:lnTo>
                  <a:pt x="1800" y="322"/>
                </a:lnTo>
                <a:lnTo>
                  <a:pt x="1801" y="322"/>
                </a:lnTo>
                <a:lnTo>
                  <a:pt x="1796" y="317"/>
                </a:lnTo>
                <a:lnTo>
                  <a:pt x="1800" y="310"/>
                </a:lnTo>
                <a:lnTo>
                  <a:pt x="1782" y="314"/>
                </a:lnTo>
                <a:lnTo>
                  <a:pt x="1796" y="310"/>
                </a:lnTo>
                <a:lnTo>
                  <a:pt x="1790" y="308"/>
                </a:lnTo>
                <a:lnTo>
                  <a:pt x="1800" y="308"/>
                </a:lnTo>
                <a:lnTo>
                  <a:pt x="1790" y="306"/>
                </a:lnTo>
                <a:lnTo>
                  <a:pt x="1799" y="306"/>
                </a:lnTo>
                <a:lnTo>
                  <a:pt x="1799" y="302"/>
                </a:lnTo>
                <a:lnTo>
                  <a:pt x="1794" y="302"/>
                </a:lnTo>
                <a:lnTo>
                  <a:pt x="1789" y="302"/>
                </a:lnTo>
                <a:lnTo>
                  <a:pt x="1788" y="300"/>
                </a:lnTo>
                <a:lnTo>
                  <a:pt x="1787" y="301"/>
                </a:lnTo>
                <a:lnTo>
                  <a:pt x="1785" y="298"/>
                </a:lnTo>
                <a:lnTo>
                  <a:pt x="1789" y="298"/>
                </a:lnTo>
                <a:lnTo>
                  <a:pt x="1788" y="293"/>
                </a:lnTo>
                <a:lnTo>
                  <a:pt x="1770" y="287"/>
                </a:lnTo>
                <a:lnTo>
                  <a:pt x="1773" y="284"/>
                </a:lnTo>
                <a:lnTo>
                  <a:pt x="1767" y="280"/>
                </a:lnTo>
                <a:lnTo>
                  <a:pt x="1767" y="277"/>
                </a:lnTo>
                <a:lnTo>
                  <a:pt x="1760" y="279"/>
                </a:lnTo>
                <a:lnTo>
                  <a:pt x="1767" y="275"/>
                </a:lnTo>
                <a:lnTo>
                  <a:pt x="1767" y="273"/>
                </a:lnTo>
                <a:lnTo>
                  <a:pt x="1766" y="273"/>
                </a:lnTo>
                <a:lnTo>
                  <a:pt x="1768" y="270"/>
                </a:lnTo>
                <a:lnTo>
                  <a:pt x="1767" y="270"/>
                </a:lnTo>
                <a:lnTo>
                  <a:pt x="1763" y="270"/>
                </a:lnTo>
                <a:lnTo>
                  <a:pt x="1757" y="270"/>
                </a:lnTo>
                <a:lnTo>
                  <a:pt x="1755" y="266"/>
                </a:lnTo>
                <a:lnTo>
                  <a:pt x="1755" y="264"/>
                </a:lnTo>
                <a:lnTo>
                  <a:pt x="1755" y="262"/>
                </a:lnTo>
                <a:lnTo>
                  <a:pt x="1748" y="266"/>
                </a:lnTo>
                <a:lnTo>
                  <a:pt x="1749" y="261"/>
                </a:lnTo>
                <a:lnTo>
                  <a:pt x="1737" y="256"/>
                </a:lnTo>
                <a:lnTo>
                  <a:pt x="1734" y="258"/>
                </a:lnTo>
                <a:lnTo>
                  <a:pt x="1732" y="254"/>
                </a:lnTo>
                <a:lnTo>
                  <a:pt x="1712" y="252"/>
                </a:lnTo>
                <a:lnTo>
                  <a:pt x="1711" y="250"/>
                </a:lnTo>
                <a:lnTo>
                  <a:pt x="1704" y="251"/>
                </a:lnTo>
                <a:lnTo>
                  <a:pt x="1703" y="252"/>
                </a:lnTo>
                <a:lnTo>
                  <a:pt x="1701" y="250"/>
                </a:lnTo>
                <a:lnTo>
                  <a:pt x="1696" y="247"/>
                </a:lnTo>
                <a:lnTo>
                  <a:pt x="1690" y="252"/>
                </a:lnTo>
                <a:lnTo>
                  <a:pt x="1685" y="254"/>
                </a:lnTo>
                <a:lnTo>
                  <a:pt x="1682" y="252"/>
                </a:lnTo>
                <a:lnTo>
                  <a:pt x="1684" y="250"/>
                </a:lnTo>
                <a:lnTo>
                  <a:pt x="1678" y="247"/>
                </a:lnTo>
                <a:lnTo>
                  <a:pt x="1681" y="250"/>
                </a:lnTo>
                <a:lnTo>
                  <a:pt x="1678" y="252"/>
                </a:lnTo>
                <a:lnTo>
                  <a:pt x="1675" y="251"/>
                </a:lnTo>
                <a:lnTo>
                  <a:pt x="1675" y="258"/>
                </a:lnTo>
                <a:lnTo>
                  <a:pt x="1663" y="258"/>
                </a:lnTo>
                <a:lnTo>
                  <a:pt x="1663" y="258"/>
                </a:lnTo>
                <a:lnTo>
                  <a:pt x="1657" y="257"/>
                </a:lnTo>
                <a:lnTo>
                  <a:pt x="1661" y="254"/>
                </a:lnTo>
                <a:lnTo>
                  <a:pt x="1659" y="254"/>
                </a:lnTo>
                <a:lnTo>
                  <a:pt x="1654" y="251"/>
                </a:lnTo>
                <a:lnTo>
                  <a:pt x="1650" y="256"/>
                </a:lnTo>
                <a:lnTo>
                  <a:pt x="1642" y="251"/>
                </a:lnTo>
                <a:lnTo>
                  <a:pt x="1637" y="255"/>
                </a:lnTo>
                <a:lnTo>
                  <a:pt x="1650" y="262"/>
                </a:lnTo>
                <a:lnTo>
                  <a:pt x="1618" y="258"/>
                </a:lnTo>
                <a:lnTo>
                  <a:pt x="1621" y="258"/>
                </a:lnTo>
                <a:lnTo>
                  <a:pt x="1615" y="258"/>
                </a:lnTo>
                <a:lnTo>
                  <a:pt x="1617" y="255"/>
                </a:lnTo>
                <a:lnTo>
                  <a:pt x="1603" y="247"/>
                </a:lnTo>
                <a:lnTo>
                  <a:pt x="1617" y="242"/>
                </a:lnTo>
                <a:lnTo>
                  <a:pt x="1610" y="242"/>
                </a:lnTo>
                <a:lnTo>
                  <a:pt x="1597" y="237"/>
                </a:lnTo>
                <a:lnTo>
                  <a:pt x="1605" y="230"/>
                </a:lnTo>
                <a:lnTo>
                  <a:pt x="1603" y="230"/>
                </a:lnTo>
                <a:lnTo>
                  <a:pt x="1591" y="236"/>
                </a:lnTo>
                <a:lnTo>
                  <a:pt x="1584" y="232"/>
                </a:lnTo>
                <a:lnTo>
                  <a:pt x="1588" y="230"/>
                </a:lnTo>
                <a:lnTo>
                  <a:pt x="1581" y="230"/>
                </a:lnTo>
                <a:lnTo>
                  <a:pt x="1578" y="227"/>
                </a:lnTo>
                <a:lnTo>
                  <a:pt x="1585" y="223"/>
                </a:lnTo>
                <a:lnTo>
                  <a:pt x="1584" y="222"/>
                </a:lnTo>
                <a:lnTo>
                  <a:pt x="1596" y="219"/>
                </a:lnTo>
                <a:lnTo>
                  <a:pt x="1633" y="222"/>
                </a:lnTo>
                <a:lnTo>
                  <a:pt x="1611" y="219"/>
                </a:lnTo>
                <a:lnTo>
                  <a:pt x="1632" y="215"/>
                </a:lnTo>
                <a:lnTo>
                  <a:pt x="1654" y="219"/>
                </a:lnTo>
                <a:lnTo>
                  <a:pt x="1647" y="216"/>
                </a:lnTo>
                <a:lnTo>
                  <a:pt x="1653" y="214"/>
                </a:lnTo>
                <a:lnTo>
                  <a:pt x="1650" y="214"/>
                </a:lnTo>
                <a:lnTo>
                  <a:pt x="1650" y="212"/>
                </a:lnTo>
                <a:lnTo>
                  <a:pt x="1653" y="212"/>
                </a:lnTo>
                <a:lnTo>
                  <a:pt x="1651" y="209"/>
                </a:lnTo>
                <a:lnTo>
                  <a:pt x="1644" y="210"/>
                </a:lnTo>
                <a:lnTo>
                  <a:pt x="1640" y="210"/>
                </a:lnTo>
                <a:lnTo>
                  <a:pt x="1634" y="214"/>
                </a:lnTo>
                <a:lnTo>
                  <a:pt x="1622" y="214"/>
                </a:lnTo>
                <a:lnTo>
                  <a:pt x="1617" y="210"/>
                </a:lnTo>
                <a:lnTo>
                  <a:pt x="1615" y="210"/>
                </a:lnTo>
                <a:lnTo>
                  <a:pt x="1617" y="213"/>
                </a:lnTo>
                <a:lnTo>
                  <a:pt x="1607" y="212"/>
                </a:lnTo>
                <a:lnTo>
                  <a:pt x="1593" y="211"/>
                </a:lnTo>
                <a:lnTo>
                  <a:pt x="1602" y="207"/>
                </a:lnTo>
                <a:lnTo>
                  <a:pt x="1602" y="204"/>
                </a:lnTo>
                <a:lnTo>
                  <a:pt x="1587" y="207"/>
                </a:lnTo>
                <a:lnTo>
                  <a:pt x="1598" y="202"/>
                </a:lnTo>
                <a:lnTo>
                  <a:pt x="1579" y="206"/>
                </a:lnTo>
                <a:lnTo>
                  <a:pt x="1578" y="206"/>
                </a:lnTo>
                <a:lnTo>
                  <a:pt x="1581" y="202"/>
                </a:lnTo>
                <a:lnTo>
                  <a:pt x="1570" y="202"/>
                </a:lnTo>
                <a:lnTo>
                  <a:pt x="1563" y="198"/>
                </a:lnTo>
                <a:lnTo>
                  <a:pt x="1565" y="198"/>
                </a:lnTo>
                <a:lnTo>
                  <a:pt x="1553" y="191"/>
                </a:lnTo>
                <a:lnTo>
                  <a:pt x="1561" y="188"/>
                </a:lnTo>
                <a:lnTo>
                  <a:pt x="1556" y="185"/>
                </a:lnTo>
                <a:lnTo>
                  <a:pt x="1558" y="182"/>
                </a:lnTo>
                <a:lnTo>
                  <a:pt x="1558" y="181"/>
                </a:lnTo>
                <a:lnTo>
                  <a:pt x="1558" y="178"/>
                </a:lnTo>
                <a:lnTo>
                  <a:pt x="1575" y="178"/>
                </a:lnTo>
                <a:lnTo>
                  <a:pt x="1585" y="178"/>
                </a:lnTo>
                <a:lnTo>
                  <a:pt x="1588" y="174"/>
                </a:lnTo>
                <a:lnTo>
                  <a:pt x="1610" y="167"/>
                </a:lnTo>
                <a:lnTo>
                  <a:pt x="1617" y="170"/>
                </a:lnTo>
                <a:lnTo>
                  <a:pt x="1610" y="166"/>
                </a:lnTo>
                <a:lnTo>
                  <a:pt x="1622" y="161"/>
                </a:lnTo>
                <a:lnTo>
                  <a:pt x="1631" y="162"/>
                </a:lnTo>
                <a:lnTo>
                  <a:pt x="1634" y="159"/>
                </a:lnTo>
                <a:lnTo>
                  <a:pt x="1656" y="161"/>
                </a:lnTo>
                <a:lnTo>
                  <a:pt x="1675" y="147"/>
                </a:lnTo>
                <a:lnTo>
                  <a:pt x="1670" y="136"/>
                </a:lnTo>
                <a:lnTo>
                  <a:pt x="1671" y="133"/>
                </a:lnTo>
                <a:lnTo>
                  <a:pt x="1670" y="131"/>
                </a:lnTo>
                <a:lnTo>
                  <a:pt x="1689" y="126"/>
                </a:lnTo>
                <a:lnTo>
                  <a:pt x="1684" y="126"/>
                </a:lnTo>
                <a:lnTo>
                  <a:pt x="1682" y="122"/>
                </a:lnTo>
                <a:lnTo>
                  <a:pt x="1681" y="126"/>
                </a:lnTo>
                <a:lnTo>
                  <a:pt x="1674" y="130"/>
                </a:lnTo>
                <a:lnTo>
                  <a:pt x="1640" y="130"/>
                </a:lnTo>
                <a:lnTo>
                  <a:pt x="1638" y="126"/>
                </a:lnTo>
                <a:lnTo>
                  <a:pt x="1633" y="124"/>
                </a:lnTo>
                <a:lnTo>
                  <a:pt x="1635" y="119"/>
                </a:lnTo>
                <a:lnTo>
                  <a:pt x="1642" y="115"/>
                </a:lnTo>
                <a:lnTo>
                  <a:pt x="1642" y="112"/>
                </a:lnTo>
                <a:lnTo>
                  <a:pt x="1661" y="107"/>
                </a:lnTo>
                <a:lnTo>
                  <a:pt x="1660" y="104"/>
                </a:lnTo>
                <a:lnTo>
                  <a:pt x="1668" y="103"/>
                </a:lnTo>
                <a:lnTo>
                  <a:pt x="1667" y="101"/>
                </a:lnTo>
                <a:lnTo>
                  <a:pt x="1667" y="100"/>
                </a:lnTo>
                <a:lnTo>
                  <a:pt x="1675" y="97"/>
                </a:lnTo>
                <a:lnTo>
                  <a:pt x="1675" y="95"/>
                </a:lnTo>
                <a:lnTo>
                  <a:pt x="1690" y="90"/>
                </a:lnTo>
                <a:lnTo>
                  <a:pt x="1693" y="92"/>
                </a:lnTo>
                <a:lnTo>
                  <a:pt x="1696" y="97"/>
                </a:lnTo>
                <a:lnTo>
                  <a:pt x="1703" y="105"/>
                </a:lnTo>
                <a:lnTo>
                  <a:pt x="1704" y="105"/>
                </a:lnTo>
                <a:lnTo>
                  <a:pt x="1697" y="97"/>
                </a:lnTo>
                <a:lnTo>
                  <a:pt x="1696" y="90"/>
                </a:lnTo>
                <a:lnTo>
                  <a:pt x="1703" y="86"/>
                </a:lnTo>
                <a:lnTo>
                  <a:pt x="1721" y="92"/>
                </a:lnTo>
                <a:lnTo>
                  <a:pt x="1729" y="92"/>
                </a:lnTo>
                <a:lnTo>
                  <a:pt x="1730" y="90"/>
                </a:lnTo>
                <a:lnTo>
                  <a:pt x="1726" y="81"/>
                </a:lnTo>
                <a:lnTo>
                  <a:pt x="1734" y="76"/>
                </a:lnTo>
                <a:lnTo>
                  <a:pt x="1722" y="69"/>
                </a:lnTo>
                <a:lnTo>
                  <a:pt x="1732" y="63"/>
                </a:lnTo>
                <a:lnTo>
                  <a:pt x="1743" y="62"/>
                </a:lnTo>
                <a:lnTo>
                  <a:pt x="1760" y="63"/>
                </a:lnTo>
                <a:lnTo>
                  <a:pt x="1763" y="72"/>
                </a:lnTo>
                <a:lnTo>
                  <a:pt x="1772" y="73"/>
                </a:lnTo>
                <a:lnTo>
                  <a:pt x="1771" y="73"/>
                </a:lnTo>
                <a:lnTo>
                  <a:pt x="1766" y="63"/>
                </a:lnTo>
                <a:lnTo>
                  <a:pt x="1751" y="61"/>
                </a:lnTo>
                <a:lnTo>
                  <a:pt x="1794" y="51"/>
                </a:lnTo>
                <a:lnTo>
                  <a:pt x="1796" y="56"/>
                </a:lnTo>
                <a:lnTo>
                  <a:pt x="1803" y="53"/>
                </a:lnTo>
                <a:lnTo>
                  <a:pt x="1808" y="53"/>
                </a:lnTo>
                <a:lnTo>
                  <a:pt x="1823" y="48"/>
                </a:lnTo>
                <a:lnTo>
                  <a:pt x="1837" y="55"/>
                </a:lnTo>
                <a:lnTo>
                  <a:pt x="1837" y="63"/>
                </a:lnTo>
                <a:lnTo>
                  <a:pt x="1831" y="70"/>
                </a:lnTo>
                <a:lnTo>
                  <a:pt x="1831" y="74"/>
                </a:lnTo>
                <a:lnTo>
                  <a:pt x="1837" y="76"/>
                </a:lnTo>
                <a:lnTo>
                  <a:pt x="1837" y="72"/>
                </a:lnTo>
                <a:lnTo>
                  <a:pt x="1846" y="66"/>
                </a:lnTo>
                <a:lnTo>
                  <a:pt x="1845" y="58"/>
                </a:lnTo>
                <a:lnTo>
                  <a:pt x="1868" y="63"/>
                </a:lnTo>
                <a:lnTo>
                  <a:pt x="1889" y="73"/>
                </a:lnTo>
                <a:lnTo>
                  <a:pt x="1894" y="72"/>
                </a:lnTo>
                <a:lnTo>
                  <a:pt x="1874" y="62"/>
                </a:lnTo>
                <a:lnTo>
                  <a:pt x="1891" y="63"/>
                </a:lnTo>
                <a:lnTo>
                  <a:pt x="1897" y="62"/>
                </a:lnTo>
                <a:lnTo>
                  <a:pt x="1878" y="52"/>
                </a:lnTo>
                <a:lnTo>
                  <a:pt x="1872" y="40"/>
                </a:lnTo>
                <a:lnTo>
                  <a:pt x="1900" y="42"/>
                </a:lnTo>
                <a:lnTo>
                  <a:pt x="1925" y="54"/>
                </a:lnTo>
                <a:lnTo>
                  <a:pt x="1942" y="57"/>
                </a:lnTo>
                <a:lnTo>
                  <a:pt x="1947" y="58"/>
                </a:lnTo>
                <a:lnTo>
                  <a:pt x="1946" y="62"/>
                </a:lnTo>
                <a:lnTo>
                  <a:pt x="1967" y="69"/>
                </a:lnTo>
                <a:lnTo>
                  <a:pt x="1973" y="67"/>
                </a:lnTo>
                <a:lnTo>
                  <a:pt x="1968" y="65"/>
                </a:lnTo>
                <a:lnTo>
                  <a:pt x="1964" y="65"/>
                </a:lnTo>
                <a:lnTo>
                  <a:pt x="1968" y="59"/>
                </a:lnTo>
                <a:lnTo>
                  <a:pt x="1965" y="52"/>
                </a:lnTo>
                <a:lnTo>
                  <a:pt x="1967" y="50"/>
                </a:lnTo>
                <a:lnTo>
                  <a:pt x="2000" y="52"/>
                </a:lnTo>
                <a:lnTo>
                  <a:pt x="1979" y="48"/>
                </a:lnTo>
                <a:lnTo>
                  <a:pt x="1979" y="49"/>
                </a:lnTo>
                <a:lnTo>
                  <a:pt x="1951" y="33"/>
                </a:lnTo>
                <a:lnTo>
                  <a:pt x="2003" y="33"/>
                </a:lnTo>
                <a:lnTo>
                  <a:pt x="2004" y="34"/>
                </a:lnTo>
                <a:lnTo>
                  <a:pt x="2001" y="34"/>
                </a:lnTo>
                <a:lnTo>
                  <a:pt x="2004" y="35"/>
                </a:lnTo>
                <a:lnTo>
                  <a:pt x="2004" y="40"/>
                </a:lnTo>
                <a:lnTo>
                  <a:pt x="2006" y="42"/>
                </a:lnTo>
                <a:lnTo>
                  <a:pt x="2008" y="40"/>
                </a:lnTo>
                <a:lnTo>
                  <a:pt x="2008" y="35"/>
                </a:lnTo>
                <a:lnTo>
                  <a:pt x="2006" y="33"/>
                </a:lnTo>
                <a:lnTo>
                  <a:pt x="2012" y="33"/>
                </a:lnTo>
                <a:lnTo>
                  <a:pt x="2031" y="41"/>
                </a:lnTo>
                <a:lnTo>
                  <a:pt x="2035" y="49"/>
                </a:lnTo>
                <a:lnTo>
                  <a:pt x="2038" y="49"/>
                </a:lnTo>
                <a:lnTo>
                  <a:pt x="2034" y="41"/>
                </a:lnTo>
                <a:lnTo>
                  <a:pt x="2036" y="36"/>
                </a:lnTo>
                <a:lnTo>
                  <a:pt x="2035" y="35"/>
                </a:lnTo>
                <a:lnTo>
                  <a:pt x="2032" y="34"/>
                </a:lnTo>
                <a:lnTo>
                  <a:pt x="2001" y="28"/>
                </a:lnTo>
                <a:lnTo>
                  <a:pt x="1960" y="25"/>
                </a:lnTo>
                <a:lnTo>
                  <a:pt x="1960" y="25"/>
                </a:lnTo>
                <a:lnTo>
                  <a:pt x="1986" y="25"/>
                </a:lnTo>
                <a:lnTo>
                  <a:pt x="1964" y="25"/>
                </a:lnTo>
                <a:lnTo>
                  <a:pt x="1954" y="21"/>
                </a:lnTo>
                <a:lnTo>
                  <a:pt x="1955" y="21"/>
                </a:lnTo>
                <a:lnTo>
                  <a:pt x="1992" y="23"/>
                </a:lnTo>
                <a:lnTo>
                  <a:pt x="1976" y="17"/>
                </a:lnTo>
                <a:lnTo>
                  <a:pt x="1986" y="17"/>
                </a:lnTo>
                <a:lnTo>
                  <a:pt x="1994" y="14"/>
                </a:lnTo>
                <a:lnTo>
                  <a:pt x="2010" y="16"/>
                </a:lnTo>
                <a:lnTo>
                  <a:pt x="2006" y="19"/>
                </a:lnTo>
                <a:lnTo>
                  <a:pt x="2012" y="18"/>
                </a:lnTo>
                <a:lnTo>
                  <a:pt x="2025" y="25"/>
                </a:lnTo>
                <a:lnTo>
                  <a:pt x="2035" y="25"/>
                </a:lnTo>
                <a:lnTo>
                  <a:pt x="2042" y="25"/>
                </a:lnTo>
                <a:lnTo>
                  <a:pt x="2053" y="33"/>
                </a:lnTo>
                <a:lnTo>
                  <a:pt x="2056" y="29"/>
                </a:lnTo>
                <a:lnTo>
                  <a:pt x="2046" y="24"/>
                </a:lnTo>
                <a:lnTo>
                  <a:pt x="2072" y="23"/>
                </a:lnTo>
                <a:lnTo>
                  <a:pt x="2050" y="21"/>
                </a:lnTo>
                <a:lnTo>
                  <a:pt x="2051" y="21"/>
                </a:lnTo>
                <a:lnTo>
                  <a:pt x="2052" y="21"/>
                </a:lnTo>
                <a:lnTo>
                  <a:pt x="2052" y="21"/>
                </a:lnTo>
                <a:lnTo>
                  <a:pt x="2051" y="21"/>
                </a:lnTo>
                <a:lnTo>
                  <a:pt x="2050" y="21"/>
                </a:lnTo>
                <a:lnTo>
                  <a:pt x="2044" y="20"/>
                </a:lnTo>
                <a:lnTo>
                  <a:pt x="2039" y="23"/>
                </a:lnTo>
                <a:lnTo>
                  <a:pt x="2025" y="17"/>
                </a:lnTo>
                <a:lnTo>
                  <a:pt x="2039" y="19"/>
                </a:lnTo>
                <a:lnTo>
                  <a:pt x="2024" y="15"/>
                </a:lnTo>
                <a:lnTo>
                  <a:pt x="2031" y="12"/>
                </a:lnTo>
                <a:lnTo>
                  <a:pt x="2052" y="20"/>
                </a:lnTo>
                <a:lnTo>
                  <a:pt x="2052" y="16"/>
                </a:lnTo>
                <a:lnTo>
                  <a:pt x="2060" y="20"/>
                </a:lnTo>
                <a:lnTo>
                  <a:pt x="2053" y="21"/>
                </a:lnTo>
                <a:lnTo>
                  <a:pt x="2053" y="21"/>
                </a:lnTo>
                <a:lnTo>
                  <a:pt x="2062" y="21"/>
                </a:lnTo>
                <a:lnTo>
                  <a:pt x="2060" y="20"/>
                </a:lnTo>
                <a:lnTo>
                  <a:pt x="2079" y="17"/>
                </a:lnTo>
                <a:lnTo>
                  <a:pt x="2051" y="13"/>
                </a:lnTo>
                <a:lnTo>
                  <a:pt x="2048" y="12"/>
                </a:lnTo>
                <a:lnTo>
                  <a:pt x="2048" y="11"/>
                </a:lnTo>
                <a:lnTo>
                  <a:pt x="2050" y="12"/>
                </a:lnTo>
                <a:lnTo>
                  <a:pt x="2048" y="10"/>
                </a:lnTo>
                <a:lnTo>
                  <a:pt x="2048" y="6"/>
                </a:lnTo>
                <a:lnTo>
                  <a:pt x="2065" y="13"/>
                </a:lnTo>
                <a:lnTo>
                  <a:pt x="2067" y="13"/>
                </a:lnTo>
                <a:lnTo>
                  <a:pt x="2062" y="8"/>
                </a:lnTo>
                <a:lnTo>
                  <a:pt x="2069" y="5"/>
                </a:lnTo>
                <a:lnTo>
                  <a:pt x="2086" y="10"/>
                </a:lnTo>
                <a:lnTo>
                  <a:pt x="2079" y="5"/>
                </a:lnTo>
                <a:lnTo>
                  <a:pt x="2116" y="0"/>
                </a:lnTo>
                <a:lnTo>
                  <a:pt x="2123" y="6"/>
                </a:lnTo>
                <a:lnTo>
                  <a:pt x="2124" y="5"/>
                </a:lnTo>
                <a:lnTo>
                  <a:pt x="2119" y="1"/>
                </a:lnTo>
                <a:lnTo>
                  <a:pt x="2173" y="0"/>
                </a:lnTo>
                <a:lnTo>
                  <a:pt x="2202" y="5"/>
                </a:lnTo>
                <a:lnTo>
                  <a:pt x="2195" y="5"/>
                </a:lnTo>
                <a:lnTo>
                  <a:pt x="2200" y="8"/>
                </a:lnTo>
                <a:lnTo>
                  <a:pt x="2217" y="5"/>
                </a:lnTo>
                <a:lnTo>
                  <a:pt x="2243" y="12"/>
                </a:lnTo>
                <a:lnTo>
                  <a:pt x="2224" y="17"/>
                </a:lnTo>
                <a:lnTo>
                  <a:pt x="2179" y="16"/>
                </a:lnTo>
                <a:lnTo>
                  <a:pt x="2151" y="21"/>
                </a:lnTo>
                <a:lnTo>
                  <a:pt x="2129" y="17"/>
                </a:lnTo>
                <a:lnTo>
                  <a:pt x="2143" y="21"/>
                </a:lnTo>
                <a:lnTo>
                  <a:pt x="2097" y="25"/>
                </a:lnTo>
                <a:lnTo>
                  <a:pt x="2102" y="28"/>
                </a:lnTo>
                <a:lnTo>
                  <a:pt x="2098" y="31"/>
                </a:lnTo>
                <a:lnTo>
                  <a:pt x="2101" y="33"/>
                </a:lnTo>
                <a:lnTo>
                  <a:pt x="2102" y="29"/>
                </a:lnTo>
                <a:lnTo>
                  <a:pt x="2109" y="25"/>
                </a:lnTo>
                <a:lnTo>
                  <a:pt x="2123" y="25"/>
                </a:lnTo>
                <a:lnTo>
                  <a:pt x="2124" y="30"/>
                </a:lnTo>
                <a:lnTo>
                  <a:pt x="2121" y="33"/>
                </a:lnTo>
                <a:lnTo>
                  <a:pt x="2123" y="33"/>
                </a:lnTo>
                <a:lnTo>
                  <a:pt x="2128" y="25"/>
                </a:lnTo>
                <a:lnTo>
                  <a:pt x="2150" y="23"/>
                </a:lnTo>
                <a:lnTo>
                  <a:pt x="2154" y="25"/>
                </a:lnTo>
                <a:lnTo>
                  <a:pt x="2179" y="17"/>
                </a:lnTo>
                <a:lnTo>
                  <a:pt x="2206" y="22"/>
                </a:lnTo>
                <a:lnTo>
                  <a:pt x="2249" y="17"/>
                </a:lnTo>
                <a:lnTo>
                  <a:pt x="2254" y="21"/>
                </a:lnTo>
                <a:lnTo>
                  <a:pt x="2251" y="21"/>
                </a:lnTo>
                <a:lnTo>
                  <a:pt x="2255" y="24"/>
                </a:lnTo>
                <a:lnTo>
                  <a:pt x="2249" y="29"/>
                </a:lnTo>
                <a:lnTo>
                  <a:pt x="2240" y="31"/>
                </a:lnTo>
                <a:lnTo>
                  <a:pt x="2267" y="26"/>
                </a:lnTo>
                <a:lnTo>
                  <a:pt x="2269" y="29"/>
                </a:lnTo>
                <a:lnTo>
                  <a:pt x="2265" y="29"/>
                </a:lnTo>
                <a:lnTo>
                  <a:pt x="2265" y="32"/>
                </a:lnTo>
                <a:lnTo>
                  <a:pt x="2273" y="28"/>
                </a:lnTo>
                <a:lnTo>
                  <a:pt x="2306" y="36"/>
                </a:lnTo>
                <a:lnTo>
                  <a:pt x="2289" y="47"/>
                </a:lnTo>
                <a:lnTo>
                  <a:pt x="2251" y="54"/>
                </a:lnTo>
                <a:lnTo>
                  <a:pt x="2182" y="55"/>
                </a:lnTo>
                <a:lnTo>
                  <a:pt x="2156" y="52"/>
                </a:lnTo>
                <a:lnTo>
                  <a:pt x="2181" y="55"/>
                </a:lnTo>
                <a:lnTo>
                  <a:pt x="2134" y="67"/>
                </a:lnTo>
                <a:lnTo>
                  <a:pt x="2135" y="73"/>
                </a:lnTo>
                <a:lnTo>
                  <a:pt x="2154" y="66"/>
                </a:lnTo>
                <a:lnTo>
                  <a:pt x="2184" y="63"/>
                </a:lnTo>
                <a:lnTo>
                  <a:pt x="2182" y="65"/>
                </a:lnTo>
                <a:lnTo>
                  <a:pt x="2185" y="65"/>
                </a:lnTo>
                <a:lnTo>
                  <a:pt x="2192" y="65"/>
                </a:lnTo>
                <a:lnTo>
                  <a:pt x="2249" y="65"/>
                </a:lnTo>
                <a:lnTo>
                  <a:pt x="2248" y="68"/>
                </a:lnTo>
                <a:lnTo>
                  <a:pt x="2247" y="69"/>
                </a:lnTo>
                <a:lnTo>
                  <a:pt x="2214" y="79"/>
                </a:lnTo>
                <a:lnTo>
                  <a:pt x="2218" y="80"/>
                </a:lnTo>
                <a:lnTo>
                  <a:pt x="2214" y="81"/>
                </a:lnTo>
                <a:lnTo>
                  <a:pt x="2218" y="81"/>
                </a:lnTo>
                <a:lnTo>
                  <a:pt x="2219" y="81"/>
                </a:lnTo>
                <a:lnTo>
                  <a:pt x="2219" y="81"/>
                </a:lnTo>
                <a:lnTo>
                  <a:pt x="2219" y="81"/>
                </a:lnTo>
                <a:lnTo>
                  <a:pt x="2221" y="82"/>
                </a:lnTo>
                <a:lnTo>
                  <a:pt x="2251" y="73"/>
                </a:lnTo>
                <a:lnTo>
                  <a:pt x="2263" y="73"/>
                </a:lnTo>
                <a:lnTo>
                  <a:pt x="2265" y="69"/>
                </a:lnTo>
                <a:lnTo>
                  <a:pt x="2265" y="62"/>
                </a:lnTo>
                <a:lnTo>
                  <a:pt x="2266" y="58"/>
                </a:lnTo>
                <a:lnTo>
                  <a:pt x="2289" y="57"/>
                </a:lnTo>
                <a:lnTo>
                  <a:pt x="2293" y="62"/>
                </a:lnTo>
                <a:lnTo>
                  <a:pt x="2293" y="69"/>
                </a:lnTo>
                <a:lnTo>
                  <a:pt x="2291" y="78"/>
                </a:lnTo>
                <a:lnTo>
                  <a:pt x="2288" y="84"/>
                </a:lnTo>
                <a:lnTo>
                  <a:pt x="2281" y="85"/>
                </a:lnTo>
                <a:lnTo>
                  <a:pt x="2284" y="85"/>
                </a:lnTo>
                <a:lnTo>
                  <a:pt x="2269" y="98"/>
                </a:lnTo>
                <a:lnTo>
                  <a:pt x="2270" y="102"/>
                </a:lnTo>
                <a:lnTo>
                  <a:pt x="2267" y="105"/>
                </a:lnTo>
                <a:lnTo>
                  <a:pt x="2260" y="109"/>
                </a:lnTo>
                <a:lnTo>
                  <a:pt x="2264" y="109"/>
                </a:lnTo>
                <a:lnTo>
                  <a:pt x="2271" y="104"/>
                </a:lnTo>
                <a:lnTo>
                  <a:pt x="2273" y="101"/>
                </a:lnTo>
                <a:lnTo>
                  <a:pt x="2273" y="97"/>
                </a:lnTo>
                <a:lnTo>
                  <a:pt x="2284" y="95"/>
                </a:lnTo>
                <a:lnTo>
                  <a:pt x="2313" y="74"/>
                </a:lnTo>
                <a:lnTo>
                  <a:pt x="2326" y="70"/>
                </a:lnTo>
                <a:lnTo>
                  <a:pt x="2321" y="73"/>
                </a:lnTo>
                <a:lnTo>
                  <a:pt x="2319" y="78"/>
                </a:lnTo>
                <a:lnTo>
                  <a:pt x="2335" y="74"/>
                </a:lnTo>
                <a:lnTo>
                  <a:pt x="2339" y="78"/>
                </a:lnTo>
                <a:lnTo>
                  <a:pt x="2341" y="76"/>
                </a:lnTo>
                <a:lnTo>
                  <a:pt x="2349" y="78"/>
                </a:lnTo>
                <a:lnTo>
                  <a:pt x="2349" y="74"/>
                </a:lnTo>
                <a:lnTo>
                  <a:pt x="2357" y="73"/>
                </a:lnTo>
                <a:lnTo>
                  <a:pt x="2354" y="72"/>
                </a:lnTo>
                <a:lnTo>
                  <a:pt x="2354" y="69"/>
                </a:lnTo>
                <a:lnTo>
                  <a:pt x="2360" y="70"/>
                </a:lnTo>
                <a:lnTo>
                  <a:pt x="2358" y="69"/>
                </a:lnTo>
                <a:lnTo>
                  <a:pt x="2369" y="69"/>
                </a:lnTo>
                <a:lnTo>
                  <a:pt x="2372" y="65"/>
                </a:lnTo>
                <a:lnTo>
                  <a:pt x="2400" y="65"/>
                </a:lnTo>
                <a:lnTo>
                  <a:pt x="2422" y="69"/>
                </a:lnTo>
                <a:lnTo>
                  <a:pt x="2438" y="75"/>
                </a:lnTo>
                <a:lnTo>
                  <a:pt x="2410" y="93"/>
                </a:lnTo>
                <a:lnTo>
                  <a:pt x="2396" y="93"/>
                </a:lnTo>
                <a:lnTo>
                  <a:pt x="2394" y="93"/>
                </a:lnTo>
                <a:lnTo>
                  <a:pt x="2402" y="96"/>
                </a:lnTo>
                <a:lnTo>
                  <a:pt x="2385" y="101"/>
                </a:lnTo>
                <a:lnTo>
                  <a:pt x="2381" y="104"/>
                </a:lnTo>
                <a:lnTo>
                  <a:pt x="2354" y="101"/>
                </a:lnTo>
                <a:lnTo>
                  <a:pt x="2352" y="104"/>
                </a:lnTo>
                <a:lnTo>
                  <a:pt x="2344" y="108"/>
                </a:lnTo>
                <a:lnTo>
                  <a:pt x="2322" y="107"/>
                </a:lnTo>
                <a:lnTo>
                  <a:pt x="2316" y="109"/>
                </a:lnTo>
                <a:lnTo>
                  <a:pt x="2307" y="109"/>
                </a:lnTo>
                <a:lnTo>
                  <a:pt x="2313" y="114"/>
                </a:lnTo>
                <a:lnTo>
                  <a:pt x="2325" y="108"/>
                </a:lnTo>
                <a:lnTo>
                  <a:pt x="2347" y="113"/>
                </a:lnTo>
                <a:lnTo>
                  <a:pt x="2361" y="108"/>
                </a:lnTo>
                <a:lnTo>
                  <a:pt x="2381" y="114"/>
                </a:lnTo>
                <a:lnTo>
                  <a:pt x="2374" y="118"/>
                </a:lnTo>
                <a:lnTo>
                  <a:pt x="2372" y="118"/>
                </a:lnTo>
                <a:lnTo>
                  <a:pt x="2373" y="120"/>
                </a:lnTo>
                <a:lnTo>
                  <a:pt x="2366" y="122"/>
                </a:lnTo>
                <a:lnTo>
                  <a:pt x="2330" y="122"/>
                </a:lnTo>
                <a:lnTo>
                  <a:pt x="2329" y="121"/>
                </a:lnTo>
                <a:lnTo>
                  <a:pt x="2328" y="122"/>
                </a:lnTo>
                <a:lnTo>
                  <a:pt x="2316" y="130"/>
                </a:lnTo>
                <a:lnTo>
                  <a:pt x="2319" y="130"/>
                </a:lnTo>
                <a:lnTo>
                  <a:pt x="2316" y="134"/>
                </a:lnTo>
                <a:lnTo>
                  <a:pt x="2317" y="134"/>
                </a:lnTo>
                <a:lnTo>
                  <a:pt x="2313" y="138"/>
                </a:lnTo>
                <a:lnTo>
                  <a:pt x="2317" y="138"/>
                </a:lnTo>
                <a:lnTo>
                  <a:pt x="2318" y="140"/>
                </a:lnTo>
                <a:lnTo>
                  <a:pt x="2324" y="135"/>
                </a:lnTo>
                <a:lnTo>
                  <a:pt x="2317" y="136"/>
                </a:lnTo>
                <a:lnTo>
                  <a:pt x="2317" y="135"/>
                </a:lnTo>
                <a:lnTo>
                  <a:pt x="2323" y="132"/>
                </a:lnTo>
                <a:lnTo>
                  <a:pt x="2335" y="127"/>
                </a:lnTo>
                <a:lnTo>
                  <a:pt x="2354" y="125"/>
                </a:lnTo>
                <a:lnTo>
                  <a:pt x="2361" y="128"/>
                </a:lnTo>
                <a:lnTo>
                  <a:pt x="2349" y="138"/>
                </a:lnTo>
                <a:lnTo>
                  <a:pt x="2335" y="136"/>
                </a:lnTo>
                <a:lnTo>
                  <a:pt x="2329" y="142"/>
                </a:lnTo>
                <a:lnTo>
                  <a:pt x="2329" y="144"/>
                </a:lnTo>
                <a:lnTo>
                  <a:pt x="2327" y="148"/>
                </a:lnTo>
                <a:lnTo>
                  <a:pt x="2329" y="151"/>
                </a:lnTo>
                <a:lnTo>
                  <a:pt x="2326" y="158"/>
                </a:lnTo>
                <a:lnTo>
                  <a:pt x="2330" y="154"/>
                </a:lnTo>
                <a:lnTo>
                  <a:pt x="2336" y="154"/>
                </a:lnTo>
                <a:lnTo>
                  <a:pt x="2335" y="158"/>
                </a:lnTo>
                <a:lnTo>
                  <a:pt x="2339" y="162"/>
                </a:lnTo>
                <a:lnTo>
                  <a:pt x="2333" y="162"/>
                </a:lnTo>
                <a:lnTo>
                  <a:pt x="2335" y="158"/>
                </a:lnTo>
                <a:lnTo>
                  <a:pt x="2333" y="158"/>
                </a:lnTo>
                <a:lnTo>
                  <a:pt x="2333" y="158"/>
                </a:lnTo>
                <a:lnTo>
                  <a:pt x="2333" y="155"/>
                </a:lnTo>
                <a:lnTo>
                  <a:pt x="2332" y="158"/>
                </a:lnTo>
                <a:lnTo>
                  <a:pt x="2329" y="155"/>
                </a:lnTo>
                <a:lnTo>
                  <a:pt x="2329" y="159"/>
                </a:lnTo>
                <a:lnTo>
                  <a:pt x="2322" y="161"/>
                </a:lnTo>
                <a:lnTo>
                  <a:pt x="2326" y="165"/>
                </a:lnTo>
                <a:lnTo>
                  <a:pt x="2325" y="167"/>
                </a:lnTo>
                <a:lnTo>
                  <a:pt x="2307" y="170"/>
                </a:lnTo>
                <a:lnTo>
                  <a:pt x="2311" y="174"/>
                </a:lnTo>
                <a:lnTo>
                  <a:pt x="2303" y="178"/>
                </a:lnTo>
                <a:lnTo>
                  <a:pt x="2311" y="178"/>
                </a:lnTo>
                <a:lnTo>
                  <a:pt x="2305" y="188"/>
                </a:lnTo>
                <a:lnTo>
                  <a:pt x="2305" y="189"/>
                </a:lnTo>
                <a:lnTo>
                  <a:pt x="2299" y="194"/>
                </a:lnTo>
                <a:lnTo>
                  <a:pt x="2303" y="194"/>
                </a:lnTo>
                <a:lnTo>
                  <a:pt x="2299" y="196"/>
                </a:lnTo>
                <a:lnTo>
                  <a:pt x="2296" y="200"/>
                </a:lnTo>
                <a:lnTo>
                  <a:pt x="2302" y="199"/>
                </a:lnTo>
                <a:lnTo>
                  <a:pt x="2295" y="210"/>
                </a:lnTo>
                <a:lnTo>
                  <a:pt x="2303" y="210"/>
                </a:lnTo>
                <a:lnTo>
                  <a:pt x="2303" y="209"/>
                </a:lnTo>
                <a:lnTo>
                  <a:pt x="2306" y="201"/>
                </a:lnTo>
                <a:lnTo>
                  <a:pt x="2311" y="195"/>
                </a:lnTo>
                <a:lnTo>
                  <a:pt x="2319" y="200"/>
                </a:lnTo>
                <a:lnTo>
                  <a:pt x="2335" y="204"/>
                </a:lnTo>
                <a:lnTo>
                  <a:pt x="2340" y="208"/>
                </a:lnTo>
                <a:lnTo>
                  <a:pt x="2333" y="211"/>
                </a:lnTo>
                <a:lnTo>
                  <a:pt x="2321" y="206"/>
                </a:lnTo>
                <a:lnTo>
                  <a:pt x="2311" y="208"/>
                </a:lnTo>
                <a:lnTo>
                  <a:pt x="2319" y="213"/>
                </a:lnTo>
                <a:lnTo>
                  <a:pt x="2325" y="214"/>
                </a:lnTo>
                <a:lnTo>
                  <a:pt x="2313" y="218"/>
                </a:lnTo>
                <a:lnTo>
                  <a:pt x="2329" y="218"/>
                </a:lnTo>
                <a:lnTo>
                  <a:pt x="2333" y="220"/>
                </a:lnTo>
                <a:lnTo>
                  <a:pt x="2331" y="219"/>
                </a:lnTo>
                <a:lnTo>
                  <a:pt x="2337" y="222"/>
                </a:lnTo>
                <a:lnTo>
                  <a:pt x="2337" y="218"/>
                </a:lnTo>
                <a:lnTo>
                  <a:pt x="2340" y="218"/>
                </a:lnTo>
                <a:lnTo>
                  <a:pt x="2348" y="218"/>
                </a:lnTo>
                <a:lnTo>
                  <a:pt x="2350" y="221"/>
                </a:lnTo>
                <a:lnTo>
                  <a:pt x="2351" y="231"/>
                </a:lnTo>
                <a:lnTo>
                  <a:pt x="2350" y="238"/>
                </a:lnTo>
                <a:lnTo>
                  <a:pt x="2345" y="238"/>
                </a:lnTo>
                <a:lnTo>
                  <a:pt x="2345" y="235"/>
                </a:lnTo>
                <a:lnTo>
                  <a:pt x="2339" y="233"/>
                </a:lnTo>
                <a:lnTo>
                  <a:pt x="2314" y="228"/>
                </a:lnTo>
                <a:lnTo>
                  <a:pt x="2310" y="230"/>
                </a:lnTo>
                <a:lnTo>
                  <a:pt x="2316" y="230"/>
                </a:lnTo>
                <a:lnTo>
                  <a:pt x="2299" y="232"/>
                </a:lnTo>
                <a:lnTo>
                  <a:pt x="2311" y="233"/>
                </a:lnTo>
                <a:lnTo>
                  <a:pt x="2306" y="234"/>
                </a:lnTo>
                <a:lnTo>
                  <a:pt x="2302" y="238"/>
                </a:lnTo>
                <a:lnTo>
                  <a:pt x="2302" y="238"/>
                </a:lnTo>
                <a:lnTo>
                  <a:pt x="2302" y="239"/>
                </a:lnTo>
                <a:lnTo>
                  <a:pt x="2302" y="239"/>
                </a:lnTo>
                <a:lnTo>
                  <a:pt x="2292" y="234"/>
                </a:lnTo>
                <a:lnTo>
                  <a:pt x="2285" y="234"/>
                </a:lnTo>
                <a:lnTo>
                  <a:pt x="2285" y="235"/>
                </a:lnTo>
                <a:lnTo>
                  <a:pt x="2281" y="238"/>
                </a:lnTo>
                <a:lnTo>
                  <a:pt x="2289" y="243"/>
                </a:lnTo>
                <a:lnTo>
                  <a:pt x="2289" y="241"/>
                </a:lnTo>
                <a:lnTo>
                  <a:pt x="2292" y="239"/>
                </a:lnTo>
                <a:lnTo>
                  <a:pt x="2299" y="241"/>
                </a:lnTo>
                <a:lnTo>
                  <a:pt x="2300" y="243"/>
                </a:lnTo>
                <a:lnTo>
                  <a:pt x="2295" y="246"/>
                </a:lnTo>
                <a:lnTo>
                  <a:pt x="2288" y="246"/>
                </a:lnTo>
                <a:lnTo>
                  <a:pt x="2302" y="246"/>
                </a:lnTo>
                <a:lnTo>
                  <a:pt x="2300" y="251"/>
                </a:lnTo>
                <a:lnTo>
                  <a:pt x="2307" y="250"/>
                </a:lnTo>
                <a:lnTo>
                  <a:pt x="2307" y="250"/>
                </a:lnTo>
                <a:lnTo>
                  <a:pt x="2308" y="250"/>
                </a:lnTo>
                <a:lnTo>
                  <a:pt x="2308" y="251"/>
                </a:lnTo>
                <a:lnTo>
                  <a:pt x="2326" y="252"/>
                </a:lnTo>
                <a:lnTo>
                  <a:pt x="2325" y="254"/>
                </a:lnTo>
                <a:lnTo>
                  <a:pt x="2325" y="257"/>
                </a:lnTo>
                <a:lnTo>
                  <a:pt x="2319" y="262"/>
                </a:lnTo>
                <a:lnTo>
                  <a:pt x="2295" y="262"/>
                </a:lnTo>
                <a:lnTo>
                  <a:pt x="2327" y="263"/>
                </a:lnTo>
                <a:lnTo>
                  <a:pt x="2329" y="266"/>
                </a:lnTo>
                <a:lnTo>
                  <a:pt x="2329" y="269"/>
                </a:lnTo>
                <a:lnTo>
                  <a:pt x="2333" y="272"/>
                </a:lnTo>
                <a:lnTo>
                  <a:pt x="2333" y="277"/>
                </a:lnTo>
                <a:lnTo>
                  <a:pt x="2332" y="284"/>
                </a:lnTo>
                <a:lnTo>
                  <a:pt x="2326" y="285"/>
                </a:lnTo>
                <a:lnTo>
                  <a:pt x="2325" y="284"/>
                </a:lnTo>
                <a:lnTo>
                  <a:pt x="2326" y="280"/>
                </a:lnTo>
                <a:lnTo>
                  <a:pt x="2322" y="279"/>
                </a:lnTo>
                <a:lnTo>
                  <a:pt x="2314" y="280"/>
                </a:lnTo>
                <a:lnTo>
                  <a:pt x="2303" y="273"/>
                </a:lnTo>
                <a:lnTo>
                  <a:pt x="2292" y="269"/>
                </a:lnTo>
                <a:lnTo>
                  <a:pt x="2303" y="276"/>
                </a:lnTo>
                <a:lnTo>
                  <a:pt x="2316" y="286"/>
                </a:lnTo>
                <a:lnTo>
                  <a:pt x="2307" y="286"/>
                </a:lnTo>
                <a:lnTo>
                  <a:pt x="2299" y="293"/>
                </a:lnTo>
                <a:lnTo>
                  <a:pt x="2308" y="290"/>
                </a:lnTo>
                <a:lnTo>
                  <a:pt x="2313" y="290"/>
                </a:lnTo>
                <a:lnTo>
                  <a:pt x="2313" y="289"/>
                </a:lnTo>
                <a:lnTo>
                  <a:pt x="2319" y="287"/>
                </a:lnTo>
                <a:lnTo>
                  <a:pt x="2326" y="289"/>
                </a:lnTo>
                <a:lnTo>
                  <a:pt x="2322" y="292"/>
                </a:lnTo>
                <a:lnTo>
                  <a:pt x="2329" y="293"/>
                </a:lnTo>
                <a:lnTo>
                  <a:pt x="2322" y="299"/>
                </a:lnTo>
                <a:lnTo>
                  <a:pt x="2316" y="297"/>
                </a:lnTo>
                <a:lnTo>
                  <a:pt x="2316" y="298"/>
                </a:lnTo>
                <a:lnTo>
                  <a:pt x="2308" y="302"/>
                </a:lnTo>
                <a:lnTo>
                  <a:pt x="2321" y="302"/>
                </a:lnTo>
                <a:lnTo>
                  <a:pt x="2327" y="304"/>
                </a:lnTo>
                <a:lnTo>
                  <a:pt x="2332" y="298"/>
                </a:lnTo>
                <a:lnTo>
                  <a:pt x="2333" y="300"/>
                </a:lnTo>
                <a:lnTo>
                  <a:pt x="2333" y="302"/>
                </a:lnTo>
                <a:lnTo>
                  <a:pt x="2333" y="303"/>
                </a:lnTo>
                <a:lnTo>
                  <a:pt x="2338" y="304"/>
                </a:lnTo>
                <a:lnTo>
                  <a:pt x="2333" y="310"/>
                </a:lnTo>
                <a:lnTo>
                  <a:pt x="2329" y="312"/>
                </a:lnTo>
                <a:lnTo>
                  <a:pt x="2322" y="311"/>
                </a:lnTo>
                <a:lnTo>
                  <a:pt x="2319" y="306"/>
                </a:lnTo>
                <a:lnTo>
                  <a:pt x="2315" y="306"/>
                </a:lnTo>
                <a:lnTo>
                  <a:pt x="2310" y="304"/>
                </a:lnTo>
                <a:lnTo>
                  <a:pt x="2304" y="306"/>
                </a:lnTo>
                <a:lnTo>
                  <a:pt x="2300" y="306"/>
                </a:lnTo>
                <a:lnTo>
                  <a:pt x="2294" y="301"/>
                </a:lnTo>
                <a:lnTo>
                  <a:pt x="2299" y="307"/>
                </a:lnTo>
                <a:lnTo>
                  <a:pt x="2295" y="308"/>
                </a:lnTo>
                <a:lnTo>
                  <a:pt x="2289" y="310"/>
                </a:lnTo>
                <a:lnTo>
                  <a:pt x="2294" y="310"/>
                </a:lnTo>
                <a:lnTo>
                  <a:pt x="2289" y="313"/>
                </a:lnTo>
                <a:lnTo>
                  <a:pt x="2289" y="314"/>
                </a:lnTo>
                <a:lnTo>
                  <a:pt x="2286" y="315"/>
                </a:lnTo>
                <a:lnTo>
                  <a:pt x="2295" y="318"/>
                </a:lnTo>
                <a:lnTo>
                  <a:pt x="2297" y="321"/>
                </a:lnTo>
                <a:lnTo>
                  <a:pt x="2295" y="318"/>
                </a:lnTo>
                <a:lnTo>
                  <a:pt x="2297" y="315"/>
                </a:lnTo>
                <a:lnTo>
                  <a:pt x="2317" y="321"/>
                </a:lnTo>
                <a:lnTo>
                  <a:pt x="2317" y="325"/>
                </a:lnTo>
                <a:lnTo>
                  <a:pt x="2314" y="327"/>
                </a:lnTo>
                <a:lnTo>
                  <a:pt x="2317" y="328"/>
                </a:lnTo>
                <a:lnTo>
                  <a:pt x="2316" y="334"/>
                </a:lnTo>
                <a:lnTo>
                  <a:pt x="2319" y="334"/>
                </a:lnTo>
                <a:lnTo>
                  <a:pt x="2317" y="336"/>
                </a:lnTo>
                <a:lnTo>
                  <a:pt x="2302" y="333"/>
                </a:lnTo>
                <a:lnTo>
                  <a:pt x="2300" y="336"/>
                </a:lnTo>
                <a:lnTo>
                  <a:pt x="2290" y="339"/>
                </a:lnTo>
                <a:lnTo>
                  <a:pt x="2273" y="334"/>
                </a:lnTo>
                <a:lnTo>
                  <a:pt x="2265" y="330"/>
                </a:lnTo>
                <a:lnTo>
                  <a:pt x="2265" y="326"/>
                </a:lnTo>
                <a:lnTo>
                  <a:pt x="2273" y="326"/>
                </a:lnTo>
                <a:lnTo>
                  <a:pt x="2264" y="323"/>
                </a:lnTo>
                <a:lnTo>
                  <a:pt x="2257" y="326"/>
                </a:lnTo>
                <a:lnTo>
                  <a:pt x="2257" y="330"/>
                </a:lnTo>
                <a:lnTo>
                  <a:pt x="2251" y="330"/>
                </a:lnTo>
                <a:lnTo>
                  <a:pt x="2257" y="334"/>
                </a:lnTo>
                <a:lnTo>
                  <a:pt x="2248" y="336"/>
                </a:lnTo>
                <a:lnTo>
                  <a:pt x="2244" y="339"/>
                </a:lnTo>
                <a:lnTo>
                  <a:pt x="2241" y="341"/>
                </a:lnTo>
                <a:lnTo>
                  <a:pt x="2242" y="341"/>
                </a:lnTo>
                <a:lnTo>
                  <a:pt x="2241" y="342"/>
                </a:lnTo>
                <a:lnTo>
                  <a:pt x="2237" y="342"/>
                </a:lnTo>
                <a:lnTo>
                  <a:pt x="2230" y="340"/>
                </a:lnTo>
                <a:lnTo>
                  <a:pt x="2227" y="342"/>
                </a:lnTo>
                <a:lnTo>
                  <a:pt x="2222" y="341"/>
                </a:lnTo>
                <a:lnTo>
                  <a:pt x="2213" y="342"/>
                </a:lnTo>
                <a:lnTo>
                  <a:pt x="2217" y="344"/>
                </a:lnTo>
                <a:lnTo>
                  <a:pt x="2217" y="346"/>
                </a:lnTo>
                <a:lnTo>
                  <a:pt x="2229" y="346"/>
                </a:lnTo>
                <a:lnTo>
                  <a:pt x="2232" y="342"/>
                </a:lnTo>
                <a:lnTo>
                  <a:pt x="2251" y="344"/>
                </a:lnTo>
                <a:lnTo>
                  <a:pt x="2251" y="348"/>
                </a:lnTo>
                <a:lnTo>
                  <a:pt x="2249" y="350"/>
                </a:lnTo>
                <a:lnTo>
                  <a:pt x="2241" y="350"/>
                </a:lnTo>
                <a:lnTo>
                  <a:pt x="2236" y="353"/>
                </a:lnTo>
                <a:lnTo>
                  <a:pt x="2227" y="350"/>
                </a:lnTo>
                <a:lnTo>
                  <a:pt x="2217" y="350"/>
                </a:lnTo>
                <a:lnTo>
                  <a:pt x="2231" y="354"/>
                </a:lnTo>
                <a:lnTo>
                  <a:pt x="2227" y="355"/>
                </a:lnTo>
                <a:lnTo>
                  <a:pt x="2232" y="353"/>
                </a:lnTo>
                <a:lnTo>
                  <a:pt x="2229" y="360"/>
                </a:lnTo>
                <a:lnTo>
                  <a:pt x="2243" y="352"/>
                </a:lnTo>
                <a:lnTo>
                  <a:pt x="2253" y="353"/>
                </a:lnTo>
                <a:lnTo>
                  <a:pt x="2253" y="355"/>
                </a:lnTo>
                <a:lnTo>
                  <a:pt x="2253" y="360"/>
                </a:lnTo>
                <a:lnTo>
                  <a:pt x="2256" y="362"/>
                </a:lnTo>
                <a:lnTo>
                  <a:pt x="2237" y="367"/>
                </a:lnTo>
                <a:lnTo>
                  <a:pt x="2246" y="367"/>
                </a:lnTo>
                <a:lnTo>
                  <a:pt x="2248" y="366"/>
                </a:lnTo>
                <a:lnTo>
                  <a:pt x="2257" y="365"/>
                </a:lnTo>
                <a:lnTo>
                  <a:pt x="2280" y="375"/>
                </a:lnTo>
                <a:lnTo>
                  <a:pt x="2277" y="376"/>
                </a:lnTo>
                <a:lnTo>
                  <a:pt x="2288" y="380"/>
                </a:lnTo>
                <a:lnTo>
                  <a:pt x="2280" y="387"/>
                </a:lnTo>
                <a:lnTo>
                  <a:pt x="2288" y="381"/>
                </a:lnTo>
                <a:lnTo>
                  <a:pt x="2285" y="387"/>
                </a:lnTo>
                <a:lnTo>
                  <a:pt x="2285" y="388"/>
                </a:lnTo>
                <a:lnTo>
                  <a:pt x="2292" y="383"/>
                </a:lnTo>
                <a:lnTo>
                  <a:pt x="2296" y="383"/>
                </a:lnTo>
                <a:lnTo>
                  <a:pt x="2292" y="388"/>
                </a:lnTo>
                <a:lnTo>
                  <a:pt x="2294" y="390"/>
                </a:lnTo>
                <a:lnTo>
                  <a:pt x="2298" y="389"/>
                </a:lnTo>
                <a:lnTo>
                  <a:pt x="2300" y="393"/>
                </a:lnTo>
                <a:lnTo>
                  <a:pt x="2299" y="395"/>
                </a:lnTo>
                <a:lnTo>
                  <a:pt x="2302" y="395"/>
                </a:lnTo>
                <a:lnTo>
                  <a:pt x="2295" y="399"/>
                </a:lnTo>
                <a:lnTo>
                  <a:pt x="2299" y="399"/>
                </a:lnTo>
                <a:lnTo>
                  <a:pt x="2300" y="400"/>
                </a:lnTo>
                <a:lnTo>
                  <a:pt x="2300" y="400"/>
                </a:lnTo>
                <a:lnTo>
                  <a:pt x="2302" y="404"/>
                </a:lnTo>
                <a:lnTo>
                  <a:pt x="2300" y="410"/>
                </a:lnTo>
                <a:lnTo>
                  <a:pt x="2302" y="411"/>
                </a:lnTo>
                <a:lnTo>
                  <a:pt x="2299" y="411"/>
                </a:lnTo>
                <a:lnTo>
                  <a:pt x="2300" y="414"/>
                </a:lnTo>
                <a:lnTo>
                  <a:pt x="2299" y="419"/>
                </a:lnTo>
                <a:lnTo>
                  <a:pt x="2303" y="419"/>
                </a:lnTo>
                <a:lnTo>
                  <a:pt x="2295" y="424"/>
                </a:lnTo>
                <a:lnTo>
                  <a:pt x="2296" y="419"/>
                </a:lnTo>
                <a:lnTo>
                  <a:pt x="2295" y="419"/>
                </a:lnTo>
                <a:lnTo>
                  <a:pt x="2289" y="419"/>
                </a:lnTo>
                <a:lnTo>
                  <a:pt x="2287" y="416"/>
                </a:lnTo>
                <a:lnTo>
                  <a:pt x="2286" y="419"/>
                </a:lnTo>
                <a:lnTo>
                  <a:pt x="2276" y="419"/>
                </a:lnTo>
                <a:lnTo>
                  <a:pt x="2266" y="412"/>
                </a:lnTo>
                <a:lnTo>
                  <a:pt x="2261" y="410"/>
                </a:lnTo>
                <a:lnTo>
                  <a:pt x="2261" y="402"/>
                </a:lnTo>
                <a:lnTo>
                  <a:pt x="2254" y="394"/>
                </a:lnTo>
                <a:lnTo>
                  <a:pt x="2251" y="395"/>
                </a:lnTo>
                <a:lnTo>
                  <a:pt x="2243" y="389"/>
                </a:lnTo>
                <a:lnTo>
                  <a:pt x="2240" y="389"/>
                </a:lnTo>
                <a:lnTo>
                  <a:pt x="2247" y="394"/>
                </a:lnTo>
                <a:lnTo>
                  <a:pt x="2244" y="398"/>
                </a:lnTo>
                <a:lnTo>
                  <a:pt x="2241" y="395"/>
                </a:lnTo>
                <a:lnTo>
                  <a:pt x="2243" y="399"/>
                </a:lnTo>
                <a:lnTo>
                  <a:pt x="2241" y="400"/>
                </a:lnTo>
                <a:lnTo>
                  <a:pt x="2241" y="400"/>
                </a:lnTo>
                <a:lnTo>
                  <a:pt x="2240" y="400"/>
                </a:lnTo>
                <a:lnTo>
                  <a:pt x="2240" y="400"/>
                </a:lnTo>
                <a:lnTo>
                  <a:pt x="2240" y="401"/>
                </a:lnTo>
                <a:lnTo>
                  <a:pt x="2230" y="405"/>
                </a:lnTo>
                <a:lnTo>
                  <a:pt x="2218" y="407"/>
                </a:lnTo>
                <a:lnTo>
                  <a:pt x="2218" y="407"/>
                </a:lnTo>
                <a:lnTo>
                  <a:pt x="2218" y="407"/>
                </a:lnTo>
                <a:lnTo>
                  <a:pt x="2218" y="407"/>
                </a:lnTo>
                <a:lnTo>
                  <a:pt x="2217" y="407"/>
                </a:lnTo>
                <a:lnTo>
                  <a:pt x="2214" y="407"/>
                </a:lnTo>
                <a:lnTo>
                  <a:pt x="2215" y="407"/>
                </a:lnTo>
                <a:lnTo>
                  <a:pt x="2217" y="407"/>
                </a:lnTo>
                <a:lnTo>
                  <a:pt x="2218" y="407"/>
                </a:lnTo>
                <a:lnTo>
                  <a:pt x="2213" y="410"/>
                </a:lnTo>
                <a:lnTo>
                  <a:pt x="2213" y="407"/>
                </a:lnTo>
                <a:lnTo>
                  <a:pt x="2213" y="407"/>
                </a:lnTo>
                <a:lnTo>
                  <a:pt x="2203" y="407"/>
                </a:lnTo>
                <a:lnTo>
                  <a:pt x="2209" y="408"/>
                </a:lnTo>
                <a:lnTo>
                  <a:pt x="2203" y="415"/>
                </a:lnTo>
                <a:lnTo>
                  <a:pt x="2189" y="417"/>
                </a:lnTo>
                <a:lnTo>
                  <a:pt x="2189" y="421"/>
                </a:lnTo>
                <a:lnTo>
                  <a:pt x="2203" y="417"/>
                </a:lnTo>
                <a:lnTo>
                  <a:pt x="2203" y="418"/>
                </a:lnTo>
                <a:lnTo>
                  <a:pt x="2204" y="421"/>
                </a:lnTo>
                <a:lnTo>
                  <a:pt x="2227" y="417"/>
                </a:lnTo>
                <a:lnTo>
                  <a:pt x="2232" y="421"/>
                </a:lnTo>
                <a:lnTo>
                  <a:pt x="2227" y="423"/>
                </a:lnTo>
                <a:lnTo>
                  <a:pt x="2224" y="423"/>
                </a:lnTo>
                <a:lnTo>
                  <a:pt x="2232" y="426"/>
                </a:lnTo>
                <a:lnTo>
                  <a:pt x="2249" y="418"/>
                </a:lnTo>
                <a:lnTo>
                  <a:pt x="2248" y="422"/>
                </a:lnTo>
                <a:lnTo>
                  <a:pt x="2251" y="421"/>
                </a:lnTo>
                <a:lnTo>
                  <a:pt x="2273" y="427"/>
                </a:lnTo>
                <a:lnTo>
                  <a:pt x="2294" y="427"/>
                </a:lnTo>
                <a:lnTo>
                  <a:pt x="2291" y="430"/>
                </a:lnTo>
                <a:lnTo>
                  <a:pt x="2278" y="434"/>
                </a:lnTo>
                <a:lnTo>
                  <a:pt x="2276" y="433"/>
                </a:lnTo>
                <a:lnTo>
                  <a:pt x="2277" y="434"/>
                </a:lnTo>
                <a:lnTo>
                  <a:pt x="2276" y="434"/>
                </a:lnTo>
                <a:lnTo>
                  <a:pt x="2277" y="437"/>
                </a:lnTo>
                <a:lnTo>
                  <a:pt x="2273" y="438"/>
                </a:lnTo>
                <a:lnTo>
                  <a:pt x="2275" y="439"/>
                </a:lnTo>
                <a:lnTo>
                  <a:pt x="2267" y="439"/>
                </a:lnTo>
                <a:lnTo>
                  <a:pt x="2273" y="441"/>
                </a:lnTo>
                <a:lnTo>
                  <a:pt x="2269" y="444"/>
                </a:lnTo>
                <a:lnTo>
                  <a:pt x="2262" y="440"/>
                </a:lnTo>
                <a:lnTo>
                  <a:pt x="2266" y="444"/>
                </a:lnTo>
                <a:lnTo>
                  <a:pt x="2260" y="447"/>
                </a:lnTo>
                <a:lnTo>
                  <a:pt x="2257" y="447"/>
                </a:lnTo>
                <a:lnTo>
                  <a:pt x="2257" y="451"/>
                </a:lnTo>
                <a:lnTo>
                  <a:pt x="2249" y="451"/>
                </a:lnTo>
                <a:lnTo>
                  <a:pt x="2248" y="451"/>
                </a:lnTo>
                <a:close/>
                <a:moveTo>
                  <a:pt x="2288" y="391"/>
                </a:moveTo>
                <a:lnTo>
                  <a:pt x="2289" y="399"/>
                </a:lnTo>
                <a:lnTo>
                  <a:pt x="2289" y="399"/>
                </a:lnTo>
                <a:lnTo>
                  <a:pt x="2289" y="391"/>
                </a:lnTo>
                <a:lnTo>
                  <a:pt x="2291" y="391"/>
                </a:lnTo>
                <a:lnTo>
                  <a:pt x="2288" y="391"/>
                </a:lnTo>
                <a:close/>
                <a:moveTo>
                  <a:pt x="2243" y="374"/>
                </a:moveTo>
                <a:lnTo>
                  <a:pt x="2245" y="371"/>
                </a:lnTo>
                <a:lnTo>
                  <a:pt x="2245" y="371"/>
                </a:lnTo>
                <a:lnTo>
                  <a:pt x="2243" y="374"/>
                </a:lnTo>
                <a:close/>
                <a:moveTo>
                  <a:pt x="2299" y="327"/>
                </a:moveTo>
                <a:lnTo>
                  <a:pt x="2300" y="326"/>
                </a:lnTo>
                <a:lnTo>
                  <a:pt x="2299" y="324"/>
                </a:lnTo>
                <a:lnTo>
                  <a:pt x="2299" y="327"/>
                </a:lnTo>
                <a:close/>
                <a:moveTo>
                  <a:pt x="2313" y="294"/>
                </a:moveTo>
                <a:lnTo>
                  <a:pt x="2313" y="294"/>
                </a:lnTo>
                <a:lnTo>
                  <a:pt x="2313" y="293"/>
                </a:lnTo>
                <a:lnTo>
                  <a:pt x="2313" y="294"/>
                </a:lnTo>
                <a:close/>
                <a:moveTo>
                  <a:pt x="2312" y="255"/>
                </a:moveTo>
                <a:lnTo>
                  <a:pt x="2316" y="258"/>
                </a:lnTo>
                <a:lnTo>
                  <a:pt x="2317" y="258"/>
                </a:lnTo>
                <a:lnTo>
                  <a:pt x="2312" y="255"/>
                </a:lnTo>
                <a:close/>
                <a:moveTo>
                  <a:pt x="2285" y="330"/>
                </a:moveTo>
                <a:lnTo>
                  <a:pt x="2286" y="330"/>
                </a:lnTo>
                <a:lnTo>
                  <a:pt x="2292" y="330"/>
                </a:lnTo>
                <a:lnTo>
                  <a:pt x="2285" y="330"/>
                </a:lnTo>
                <a:close/>
                <a:moveTo>
                  <a:pt x="2299" y="214"/>
                </a:moveTo>
                <a:lnTo>
                  <a:pt x="2302" y="214"/>
                </a:lnTo>
                <a:lnTo>
                  <a:pt x="2303" y="210"/>
                </a:lnTo>
                <a:lnTo>
                  <a:pt x="2299" y="214"/>
                </a:lnTo>
                <a:close/>
                <a:moveTo>
                  <a:pt x="2240" y="319"/>
                </a:moveTo>
                <a:lnTo>
                  <a:pt x="2244" y="325"/>
                </a:lnTo>
                <a:lnTo>
                  <a:pt x="2249" y="329"/>
                </a:lnTo>
                <a:lnTo>
                  <a:pt x="2249" y="326"/>
                </a:lnTo>
                <a:lnTo>
                  <a:pt x="2240" y="319"/>
                </a:lnTo>
                <a:close/>
                <a:moveTo>
                  <a:pt x="2215" y="334"/>
                </a:moveTo>
                <a:lnTo>
                  <a:pt x="2225" y="337"/>
                </a:lnTo>
                <a:lnTo>
                  <a:pt x="2217" y="333"/>
                </a:lnTo>
                <a:lnTo>
                  <a:pt x="2215" y="334"/>
                </a:lnTo>
                <a:close/>
                <a:moveTo>
                  <a:pt x="2213" y="402"/>
                </a:moveTo>
                <a:lnTo>
                  <a:pt x="2211" y="399"/>
                </a:lnTo>
                <a:lnTo>
                  <a:pt x="2210" y="399"/>
                </a:lnTo>
                <a:lnTo>
                  <a:pt x="2213" y="402"/>
                </a:lnTo>
                <a:close/>
                <a:moveTo>
                  <a:pt x="2198" y="375"/>
                </a:moveTo>
                <a:lnTo>
                  <a:pt x="2203" y="378"/>
                </a:lnTo>
                <a:lnTo>
                  <a:pt x="2202" y="377"/>
                </a:lnTo>
                <a:lnTo>
                  <a:pt x="2211" y="380"/>
                </a:lnTo>
                <a:lnTo>
                  <a:pt x="2218" y="385"/>
                </a:lnTo>
                <a:lnTo>
                  <a:pt x="2217" y="388"/>
                </a:lnTo>
                <a:lnTo>
                  <a:pt x="2202" y="391"/>
                </a:lnTo>
                <a:lnTo>
                  <a:pt x="2217" y="391"/>
                </a:lnTo>
                <a:lnTo>
                  <a:pt x="2217" y="391"/>
                </a:lnTo>
                <a:lnTo>
                  <a:pt x="2220" y="391"/>
                </a:lnTo>
                <a:lnTo>
                  <a:pt x="2221" y="391"/>
                </a:lnTo>
                <a:lnTo>
                  <a:pt x="2221" y="391"/>
                </a:lnTo>
                <a:lnTo>
                  <a:pt x="2238" y="389"/>
                </a:lnTo>
                <a:lnTo>
                  <a:pt x="2224" y="388"/>
                </a:lnTo>
                <a:lnTo>
                  <a:pt x="2213" y="378"/>
                </a:lnTo>
                <a:lnTo>
                  <a:pt x="2200" y="375"/>
                </a:lnTo>
                <a:lnTo>
                  <a:pt x="2198" y="375"/>
                </a:lnTo>
                <a:close/>
                <a:moveTo>
                  <a:pt x="1654" y="222"/>
                </a:moveTo>
                <a:lnTo>
                  <a:pt x="1646" y="223"/>
                </a:lnTo>
                <a:lnTo>
                  <a:pt x="1650" y="223"/>
                </a:lnTo>
                <a:lnTo>
                  <a:pt x="1654" y="222"/>
                </a:lnTo>
                <a:close/>
                <a:moveTo>
                  <a:pt x="1671" y="256"/>
                </a:moveTo>
                <a:lnTo>
                  <a:pt x="1668" y="257"/>
                </a:lnTo>
                <a:lnTo>
                  <a:pt x="1671" y="257"/>
                </a:lnTo>
                <a:lnTo>
                  <a:pt x="1671" y="256"/>
                </a:lnTo>
                <a:close/>
                <a:moveTo>
                  <a:pt x="1796" y="85"/>
                </a:moveTo>
                <a:lnTo>
                  <a:pt x="1783" y="79"/>
                </a:lnTo>
                <a:lnTo>
                  <a:pt x="1785" y="81"/>
                </a:lnTo>
                <a:lnTo>
                  <a:pt x="1794" y="85"/>
                </a:lnTo>
                <a:lnTo>
                  <a:pt x="1796" y="85"/>
                </a:lnTo>
                <a:close/>
                <a:moveTo>
                  <a:pt x="1815" y="56"/>
                </a:moveTo>
                <a:lnTo>
                  <a:pt x="1813" y="53"/>
                </a:lnTo>
                <a:lnTo>
                  <a:pt x="1812" y="54"/>
                </a:lnTo>
                <a:lnTo>
                  <a:pt x="1815" y="56"/>
                </a:lnTo>
                <a:close/>
                <a:moveTo>
                  <a:pt x="1816" y="367"/>
                </a:moveTo>
                <a:lnTo>
                  <a:pt x="1821" y="367"/>
                </a:lnTo>
                <a:lnTo>
                  <a:pt x="1817" y="366"/>
                </a:lnTo>
                <a:lnTo>
                  <a:pt x="1815" y="365"/>
                </a:lnTo>
                <a:lnTo>
                  <a:pt x="1815" y="366"/>
                </a:lnTo>
                <a:lnTo>
                  <a:pt x="1815" y="368"/>
                </a:lnTo>
                <a:lnTo>
                  <a:pt x="1812" y="375"/>
                </a:lnTo>
                <a:lnTo>
                  <a:pt x="1818" y="370"/>
                </a:lnTo>
                <a:lnTo>
                  <a:pt x="1816" y="367"/>
                </a:lnTo>
                <a:close/>
                <a:moveTo>
                  <a:pt x="1826" y="370"/>
                </a:moveTo>
                <a:lnTo>
                  <a:pt x="1820" y="377"/>
                </a:lnTo>
                <a:lnTo>
                  <a:pt x="1822" y="376"/>
                </a:lnTo>
                <a:lnTo>
                  <a:pt x="1826" y="370"/>
                </a:lnTo>
                <a:close/>
                <a:moveTo>
                  <a:pt x="1834" y="372"/>
                </a:moveTo>
                <a:lnTo>
                  <a:pt x="1833" y="366"/>
                </a:lnTo>
                <a:lnTo>
                  <a:pt x="1830" y="366"/>
                </a:lnTo>
                <a:lnTo>
                  <a:pt x="1834" y="372"/>
                </a:lnTo>
                <a:close/>
                <a:moveTo>
                  <a:pt x="1839" y="375"/>
                </a:moveTo>
                <a:lnTo>
                  <a:pt x="1834" y="373"/>
                </a:lnTo>
                <a:lnTo>
                  <a:pt x="1839" y="379"/>
                </a:lnTo>
                <a:lnTo>
                  <a:pt x="1839" y="375"/>
                </a:lnTo>
                <a:close/>
                <a:moveTo>
                  <a:pt x="1885" y="456"/>
                </a:moveTo>
                <a:lnTo>
                  <a:pt x="1883" y="456"/>
                </a:lnTo>
                <a:lnTo>
                  <a:pt x="1883" y="456"/>
                </a:lnTo>
                <a:lnTo>
                  <a:pt x="1884" y="457"/>
                </a:lnTo>
                <a:lnTo>
                  <a:pt x="1880" y="456"/>
                </a:lnTo>
                <a:lnTo>
                  <a:pt x="1883" y="455"/>
                </a:lnTo>
                <a:lnTo>
                  <a:pt x="1881" y="455"/>
                </a:lnTo>
                <a:lnTo>
                  <a:pt x="1879" y="455"/>
                </a:lnTo>
                <a:lnTo>
                  <a:pt x="1879" y="454"/>
                </a:lnTo>
                <a:lnTo>
                  <a:pt x="1878" y="454"/>
                </a:lnTo>
                <a:lnTo>
                  <a:pt x="1879" y="454"/>
                </a:lnTo>
                <a:lnTo>
                  <a:pt x="1879" y="449"/>
                </a:lnTo>
                <a:lnTo>
                  <a:pt x="1875" y="455"/>
                </a:lnTo>
                <a:lnTo>
                  <a:pt x="1877" y="455"/>
                </a:lnTo>
                <a:lnTo>
                  <a:pt x="1874" y="457"/>
                </a:lnTo>
                <a:lnTo>
                  <a:pt x="1878" y="455"/>
                </a:lnTo>
                <a:lnTo>
                  <a:pt x="1882" y="460"/>
                </a:lnTo>
                <a:lnTo>
                  <a:pt x="1884" y="457"/>
                </a:lnTo>
                <a:lnTo>
                  <a:pt x="1885" y="458"/>
                </a:lnTo>
                <a:lnTo>
                  <a:pt x="1885" y="456"/>
                </a:lnTo>
                <a:close/>
                <a:moveTo>
                  <a:pt x="1852" y="483"/>
                </a:moveTo>
                <a:lnTo>
                  <a:pt x="1855" y="484"/>
                </a:lnTo>
                <a:lnTo>
                  <a:pt x="1859" y="483"/>
                </a:lnTo>
                <a:lnTo>
                  <a:pt x="1852" y="483"/>
                </a:lnTo>
                <a:close/>
                <a:moveTo>
                  <a:pt x="1845" y="483"/>
                </a:moveTo>
                <a:lnTo>
                  <a:pt x="1845" y="483"/>
                </a:lnTo>
                <a:lnTo>
                  <a:pt x="1846" y="483"/>
                </a:lnTo>
                <a:lnTo>
                  <a:pt x="1845" y="483"/>
                </a:lnTo>
                <a:close/>
                <a:moveTo>
                  <a:pt x="1840" y="487"/>
                </a:moveTo>
                <a:lnTo>
                  <a:pt x="1841" y="487"/>
                </a:lnTo>
                <a:lnTo>
                  <a:pt x="1845" y="487"/>
                </a:lnTo>
                <a:lnTo>
                  <a:pt x="1840" y="487"/>
                </a:lnTo>
                <a:close/>
                <a:moveTo>
                  <a:pt x="1855" y="535"/>
                </a:moveTo>
                <a:lnTo>
                  <a:pt x="1852" y="533"/>
                </a:lnTo>
                <a:lnTo>
                  <a:pt x="1850" y="534"/>
                </a:lnTo>
                <a:lnTo>
                  <a:pt x="1855" y="535"/>
                </a:lnTo>
                <a:close/>
                <a:moveTo>
                  <a:pt x="1860" y="518"/>
                </a:moveTo>
                <a:lnTo>
                  <a:pt x="1856" y="521"/>
                </a:lnTo>
                <a:lnTo>
                  <a:pt x="1851" y="525"/>
                </a:lnTo>
                <a:lnTo>
                  <a:pt x="1859" y="520"/>
                </a:lnTo>
                <a:lnTo>
                  <a:pt x="1860" y="518"/>
                </a:lnTo>
                <a:close/>
                <a:moveTo>
                  <a:pt x="1862" y="531"/>
                </a:moveTo>
                <a:lnTo>
                  <a:pt x="1861" y="532"/>
                </a:lnTo>
                <a:lnTo>
                  <a:pt x="1862" y="533"/>
                </a:lnTo>
                <a:lnTo>
                  <a:pt x="1862" y="531"/>
                </a:lnTo>
                <a:close/>
                <a:moveTo>
                  <a:pt x="1871" y="556"/>
                </a:moveTo>
                <a:lnTo>
                  <a:pt x="1866" y="559"/>
                </a:lnTo>
                <a:lnTo>
                  <a:pt x="1864" y="558"/>
                </a:lnTo>
                <a:lnTo>
                  <a:pt x="1861" y="562"/>
                </a:lnTo>
                <a:lnTo>
                  <a:pt x="1866" y="560"/>
                </a:lnTo>
                <a:lnTo>
                  <a:pt x="1871" y="556"/>
                </a:lnTo>
                <a:close/>
                <a:moveTo>
                  <a:pt x="1878" y="558"/>
                </a:moveTo>
                <a:lnTo>
                  <a:pt x="1875" y="551"/>
                </a:lnTo>
                <a:lnTo>
                  <a:pt x="1875" y="558"/>
                </a:lnTo>
                <a:lnTo>
                  <a:pt x="1878" y="558"/>
                </a:lnTo>
                <a:close/>
                <a:moveTo>
                  <a:pt x="1882" y="515"/>
                </a:moveTo>
                <a:lnTo>
                  <a:pt x="1874" y="512"/>
                </a:lnTo>
                <a:lnTo>
                  <a:pt x="1876" y="509"/>
                </a:lnTo>
                <a:lnTo>
                  <a:pt x="1872" y="511"/>
                </a:lnTo>
                <a:lnTo>
                  <a:pt x="1865" y="516"/>
                </a:lnTo>
                <a:lnTo>
                  <a:pt x="1871" y="515"/>
                </a:lnTo>
                <a:lnTo>
                  <a:pt x="1882" y="515"/>
                </a:lnTo>
                <a:close/>
                <a:moveTo>
                  <a:pt x="1888" y="509"/>
                </a:moveTo>
                <a:lnTo>
                  <a:pt x="1880" y="507"/>
                </a:lnTo>
                <a:lnTo>
                  <a:pt x="1880" y="507"/>
                </a:lnTo>
                <a:lnTo>
                  <a:pt x="1888" y="509"/>
                </a:lnTo>
                <a:close/>
                <a:moveTo>
                  <a:pt x="1907" y="632"/>
                </a:moveTo>
                <a:lnTo>
                  <a:pt x="1904" y="632"/>
                </a:lnTo>
                <a:lnTo>
                  <a:pt x="1900" y="634"/>
                </a:lnTo>
                <a:lnTo>
                  <a:pt x="1899" y="635"/>
                </a:lnTo>
                <a:lnTo>
                  <a:pt x="1899" y="636"/>
                </a:lnTo>
                <a:lnTo>
                  <a:pt x="1901" y="634"/>
                </a:lnTo>
                <a:lnTo>
                  <a:pt x="1907" y="632"/>
                </a:lnTo>
                <a:close/>
                <a:moveTo>
                  <a:pt x="1919" y="644"/>
                </a:moveTo>
                <a:lnTo>
                  <a:pt x="1915" y="644"/>
                </a:lnTo>
                <a:lnTo>
                  <a:pt x="1913" y="645"/>
                </a:lnTo>
                <a:lnTo>
                  <a:pt x="1914" y="648"/>
                </a:lnTo>
                <a:lnTo>
                  <a:pt x="1915" y="649"/>
                </a:lnTo>
                <a:lnTo>
                  <a:pt x="1919" y="644"/>
                </a:lnTo>
                <a:close/>
                <a:moveTo>
                  <a:pt x="1922" y="650"/>
                </a:moveTo>
                <a:lnTo>
                  <a:pt x="1920" y="651"/>
                </a:lnTo>
                <a:lnTo>
                  <a:pt x="1920" y="652"/>
                </a:lnTo>
                <a:lnTo>
                  <a:pt x="1922" y="650"/>
                </a:lnTo>
                <a:close/>
                <a:moveTo>
                  <a:pt x="1952" y="648"/>
                </a:moveTo>
                <a:lnTo>
                  <a:pt x="1949" y="645"/>
                </a:lnTo>
                <a:lnTo>
                  <a:pt x="1951" y="644"/>
                </a:lnTo>
                <a:lnTo>
                  <a:pt x="1947" y="645"/>
                </a:lnTo>
                <a:lnTo>
                  <a:pt x="1948" y="648"/>
                </a:lnTo>
                <a:lnTo>
                  <a:pt x="1948" y="648"/>
                </a:lnTo>
                <a:lnTo>
                  <a:pt x="1945" y="651"/>
                </a:lnTo>
                <a:lnTo>
                  <a:pt x="1952" y="648"/>
                </a:lnTo>
                <a:close/>
                <a:moveTo>
                  <a:pt x="1958" y="655"/>
                </a:moveTo>
                <a:lnTo>
                  <a:pt x="1955" y="652"/>
                </a:lnTo>
                <a:lnTo>
                  <a:pt x="1954" y="657"/>
                </a:lnTo>
                <a:lnTo>
                  <a:pt x="1958" y="655"/>
                </a:lnTo>
                <a:close/>
                <a:moveTo>
                  <a:pt x="1982" y="662"/>
                </a:moveTo>
                <a:lnTo>
                  <a:pt x="1980" y="656"/>
                </a:lnTo>
                <a:lnTo>
                  <a:pt x="1980" y="662"/>
                </a:lnTo>
                <a:lnTo>
                  <a:pt x="1982" y="662"/>
                </a:lnTo>
                <a:close/>
                <a:moveTo>
                  <a:pt x="2003" y="603"/>
                </a:moveTo>
                <a:lnTo>
                  <a:pt x="2005" y="605"/>
                </a:lnTo>
                <a:lnTo>
                  <a:pt x="2007" y="606"/>
                </a:lnTo>
                <a:lnTo>
                  <a:pt x="2003" y="603"/>
                </a:lnTo>
                <a:close/>
                <a:moveTo>
                  <a:pt x="2057" y="535"/>
                </a:moveTo>
                <a:lnTo>
                  <a:pt x="2056" y="531"/>
                </a:lnTo>
                <a:lnTo>
                  <a:pt x="2056" y="535"/>
                </a:lnTo>
                <a:lnTo>
                  <a:pt x="2057" y="535"/>
                </a:lnTo>
                <a:close/>
                <a:moveTo>
                  <a:pt x="2075" y="527"/>
                </a:moveTo>
                <a:lnTo>
                  <a:pt x="2067" y="527"/>
                </a:lnTo>
                <a:lnTo>
                  <a:pt x="2064" y="527"/>
                </a:lnTo>
                <a:lnTo>
                  <a:pt x="2065" y="529"/>
                </a:lnTo>
                <a:lnTo>
                  <a:pt x="2062" y="529"/>
                </a:lnTo>
                <a:lnTo>
                  <a:pt x="2064" y="533"/>
                </a:lnTo>
                <a:lnTo>
                  <a:pt x="2062" y="535"/>
                </a:lnTo>
                <a:lnTo>
                  <a:pt x="2060" y="533"/>
                </a:lnTo>
                <a:lnTo>
                  <a:pt x="2060" y="536"/>
                </a:lnTo>
                <a:lnTo>
                  <a:pt x="2062" y="536"/>
                </a:lnTo>
                <a:lnTo>
                  <a:pt x="2061" y="537"/>
                </a:lnTo>
                <a:lnTo>
                  <a:pt x="2066" y="536"/>
                </a:lnTo>
                <a:lnTo>
                  <a:pt x="2067" y="536"/>
                </a:lnTo>
                <a:lnTo>
                  <a:pt x="2065" y="533"/>
                </a:lnTo>
                <a:lnTo>
                  <a:pt x="2075" y="527"/>
                </a:lnTo>
                <a:close/>
                <a:moveTo>
                  <a:pt x="2214" y="469"/>
                </a:moveTo>
                <a:lnTo>
                  <a:pt x="2214" y="468"/>
                </a:lnTo>
                <a:lnTo>
                  <a:pt x="2213" y="469"/>
                </a:lnTo>
                <a:lnTo>
                  <a:pt x="2214" y="469"/>
                </a:lnTo>
                <a:close/>
                <a:moveTo>
                  <a:pt x="2224" y="423"/>
                </a:moveTo>
                <a:lnTo>
                  <a:pt x="2211" y="430"/>
                </a:lnTo>
                <a:lnTo>
                  <a:pt x="2200" y="428"/>
                </a:lnTo>
                <a:lnTo>
                  <a:pt x="2202" y="431"/>
                </a:lnTo>
                <a:lnTo>
                  <a:pt x="2211" y="431"/>
                </a:lnTo>
                <a:lnTo>
                  <a:pt x="2213" y="431"/>
                </a:lnTo>
                <a:lnTo>
                  <a:pt x="2213" y="435"/>
                </a:lnTo>
                <a:lnTo>
                  <a:pt x="2217" y="435"/>
                </a:lnTo>
                <a:lnTo>
                  <a:pt x="2221" y="427"/>
                </a:lnTo>
                <a:lnTo>
                  <a:pt x="2224" y="423"/>
                </a:lnTo>
                <a:close/>
                <a:moveTo>
                  <a:pt x="1872" y="574"/>
                </a:moveTo>
                <a:lnTo>
                  <a:pt x="1877" y="569"/>
                </a:lnTo>
                <a:lnTo>
                  <a:pt x="1874" y="568"/>
                </a:lnTo>
                <a:lnTo>
                  <a:pt x="1868" y="575"/>
                </a:lnTo>
                <a:lnTo>
                  <a:pt x="1872" y="574"/>
                </a:lnTo>
                <a:close/>
                <a:moveTo>
                  <a:pt x="2350" y="172"/>
                </a:moveTo>
                <a:lnTo>
                  <a:pt x="2352" y="170"/>
                </a:lnTo>
                <a:lnTo>
                  <a:pt x="2350" y="167"/>
                </a:lnTo>
                <a:lnTo>
                  <a:pt x="2350" y="172"/>
                </a:lnTo>
                <a:close/>
                <a:moveTo>
                  <a:pt x="1871" y="568"/>
                </a:moveTo>
                <a:lnTo>
                  <a:pt x="1868" y="570"/>
                </a:lnTo>
                <a:lnTo>
                  <a:pt x="1871" y="570"/>
                </a:lnTo>
                <a:lnTo>
                  <a:pt x="1872" y="568"/>
                </a:lnTo>
                <a:lnTo>
                  <a:pt x="1871" y="568"/>
                </a:lnTo>
                <a:close/>
                <a:moveTo>
                  <a:pt x="1866" y="559"/>
                </a:moveTo>
                <a:lnTo>
                  <a:pt x="1866" y="559"/>
                </a:lnTo>
                <a:lnTo>
                  <a:pt x="1864" y="559"/>
                </a:lnTo>
                <a:lnTo>
                  <a:pt x="1866" y="559"/>
                </a:lnTo>
                <a:close/>
                <a:moveTo>
                  <a:pt x="1835" y="403"/>
                </a:moveTo>
                <a:lnTo>
                  <a:pt x="1838" y="403"/>
                </a:lnTo>
                <a:lnTo>
                  <a:pt x="1840" y="400"/>
                </a:lnTo>
                <a:lnTo>
                  <a:pt x="1837" y="396"/>
                </a:lnTo>
                <a:lnTo>
                  <a:pt x="1830" y="401"/>
                </a:lnTo>
                <a:lnTo>
                  <a:pt x="1835" y="403"/>
                </a:lnTo>
                <a:close/>
                <a:moveTo>
                  <a:pt x="1871" y="467"/>
                </a:moveTo>
                <a:lnTo>
                  <a:pt x="1874" y="467"/>
                </a:lnTo>
                <a:lnTo>
                  <a:pt x="1872" y="464"/>
                </a:lnTo>
                <a:lnTo>
                  <a:pt x="1871" y="467"/>
                </a:lnTo>
                <a:close/>
                <a:moveTo>
                  <a:pt x="1866" y="574"/>
                </a:moveTo>
                <a:lnTo>
                  <a:pt x="1868" y="571"/>
                </a:lnTo>
                <a:lnTo>
                  <a:pt x="1867" y="571"/>
                </a:lnTo>
                <a:lnTo>
                  <a:pt x="1866" y="574"/>
                </a:lnTo>
                <a:close/>
                <a:moveTo>
                  <a:pt x="1869" y="444"/>
                </a:moveTo>
                <a:lnTo>
                  <a:pt x="1871" y="441"/>
                </a:lnTo>
                <a:lnTo>
                  <a:pt x="1871" y="438"/>
                </a:lnTo>
                <a:lnTo>
                  <a:pt x="1878" y="434"/>
                </a:lnTo>
                <a:lnTo>
                  <a:pt x="1873" y="433"/>
                </a:lnTo>
                <a:lnTo>
                  <a:pt x="1868" y="435"/>
                </a:lnTo>
                <a:lnTo>
                  <a:pt x="1874" y="435"/>
                </a:lnTo>
                <a:lnTo>
                  <a:pt x="1867" y="439"/>
                </a:lnTo>
                <a:lnTo>
                  <a:pt x="1869" y="444"/>
                </a:lnTo>
                <a:close/>
                <a:moveTo>
                  <a:pt x="2361" y="289"/>
                </a:moveTo>
                <a:lnTo>
                  <a:pt x="2362" y="285"/>
                </a:lnTo>
                <a:lnTo>
                  <a:pt x="2358" y="287"/>
                </a:lnTo>
                <a:lnTo>
                  <a:pt x="2349" y="281"/>
                </a:lnTo>
                <a:lnTo>
                  <a:pt x="2355" y="280"/>
                </a:lnTo>
                <a:lnTo>
                  <a:pt x="2354" y="277"/>
                </a:lnTo>
                <a:lnTo>
                  <a:pt x="2351" y="275"/>
                </a:lnTo>
                <a:lnTo>
                  <a:pt x="2350" y="280"/>
                </a:lnTo>
                <a:lnTo>
                  <a:pt x="2344" y="277"/>
                </a:lnTo>
                <a:lnTo>
                  <a:pt x="2341" y="280"/>
                </a:lnTo>
                <a:lnTo>
                  <a:pt x="2340" y="290"/>
                </a:lnTo>
                <a:lnTo>
                  <a:pt x="2355" y="290"/>
                </a:lnTo>
                <a:lnTo>
                  <a:pt x="2357" y="290"/>
                </a:lnTo>
                <a:lnTo>
                  <a:pt x="2357" y="290"/>
                </a:lnTo>
                <a:lnTo>
                  <a:pt x="2361" y="289"/>
                </a:lnTo>
                <a:close/>
                <a:moveTo>
                  <a:pt x="2306" y="200"/>
                </a:moveTo>
                <a:lnTo>
                  <a:pt x="2308" y="195"/>
                </a:lnTo>
                <a:lnTo>
                  <a:pt x="2303" y="199"/>
                </a:lnTo>
                <a:lnTo>
                  <a:pt x="2306" y="200"/>
                </a:lnTo>
                <a:close/>
                <a:moveTo>
                  <a:pt x="2330" y="233"/>
                </a:moveTo>
                <a:lnTo>
                  <a:pt x="2329" y="233"/>
                </a:lnTo>
                <a:lnTo>
                  <a:pt x="2328" y="234"/>
                </a:lnTo>
                <a:lnTo>
                  <a:pt x="2330" y="233"/>
                </a:lnTo>
                <a:close/>
                <a:moveTo>
                  <a:pt x="2325" y="208"/>
                </a:moveTo>
                <a:lnTo>
                  <a:pt x="2322" y="207"/>
                </a:lnTo>
                <a:lnTo>
                  <a:pt x="2317" y="208"/>
                </a:lnTo>
                <a:lnTo>
                  <a:pt x="2325" y="208"/>
                </a:lnTo>
                <a:close/>
                <a:moveTo>
                  <a:pt x="2317" y="198"/>
                </a:moveTo>
                <a:lnTo>
                  <a:pt x="2325" y="199"/>
                </a:lnTo>
                <a:lnTo>
                  <a:pt x="2325" y="198"/>
                </a:lnTo>
                <a:lnTo>
                  <a:pt x="2325" y="198"/>
                </a:lnTo>
                <a:lnTo>
                  <a:pt x="2317" y="198"/>
                </a:lnTo>
                <a:close/>
                <a:moveTo>
                  <a:pt x="2322" y="247"/>
                </a:moveTo>
                <a:lnTo>
                  <a:pt x="2314" y="247"/>
                </a:lnTo>
                <a:lnTo>
                  <a:pt x="2319" y="251"/>
                </a:lnTo>
                <a:lnTo>
                  <a:pt x="2322" y="247"/>
                </a:lnTo>
                <a:close/>
                <a:moveTo>
                  <a:pt x="2335" y="190"/>
                </a:moveTo>
                <a:lnTo>
                  <a:pt x="2333" y="192"/>
                </a:lnTo>
                <a:lnTo>
                  <a:pt x="2335" y="192"/>
                </a:lnTo>
                <a:lnTo>
                  <a:pt x="2335" y="190"/>
                </a:lnTo>
                <a:close/>
                <a:moveTo>
                  <a:pt x="2358" y="155"/>
                </a:moveTo>
                <a:lnTo>
                  <a:pt x="2352" y="161"/>
                </a:lnTo>
                <a:lnTo>
                  <a:pt x="2351" y="165"/>
                </a:lnTo>
                <a:lnTo>
                  <a:pt x="2359" y="158"/>
                </a:lnTo>
                <a:lnTo>
                  <a:pt x="2358" y="155"/>
                </a:lnTo>
                <a:close/>
                <a:moveTo>
                  <a:pt x="2302" y="239"/>
                </a:moveTo>
                <a:lnTo>
                  <a:pt x="2307" y="241"/>
                </a:lnTo>
                <a:lnTo>
                  <a:pt x="2310" y="239"/>
                </a:lnTo>
                <a:lnTo>
                  <a:pt x="2302" y="239"/>
                </a:lnTo>
                <a:lnTo>
                  <a:pt x="2302" y="239"/>
                </a:lnTo>
                <a:close/>
                <a:moveTo>
                  <a:pt x="2314" y="243"/>
                </a:moveTo>
                <a:lnTo>
                  <a:pt x="2308" y="245"/>
                </a:lnTo>
                <a:lnTo>
                  <a:pt x="2313" y="246"/>
                </a:lnTo>
                <a:lnTo>
                  <a:pt x="2314" y="243"/>
                </a:lnTo>
                <a:close/>
                <a:moveTo>
                  <a:pt x="2333" y="188"/>
                </a:moveTo>
                <a:lnTo>
                  <a:pt x="2335" y="189"/>
                </a:lnTo>
                <a:lnTo>
                  <a:pt x="2340" y="188"/>
                </a:lnTo>
                <a:lnTo>
                  <a:pt x="2333" y="188"/>
                </a:lnTo>
                <a:close/>
                <a:moveTo>
                  <a:pt x="2340" y="190"/>
                </a:moveTo>
                <a:lnTo>
                  <a:pt x="2336" y="192"/>
                </a:lnTo>
                <a:lnTo>
                  <a:pt x="2339" y="193"/>
                </a:lnTo>
                <a:lnTo>
                  <a:pt x="2340" y="190"/>
                </a:lnTo>
                <a:close/>
                <a:moveTo>
                  <a:pt x="2358" y="205"/>
                </a:moveTo>
                <a:lnTo>
                  <a:pt x="2359" y="201"/>
                </a:lnTo>
                <a:lnTo>
                  <a:pt x="2358" y="199"/>
                </a:lnTo>
                <a:lnTo>
                  <a:pt x="2354" y="200"/>
                </a:lnTo>
                <a:lnTo>
                  <a:pt x="2350" y="207"/>
                </a:lnTo>
                <a:lnTo>
                  <a:pt x="2358" y="205"/>
                </a:lnTo>
                <a:close/>
                <a:moveTo>
                  <a:pt x="2328" y="200"/>
                </a:moveTo>
                <a:lnTo>
                  <a:pt x="2335" y="201"/>
                </a:lnTo>
                <a:lnTo>
                  <a:pt x="2327" y="199"/>
                </a:lnTo>
                <a:lnTo>
                  <a:pt x="2328" y="200"/>
                </a:lnTo>
                <a:close/>
                <a:moveTo>
                  <a:pt x="2329" y="188"/>
                </a:moveTo>
                <a:lnTo>
                  <a:pt x="2332" y="185"/>
                </a:lnTo>
                <a:lnTo>
                  <a:pt x="2330" y="184"/>
                </a:lnTo>
                <a:lnTo>
                  <a:pt x="2329" y="184"/>
                </a:lnTo>
                <a:lnTo>
                  <a:pt x="2329" y="188"/>
                </a:lnTo>
                <a:close/>
                <a:moveTo>
                  <a:pt x="2328" y="171"/>
                </a:moveTo>
                <a:lnTo>
                  <a:pt x="2333" y="172"/>
                </a:lnTo>
                <a:lnTo>
                  <a:pt x="2336" y="171"/>
                </a:lnTo>
                <a:lnTo>
                  <a:pt x="2333" y="170"/>
                </a:lnTo>
                <a:lnTo>
                  <a:pt x="2336" y="166"/>
                </a:lnTo>
                <a:lnTo>
                  <a:pt x="2328" y="171"/>
                </a:lnTo>
                <a:close/>
                <a:moveTo>
                  <a:pt x="2333" y="184"/>
                </a:moveTo>
                <a:lnTo>
                  <a:pt x="2333" y="185"/>
                </a:lnTo>
                <a:lnTo>
                  <a:pt x="2339" y="184"/>
                </a:lnTo>
                <a:lnTo>
                  <a:pt x="2335" y="182"/>
                </a:lnTo>
                <a:lnTo>
                  <a:pt x="2333" y="184"/>
                </a:lnTo>
                <a:close/>
                <a:moveTo>
                  <a:pt x="3972" y="1590"/>
                </a:moveTo>
                <a:lnTo>
                  <a:pt x="3976" y="1594"/>
                </a:lnTo>
                <a:lnTo>
                  <a:pt x="3977" y="1591"/>
                </a:lnTo>
                <a:lnTo>
                  <a:pt x="3976" y="1587"/>
                </a:lnTo>
                <a:lnTo>
                  <a:pt x="3972" y="1590"/>
                </a:lnTo>
                <a:close/>
                <a:moveTo>
                  <a:pt x="4012" y="1660"/>
                </a:moveTo>
                <a:lnTo>
                  <a:pt x="4013" y="1660"/>
                </a:lnTo>
                <a:lnTo>
                  <a:pt x="4012" y="1659"/>
                </a:lnTo>
                <a:lnTo>
                  <a:pt x="4012" y="1660"/>
                </a:lnTo>
                <a:close/>
                <a:moveTo>
                  <a:pt x="4026" y="1658"/>
                </a:moveTo>
                <a:lnTo>
                  <a:pt x="4024" y="1658"/>
                </a:lnTo>
                <a:lnTo>
                  <a:pt x="4027" y="1662"/>
                </a:lnTo>
                <a:lnTo>
                  <a:pt x="4026" y="1658"/>
                </a:lnTo>
                <a:close/>
                <a:moveTo>
                  <a:pt x="4032" y="1677"/>
                </a:moveTo>
                <a:lnTo>
                  <a:pt x="4030" y="1672"/>
                </a:lnTo>
                <a:lnTo>
                  <a:pt x="4027" y="1672"/>
                </a:lnTo>
                <a:lnTo>
                  <a:pt x="4024" y="1674"/>
                </a:lnTo>
                <a:lnTo>
                  <a:pt x="4031" y="1681"/>
                </a:lnTo>
                <a:lnTo>
                  <a:pt x="4032" y="1682"/>
                </a:lnTo>
                <a:lnTo>
                  <a:pt x="4032" y="1676"/>
                </a:lnTo>
                <a:lnTo>
                  <a:pt x="4032" y="1677"/>
                </a:lnTo>
                <a:close/>
                <a:moveTo>
                  <a:pt x="4007" y="1652"/>
                </a:moveTo>
                <a:lnTo>
                  <a:pt x="4005" y="1652"/>
                </a:lnTo>
                <a:lnTo>
                  <a:pt x="4005" y="1651"/>
                </a:lnTo>
                <a:lnTo>
                  <a:pt x="4005" y="1651"/>
                </a:lnTo>
                <a:lnTo>
                  <a:pt x="4005" y="1652"/>
                </a:lnTo>
                <a:lnTo>
                  <a:pt x="4005" y="1653"/>
                </a:lnTo>
                <a:lnTo>
                  <a:pt x="4007" y="1654"/>
                </a:lnTo>
                <a:lnTo>
                  <a:pt x="4008" y="1655"/>
                </a:lnTo>
                <a:lnTo>
                  <a:pt x="4011" y="1657"/>
                </a:lnTo>
                <a:lnTo>
                  <a:pt x="4012" y="1659"/>
                </a:lnTo>
                <a:lnTo>
                  <a:pt x="4012" y="1656"/>
                </a:lnTo>
                <a:lnTo>
                  <a:pt x="4007" y="1652"/>
                </a:lnTo>
                <a:close/>
                <a:moveTo>
                  <a:pt x="4032" y="1684"/>
                </a:moveTo>
                <a:lnTo>
                  <a:pt x="4033" y="1685"/>
                </a:lnTo>
                <a:lnTo>
                  <a:pt x="4033" y="1684"/>
                </a:lnTo>
                <a:lnTo>
                  <a:pt x="4032" y="1682"/>
                </a:lnTo>
                <a:lnTo>
                  <a:pt x="4032" y="1684"/>
                </a:lnTo>
                <a:close/>
                <a:moveTo>
                  <a:pt x="4046" y="1697"/>
                </a:moveTo>
                <a:lnTo>
                  <a:pt x="4046" y="1698"/>
                </a:lnTo>
                <a:lnTo>
                  <a:pt x="4046" y="1698"/>
                </a:lnTo>
                <a:lnTo>
                  <a:pt x="4046" y="1697"/>
                </a:lnTo>
                <a:close/>
                <a:moveTo>
                  <a:pt x="4048" y="1691"/>
                </a:moveTo>
                <a:lnTo>
                  <a:pt x="4045" y="1691"/>
                </a:lnTo>
                <a:lnTo>
                  <a:pt x="4048" y="1692"/>
                </a:lnTo>
                <a:lnTo>
                  <a:pt x="4048" y="1691"/>
                </a:lnTo>
                <a:close/>
                <a:moveTo>
                  <a:pt x="4046" y="1702"/>
                </a:moveTo>
                <a:lnTo>
                  <a:pt x="4046" y="1699"/>
                </a:lnTo>
                <a:lnTo>
                  <a:pt x="4046" y="1698"/>
                </a:lnTo>
                <a:lnTo>
                  <a:pt x="4044" y="1694"/>
                </a:lnTo>
                <a:lnTo>
                  <a:pt x="4042" y="1694"/>
                </a:lnTo>
                <a:lnTo>
                  <a:pt x="4044" y="1697"/>
                </a:lnTo>
                <a:lnTo>
                  <a:pt x="4042" y="1702"/>
                </a:lnTo>
                <a:lnTo>
                  <a:pt x="4046" y="1702"/>
                </a:lnTo>
                <a:close/>
                <a:moveTo>
                  <a:pt x="3957" y="1520"/>
                </a:moveTo>
                <a:lnTo>
                  <a:pt x="3957" y="1520"/>
                </a:lnTo>
                <a:lnTo>
                  <a:pt x="3957" y="1524"/>
                </a:lnTo>
                <a:lnTo>
                  <a:pt x="3958" y="1524"/>
                </a:lnTo>
                <a:lnTo>
                  <a:pt x="3957" y="1520"/>
                </a:lnTo>
                <a:close/>
                <a:moveTo>
                  <a:pt x="3967" y="1574"/>
                </a:moveTo>
                <a:lnTo>
                  <a:pt x="3970" y="1577"/>
                </a:lnTo>
                <a:lnTo>
                  <a:pt x="3969" y="1574"/>
                </a:lnTo>
                <a:lnTo>
                  <a:pt x="3967" y="1574"/>
                </a:lnTo>
                <a:close/>
                <a:moveTo>
                  <a:pt x="3960" y="1556"/>
                </a:moveTo>
                <a:lnTo>
                  <a:pt x="3960" y="1555"/>
                </a:lnTo>
                <a:lnTo>
                  <a:pt x="3958" y="1556"/>
                </a:lnTo>
                <a:lnTo>
                  <a:pt x="3960" y="1556"/>
                </a:lnTo>
                <a:close/>
                <a:moveTo>
                  <a:pt x="3964" y="1515"/>
                </a:moveTo>
                <a:lnTo>
                  <a:pt x="3964" y="1514"/>
                </a:lnTo>
                <a:lnTo>
                  <a:pt x="3962" y="1514"/>
                </a:lnTo>
                <a:lnTo>
                  <a:pt x="3964" y="1515"/>
                </a:lnTo>
                <a:close/>
                <a:moveTo>
                  <a:pt x="4053" y="1720"/>
                </a:moveTo>
                <a:lnTo>
                  <a:pt x="4052" y="1719"/>
                </a:lnTo>
                <a:lnTo>
                  <a:pt x="4052" y="1720"/>
                </a:lnTo>
                <a:lnTo>
                  <a:pt x="4053" y="1720"/>
                </a:lnTo>
                <a:close/>
                <a:moveTo>
                  <a:pt x="3973" y="1584"/>
                </a:moveTo>
                <a:lnTo>
                  <a:pt x="3973" y="1584"/>
                </a:lnTo>
                <a:lnTo>
                  <a:pt x="3972" y="1587"/>
                </a:lnTo>
                <a:lnTo>
                  <a:pt x="3973" y="1586"/>
                </a:lnTo>
                <a:lnTo>
                  <a:pt x="3973" y="1584"/>
                </a:lnTo>
                <a:close/>
                <a:moveTo>
                  <a:pt x="1884" y="457"/>
                </a:moveTo>
                <a:lnTo>
                  <a:pt x="1884" y="457"/>
                </a:lnTo>
                <a:lnTo>
                  <a:pt x="1884" y="457"/>
                </a:lnTo>
                <a:lnTo>
                  <a:pt x="1884" y="457"/>
                </a:lnTo>
                <a:close/>
                <a:moveTo>
                  <a:pt x="3970" y="1574"/>
                </a:moveTo>
                <a:lnTo>
                  <a:pt x="3970" y="1572"/>
                </a:lnTo>
                <a:lnTo>
                  <a:pt x="3969" y="1572"/>
                </a:lnTo>
                <a:lnTo>
                  <a:pt x="3970" y="1574"/>
                </a:lnTo>
                <a:close/>
                <a:moveTo>
                  <a:pt x="3975" y="1407"/>
                </a:moveTo>
                <a:lnTo>
                  <a:pt x="3974" y="1407"/>
                </a:lnTo>
                <a:lnTo>
                  <a:pt x="3972" y="1407"/>
                </a:lnTo>
                <a:lnTo>
                  <a:pt x="3975" y="1411"/>
                </a:lnTo>
                <a:lnTo>
                  <a:pt x="3975" y="1407"/>
                </a:lnTo>
                <a:close/>
                <a:moveTo>
                  <a:pt x="3998" y="1605"/>
                </a:moveTo>
                <a:lnTo>
                  <a:pt x="3998" y="1605"/>
                </a:lnTo>
                <a:lnTo>
                  <a:pt x="3998" y="1608"/>
                </a:lnTo>
                <a:lnTo>
                  <a:pt x="4000" y="1608"/>
                </a:lnTo>
                <a:lnTo>
                  <a:pt x="3998" y="1605"/>
                </a:lnTo>
                <a:close/>
                <a:moveTo>
                  <a:pt x="4037" y="1507"/>
                </a:moveTo>
                <a:lnTo>
                  <a:pt x="4037" y="1506"/>
                </a:lnTo>
                <a:lnTo>
                  <a:pt x="4036" y="1506"/>
                </a:lnTo>
                <a:lnTo>
                  <a:pt x="4037" y="1507"/>
                </a:lnTo>
                <a:lnTo>
                  <a:pt x="4037" y="1507"/>
                </a:lnTo>
                <a:close/>
                <a:moveTo>
                  <a:pt x="4141" y="1778"/>
                </a:moveTo>
                <a:lnTo>
                  <a:pt x="4142" y="1780"/>
                </a:lnTo>
                <a:lnTo>
                  <a:pt x="4141" y="1780"/>
                </a:lnTo>
                <a:lnTo>
                  <a:pt x="4137" y="1778"/>
                </a:lnTo>
                <a:lnTo>
                  <a:pt x="4134" y="1776"/>
                </a:lnTo>
                <a:lnTo>
                  <a:pt x="4130" y="1776"/>
                </a:lnTo>
                <a:lnTo>
                  <a:pt x="4134" y="1780"/>
                </a:lnTo>
                <a:lnTo>
                  <a:pt x="4133" y="1780"/>
                </a:lnTo>
                <a:lnTo>
                  <a:pt x="4133" y="1780"/>
                </a:lnTo>
                <a:lnTo>
                  <a:pt x="4122" y="1767"/>
                </a:lnTo>
                <a:lnTo>
                  <a:pt x="4111" y="1759"/>
                </a:lnTo>
                <a:lnTo>
                  <a:pt x="4100" y="1751"/>
                </a:lnTo>
                <a:lnTo>
                  <a:pt x="4098" y="1749"/>
                </a:lnTo>
                <a:lnTo>
                  <a:pt x="4096" y="1747"/>
                </a:lnTo>
                <a:lnTo>
                  <a:pt x="4089" y="1740"/>
                </a:lnTo>
                <a:lnTo>
                  <a:pt x="4084" y="1732"/>
                </a:lnTo>
                <a:lnTo>
                  <a:pt x="4076" y="1728"/>
                </a:lnTo>
                <a:lnTo>
                  <a:pt x="4076" y="1725"/>
                </a:lnTo>
                <a:lnTo>
                  <a:pt x="4076" y="1721"/>
                </a:lnTo>
                <a:lnTo>
                  <a:pt x="4073" y="1716"/>
                </a:lnTo>
                <a:lnTo>
                  <a:pt x="4074" y="1713"/>
                </a:lnTo>
                <a:lnTo>
                  <a:pt x="4071" y="1711"/>
                </a:lnTo>
                <a:lnTo>
                  <a:pt x="4070" y="1705"/>
                </a:lnTo>
                <a:lnTo>
                  <a:pt x="4060" y="1696"/>
                </a:lnTo>
                <a:lnTo>
                  <a:pt x="4060" y="1693"/>
                </a:lnTo>
                <a:lnTo>
                  <a:pt x="4059" y="1692"/>
                </a:lnTo>
                <a:lnTo>
                  <a:pt x="4052" y="1688"/>
                </a:lnTo>
                <a:lnTo>
                  <a:pt x="4052" y="1684"/>
                </a:lnTo>
                <a:lnTo>
                  <a:pt x="4046" y="1672"/>
                </a:lnTo>
                <a:lnTo>
                  <a:pt x="4048" y="1672"/>
                </a:lnTo>
                <a:lnTo>
                  <a:pt x="4048" y="1668"/>
                </a:lnTo>
                <a:lnTo>
                  <a:pt x="4035" y="1660"/>
                </a:lnTo>
                <a:lnTo>
                  <a:pt x="4034" y="1660"/>
                </a:lnTo>
                <a:lnTo>
                  <a:pt x="4033" y="1658"/>
                </a:lnTo>
                <a:lnTo>
                  <a:pt x="4031" y="1651"/>
                </a:lnTo>
                <a:lnTo>
                  <a:pt x="4027" y="1650"/>
                </a:lnTo>
                <a:lnTo>
                  <a:pt x="4022" y="1638"/>
                </a:lnTo>
                <a:lnTo>
                  <a:pt x="4018" y="1637"/>
                </a:lnTo>
                <a:lnTo>
                  <a:pt x="4015" y="1635"/>
                </a:lnTo>
                <a:lnTo>
                  <a:pt x="4008" y="1629"/>
                </a:lnTo>
                <a:lnTo>
                  <a:pt x="4000" y="1623"/>
                </a:lnTo>
                <a:lnTo>
                  <a:pt x="3998" y="1620"/>
                </a:lnTo>
                <a:lnTo>
                  <a:pt x="3996" y="1616"/>
                </a:lnTo>
                <a:lnTo>
                  <a:pt x="3996" y="1611"/>
                </a:lnTo>
                <a:lnTo>
                  <a:pt x="4000" y="1612"/>
                </a:lnTo>
                <a:lnTo>
                  <a:pt x="4002" y="1612"/>
                </a:lnTo>
                <a:lnTo>
                  <a:pt x="4007" y="1613"/>
                </a:lnTo>
                <a:lnTo>
                  <a:pt x="4008" y="1613"/>
                </a:lnTo>
                <a:lnTo>
                  <a:pt x="4008" y="1614"/>
                </a:lnTo>
                <a:lnTo>
                  <a:pt x="4011" y="1615"/>
                </a:lnTo>
                <a:lnTo>
                  <a:pt x="4013" y="1616"/>
                </a:lnTo>
                <a:lnTo>
                  <a:pt x="4023" y="1616"/>
                </a:lnTo>
                <a:lnTo>
                  <a:pt x="4026" y="1617"/>
                </a:lnTo>
                <a:lnTo>
                  <a:pt x="4030" y="1615"/>
                </a:lnTo>
                <a:lnTo>
                  <a:pt x="4035" y="1620"/>
                </a:lnTo>
                <a:lnTo>
                  <a:pt x="4037" y="1625"/>
                </a:lnTo>
                <a:lnTo>
                  <a:pt x="4040" y="1627"/>
                </a:lnTo>
                <a:lnTo>
                  <a:pt x="4040" y="1632"/>
                </a:lnTo>
                <a:lnTo>
                  <a:pt x="4064" y="1650"/>
                </a:lnTo>
                <a:lnTo>
                  <a:pt x="4064" y="1656"/>
                </a:lnTo>
                <a:lnTo>
                  <a:pt x="4067" y="1656"/>
                </a:lnTo>
                <a:lnTo>
                  <a:pt x="4068" y="1656"/>
                </a:lnTo>
                <a:lnTo>
                  <a:pt x="4072" y="1660"/>
                </a:lnTo>
                <a:lnTo>
                  <a:pt x="4078" y="1663"/>
                </a:lnTo>
                <a:lnTo>
                  <a:pt x="4077" y="1660"/>
                </a:lnTo>
                <a:lnTo>
                  <a:pt x="4082" y="1660"/>
                </a:lnTo>
                <a:lnTo>
                  <a:pt x="4084" y="1662"/>
                </a:lnTo>
                <a:lnTo>
                  <a:pt x="4084" y="1662"/>
                </a:lnTo>
                <a:lnTo>
                  <a:pt x="4087" y="1662"/>
                </a:lnTo>
                <a:lnTo>
                  <a:pt x="4089" y="1661"/>
                </a:lnTo>
                <a:lnTo>
                  <a:pt x="4090" y="1663"/>
                </a:lnTo>
                <a:lnTo>
                  <a:pt x="4090" y="1664"/>
                </a:lnTo>
                <a:lnTo>
                  <a:pt x="4090" y="1666"/>
                </a:lnTo>
                <a:lnTo>
                  <a:pt x="4089" y="1668"/>
                </a:lnTo>
                <a:lnTo>
                  <a:pt x="4086" y="1668"/>
                </a:lnTo>
                <a:lnTo>
                  <a:pt x="4090" y="1669"/>
                </a:lnTo>
                <a:lnTo>
                  <a:pt x="4093" y="1671"/>
                </a:lnTo>
                <a:lnTo>
                  <a:pt x="4097" y="1673"/>
                </a:lnTo>
                <a:lnTo>
                  <a:pt x="4099" y="1674"/>
                </a:lnTo>
                <a:lnTo>
                  <a:pt x="4101" y="1675"/>
                </a:lnTo>
                <a:lnTo>
                  <a:pt x="4106" y="1678"/>
                </a:lnTo>
                <a:lnTo>
                  <a:pt x="4110" y="1680"/>
                </a:lnTo>
                <a:lnTo>
                  <a:pt x="4107" y="1678"/>
                </a:lnTo>
                <a:lnTo>
                  <a:pt x="4104" y="1676"/>
                </a:lnTo>
                <a:lnTo>
                  <a:pt x="4104" y="1675"/>
                </a:lnTo>
                <a:lnTo>
                  <a:pt x="4107" y="1677"/>
                </a:lnTo>
                <a:lnTo>
                  <a:pt x="4110" y="1678"/>
                </a:lnTo>
                <a:lnTo>
                  <a:pt x="4112" y="1684"/>
                </a:lnTo>
                <a:lnTo>
                  <a:pt x="4110" y="1684"/>
                </a:lnTo>
                <a:lnTo>
                  <a:pt x="4108" y="1683"/>
                </a:lnTo>
                <a:lnTo>
                  <a:pt x="4108" y="1683"/>
                </a:lnTo>
                <a:lnTo>
                  <a:pt x="4108" y="1683"/>
                </a:lnTo>
                <a:lnTo>
                  <a:pt x="4108" y="1683"/>
                </a:lnTo>
                <a:lnTo>
                  <a:pt x="4108" y="1684"/>
                </a:lnTo>
                <a:lnTo>
                  <a:pt x="4110" y="1687"/>
                </a:lnTo>
                <a:lnTo>
                  <a:pt x="4107" y="1689"/>
                </a:lnTo>
                <a:lnTo>
                  <a:pt x="4103" y="1691"/>
                </a:lnTo>
                <a:lnTo>
                  <a:pt x="4115" y="1685"/>
                </a:lnTo>
                <a:lnTo>
                  <a:pt x="4117" y="1687"/>
                </a:lnTo>
                <a:lnTo>
                  <a:pt x="4120" y="1689"/>
                </a:lnTo>
                <a:lnTo>
                  <a:pt x="4122" y="1696"/>
                </a:lnTo>
                <a:lnTo>
                  <a:pt x="4118" y="1696"/>
                </a:lnTo>
                <a:lnTo>
                  <a:pt x="4115" y="1698"/>
                </a:lnTo>
                <a:lnTo>
                  <a:pt x="4116" y="1696"/>
                </a:lnTo>
                <a:lnTo>
                  <a:pt x="4114" y="1697"/>
                </a:lnTo>
                <a:lnTo>
                  <a:pt x="4113" y="1698"/>
                </a:lnTo>
                <a:lnTo>
                  <a:pt x="4115" y="1699"/>
                </a:lnTo>
                <a:lnTo>
                  <a:pt x="4113" y="1700"/>
                </a:lnTo>
                <a:lnTo>
                  <a:pt x="4115" y="1700"/>
                </a:lnTo>
                <a:lnTo>
                  <a:pt x="4115" y="1699"/>
                </a:lnTo>
                <a:lnTo>
                  <a:pt x="4115" y="1699"/>
                </a:lnTo>
                <a:lnTo>
                  <a:pt x="4118" y="1699"/>
                </a:lnTo>
                <a:lnTo>
                  <a:pt x="4116" y="1701"/>
                </a:lnTo>
                <a:lnTo>
                  <a:pt x="4115" y="1703"/>
                </a:lnTo>
                <a:lnTo>
                  <a:pt x="4117" y="1705"/>
                </a:lnTo>
                <a:lnTo>
                  <a:pt x="4120" y="1708"/>
                </a:lnTo>
                <a:lnTo>
                  <a:pt x="4129" y="1708"/>
                </a:lnTo>
                <a:lnTo>
                  <a:pt x="4129" y="1714"/>
                </a:lnTo>
                <a:lnTo>
                  <a:pt x="4128" y="1719"/>
                </a:lnTo>
                <a:lnTo>
                  <a:pt x="4128" y="1724"/>
                </a:lnTo>
                <a:lnTo>
                  <a:pt x="4132" y="1724"/>
                </a:lnTo>
                <a:lnTo>
                  <a:pt x="4132" y="1725"/>
                </a:lnTo>
                <a:lnTo>
                  <a:pt x="4132" y="1726"/>
                </a:lnTo>
                <a:lnTo>
                  <a:pt x="4132" y="1728"/>
                </a:lnTo>
                <a:lnTo>
                  <a:pt x="4132" y="1731"/>
                </a:lnTo>
                <a:lnTo>
                  <a:pt x="4134" y="1728"/>
                </a:lnTo>
                <a:lnTo>
                  <a:pt x="4136" y="1726"/>
                </a:lnTo>
                <a:lnTo>
                  <a:pt x="4136" y="1726"/>
                </a:lnTo>
                <a:lnTo>
                  <a:pt x="4136" y="1725"/>
                </a:lnTo>
                <a:lnTo>
                  <a:pt x="4137" y="1727"/>
                </a:lnTo>
                <a:lnTo>
                  <a:pt x="4138" y="1728"/>
                </a:lnTo>
                <a:lnTo>
                  <a:pt x="4144" y="1728"/>
                </a:lnTo>
                <a:lnTo>
                  <a:pt x="4144" y="1731"/>
                </a:lnTo>
                <a:lnTo>
                  <a:pt x="4146" y="1732"/>
                </a:lnTo>
                <a:lnTo>
                  <a:pt x="4148" y="1732"/>
                </a:lnTo>
                <a:lnTo>
                  <a:pt x="4148" y="1729"/>
                </a:lnTo>
                <a:lnTo>
                  <a:pt x="4148" y="1728"/>
                </a:lnTo>
                <a:lnTo>
                  <a:pt x="4149" y="1726"/>
                </a:lnTo>
                <a:lnTo>
                  <a:pt x="4148" y="1725"/>
                </a:lnTo>
                <a:lnTo>
                  <a:pt x="4140" y="1722"/>
                </a:lnTo>
                <a:lnTo>
                  <a:pt x="4140" y="1721"/>
                </a:lnTo>
                <a:lnTo>
                  <a:pt x="4140" y="1720"/>
                </a:lnTo>
                <a:lnTo>
                  <a:pt x="4140" y="1720"/>
                </a:lnTo>
                <a:lnTo>
                  <a:pt x="4146" y="1720"/>
                </a:lnTo>
                <a:lnTo>
                  <a:pt x="4148" y="1719"/>
                </a:lnTo>
                <a:lnTo>
                  <a:pt x="4149" y="1718"/>
                </a:lnTo>
                <a:lnTo>
                  <a:pt x="4149" y="1719"/>
                </a:lnTo>
                <a:lnTo>
                  <a:pt x="4149" y="1718"/>
                </a:lnTo>
                <a:lnTo>
                  <a:pt x="4148" y="1716"/>
                </a:lnTo>
                <a:lnTo>
                  <a:pt x="4150" y="1715"/>
                </a:lnTo>
                <a:lnTo>
                  <a:pt x="4151" y="1714"/>
                </a:lnTo>
                <a:lnTo>
                  <a:pt x="4153" y="1716"/>
                </a:lnTo>
                <a:lnTo>
                  <a:pt x="4154" y="1722"/>
                </a:lnTo>
                <a:lnTo>
                  <a:pt x="4156" y="1728"/>
                </a:lnTo>
                <a:lnTo>
                  <a:pt x="4163" y="1731"/>
                </a:lnTo>
                <a:lnTo>
                  <a:pt x="4162" y="1734"/>
                </a:lnTo>
                <a:lnTo>
                  <a:pt x="4161" y="1737"/>
                </a:lnTo>
                <a:lnTo>
                  <a:pt x="4162" y="1738"/>
                </a:lnTo>
                <a:lnTo>
                  <a:pt x="4163" y="1739"/>
                </a:lnTo>
                <a:lnTo>
                  <a:pt x="4163" y="1740"/>
                </a:lnTo>
                <a:lnTo>
                  <a:pt x="4162" y="1740"/>
                </a:lnTo>
                <a:lnTo>
                  <a:pt x="4156" y="1740"/>
                </a:lnTo>
                <a:lnTo>
                  <a:pt x="4156" y="1737"/>
                </a:lnTo>
                <a:lnTo>
                  <a:pt x="4148" y="1733"/>
                </a:lnTo>
                <a:lnTo>
                  <a:pt x="4148" y="1736"/>
                </a:lnTo>
                <a:lnTo>
                  <a:pt x="4152" y="1737"/>
                </a:lnTo>
                <a:lnTo>
                  <a:pt x="4152" y="1740"/>
                </a:lnTo>
                <a:lnTo>
                  <a:pt x="4151" y="1744"/>
                </a:lnTo>
                <a:lnTo>
                  <a:pt x="4149" y="1747"/>
                </a:lnTo>
                <a:lnTo>
                  <a:pt x="4151" y="1751"/>
                </a:lnTo>
                <a:lnTo>
                  <a:pt x="4149" y="1755"/>
                </a:lnTo>
                <a:lnTo>
                  <a:pt x="4151" y="1760"/>
                </a:lnTo>
                <a:lnTo>
                  <a:pt x="4149" y="1775"/>
                </a:lnTo>
                <a:lnTo>
                  <a:pt x="4149" y="1777"/>
                </a:lnTo>
                <a:lnTo>
                  <a:pt x="4148" y="1779"/>
                </a:lnTo>
                <a:lnTo>
                  <a:pt x="4148" y="1779"/>
                </a:lnTo>
                <a:lnTo>
                  <a:pt x="4148" y="1779"/>
                </a:lnTo>
                <a:lnTo>
                  <a:pt x="4145" y="1776"/>
                </a:lnTo>
                <a:lnTo>
                  <a:pt x="4141" y="1773"/>
                </a:lnTo>
                <a:lnTo>
                  <a:pt x="4141" y="1775"/>
                </a:lnTo>
                <a:lnTo>
                  <a:pt x="4141" y="1776"/>
                </a:lnTo>
                <a:lnTo>
                  <a:pt x="4141" y="1778"/>
                </a:lnTo>
                <a:close/>
                <a:moveTo>
                  <a:pt x="4102" y="1679"/>
                </a:moveTo>
                <a:lnTo>
                  <a:pt x="4101" y="1679"/>
                </a:lnTo>
                <a:lnTo>
                  <a:pt x="4097" y="1676"/>
                </a:lnTo>
                <a:lnTo>
                  <a:pt x="4101" y="1680"/>
                </a:lnTo>
                <a:lnTo>
                  <a:pt x="4101" y="1680"/>
                </a:lnTo>
                <a:lnTo>
                  <a:pt x="4102" y="1679"/>
                </a:lnTo>
                <a:close/>
                <a:moveTo>
                  <a:pt x="3954" y="1532"/>
                </a:moveTo>
                <a:lnTo>
                  <a:pt x="3954" y="1535"/>
                </a:lnTo>
                <a:lnTo>
                  <a:pt x="3955" y="1536"/>
                </a:lnTo>
                <a:lnTo>
                  <a:pt x="3955" y="1536"/>
                </a:lnTo>
                <a:lnTo>
                  <a:pt x="3955" y="1536"/>
                </a:lnTo>
                <a:lnTo>
                  <a:pt x="3955" y="1532"/>
                </a:lnTo>
                <a:lnTo>
                  <a:pt x="3955" y="1531"/>
                </a:lnTo>
                <a:lnTo>
                  <a:pt x="3955" y="1531"/>
                </a:lnTo>
                <a:lnTo>
                  <a:pt x="3955" y="1531"/>
                </a:lnTo>
                <a:lnTo>
                  <a:pt x="3954" y="1532"/>
                </a:lnTo>
                <a:close/>
                <a:moveTo>
                  <a:pt x="4115" y="1699"/>
                </a:moveTo>
                <a:lnTo>
                  <a:pt x="4115" y="1699"/>
                </a:lnTo>
                <a:lnTo>
                  <a:pt x="4115" y="1698"/>
                </a:lnTo>
                <a:lnTo>
                  <a:pt x="4115" y="1698"/>
                </a:lnTo>
                <a:lnTo>
                  <a:pt x="4115" y="1698"/>
                </a:lnTo>
                <a:lnTo>
                  <a:pt x="4115" y="1699"/>
                </a:lnTo>
                <a:close/>
                <a:moveTo>
                  <a:pt x="4132" y="1722"/>
                </a:moveTo>
                <a:lnTo>
                  <a:pt x="4132" y="1724"/>
                </a:lnTo>
                <a:lnTo>
                  <a:pt x="4133" y="1724"/>
                </a:lnTo>
                <a:lnTo>
                  <a:pt x="4132" y="1722"/>
                </a:lnTo>
                <a:close/>
                <a:moveTo>
                  <a:pt x="4034" y="1506"/>
                </a:moveTo>
                <a:lnTo>
                  <a:pt x="4036" y="1506"/>
                </a:lnTo>
                <a:lnTo>
                  <a:pt x="4037" y="1505"/>
                </a:lnTo>
                <a:lnTo>
                  <a:pt x="4034" y="1506"/>
                </a:lnTo>
                <a:close/>
                <a:moveTo>
                  <a:pt x="4040" y="1572"/>
                </a:moveTo>
                <a:lnTo>
                  <a:pt x="4039" y="1572"/>
                </a:lnTo>
                <a:lnTo>
                  <a:pt x="4040" y="1578"/>
                </a:lnTo>
                <a:lnTo>
                  <a:pt x="4043" y="1577"/>
                </a:lnTo>
                <a:lnTo>
                  <a:pt x="4040" y="1572"/>
                </a:lnTo>
                <a:close/>
                <a:moveTo>
                  <a:pt x="4039" y="1530"/>
                </a:moveTo>
                <a:lnTo>
                  <a:pt x="4037" y="1525"/>
                </a:lnTo>
                <a:lnTo>
                  <a:pt x="4037" y="1525"/>
                </a:lnTo>
                <a:lnTo>
                  <a:pt x="4037" y="1528"/>
                </a:lnTo>
                <a:lnTo>
                  <a:pt x="4039" y="1530"/>
                </a:lnTo>
                <a:close/>
                <a:moveTo>
                  <a:pt x="4060" y="1722"/>
                </a:moveTo>
                <a:lnTo>
                  <a:pt x="4060" y="1726"/>
                </a:lnTo>
                <a:lnTo>
                  <a:pt x="4064" y="1728"/>
                </a:lnTo>
                <a:lnTo>
                  <a:pt x="4061" y="1722"/>
                </a:lnTo>
                <a:lnTo>
                  <a:pt x="4060" y="1722"/>
                </a:lnTo>
                <a:close/>
                <a:moveTo>
                  <a:pt x="4066" y="1733"/>
                </a:moveTo>
                <a:lnTo>
                  <a:pt x="4068" y="1733"/>
                </a:lnTo>
                <a:lnTo>
                  <a:pt x="4066" y="1729"/>
                </a:lnTo>
                <a:lnTo>
                  <a:pt x="4066" y="1733"/>
                </a:lnTo>
                <a:close/>
                <a:moveTo>
                  <a:pt x="4112" y="1685"/>
                </a:moveTo>
                <a:lnTo>
                  <a:pt x="4113" y="1684"/>
                </a:lnTo>
                <a:lnTo>
                  <a:pt x="4113" y="1684"/>
                </a:lnTo>
                <a:lnTo>
                  <a:pt x="4113" y="1683"/>
                </a:lnTo>
                <a:lnTo>
                  <a:pt x="4112" y="1682"/>
                </a:lnTo>
                <a:lnTo>
                  <a:pt x="4112" y="1682"/>
                </a:lnTo>
                <a:lnTo>
                  <a:pt x="4112" y="1684"/>
                </a:lnTo>
                <a:lnTo>
                  <a:pt x="4112" y="1685"/>
                </a:lnTo>
                <a:lnTo>
                  <a:pt x="4112" y="1685"/>
                </a:lnTo>
                <a:close/>
                <a:moveTo>
                  <a:pt x="4054" y="1718"/>
                </a:moveTo>
                <a:lnTo>
                  <a:pt x="4049" y="1708"/>
                </a:lnTo>
                <a:lnTo>
                  <a:pt x="4046" y="1708"/>
                </a:lnTo>
                <a:lnTo>
                  <a:pt x="4045" y="1711"/>
                </a:lnTo>
                <a:lnTo>
                  <a:pt x="4048" y="1717"/>
                </a:lnTo>
                <a:lnTo>
                  <a:pt x="4052" y="1719"/>
                </a:lnTo>
                <a:lnTo>
                  <a:pt x="4052" y="1716"/>
                </a:lnTo>
                <a:lnTo>
                  <a:pt x="4054" y="1718"/>
                </a:lnTo>
                <a:close/>
                <a:moveTo>
                  <a:pt x="4068" y="1737"/>
                </a:moveTo>
                <a:lnTo>
                  <a:pt x="4072" y="1741"/>
                </a:lnTo>
                <a:lnTo>
                  <a:pt x="4072" y="1739"/>
                </a:lnTo>
                <a:lnTo>
                  <a:pt x="4072" y="1737"/>
                </a:lnTo>
                <a:lnTo>
                  <a:pt x="4068" y="1733"/>
                </a:lnTo>
                <a:lnTo>
                  <a:pt x="4068" y="1737"/>
                </a:lnTo>
                <a:close/>
                <a:moveTo>
                  <a:pt x="4132" y="1780"/>
                </a:moveTo>
                <a:lnTo>
                  <a:pt x="4133" y="1780"/>
                </a:lnTo>
                <a:lnTo>
                  <a:pt x="4132" y="1780"/>
                </a:lnTo>
                <a:lnTo>
                  <a:pt x="4132" y="1780"/>
                </a:lnTo>
                <a:close/>
                <a:moveTo>
                  <a:pt x="4133" y="1780"/>
                </a:moveTo>
                <a:lnTo>
                  <a:pt x="4133" y="1780"/>
                </a:lnTo>
                <a:lnTo>
                  <a:pt x="4133" y="1780"/>
                </a:lnTo>
                <a:lnTo>
                  <a:pt x="4133" y="1780"/>
                </a:lnTo>
                <a:close/>
                <a:moveTo>
                  <a:pt x="4096" y="1771"/>
                </a:moveTo>
                <a:lnTo>
                  <a:pt x="4098" y="1773"/>
                </a:lnTo>
                <a:lnTo>
                  <a:pt x="4101" y="1774"/>
                </a:lnTo>
                <a:lnTo>
                  <a:pt x="4101" y="1774"/>
                </a:lnTo>
                <a:lnTo>
                  <a:pt x="4101" y="1773"/>
                </a:lnTo>
                <a:lnTo>
                  <a:pt x="4097" y="1771"/>
                </a:lnTo>
                <a:lnTo>
                  <a:pt x="4096" y="1771"/>
                </a:lnTo>
                <a:close/>
                <a:moveTo>
                  <a:pt x="3802" y="1579"/>
                </a:moveTo>
                <a:lnTo>
                  <a:pt x="3803" y="1579"/>
                </a:lnTo>
                <a:lnTo>
                  <a:pt x="3802" y="1578"/>
                </a:lnTo>
                <a:lnTo>
                  <a:pt x="3802" y="1579"/>
                </a:lnTo>
                <a:lnTo>
                  <a:pt x="3802" y="1579"/>
                </a:lnTo>
                <a:close/>
                <a:moveTo>
                  <a:pt x="3398" y="1503"/>
                </a:moveTo>
                <a:lnTo>
                  <a:pt x="3393" y="1503"/>
                </a:lnTo>
                <a:lnTo>
                  <a:pt x="3389" y="1501"/>
                </a:lnTo>
                <a:lnTo>
                  <a:pt x="3387" y="1503"/>
                </a:lnTo>
                <a:lnTo>
                  <a:pt x="3392" y="1507"/>
                </a:lnTo>
                <a:lnTo>
                  <a:pt x="3398" y="1507"/>
                </a:lnTo>
                <a:lnTo>
                  <a:pt x="3403" y="1504"/>
                </a:lnTo>
                <a:lnTo>
                  <a:pt x="3399" y="1503"/>
                </a:lnTo>
                <a:lnTo>
                  <a:pt x="3398" y="1503"/>
                </a:lnTo>
                <a:close/>
                <a:moveTo>
                  <a:pt x="3634" y="2500"/>
                </a:moveTo>
                <a:lnTo>
                  <a:pt x="3634" y="2500"/>
                </a:lnTo>
                <a:lnTo>
                  <a:pt x="3634" y="2500"/>
                </a:lnTo>
                <a:lnTo>
                  <a:pt x="3634" y="2500"/>
                </a:lnTo>
                <a:close/>
                <a:moveTo>
                  <a:pt x="3421" y="2013"/>
                </a:moveTo>
                <a:lnTo>
                  <a:pt x="3417" y="2013"/>
                </a:lnTo>
                <a:lnTo>
                  <a:pt x="3415" y="2014"/>
                </a:lnTo>
                <a:lnTo>
                  <a:pt x="3415" y="2015"/>
                </a:lnTo>
                <a:lnTo>
                  <a:pt x="3421" y="2015"/>
                </a:lnTo>
                <a:lnTo>
                  <a:pt x="3422" y="2014"/>
                </a:lnTo>
                <a:lnTo>
                  <a:pt x="3425" y="2013"/>
                </a:lnTo>
                <a:lnTo>
                  <a:pt x="3421" y="2010"/>
                </a:lnTo>
                <a:lnTo>
                  <a:pt x="3421" y="2013"/>
                </a:lnTo>
                <a:close/>
                <a:moveTo>
                  <a:pt x="3365" y="2441"/>
                </a:moveTo>
                <a:lnTo>
                  <a:pt x="3366" y="2442"/>
                </a:lnTo>
                <a:lnTo>
                  <a:pt x="3366" y="2442"/>
                </a:lnTo>
                <a:lnTo>
                  <a:pt x="3366" y="2440"/>
                </a:lnTo>
                <a:lnTo>
                  <a:pt x="3364" y="2440"/>
                </a:lnTo>
                <a:lnTo>
                  <a:pt x="3365" y="2441"/>
                </a:lnTo>
                <a:close/>
                <a:moveTo>
                  <a:pt x="3464" y="1389"/>
                </a:moveTo>
                <a:lnTo>
                  <a:pt x="3470" y="1383"/>
                </a:lnTo>
                <a:lnTo>
                  <a:pt x="3470" y="1381"/>
                </a:lnTo>
                <a:lnTo>
                  <a:pt x="3470" y="1381"/>
                </a:lnTo>
                <a:lnTo>
                  <a:pt x="3464" y="1386"/>
                </a:lnTo>
                <a:lnTo>
                  <a:pt x="3464" y="1389"/>
                </a:lnTo>
                <a:close/>
                <a:moveTo>
                  <a:pt x="3315" y="1893"/>
                </a:moveTo>
                <a:lnTo>
                  <a:pt x="3315" y="1893"/>
                </a:lnTo>
                <a:lnTo>
                  <a:pt x="3315" y="1890"/>
                </a:lnTo>
                <a:lnTo>
                  <a:pt x="3315" y="1893"/>
                </a:lnTo>
                <a:close/>
                <a:moveTo>
                  <a:pt x="3445" y="1997"/>
                </a:moveTo>
                <a:lnTo>
                  <a:pt x="3442" y="2002"/>
                </a:lnTo>
                <a:lnTo>
                  <a:pt x="3447" y="2004"/>
                </a:lnTo>
                <a:lnTo>
                  <a:pt x="3449" y="2002"/>
                </a:lnTo>
                <a:lnTo>
                  <a:pt x="3452" y="2000"/>
                </a:lnTo>
                <a:lnTo>
                  <a:pt x="3449" y="1993"/>
                </a:lnTo>
                <a:lnTo>
                  <a:pt x="3445" y="1997"/>
                </a:lnTo>
                <a:close/>
                <a:moveTo>
                  <a:pt x="3418" y="1760"/>
                </a:moveTo>
                <a:lnTo>
                  <a:pt x="3416" y="1762"/>
                </a:lnTo>
                <a:lnTo>
                  <a:pt x="3419" y="1763"/>
                </a:lnTo>
                <a:lnTo>
                  <a:pt x="3418" y="1760"/>
                </a:lnTo>
                <a:close/>
                <a:moveTo>
                  <a:pt x="3373" y="1509"/>
                </a:moveTo>
                <a:lnTo>
                  <a:pt x="3373" y="1508"/>
                </a:lnTo>
                <a:lnTo>
                  <a:pt x="3368" y="1508"/>
                </a:lnTo>
                <a:lnTo>
                  <a:pt x="3373" y="1509"/>
                </a:lnTo>
                <a:close/>
                <a:moveTo>
                  <a:pt x="3286" y="1831"/>
                </a:moveTo>
                <a:lnTo>
                  <a:pt x="3281" y="1831"/>
                </a:lnTo>
                <a:lnTo>
                  <a:pt x="3282" y="1832"/>
                </a:lnTo>
                <a:lnTo>
                  <a:pt x="3286" y="1831"/>
                </a:lnTo>
                <a:close/>
                <a:moveTo>
                  <a:pt x="3312" y="1893"/>
                </a:moveTo>
                <a:lnTo>
                  <a:pt x="3312" y="1893"/>
                </a:lnTo>
                <a:lnTo>
                  <a:pt x="3312" y="1893"/>
                </a:lnTo>
                <a:lnTo>
                  <a:pt x="3313" y="1893"/>
                </a:lnTo>
                <a:lnTo>
                  <a:pt x="3312" y="1893"/>
                </a:lnTo>
                <a:close/>
                <a:moveTo>
                  <a:pt x="3208" y="1728"/>
                </a:moveTo>
                <a:lnTo>
                  <a:pt x="3209" y="1727"/>
                </a:lnTo>
                <a:lnTo>
                  <a:pt x="3208" y="1727"/>
                </a:lnTo>
                <a:lnTo>
                  <a:pt x="3208" y="1728"/>
                </a:lnTo>
                <a:close/>
                <a:moveTo>
                  <a:pt x="3341" y="1900"/>
                </a:moveTo>
                <a:lnTo>
                  <a:pt x="3338" y="1889"/>
                </a:lnTo>
                <a:lnTo>
                  <a:pt x="3334" y="1882"/>
                </a:lnTo>
                <a:lnTo>
                  <a:pt x="3333" y="1878"/>
                </a:lnTo>
                <a:lnTo>
                  <a:pt x="3330" y="1877"/>
                </a:lnTo>
                <a:lnTo>
                  <a:pt x="3331" y="1877"/>
                </a:lnTo>
                <a:lnTo>
                  <a:pt x="3329" y="1871"/>
                </a:lnTo>
                <a:lnTo>
                  <a:pt x="3329" y="1871"/>
                </a:lnTo>
                <a:lnTo>
                  <a:pt x="3329" y="1871"/>
                </a:lnTo>
                <a:lnTo>
                  <a:pt x="3327" y="1873"/>
                </a:lnTo>
                <a:lnTo>
                  <a:pt x="3325" y="1874"/>
                </a:lnTo>
                <a:lnTo>
                  <a:pt x="3325" y="1875"/>
                </a:lnTo>
                <a:lnTo>
                  <a:pt x="3323" y="1876"/>
                </a:lnTo>
                <a:lnTo>
                  <a:pt x="3321" y="1877"/>
                </a:lnTo>
                <a:lnTo>
                  <a:pt x="3321" y="1880"/>
                </a:lnTo>
                <a:lnTo>
                  <a:pt x="3322" y="1879"/>
                </a:lnTo>
                <a:lnTo>
                  <a:pt x="3322" y="1877"/>
                </a:lnTo>
                <a:lnTo>
                  <a:pt x="3322" y="1877"/>
                </a:lnTo>
                <a:lnTo>
                  <a:pt x="3322" y="1877"/>
                </a:lnTo>
                <a:lnTo>
                  <a:pt x="3323" y="1881"/>
                </a:lnTo>
                <a:lnTo>
                  <a:pt x="3324" y="1884"/>
                </a:lnTo>
                <a:lnTo>
                  <a:pt x="3325" y="1886"/>
                </a:lnTo>
                <a:lnTo>
                  <a:pt x="3324" y="1889"/>
                </a:lnTo>
                <a:lnTo>
                  <a:pt x="3322" y="1893"/>
                </a:lnTo>
                <a:lnTo>
                  <a:pt x="3313" y="1897"/>
                </a:lnTo>
                <a:lnTo>
                  <a:pt x="3313" y="1900"/>
                </a:lnTo>
                <a:lnTo>
                  <a:pt x="3312" y="1893"/>
                </a:lnTo>
                <a:lnTo>
                  <a:pt x="3311" y="1897"/>
                </a:lnTo>
                <a:lnTo>
                  <a:pt x="3309" y="1900"/>
                </a:lnTo>
                <a:lnTo>
                  <a:pt x="3313" y="1902"/>
                </a:lnTo>
                <a:lnTo>
                  <a:pt x="3311" y="1903"/>
                </a:lnTo>
                <a:lnTo>
                  <a:pt x="3313" y="1905"/>
                </a:lnTo>
                <a:lnTo>
                  <a:pt x="3309" y="1905"/>
                </a:lnTo>
                <a:lnTo>
                  <a:pt x="3311" y="1909"/>
                </a:lnTo>
                <a:lnTo>
                  <a:pt x="3305" y="1909"/>
                </a:lnTo>
                <a:lnTo>
                  <a:pt x="3305" y="1910"/>
                </a:lnTo>
                <a:lnTo>
                  <a:pt x="3305" y="1913"/>
                </a:lnTo>
                <a:lnTo>
                  <a:pt x="3307" y="1913"/>
                </a:lnTo>
                <a:lnTo>
                  <a:pt x="3303" y="1920"/>
                </a:lnTo>
                <a:lnTo>
                  <a:pt x="3304" y="1914"/>
                </a:lnTo>
                <a:lnTo>
                  <a:pt x="3303" y="1913"/>
                </a:lnTo>
                <a:lnTo>
                  <a:pt x="3297" y="1921"/>
                </a:lnTo>
                <a:lnTo>
                  <a:pt x="3300" y="1925"/>
                </a:lnTo>
                <a:lnTo>
                  <a:pt x="3296" y="1926"/>
                </a:lnTo>
                <a:lnTo>
                  <a:pt x="3298" y="1923"/>
                </a:lnTo>
                <a:lnTo>
                  <a:pt x="3297" y="1921"/>
                </a:lnTo>
                <a:lnTo>
                  <a:pt x="3297" y="1921"/>
                </a:lnTo>
                <a:lnTo>
                  <a:pt x="3296" y="1921"/>
                </a:lnTo>
                <a:lnTo>
                  <a:pt x="3285" y="1928"/>
                </a:lnTo>
                <a:lnTo>
                  <a:pt x="3285" y="1930"/>
                </a:lnTo>
                <a:lnTo>
                  <a:pt x="3290" y="1933"/>
                </a:lnTo>
                <a:lnTo>
                  <a:pt x="3287" y="1933"/>
                </a:lnTo>
                <a:lnTo>
                  <a:pt x="3286" y="1933"/>
                </a:lnTo>
                <a:lnTo>
                  <a:pt x="3281" y="1933"/>
                </a:lnTo>
                <a:lnTo>
                  <a:pt x="3281" y="1932"/>
                </a:lnTo>
                <a:lnTo>
                  <a:pt x="3281" y="1931"/>
                </a:lnTo>
                <a:lnTo>
                  <a:pt x="3281" y="1933"/>
                </a:lnTo>
                <a:lnTo>
                  <a:pt x="3279" y="1933"/>
                </a:lnTo>
                <a:lnTo>
                  <a:pt x="3278" y="1937"/>
                </a:lnTo>
                <a:lnTo>
                  <a:pt x="3277" y="1935"/>
                </a:lnTo>
                <a:lnTo>
                  <a:pt x="3275" y="1933"/>
                </a:lnTo>
                <a:lnTo>
                  <a:pt x="3273" y="1933"/>
                </a:lnTo>
                <a:lnTo>
                  <a:pt x="3273" y="1937"/>
                </a:lnTo>
                <a:lnTo>
                  <a:pt x="3269" y="1937"/>
                </a:lnTo>
                <a:lnTo>
                  <a:pt x="3269" y="1935"/>
                </a:lnTo>
                <a:lnTo>
                  <a:pt x="3267" y="1937"/>
                </a:lnTo>
                <a:lnTo>
                  <a:pt x="3257" y="1937"/>
                </a:lnTo>
                <a:lnTo>
                  <a:pt x="3257" y="1944"/>
                </a:lnTo>
                <a:lnTo>
                  <a:pt x="3255" y="1951"/>
                </a:lnTo>
                <a:lnTo>
                  <a:pt x="3252" y="1958"/>
                </a:lnTo>
                <a:lnTo>
                  <a:pt x="3253" y="1960"/>
                </a:lnTo>
                <a:lnTo>
                  <a:pt x="3253" y="1970"/>
                </a:lnTo>
                <a:lnTo>
                  <a:pt x="3253" y="1977"/>
                </a:lnTo>
                <a:lnTo>
                  <a:pt x="3253" y="1981"/>
                </a:lnTo>
                <a:lnTo>
                  <a:pt x="3259" y="1987"/>
                </a:lnTo>
                <a:lnTo>
                  <a:pt x="3258" y="1992"/>
                </a:lnTo>
                <a:lnTo>
                  <a:pt x="3260" y="1994"/>
                </a:lnTo>
                <a:lnTo>
                  <a:pt x="3256" y="2001"/>
                </a:lnTo>
                <a:lnTo>
                  <a:pt x="3253" y="2008"/>
                </a:lnTo>
                <a:lnTo>
                  <a:pt x="3251" y="2011"/>
                </a:lnTo>
                <a:lnTo>
                  <a:pt x="3249" y="2013"/>
                </a:lnTo>
                <a:lnTo>
                  <a:pt x="3245" y="2016"/>
                </a:lnTo>
                <a:lnTo>
                  <a:pt x="3245" y="2021"/>
                </a:lnTo>
                <a:lnTo>
                  <a:pt x="3245" y="2023"/>
                </a:lnTo>
                <a:lnTo>
                  <a:pt x="3243" y="2025"/>
                </a:lnTo>
                <a:lnTo>
                  <a:pt x="3242" y="2027"/>
                </a:lnTo>
                <a:lnTo>
                  <a:pt x="3244" y="2033"/>
                </a:lnTo>
                <a:lnTo>
                  <a:pt x="3245" y="2039"/>
                </a:lnTo>
                <a:lnTo>
                  <a:pt x="3246" y="2041"/>
                </a:lnTo>
                <a:lnTo>
                  <a:pt x="3248" y="2043"/>
                </a:lnTo>
                <a:lnTo>
                  <a:pt x="3249" y="2047"/>
                </a:lnTo>
                <a:lnTo>
                  <a:pt x="3248" y="2049"/>
                </a:lnTo>
                <a:lnTo>
                  <a:pt x="3245" y="2053"/>
                </a:lnTo>
                <a:lnTo>
                  <a:pt x="3245" y="2063"/>
                </a:lnTo>
                <a:lnTo>
                  <a:pt x="3251" y="2067"/>
                </a:lnTo>
                <a:lnTo>
                  <a:pt x="3251" y="2075"/>
                </a:lnTo>
                <a:lnTo>
                  <a:pt x="3257" y="2078"/>
                </a:lnTo>
                <a:lnTo>
                  <a:pt x="3257" y="2078"/>
                </a:lnTo>
                <a:lnTo>
                  <a:pt x="3264" y="2081"/>
                </a:lnTo>
                <a:lnTo>
                  <a:pt x="3272" y="2086"/>
                </a:lnTo>
                <a:lnTo>
                  <a:pt x="3275" y="2086"/>
                </a:lnTo>
                <a:lnTo>
                  <a:pt x="3286" y="2078"/>
                </a:lnTo>
                <a:lnTo>
                  <a:pt x="3293" y="2078"/>
                </a:lnTo>
                <a:lnTo>
                  <a:pt x="3297" y="2073"/>
                </a:lnTo>
                <a:lnTo>
                  <a:pt x="3306" y="2054"/>
                </a:lnTo>
                <a:lnTo>
                  <a:pt x="3309" y="2032"/>
                </a:lnTo>
                <a:lnTo>
                  <a:pt x="3315" y="2021"/>
                </a:lnTo>
                <a:lnTo>
                  <a:pt x="3320" y="2002"/>
                </a:lnTo>
                <a:lnTo>
                  <a:pt x="3331" y="1969"/>
                </a:lnTo>
                <a:lnTo>
                  <a:pt x="3334" y="1959"/>
                </a:lnTo>
                <a:lnTo>
                  <a:pt x="3331" y="1954"/>
                </a:lnTo>
                <a:lnTo>
                  <a:pt x="3334" y="1948"/>
                </a:lnTo>
                <a:lnTo>
                  <a:pt x="3337" y="1947"/>
                </a:lnTo>
                <a:lnTo>
                  <a:pt x="3336" y="1944"/>
                </a:lnTo>
                <a:lnTo>
                  <a:pt x="3337" y="1941"/>
                </a:lnTo>
                <a:lnTo>
                  <a:pt x="3337" y="1936"/>
                </a:lnTo>
                <a:lnTo>
                  <a:pt x="3333" y="1935"/>
                </a:lnTo>
                <a:lnTo>
                  <a:pt x="3333" y="1931"/>
                </a:lnTo>
                <a:lnTo>
                  <a:pt x="3333" y="1926"/>
                </a:lnTo>
                <a:lnTo>
                  <a:pt x="3336" y="1925"/>
                </a:lnTo>
                <a:lnTo>
                  <a:pt x="3337" y="1925"/>
                </a:lnTo>
                <a:lnTo>
                  <a:pt x="3339" y="1928"/>
                </a:lnTo>
                <a:lnTo>
                  <a:pt x="3341" y="1931"/>
                </a:lnTo>
                <a:lnTo>
                  <a:pt x="3344" y="1932"/>
                </a:lnTo>
                <a:lnTo>
                  <a:pt x="3347" y="1923"/>
                </a:lnTo>
                <a:lnTo>
                  <a:pt x="3341" y="1911"/>
                </a:lnTo>
                <a:lnTo>
                  <a:pt x="3341" y="1900"/>
                </a:lnTo>
                <a:close/>
                <a:moveTo>
                  <a:pt x="3272" y="1933"/>
                </a:moveTo>
                <a:lnTo>
                  <a:pt x="3269" y="1933"/>
                </a:lnTo>
                <a:lnTo>
                  <a:pt x="3269" y="1935"/>
                </a:lnTo>
                <a:lnTo>
                  <a:pt x="3272" y="1933"/>
                </a:lnTo>
                <a:lnTo>
                  <a:pt x="3272" y="1933"/>
                </a:lnTo>
                <a:close/>
                <a:moveTo>
                  <a:pt x="3959" y="1501"/>
                </a:moveTo>
                <a:lnTo>
                  <a:pt x="3955" y="1502"/>
                </a:lnTo>
                <a:lnTo>
                  <a:pt x="3955" y="1509"/>
                </a:lnTo>
                <a:lnTo>
                  <a:pt x="3955" y="1510"/>
                </a:lnTo>
                <a:lnTo>
                  <a:pt x="3952" y="1515"/>
                </a:lnTo>
                <a:lnTo>
                  <a:pt x="3955" y="1521"/>
                </a:lnTo>
                <a:lnTo>
                  <a:pt x="3955" y="1513"/>
                </a:lnTo>
                <a:lnTo>
                  <a:pt x="3962" y="1511"/>
                </a:lnTo>
                <a:lnTo>
                  <a:pt x="3959" y="1511"/>
                </a:lnTo>
                <a:lnTo>
                  <a:pt x="3959" y="1506"/>
                </a:lnTo>
                <a:lnTo>
                  <a:pt x="3959" y="1501"/>
                </a:lnTo>
                <a:close/>
                <a:moveTo>
                  <a:pt x="3245" y="1872"/>
                </a:moveTo>
                <a:lnTo>
                  <a:pt x="3245" y="1866"/>
                </a:lnTo>
                <a:lnTo>
                  <a:pt x="3242" y="1866"/>
                </a:lnTo>
                <a:lnTo>
                  <a:pt x="3242" y="1870"/>
                </a:lnTo>
                <a:lnTo>
                  <a:pt x="3245" y="1872"/>
                </a:lnTo>
                <a:lnTo>
                  <a:pt x="3245" y="1872"/>
                </a:lnTo>
                <a:close/>
                <a:moveTo>
                  <a:pt x="3249" y="1876"/>
                </a:moveTo>
                <a:lnTo>
                  <a:pt x="3249" y="1877"/>
                </a:lnTo>
                <a:lnTo>
                  <a:pt x="3252" y="1877"/>
                </a:lnTo>
                <a:lnTo>
                  <a:pt x="3249" y="1876"/>
                </a:lnTo>
                <a:close/>
                <a:moveTo>
                  <a:pt x="3259" y="1873"/>
                </a:moveTo>
                <a:lnTo>
                  <a:pt x="3258" y="1874"/>
                </a:lnTo>
                <a:lnTo>
                  <a:pt x="3256" y="1874"/>
                </a:lnTo>
                <a:lnTo>
                  <a:pt x="3259" y="1877"/>
                </a:lnTo>
                <a:lnTo>
                  <a:pt x="3259" y="1873"/>
                </a:lnTo>
                <a:close/>
                <a:moveTo>
                  <a:pt x="3772" y="1555"/>
                </a:moveTo>
                <a:lnTo>
                  <a:pt x="3769" y="1555"/>
                </a:lnTo>
                <a:lnTo>
                  <a:pt x="3773" y="1556"/>
                </a:lnTo>
                <a:lnTo>
                  <a:pt x="3772" y="1555"/>
                </a:lnTo>
                <a:close/>
                <a:moveTo>
                  <a:pt x="3802" y="1579"/>
                </a:moveTo>
                <a:lnTo>
                  <a:pt x="3803" y="1581"/>
                </a:lnTo>
                <a:lnTo>
                  <a:pt x="3802" y="1579"/>
                </a:lnTo>
                <a:lnTo>
                  <a:pt x="3802" y="1579"/>
                </a:lnTo>
                <a:close/>
                <a:moveTo>
                  <a:pt x="3801" y="1577"/>
                </a:moveTo>
                <a:lnTo>
                  <a:pt x="3801" y="1577"/>
                </a:lnTo>
                <a:lnTo>
                  <a:pt x="3801" y="1577"/>
                </a:lnTo>
                <a:lnTo>
                  <a:pt x="3802" y="1578"/>
                </a:lnTo>
                <a:lnTo>
                  <a:pt x="3801" y="1577"/>
                </a:lnTo>
                <a:close/>
                <a:moveTo>
                  <a:pt x="3190" y="1940"/>
                </a:moveTo>
                <a:lnTo>
                  <a:pt x="3190" y="1940"/>
                </a:lnTo>
                <a:lnTo>
                  <a:pt x="3190" y="1938"/>
                </a:lnTo>
                <a:lnTo>
                  <a:pt x="3189" y="1938"/>
                </a:lnTo>
                <a:lnTo>
                  <a:pt x="3190" y="1940"/>
                </a:lnTo>
                <a:close/>
                <a:moveTo>
                  <a:pt x="3940" y="1349"/>
                </a:moveTo>
                <a:lnTo>
                  <a:pt x="3940" y="1352"/>
                </a:lnTo>
                <a:lnTo>
                  <a:pt x="3943" y="1355"/>
                </a:lnTo>
                <a:lnTo>
                  <a:pt x="3943" y="1355"/>
                </a:lnTo>
                <a:lnTo>
                  <a:pt x="3943" y="1352"/>
                </a:lnTo>
                <a:lnTo>
                  <a:pt x="3940" y="1349"/>
                </a:lnTo>
                <a:lnTo>
                  <a:pt x="3940" y="1349"/>
                </a:lnTo>
                <a:close/>
                <a:moveTo>
                  <a:pt x="3963" y="1499"/>
                </a:moveTo>
                <a:lnTo>
                  <a:pt x="3963" y="1491"/>
                </a:lnTo>
                <a:lnTo>
                  <a:pt x="3962" y="1491"/>
                </a:lnTo>
                <a:lnTo>
                  <a:pt x="3959" y="1494"/>
                </a:lnTo>
                <a:lnTo>
                  <a:pt x="3959" y="1501"/>
                </a:lnTo>
                <a:lnTo>
                  <a:pt x="3962" y="1499"/>
                </a:lnTo>
                <a:lnTo>
                  <a:pt x="3963" y="1499"/>
                </a:lnTo>
                <a:close/>
                <a:moveTo>
                  <a:pt x="3946" y="1363"/>
                </a:moveTo>
                <a:lnTo>
                  <a:pt x="3946" y="1363"/>
                </a:lnTo>
                <a:lnTo>
                  <a:pt x="3946" y="1363"/>
                </a:lnTo>
                <a:lnTo>
                  <a:pt x="3946" y="1363"/>
                </a:lnTo>
                <a:close/>
                <a:moveTo>
                  <a:pt x="3945" y="1363"/>
                </a:moveTo>
                <a:lnTo>
                  <a:pt x="3943" y="1363"/>
                </a:lnTo>
                <a:lnTo>
                  <a:pt x="3943" y="1366"/>
                </a:lnTo>
                <a:lnTo>
                  <a:pt x="3947" y="1365"/>
                </a:lnTo>
                <a:lnTo>
                  <a:pt x="3946" y="1363"/>
                </a:lnTo>
                <a:lnTo>
                  <a:pt x="3945" y="1363"/>
                </a:lnTo>
                <a:close/>
                <a:moveTo>
                  <a:pt x="3737" y="2289"/>
                </a:moveTo>
                <a:lnTo>
                  <a:pt x="3737" y="2289"/>
                </a:lnTo>
                <a:lnTo>
                  <a:pt x="3737" y="2287"/>
                </a:lnTo>
                <a:lnTo>
                  <a:pt x="3735" y="2287"/>
                </a:lnTo>
                <a:lnTo>
                  <a:pt x="3737" y="2289"/>
                </a:lnTo>
                <a:close/>
                <a:moveTo>
                  <a:pt x="3799" y="1575"/>
                </a:moveTo>
                <a:lnTo>
                  <a:pt x="3799" y="1576"/>
                </a:lnTo>
                <a:lnTo>
                  <a:pt x="3795" y="1569"/>
                </a:lnTo>
                <a:lnTo>
                  <a:pt x="3795" y="1567"/>
                </a:lnTo>
                <a:lnTo>
                  <a:pt x="3795" y="1567"/>
                </a:lnTo>
                <a:lnTo>
                  <a:pt x="3793" y="1565"/>
                </a:lnTo>
                <a:lnTo>
                  <a:pt x="3791" y="1559"/>
                </a:lnTo>
                <a:lnTo>
                  <a:pt x="3789" y="1559"/>
                </a:lnTo>
                <a:lnTo>
                  <a:pt x="3789" y="1555"/>
                </a:lnTo>
                <a:lnTo>
                  <a:pt x="3783" y="1550"/>
                </a:lnTo>
                <a:lnTo>
                  <a:pt x="3778" y="1547"/>
                </a:lnTo>
                <a:lnTo>
                  <a:pt x="3777" y="1547"/>
                </a:lnTo>
                <a:lnTo>
                  <a:pt x="3777" y="1548"/>
                </a:lnTo>
                <a:lnTo>
                  <a:pt x="3775" y="1551"/>
                </a:lnTo>
                <a:lnTo>
                  <a:pt x="3775" y="1555"/>
                </a:lnTo>
                <a:lnTo>
                  <a:pt x="3775" y="1556"/>
                </a:lnTo>
                <a:lnTo>
                  <a:pt x="3775" y="1562"/>
                </a:lnTo>
                <a:lnTo>
                  <a:pt x="3771" y="1564"/>
                </a:lnTo>
                <a:lnTo>
                  <a:pt x="3771" y="1569"/>
                </a:lnTo>
                <a:lnTo>
                  <a:pt x="3771" y="1575"/>
                </a:lnTo>
                <a:lnTo>
                  <a:pt x="3772" y="1575"/>
                </a:lnTo>
                <a:lnTo>
                  <a:pt x="3771" y="1584"/>
                </a:lnTo>
                <a:lnTo>
                  <a:pt x="3771" y="1592"/>
                </a:lnTo>
                <a:lnTo>
                  <a:pt x="3776" y="1600"/>
                </a:lnTo>
                <a:lnTo>
                  <a:pt x="3777" y="1604"/>
                </a:lnTo>
                <a:lnTo>
                  <a:pt x="3784" y="1605"/>
                </a:lnTo>
                <a:lnTo>
                  <a:pt x="3795" y="1600"/>
                </a:lnTo>
                <a:lnTo>
                  <a:pt x="3798" y="1597"/>
                </a:lnTo>
                <a:lnTo>
                  <a:pt x="3799" y="1589"/>
                </a:lnTo>
                <a:lnTo>
                  <a:pt x="3799" y="1579"/>
                </a:lnTo>
                <a:lnTo>
                  <a:pt x="3802" y="1579"/>
                </a:lnTo>
                <a:lnTo>
                  <a:pt x="3802" y="1579"/>
                </a:lnTo>
                <a:lnTo>
                  <a:pt x="3801" y="1577"/>
                </a:lnTo>
                <a:lnTo>
                  <a:pt x="3799" y="1575"/>
                </a:lnTo>
                <a:close/>
                <a:moveTo>
                  <a:pt x="3624" y="2499"/>
                </a:moveTo>
                <a:lnTo>
                  <a:pt x="3625" y="2498"/>
                </a:lnTo>
                <a:lnTo>
                  <a:pt x="3624" y="2497"/>
                </a:lnTo>
                <a:lnTo>
                  <a:pt x="3624" y="2499"/>
                </a:lnTo>
                <a:close/>
                <a:moveTo>
                  <a:pt x="3624" y="2499"/>
                </a:moveTo>
                <a:lnTo>
                  <a:pt x="3624" y="2499"/>
                </a:lnTo>
                <a:lnTo>
                  <a:pt x="3625" y="2500"/>
                </a:lnTo>
                <a:lnTo>
                  <a:pt x="3626" y="2503"/>
                </a:lnTo>
                <a:lnTo>
                  <a:pt x="3630" y="2503"/>
                </a:lnTo>
                <a:lnTo>
                  <a:pt x="3630" y="2507"/>
                </a:lnTo>
                <a:lnTo>
                  <a:pt x="3626" y="2507"/>
                </a:lnTo>
                <a:lnTo>
                  <a:pt x="3624" y="2504"/>
                </a:lnTo>
                <a:lnTo>
                  <a:pt x="3618" y="2503"/>
                </a:lnTo>
                <a:lnTo>
                  <a:pt x="3614" y="2503"/>
                </a:lnTo>
                <a:lnTo>
                  <a:pt x="3614" y="2507"/>
                </a:lnTo>
                <a:lnTo>
                  <a:pt x="3611" y="2507"/>
                </a:lnTo>
                <a:lnTo>
                  <a:pt x="3611" y="2499"/>
                </a:lnTo>
                <a:lnTo>
                  <a:pt x="3611" y="2492"/>
                </a:lnTo>
                <a:lnTo>
                  <a:pt x="3613" y="2487"/>
                </a:lnTo>
                <a:lnTo>
                  <a:pt x="3614" y="2487"/>
                </a:lnTo>
                <a:lnTo>
                  <a:pt x="3613" y="2490"/>
                </a:lnTo>
                <a:lnTo>
                  <a:pt x="3616" y="2486"/>
                </a:lnTo>
                <a:lnTo>
                  <a:pt x="3615" y="2491"/>
                </a:lnTo>
                <a:lnTo>
                  <a:pt x="3615" y="2491"/>
                </a:lnTo>
                <a:lnTo>
                  <a:pt x="3615" y="2491"/>
                </a:lnTo>
                <a:lnTo>
                  <a:pt x="3615" y="2491"/>
                </a:lnTo>
                <a:lnTo>
                  <a:pt x="3614" y="2491"/>
                </a:lnTo>
                <a:lnTo>
                  <a:pt x="3618" y="2492"/>
                </a:lnTo>
                <a:lnTo>
                  <a:pt x="3618" y="2492"/>
                </a:lnTo>
                <a:lnTo>
                  <a:pt x="3617" y="2492"/>
                </a:lnTo>
                <a:lnTo>
                  <a:pt x="3617" y="2493"/>
                </a:lnTo>
                <a:lnTo>
                  <a:pt x="3618" y="2492"/>
                </a:lnTo>
                <a:lnTo>
                  <a:pt x="3618" y="2490"/>
                </a:lnTo>
                <a:lnTo>
                  <a:pt x="3619" y="2491"/>
                </a:lnTo>
                <a:lnTo>
                  <a:pt x="3618" y="2493"/>
                </a:lnTo>
                <a:lnTo>
                  <a:pt x="3618" y="2493"/>
                </a:lnTo>
                <a:lnTo>
                  <a:pt x="3618" y="2493"/>
                </a:lnTo>
                <a:lnTo>
                  <a:pt x="3618" y="2499"/>
                </a:lnTo>
                <a:lnTo>
                  <a:pt x="3624" y="2499"/>
                </a:lnTo>
                <a:close/>
                <a:moveTo>
                  <a:pt x="3614" y="2490"/>
                </a:moveTo>
                <a:lnTo>
                  <a:pt x="3613" y="2493"/>
                </a:lnTo>
                <a:lnTo>
                  <a:pt x="3614" y="2493"/>
                </a:lnTo>
                <a:lnTo>
                  <a:pt x="3614" y="2490"/>
                </a:lnTo>
                <a:close/>
                <a:moveTo>
                  <a:pt x="3636" y="2496"/>
                </a:moveTo>
                <a:lnTo>
                  <a:pt x="3635" y="2493"/>
                </a:lnTo>
                <a:lnTo>
                  <a:pt x="3632" y="2493"/>
                </a:lnTo>
                <a:lnTo>
                  <a:pt x="3625" y="2498"/>
                </a:lnTo>
                <a:lnTo>
                  <a:pt x="3628" y="2501"/>
                </a:lnTo>
                <a:lnTo>
                  <a:pt x="3626" y="2499"/>
                </a:lnTo>
                <a:lnTo>
                  <a:pt x="3630" y="2499"/>
                </a:lnTo>
                <a:lnTo>
                  <a:pt x="3634" y="2500"/>
                </a:lnTo>
                <a:lnTo>
                  <a:pt x="3632" y="2499"/>
                </a:lnTo>
                <a:lnTo>
                  <a:pt x="3633" y="2499"/>
                </a:lnTo>
                <a:lnTo>
                  <a:pt x="3636" y="2496"/>
                </a:lnTo>
                <a:close/>
                <a:moveTo>
                  <a:pt x="3783" y="1549"/>
                </a:moveTo>
                <a:lnTo>
                  <a:pt x="3783" y="1550"/>
                </a:lnTo>
                <a:lnTo>
                  <a:pt x="3785" y="1551"/>
                </a:lnTo>
                <a:lnTo>
                  <a:pt x="3783" y="1549"/>
                </a:lnTo>
                <a:close/>
                <a:moveTo>
                  <a:pt x="3618" y="2491"/>
                </a:moveTo>
                <a:lnTo>
                  <a:pt x="3618" y="2490"/>
                </a:lnTo>
                <a:lnTo>
                  <a:pt x="3618" y="2490"/>
                </a:lnTo>
                <a:lnTo>
                  <a:pt x="3621" y="2487"/>
                </a:lnTo>
                <a:lnTo>
                  <a:pt x="3621" y="2487"/>
                </a:lnTo>
                <a:lnTo>
                  <a:pt x="3618" y="2487"/>
                </a:lnTo>
                <a:lnTo>
                  <a:pt x="3618" y="2488"/>
                </a:lnTo>
                <a:lnTo>
                  <a:pt x="3616" y="2489"/>
                </a:lnTo>
                <a:lnTo>
                  <a:pt x="3616" y="2492"/>
                </a:lnTo>
                <a:lnTo>
                  <a:pt x="3616" y="2492"/>
                </a:lnTo>
                <a:lnTo>
                  <a:pt x="3618" y="2491"/>
                </a:lnTo>
                <a:close/>
                <a:moveTo>
                  <a:pt x="3675" y="2566"/>
                </a:moveTo>
                <a:lnTo>
                  <a:pt x="3679" y="2571"/>
                </a:lnTo>
                <a:lnTo>
                  <a:pt x="3686" y="2570"/>
                </a:lnTo>
                <a:lnTo>
                  <a:pt x="3680" y="2568"/>
                </a:lnTo>
                <a:lnTo>
                  <a:pt x="3675" y="2566"/>
                </a:lnTo>
                <a:close/>
                <a:moveTo>
                  <a:pt x="2298" y="539"/>
                </a:moveTo>
                <a:lnTo>
                  <a:pt x="2297" y="538"/>
                </a:lnTo>
                <a:lnTo>
                  <a:pt x="2297" y="539"/>
                </a:lnTo>
                <a:lnTo>
                  <a:pt x="2298" y="539"/>
                </a:lnTo>
                <a:close/>
                <a:moveTo>
                  <a:pt x="1468" y="1565"/>
                </a:moveTo>
                <a:lnTo>
                  <a:pt x="1466" y="1565"/>
                </a:lnTo>
                <a:lnTo>
                  <a:pt x="1468" y="1567"/>
                </a:lnTo>
                <a:lnTo>
                  <a:pt x="1468" y="1565"/>
                </a:lnTo>
                <a:close/>
                <a:moveTo>
                  <a:pt x="1481" y="1653"/>
                </a:moveTo>
                <a:lnTo>
                  <a:pt x="1480" y="1653"/>
                </a:lnTo>
                <a:lnTo>
                  <a:pt x="1481" y="1654"/>
                </a:lnTo>
                <a:lnTo>
                  <a:pt x="1481" y="1654"/>
                </a:lnTo>
                <a:lnTo>
                  <a:pt x="1480" y="1653"/>
                </a:lnTo>
                <a:lnTo>
                  <a:pt x="1481" y="1653"/>
                </a:lnTo>
                <a:lnTo>
                  <a:pt x="1481" y="1653"/>
                </a:lnTo>
                <a:close/>
                <a:moveTo>
                  <a:pt x="1884" y="1665"/>
                </a:moveTo>
                <a:lnTo>
                  <a:pt x="1881" y="1662"/>
                </a:lnTo>
                <a:lnTo>
                  <a:pt x="1880" y="1663"/>
                </a:lnTo>
                <a:lnTo>
                  <a:pt x="1881" y="1667"/>
                </a:lnTo>
                <a:lnTo>
                  <a:pt x="1884" y="1665"/>
                </a:lnTo>
                <a:close/>
                <a:moveTo>
                  <a:pt x="1550" y="2362"/>
                </a:moveTo>
                <a:lnTo>
                  <a:pt x="1550" y="2363"/>
                </a:lnTo>
                <a:lnTo>
                  <a:pt x="1552" y="2362"/>
                </a:lnTo>
                <a:lnTo>
                  <a:pt x="1550" y="2362"/>
                </a:lnTo>
                <a:close/>
                <a:moveTo>
                  <a:pt x="1887" y="1685"/>
                </a:moveTo>
                <a:lnTo>
                  <a:pt x="1884" y="1686"/>
                </a:lnTo>
                <a:lnTo>
                  <a:pt x="1884" y="1689"/>
                </a:lnTo>
                <a:lnTo>
                  <a:pt x="1887" y="1686"/>
                </a:lnTo>
                <a:lnTo>
                  <a:pt x="1887" y="1685"/>
                </a:lnTo>
                <a:close/>
                <a:moveTo>
                  <a:pt x="1884" y="1684"/>
                </a:moveTo>
                <a:lnTo>
                  <a:pt x="1887" y="1681"/>
                </a:lnTo>
                <a:lnTo>
                  <a:pt x="1887" y="1680"/>
                </a:lnTo>
                <a:lnTo>
                  <a:pt x="1885" y="1681"/>
                </a:lnTo>
                <a:lnTo>
                  <a:pt x="1884" y="1684"/>
                </a:lnTo>
                <a:close/>
                <a:moveTo>
                  <a:pt x="1881" y="1691"/>
                </a:moveTo>
                <a:lnTo>
                  <a:pt x="1884" y="1689"/>
                </a:lnTo>
                <a:lnTo>
                  <a:pt x="1881" y="1685"/>
                </a:lnTo>
                <a:lnTo>
                  <a:pt x="1880" y="1691"/>
                </a:lnTo>
                <a:lnTo>
                  <a:pt x="1879" y="1692"/>
                </a:lnTo>
                <a:lnTo>
                  <a:pt x="1878" y="1692"/>
                </a:lnTo>
                <a:lnTo>
                  <a:pt x="1879" y="1695"/>
                </a:lnTo>
                <a:lnTo>
                  <a:pt x="1879" y="1693"/>
                </a:lnTo>
                <a:lnTo>
                  <a:pt x="1885" y="1695"/>
                </a:lnTo>
                <a:lnTo>
                  <a:pt x="1892" y="1691"/>
                </a:lnTo>
                <a:lnTo>
                  <a:pt x="1890" y="1689"/>
                </a:lnTo>
                <a:lnTo>
                  <a:pt x="1881" y="1691"/>
                </a:lnTo>
                <a:close/>
                <a:moveTo>
                  <a:pt x="1545" y="2421"/>
                </a:moveTo>
                <a:lnTo>
                  <a:pt x="1543" y="2421"/>
                </a:lnTo>
                <a:lnTo>
                  <a:pt x="1541" y="2424"/>
                </a:lnTo>
                <a:lnTo>
                  <a:pt x="1543" y="2425"/>
                </a:lnTo>
                <a:lnTo>
                  <a:pt x="1545" y="2421"/>
                </a:lnTo>
                <a:close/>
                <a:moveTo>
                  <a:pt x="1895" y="1696"/>
                </a:moveTo>
                <a:lnTo>
                  <a:pt x="1897" y="1696"/>
                </a:lnTo>
                <a:lnTo>
                  <a:pt x="1897" y="1695"/>
                </a:lnTo>
                <a:lnTo>
                  <a:pt x="1893" y="1692"/>
                </a:lnTo>
                <a:lnTo>
                  <a:pt x="1890" y="1695"/>
                </a:lnTo>
                <a:lnTo>
                  <a:pt x="1892" y="1696"/>
                </a:lnTo>
                <a:lnTo>
                  <a:pt x="1895" y="1696"/>
                </a:lnTo>
                <a:close/>
                <a:moveTo>
                  <a:pt x="1539" y="2391"/>
                </a:moveTo>
                <a:lnTo>
                  <a:pt x="1541" y="2391"/>
                </a:lnTo>
                <a:lnTo>
                  <a:pt x="1541" y="2390"/>
                </a:lnTo>
                <a:lnTo>
                  <a:pt x="1537" y="2390"/>
                </a:lnTo>
                <a:lnTo>
                  <a:pt x="1537" y="2391"/>
                </a:lnTo>
                <a:lnTo>
                  <a:pt x="1538" y="2394"/>
                </a:lnTo>
                <a:lnTo>
                  <a:pt x="1539" y="2391"/>
                </a:lnTo>
                <a:close/>
                <a:moveTo>
                  <a:pt x="1539" y="2401"/>
                </a:moveTo>
                <a:lnTo>
                  <a:pt x="1539" y="2402"/>
                </a:lnTo>
                <a:lnTo>
                  <a:pt x="1541" y="2401"/>
                </a:lnTo>
                <a:lnTo>
                  <a:pt x="1539" y="2401"/>
                </a:lnTo>
                <a:close/>
                <a:moveTo>
                  <a:pt x="1541" y="2398"/>
                </a:moveTo>
                <a:lnTo>
                  <a:pt x="1539" y="2401"/>
                </a:lnTo>
                <a:lnTo>
                  <a:pt x="1541" y="2401"/>
                </a:lnTo>
                <a:lnTo>
                  <a:pt x="1541" y="2398"/>
                </a:lnTo>
                <a:close/>
                <a:moveTo>
                  <a:pt x="1543" y="2401"/>
                </a:moveTo>
                <a:lnTo>
                  <a:pt x="1543" y="2401"/>
                </a:lnTo>
                <a:lnTo>
                  <a:pt x="1541" y="2401"/>
                </a:lnTo>
                <a:lnTo>
                  <a:pt x="1543" y="2401"/>
                </a:lnTo>
                <a:close/>
                <a:moveTo>
                  <a:pt x="1543" y="2398"/>
                </a:moveTo>
                <a:lnTo>
                  <a:pt x="1541" y="2398"/>
                </a:lnTo>
                <a:lnTo>
                  <a:pt x="1543" y="2401"/>
                </a:lnTo>
                <a:lnTo>
                  <a:pt x="1543" y="2398"/>
                </a:lnTo>
                <a:close/>
                <a:moveTo>
                  <a:pt x="1533" y="2405"/>
                </a:moveTo>
                <a:lnTo>
                  <a:pt x="1537" y="2405"/>
                </a:lnTo>
                <a:lnTo>
                  <a:pt x="1535" y="2402"/>
                </a:lnTo>
                <a:lnTo>
                  <a:pt x="1533" y="2401"/>
                </a:lnTo>
                <a:lnTo>
                  <a:pt x="1530" y="2402"/>
                </a:lnTo>
                <a:lnTo>
                  <a:pt x="1533" y="2405"/>
                </a:lnTo>
                <a:close/>
                <a:moveTo>
                  <a:pt x="1526" y="2389"/>
                </a:moveTo>
                <a:lnTo>
                  <a:pt x="1530" y="2386"/>
                </a:lnTo>
                <a:lnTo>
                  <a:pt x="1526" y="2386"/>
                </a:lnTo>
                <a:lnTo>
                  <a:pt x="1526" y="2389"/>
                </a:lnTo>
                <a:close/>
                <a:moveTo>
                  <a:pt x="1543" y="2394"/>
                </a:moveTo>
                <a:lnTo>
                  <a:pt x="1543" y="2397"/>
                </a:lnTo>
                <a:lnTo>
                  <a:pt x="1545" y="2395"/>
                </a:lnTo>
                <a:lnTo>
                  <a:pt x="1543" y="2394"/>
                </a:lnTo>
                <a:close/>
                <a:moveTo>
                  <a:pt x="1535" y="2397"/>
                </a:moveTo>
                <a:lnTo>
                  <a:pt x="1533" y="2397"/>
                </a:lnTo>
                <a:lnTo>
                  <a:pt x="1533" y="2398"/>
                </a:lnTo>
                <a:lnTo>
                  <a:pt x="1535" y="2397"/>
                </a:lnTo>
                <a:close/>
                <a:moveTo>
                  <a:pt x="2003" y="617"/>
                </a:moveTo>
                <a:lnTo>
                  <a:pt x="2003" y="616"/>
                </a:lnTo>
                <a:lnTo>
                  <a:pt x="2000" y="614"/>
                </a:lnTo>
                <a:lnTo>
                  <a:pt x="2003" y="617"/>
                </a:lnTo>
                <a:close/>
                <a:moveTo>
                  <a:pt x="2003" y="633"/>
                </a:moveTo>
                <a:lnTo>
                  <a:pt x="2003" y="629"/>
                </a:lnTo>
                <a:lnTo>
                  <a:pt x="2001" y="633"/>
                </a:lnTo>
                <a:lnTo>
                  <a:pt x="2003" y="633"/>
                </a:lnTo>
                <a:close/>
                <a:moveTo>
                  <a:pt x="2004" y="1735"/>
                </a:moveTo>
                <a:lnTo>
                  <a:pt x="2004" y="1733"/>
                </a:lnTo>
                <a:lnTo>
                  <a:pt x="2002" y="1733"/>
                </a:lnTo>
                <a:lnTo>
                  <a:pt x="2004" y="1735"/>
                </a:lnTo>
                <a:close/>
                <a:moveTo>
                  <a:pt x="1987" y="674"/>
                </a:moveTo>
                <a:lnTo>
                  <a:pt x="1986" y="673"/>
                </a:lnTo>
                <a:lnTo>
                  <a:pt x="1986" y="674"/>
                </a:lnTo>
                <a:lnTo>
                  <a:pt x="1987" y="674"/>
                </a:lnTo>
                <a:close/>
                <a:moveTo>
                  <a:pt x="1984" y="674"/>
                </a:moveTo>
                <a:lnTo>
                  <a:pt x="1986" y="673"/>
                </a:lnTo>
                <a:lnTo>
                  <a:pt x="1984" y="673"/>
                </a:lnTo>
                <a:lnTo>
                  <a:pt x="1984" y="674"/>
                </a:lnTo>
                <a:close/>
                <a:moveTo>
                  <a:pt x="2024" y="560"/>
                </a:moveTo>
                <a:lnTo>
                  <a:pt x="2020" y="559"/>
                </a:lnTo>
                <a:lnTo>
                  <a:pt x="2025" y="564"/>
                </a:lnTo>
                <a:lnTo>
                  <a:pt x="2025" y="569"/>
                </a:lnTo>
                <a:lnTo>
                  <a:pt x="2028" y="570"/>
                </a:lnTo>
                <a:lnTo>
                  <a:pt x="2028" y="569"/>
                </a:lnTo>
                <a:lnTo>
                  <a:pt x="2026" y="568"/>
                </a:lnTo>
                <a:lnTo>
                  <a:pt x="2024" y="560"/>
                </a:lnTo>
                <a:close/>
                <a:moveTo>
                  <a:pt x="2012" y="605"/>
                </a:moveTo>
                <a:lnTo>
                  <a:pt x="2012" y="606"/>
                </a:lnTo>
                <a:lnTo>
                  <a:pt x="2012" y="607"/>
                </a:lnTo>
                <a:lnTo>
                  <a:pt x="2013" y="605"/>
                </a:lnTo>
                <a:lnTo>
                  <a:pt x="2012" y="605"/>
                </a:lnTo>
                <a:close/>
                <a:moveTo>
                  <a:pt x="2013" y="600"/>
                </a:moveTo>
                <a:lnTo>
                  <a:pt x="2016" y="603"/>
                </a:lnTo>
                <a:lnTo>
                  <a:pt x="2016" y="600"/>
                </a:lnTo>
                <a:lnTo>
                  <a:pt x="2013" y="600"/>
                </a:lnTo>
                <a:close/>
                <a:moveTo>
                  <a:pt x="1942" y="656"/>
                </a:moveTo>
                <a:lnTo>
                  <a:pt x="1939" y="659"/>
                </a:lnTo>
                <a:lnTo>
                  <a:pt x="1942" y="659"/>
                </a:lnTo>
                <a:lnTo>
                  <a:pt x="1942" y="656"/>
                </a:lnTo>
                <a:close/>
                <a:moveTo>
                  <a:pt x="1968" y="669"/>
                </a:moveTo>
                <a:lnTo>
                  <a:pt x="1968" y="673"/>
                </a:lnTo>
                <a:lnTo>
                  <a:pt x="1972" y="674"/>
                </a:lnTo>
                <a:lnTo>
                  <a:pt x="1972" y="674"/>
                </a:lnTo>
                <a:lnTo>
                  <a:pt x="1972" y="671"/>
                </a:lnTo>
                <a:lnTo>
                  <a:pt x="1968" y="669"/>
                </a:lnTo>
                <a:close/>
                <a:moveTo>
                  <a:pt x="1960" y="665"/>
                </a:moveTo>
                <a:lnTo>
                  <a:pt x="1957" y="665"/>
                </a:lnTo>
                <a:lnTo>
                  <a:pt x="1955" y="669"/>
                </a:lnTo>
                <a:lnTo>
                  <a:pt x="1958" y="668"/>
                </a:lnTo>
                <a:lnTo>
                  <a:pt x="1960" y="665"/>
                </a:lnTo>
                <a:close/>
                <a:moveTo>
                  <a:pt x="1919" y="1704"/>
                </a:moveTo>
                <a:lnTo>
                  <a:pt x="1917" y="1703"/>
                </a:lnTo>
                <a:lnTo>
                  <a:pt x="1917" y="1704"/>
                </a:lnTo>
                <a:lnTo>
                  <a:pt x="1919" y="1704"/>
                </a:lnTo>
                <a:lnTo>
                  <a:pt x="1919" y="1704"/>
                </a:lnTo>
                <a:close/>
                <a:moveTo>
                  <a:pt x="1961" y="1712"/>
                </a:moveTo>
                <a:lnTo>
                  <a:pt x="1961" y="1714"/>
                </a:lnTo>
                <a:lnTo>
                  <a:pt x="1963" y="1712"/>
                </a:lnTo>
                <a:lnTo>
                  <a:pt x="1961" y="1712"/>
                </a:lnTo>
                <a:close/>
                <a:moveTo>
                  <a:pt x="1966" y="1718"/>
                </a:moveTo>
                <a:lnTo>
                  <a:pt x="1964" y="1719"/>
                </a:lnTo>
                <a:lnTo>
                  <a:pt x="1966" y="1719"/>
                </a:lnTo>
                <a:lnTo>
                  <a:pt x="1966" y="1718"/>
                </a:lnTo>
                <a:close/>
                <a:moveTo>
                  <a:pt x="1974" y="676"/>
                </a:moveTo>
                <a:lnTo>
                  <a:pt x="1972" y="674"/>
                </a:lnTo>
                <a:lnTo>
                  <a:pt x="1972" y="676"/>
                </a:lnTo>
                <a:lnTo>
                  <a:pt x="1974" y="676"/>
                </a:lnTo>
                <a:close/>
                <a:moveTo>
                  <a:pt x="1976" y="676"/>
                </a:moveTo>
                <a:lnTo>
                  <a:pt x="1978" y="678"/>
                </a:lnTo>
                <a:lnTo>
                  <a:pt x="1980" y="675"/>
                </a:lnTo>
                <a:lnTo>
                  <a:pt x="1976" y="674"/>
                </a:lnTo>
                <a:lnTo>
                  <a:pt x="1975" y="675"/>
                </a:lnTo>
                <a:lnTo>
                  <a:pt x="1976" y="676"/>
                </a:lnTo>
                <a:lnTo>
                  <a:pt x="1974" y="676"/>
                </a:lnTo>
                <a:lnTo>
                  <a:pt x="1975" y="677"/>
                </a:lnTo>
                <a:lnTo>
                  <a:pt x="1976" y="676"/>
                </a:lnTo>
                <a:close/>
                <a:moveTo>
                  <a:pt x="1539" y="2397"/>
                </a:moveTo>
                <a:lnTo>
                  <a:pt x="1538" y="2397"/>
                </a:lnTo>
                <a:lnTo>
                  <a:pt x="1537" y="2398"/>
                </a:lnTo>
                <a:lnTo>
                  <a:pt x="1538" y="2401"/>
                </a:lnTo>
                <a:lnTo>
                  <a:pt x="1539" y="2398"/>
                </a:lnTo>
                <a:lnTo>
                  <a:pt x="1539" y="2397"/>
                </a:lnTo>
                <a:close/>
                <a:moveTo>
                  <a:pt x="1524" y="2477"/>
                </a:moveTo>
                <a:lnTo>
                  <a:pt x="1526" y="2475"/>
                </a:lnTo>
                <a:lnTo>
                  <a:pt x="1526" y="2471"/>
                </a:lnTo>
                <a:lnTo>
                  <a:pt x="1520" y="2470"/>
                </a:lnTo>
                <a:lnTo>
                  <a:pt x="1524" y="2477"/>
                </a:lnTo>
                <a:close/>
                <a:moveTo>
                  <a:pt x="1523" y="2465"/>
                </a:moveTo>
                <a:lnTo>
                  <a:pt x="1524" y="2465"/>
                </a:lnTo>
                <a:lnTo>
                  <a:pt x="1523" y="2462"/>
                </a:lnTo>
                <a:lnTo>
                  <a:pt x="1519" y="2463"/>
                </a:lnTo>
                <a:lnTo>
                  <a:pt x="1523" y="2465"/>
                </a:lnTo>
                <a:close/>
                <a:moveTo>
                  <a:pt x="1524" y="2463"/>
                </a:moveTo>
                <a:lnTo>
                  <a:pt x="1526" y="2463"/>
                </a:lnTo>
                <a:lnTo>
                  <a:pt x="1523" y="2462"/>
                </a:lnTo>
                <a:lnTo>
                  <a:pt x="1524" y="2463"/>
                </a:lnTo>
                <a:close/>
                <a:moveTo>
                  <a:pt x="1541" y="2534"/>
                </a:moveTo>
                <a:lnTo>
                  <a:pt x="1541" y="2532"/>
                </a:lnTo>
                <a:lnTo>
                  <a:pt x="1540" y="2531"/>
                </a:lnTo>
                <a:lnTo>
                  <a:pt x="1539" y="2532"/>
                </a:lnTo>
                <a:lnTo>
                  <a:pt x="1541" y="2534"/>
                </a:lnTo>
                <a:close/>
                <a:moveTo>
                  <a:pt x="1526" y="2465"/>
                </a:moveTo>
                <a:lnTo>
                  <a:pt x="1520" y="2469"/>
                </a:lnTo>
                <a:lnTo>
                  <a:pt x="1524" y="2469"/>
                </a:lnTo>
                <a:lnTo>
                  <a:pt x="1526" y="2470"/>
                </a:lnTo>
                <a:lnTo>
                  <a:pt x="1526" y="2469"/>
                </a:lnTo>
                <a:lnTo>
                  <a:pt x="1526" y="2465"/>
                </a:lnTo>
                <a:close/>
                <a:moveTo>
                  <a:pt x="1523" y="2409"/>
                </a:moveTo>
                <a:lnTo>
                  <a:pt x="1523" y="2412"/>
                </a:lnTo>
                <a:lnTo>
                  <a:pt x="1524" y="2409"/>
                </a:lnTo>
                <a:lnTo>
                  <a:pt x="1523" y="2408"/>
                </a:lnTo>
                <a:lnTo>
                  <a:pt x="1523" y="2409"/>
                </a:lnTo>
                <a:close/>
                <a:moveTo>
                  <a:pt x="1531" y="2451"/>
                </a:moveTo>
                <a:lnTo>
                  <a:pt x="1531" y="2452"/>
                </a:lnTo>
                <a:lnTo>
                  <a:pt x="1533" y="2451"/>
                </a:lnTo>
                <a:lnTo>
                  <a:pt x="1531" y="2451"/>
                </a:lnTo>
                <a:close/>
                <a:moveTo>
                  <a:pt x="1524" y="2432"/>
                </a:moveTo>
                <a:lnTo>
                  <a:pt x="1526" y="2431"/>
                </a:lnTo>
                <a:lnTo>
                  <a:pt x="1527" y="2428"/>
                </a:lnTo>
                <a:lnTo>
                  <a:pt x="1526" y="2429"/>
                </a:lnTo>
                <a:lnTo>
                  <a:pt x="1523" y="2429"/>
                </a:lnTo>
                <a:lnTo>
                  <a:pt x="1524" y="2431"/>
                </a:lnTo>
                <a:lnTo>
                  <a:pt x="1523" y="2431"/>
                </a:lnTo>
                <a:lnTo>
                  <a:pt x="1524" y="2432"/>
                </a:lnTo>
                <a:close/>
                <a:moveTo>
                  <a:pt x="1538" y="2401"/>
                </a:moveTo>
                <a:lnTo>
                  <a:pt x="1537" y="2401"/>
                </a:lnTo>
                <a:lnTo>
                  <a:pt x="1539" y="2401"/>
                </a:lnTo>
                <a:lnTo>
                  <a:pt x="1539" y="2401"/>
                </a:lnTo>
                <a:lnTo>
                  <a:pt x="1538" y="2401"/>
                </a:lnTo>
                <a:close/>
                <a:moveTo>
                  <a:pt x="1553" y="2547"/>
                </a:moveTo>
                <a:lnTo>
                  <a:pt x="1554" y="2547"/>
                </a:lnTo>
                <a:lnTo>
                  <a:pt x="1554" y="2546"/>
                </a:lnTo>
                <a:lnTo>
                  <a:pt x="1553" y="2547"/>
                </a:lnTo>
                <a:close/>
                <a:moveTo>
                  <a:pt x="2109" y="1799"/>
                </a:moveTo>
                <a:lnTo>
                  <a:pt x="2110" y="1808"/>
                </a:lnTo>
                <a:lnTo>
                  <a:pt x="2109" y="1808"/>
                </a:lnTo>
                <a:lnTo>
                  <a:pt x="2108" y="1810"/>
                </a:lnTo>
                <a:lnTo>
                  <a:pt x="2108" y="1811"/>
                </a:lnTo>
                <a:lnTo>
                  <a:pt x="2108" y="1814"/>
                </a:lnTo>
                <a:lnTo>
                  <a:pt x="2101" y="1830"/>
                </a:lnTo>
                <a:lnTo>
                  <a:pt x="2094" y="1839"/>
                </a:lnTo>
                <a:lnTo>
                  <a:pt x="2086" y="1850"/>
                </a:lnTo>
                <a:lnTo>
                  <a:pt x="2079" y="1856"/>
                </a:lnTo>
                <a:lnTo>
                  <a:pt x="2076" y="1857"/>
                </a:lnTo>
                <a:lnTo>
                  <a:pt x="2076" y="1858"/>
                </a:lnTo>
                <a:lnTo>
                  <a:pt x="2072" y="1860"/>
                </a:lnTo>
                <a:lnTo>
                  <a:pt x="2072" y="1862"/>
                </a:lnTo>
                <a:lnTo>
                  <a:pt x="2070" y="1866"/>
                </a:lnTo>
                <a:lnTo>
                  <a:pt x="2071" y="1866"/>
                </a:lnTo>
                <a:lnTo>
                  <a:pt x="2067" y="1875"/>
                </a:lnTo>
                <a:lnTo>
                  <a:pt x="2059" y="1884"/>
                </a:lnTo>
                <a:lnTo>
                  <a:pt x="2052" y="1890"/>
                </a:lnTo>
                <a:lnTo>
                  <a:pt x="2052" y="1889"/>
                </a:lnTo>
                <a:lnTo>
                  <a:pt x="2050" y="1891"/>
                </a:lnTo>
                <a:lnTo>
                  <a:pt x="2051" y="1889"/>
                </a:lnTo>
                <a:lnTo>
                  <a:pt x="2052" y="1889"/>
                </a:lnTo>
                <a:lnTo>
                  <a:pt x="2052" y="1887"/>
                </a:lnTo>
                <a:lnTo>
                  <a:pt x="2051" y="1888"/>
                </a:lnTo>
                <a:lnTo>
                  <a:pt x="2052" y="1886"/>
                </a:lnTo>
                <a:lnTo>
                  <a:pt x="2052" y="1885"/>
                </a:lnTo>
                <a:lnTo>
                  <a:pt x="2054" y="1885"/>
                </a:lnTo>
                <a:lnTo>
                  <a:pt x="2052" y="1884"/>
                </a:lnTo>
                <a:lnTo>
                  <a:pt x="2048" y="1886"/>
                </a:lnTo>
                <a:lnTo>
                  <a:pt x="2050" y="1889"/>
                </a:lnTo>
                <a:lnTo>
                  <a:pt x="2051" y="1889"/>
                </a:lnTo>
                <a:lnTo>
                  <a:pt x="2050" y="1890"/>
                </a:lnTo>
                <a:lnTo>
                  <a:pt x="2048" y="1894"/>
                </a:lnTo>
                <a:lnTo>
                  <a:pt x="2048" y="1898"/>
                </a:lnTo>
                <a:lnTo>
                  <a:pt x="2044" y="1894"/>
                </a:lnTo>
                <a:lnTo>
                  <a:pt x="2044" y="1896"/>
                </a:lnTo>
                <a:lnTo>
                  <a:pt x="2047" y="1899"/>
                </a:lnTo>
                <a:lnTo>
                  <a:pt x="2047" y="1905"/>
                </a:lnTo>
                <a:lnTo>
                  <a:pt x="2048" y="1904"/>
                </a:lnTo>
                <a:lnTo>
                  <a:pt x="2046" y="1914"/>
                </a:lnTo>
                <a:lnTo>
                  <a:pt x="2049" y="1932"/>
                </a:lnTo>
                <a:lnTo>
                  <a:pt x="2044" y="1951"/>
                </a:lnTo>
                <a:lnTo>
                  <a:pt x="2044" y="1960"/>
                </a:lnTo>
                <a:lnTo>
                  <a:pt x="2037" y="1967"/>
                </a:lnTo>
                <a:lnTo>
                  <a:pt x="2036" y="1976"/>
                </a:lnTo>
                <a:lnTo>
                  <a:pt x="2036" y="1985"/>
                </a:lnTo>
                <a:lnTo>
                  <a:pt x="2034" y="1989"/>
                </a:lnTo>
                <a:lnTo>
                  <a:pt x="2033" y="1990"/>
                </a:lnTo>
                <a:lnTo>
                  <a:pt x="2028" y="2001"/>
                </a:lnTo>
                <a:lnTo>
                  <a:pt x="2024" y="1999"/>
                </a:lnTo>
                <a:lnTo>
                  <a:pt x="2024" y="2001"/>
                </a:lnTo>
                <a:lnTo>
                  <a:pt x="2030" y="2001"/>
                </a:lnTo>
                <a:lnTo>
                  <a:pt x="2028" y="2006"/>
                </a:lnTo>
                <a:lnTo>
                  <a:pt x="2025" y="2009"/>
                </a:lnTo>
                <a:lnTo>
                  <a:pt x="2022" y="2009"/>
                </a:lnTo>
                <a:lnTo>
                  <a:pt x="2020" y="2016"/>
                </a:lnTo>
                <a:lnTo>
                  <a:pt x="2019" y="2020"/>
                </a:lnTo>
                <a:lnTo>
                  <a:pt x="2020" y="2027"/>
                </a:lnTo>
                <a:lnTo>
                  <a:pt x="2008" y="2031"/>
                </a:lnTo>
                <a:lnTo>
                  <a:pt x="2004" y="2035"/>
                </a:lnTo>
                <a:lnTo>
                  <a:pt x="2004" y="2045"/>
                </a:lnTo>
                <a:lnTo>
                  <a:pt x="1989" y="2045"/>
                </a:lnTo>
                <a:lnTo>
                  <a:pt x="1990" y="2041"/>
                </a:lnTo>
                <a:lnTo>
                  <a:pt x="1989" y="2037"/>
                </a:lnTo>
                <a:lnTo>
                  <a:pt x="1987" y="2040"/>
                </a:lnTo>
                <a:lnTo>
                  <a:pt x="1989" y="2045"/>
                </a:lnTo>
                <a:lnTo>
                  <a:pt x="1987" y="2045"/>
                </a:lnTo>
                <a:lnTo>
                  <a:pt x="1981" y="2045"/>
                </a:lnTo>
                <a:lnTo>
                  <a:pt x="1982" y="2045"/>
                </a:lnTo>
                <a:lnTo>
                  <a:pt x="1976" y="2045"/>
                </a:lnTo>
                <a:lnTo>
                  <a:pt x="1981" y="2043"/>
                </a:lnTo>
                <a:lnTo>
                  <a:pt x="1977" y="2040"/>
                </a:lnTo>
                <a:lnTo>
                  <a:pt x="1971" y="2042"/>
                </a:lnTo>
                <a:lnTo>
                  <a:pt x="1970" y="2041"/>
                </a:lnTo>
                <a:lnTo>
                  <a:pt x="1964" y="2042"/>
                </a:lnTo>
                <a:lnTo>
                  <a:pt x="1964" y="2049"/>
                </a:lnTo>
                <a:lnTo>
                  <a:pt x="1963" y="2049"/>
                </a:lnTo>
                <a:lnTo>
                  <a:pt x="1958" y="2051"/>
                </a:lnTo>
                <a:lnTo>
                  <a:pt x="1952" y="2051"/>
                </a:lnTo>
                <a:lnTo>
                  <a:pt x="1952" y="2057"/>
                </a:lnTo>
                <a:lnTo>
                  <a:pt x="1949" y="2057"/>
                </a:lnTo>
                <a:lnTo>
                  <a:pt x="1945" y="2057"/>
                </a:lnTo>
                <a:lnTo>
                  <a:pt x="1942" y="2058"/>
                </a:lnTo>
                <a:lnTo>
                  <a:pt x="1940" y="2056"/>
                </a:lnTo>
                <a:lnTo>
                  <a:pt x="1940" y="2058"/>
                </a:lnTo>
                <a:lnTo>
                  <a:pt x="1916" y="2078"/>
                </a:lnTo>
                <a:lnTo>
                  <a:pt x="1919" y="2078"/>
                </a:lnTo>
                <a:lnTo>
                  <a:pt x="1916" y="2078"/>
                </a:lnTo>
                <a:lnTo>
                  <a:pt x="1911" y="2082"/>
                </a:lnTo>
                <a:lnTo>
                  <a:pt x="1911" y="2080"/>
                </a:lnTo>
                <a:lnTo>
                  <a:pt x="1911" y="2078"/>
                </a:lnTo>
                <a:lnTo>
                  <a:pt x="1909" y="2080"/>
                </a:lnTo>
                <a:lnTo>
                  <a:pt x="1910" y="2082"/>
                </a:lnTo>
                <a:lnTo>
                  <a:pt x="1906" y="2082"/>
                </a:lnTo>
                <a:lnTo>
                  <a:pt x="1911" y="2083"/>
                </a:lnTo>
                <a:lnTo>
                  <a:pt x="1910" y="2087"/>
                </a:lnTo>
                <a:lnTo>
                  <a:pt x="1906" y="2090"/>
                </a:lnTo>
                <a:lnTo>
                  <a:pt x="1907" y="2090"/>
                </a:lnTo>
                <a:lnTo>
                  <a:pt x="1907" y="2093"/>
                </a:lnTo>
                <a:lnTo>
                  <a:pt x="1907" y="2094"/>
                </a:lnTo>
                <a:lnTo>
                  <a:pt x="1906" y="2098"/>
                </a:lnTo>
                <a:lnTo>
                  <a:pt x="1906" y="2101"/>
                </a:lnTo>
                <a:lnTo>
                  <a:pt x="1907" y="2109"/>
                </a:lnTo>
                <a:lnTo>
                  <a:pt x="1910" y="2110"/>
                </a:lnTo>
                <a:lnTo>
                  <a:pt x="1907" y="2110"/>
                </a:lnTo>
                <a:lnTo>
                  <a:pt x="1907" y="2116"/>
                </a:lnTo>
                <a:lnTo>
                  <a:pt x="1907" y="2121"/>
                </a:lnTo>
                <a:lnTo>
                  <a:pt x="1906" y="2131"/>
                </a:lnTo>
                <a:lnTo>
                  <a:pt x="1897" y="2139"/>
                </a:lnTo>
                <a:lnTo>
                  <a:pt x="1892" y="2143"/>
                </a:lnTo>
                <a:lnTo>
                  <a:pt x="1887" y="2151"/>
                </a:lnTo>
                <a:lnTo>
                  <a:pt x="1884" y="2161"/>
                </a:lnTo>
                <a:lnTo>
                  <a:pt x="1877" y="2171"/>
                </a:lnTo>
                <a:lnTo>
                  <a:pt x="1865" y="2182"/>
                </a:lnTo>
                <a:lnTo>
                  <a:pt x="1865" y="2183"/>
                </a:lnTo>
                <a:lnTo>
                  <a:pt x="1867" y="2180"/>
                </a:lnTo>
                <a:lnTo>
                  <a:pt x="1869" y="2178"/>
                </a:lnTo>
                <a:lnTo>
                  <a:pt x="1870" y="2171"/>
                </a:lnTo>
                <a:lnTo>
                  <a:pt x="1871" y="2173"/>
                </a:lnTo>
                <a:lnTo>
                  <a:pt x="1871" y="2170"/>
                </a:lnTo>
                <a:lnTo>
                  <a:pt x="1875" y="2166"/>
                </a:lnTo>
                <a:lnTo>
                  <a:pt x="1875" y="2162"/>
                </a:lnTo>
                <a:lnTo>
                  <a:pt x="1871" y="2162"/>
                </a:lnTo>
                <a:lnTo>
                  <a:pt x="1871" y="2158"/>
                </a:lnTo>
                <a:lnTo>
                  <a:pt x="1871" y="2158"/>
                </a:lnTo>
                <a:lnTo>
                  <a:pt x="1867" y="2155"/>
                </a:lnTo>
                <a:lnTo>
                  <a:pt x="1867" y="2157"/>
                </a:lnTo>
                <a:lnTo>
                  <a:pt x="1869" y="2161"/>
                </a:lnTo>
                <a:lnTo>
                  <a:pt x="1870" y="2168"/>
                </a:lnTo>
                <a:lnTo>
                  <a:pt x="1867" y="2165"/>
                </a:lnTo>
                <a:lnTo>
                  <a:pt x="1866" y="2171"/>
                </a:lnTo>
                <a:lnTo>
                  <a:pt x="1859" y="2177"/>
                </a:lnTo>
                <a:lnTo>
                  <a:pt x="1859" y="2181"/>
                </a:lnTo>
                <a:lnTo>
                  <a:pt x="1855" y="2182"/>
                </a:lnTo>
                <a:lnTo>
                  <a:pt x="1856" y="2185"/>
                </a:lnTo>
                <a:lnTo>
                  <a:pt x="1856" y="2186"/>
                </a:lnTo>
                <a:lnTo>
                  <a:pt x="1856" y="2186"/>
                </a:lnTo>
                <a:lnTo>
                  <a:pt x="1857" y="2186"/>
                </a:lnTo>
                <a:lnTo>
                  <a:pt x="1855" y="2189"/>
                </a:lnTo>
                <a:lnTo>
                  <a:pt x="1856" y="2189"/>
                </a:lnTo>
                <a:lnTo>
                  <a:pt x="1854" y="2197"/>
                </a:lnTo>
                <a:lnTo>
                  <a:pt x="1848" y="2207"/>
                </a:lnTo>
                <a:lnTo>
                  <a:pt x="1839" y="2218"/>
                </a:lnTo>
                <a:lnTo>
                  <a:pt x="1839" y="2218"/>
                </a:lnTo>
                <a:lnTo>
                  <a:pt x="1836" y="2223"/>
                </a:lnTo>
                <a:lnTo>
                  <a:pt x="1827" y="2231"/>
                </a:lnTo>
                <a:lnTo>
                  <a:pt x="1823" y="2230"/>
                </a:lnTo>
                <a:lnTo>
                  <a:pt x="1823" y="2231"/>
                </a:lnTo>
                <a:lnTo>
                  <a:pt x="1816" y="2239"/>
                </a:lnTo>
                <a:lnTo>
                  <a:pt x="1806" y="2236"/>
                </a:lnTo>
                <a:lnTo>
                  <a:pt x="1796" y="2238"/>
                </a:lnTo>
                <a:lnTo>
                  <a:pt x="1795" y="2238"/>
                </a:lnTo>
                <a:lnTo>
                  <a:pt x="1796" y="2236"/>
                </a:lnTo>
                <a:lnTo>
                  <a:pt x="1788" y="2232"/>
                </a:lnTo>
                <a:lnTo>
                  <a:pt x="1784" y="2230"/>
                </a:lnTo>
                <a:lnTo>
                  <a:pt x="1774" y="2230"/>
                </a:lnTo>
                <a:lnTo>
                  <a:pt x="1763" y="2219"/>
                </a:lnTo>
                <a:lnTo>
                  <a:pt x="1763" y="2211"/>
                </a:lnTo>
                <a:lnTo>
                  <a:pt x="1763" y="2206"/>
                </a:lnTo>
                <a:lnTo>
                  <a:pt x="1769" y="2206"/>
                </a:lnTo>
                <a:lnTo>
                  <a:pt x="1770" y="2202"/>
                </a:lnTo>
                <a:lnTo>
                  <a:pt x="1769" y="2192"/>
                </a:lnTo>
                <a:lnTo>
                  <a:pt x="1770" y="2191"/>
                </a:lnTo>
                <a:lnTo>
                  <a:pt x="1769" y="2185"/>
                </a:lnTo>
                <a:lnTo>
                  <a:pt x="1770" y="2181"/>
                </a:lnTo>
                <a:lnTo>
                  <a:pt x="1772" y="2179"/>
                </a:lnTo>
                <a:lnTo>
                  <a:pt x="1770" y="2176"/>
                </a:lnTo>
                <a:lnTo>
                  <a:pt x="1771" y="2172"/>
                </a:lnTo>
                <a:lnTo>
                  <a:pt x="1775" y="2167"/>
                </a:lnTo>
                <a:lnTo>
                  <a:pt x="1773" y="2161"/>
                </a:lnTo>
                <a:lnTo>
                  <a:pt x="1775" y="2157"/>
                </a:lnTo>
                <a:lnTo>
                  <a:pt x="1775" y="2158"/>
                </a:lnTo>
                <a:lnTo>
                  <a:pt x="1777" y="2158"/>
                </a:lnTo>
                <a:lnTo>
                  <a:pt x="1778" y="2157"/>
                </a:lnTo>
                <a:lnTo>
                  <a:pt x="1779" y="2155"/>
                </a:lnTo>
                <a:lnTo>
                  <a:pt x="1779" y="2153"/>
                </a:lnTo>
                <a:lnTo>
                  <a:pt x="1771" y="2156"/>
                </a:lnTo>
                <a:lnTo>
                  <a:pt x="1771" y="2158"/>
                </a:lnTo>
                <a:lnTo>
                  <a:pt x="1770" y="2161"/>
                </a:lnTo>
                <a:lnTo>
                  <a:pt x="1774" y="2166"/>
                </a:lnTo>
                <a:lnTo>
                  <a:pt x="1771" y="2172"/>
                </a:lnTo>
                <a:lnTo>
                  <a:pt x="1768" y="2176"/>
                </a:lnTo>
                <a:lnTo>
                  <a:pt x="1771" y="2178"/>
                </a:lnTo>
                <a:lnTo>
                  <a:pt x="1767" y="2181"/>
                </a:lnTo>
                <a:lnTo>
                  <a:pt x="1766" y="2184"/>
                </a:lnTo>
                <a:lnTo>
                  <a:pt x="1766" y="2191"/>
                </a:lnTo>
                <a:lnTo>
                  <a:pt x="1763" y="2192"/>
                </a:lnTo>
                <a:lnTo>
                  <a:pt x="1763" y="2203"/>
                </a:lnTo>
                <a:lnTo>
                  <a:pt x="1761" y="2203"/>
                </a:lnTo>
                <a:lnTo>
                  <a:pt x="1759" y="2210"/>
                </a:lnTo>
                <a:lnTo>
                  <a:pt x="1759" y="2214"/>
                </a:lnTo>
                <a:lnTo>
                  <a:pt x="1763" y="2221"/>
                </a:lnTo>
                <a:lnTo>
                  <a:pt x="1763" y="2222"/>
                </a:lnTo>
                <a:lnTo>
                  <a:pt x="1759" y="2224"/>
                </a:lnTo>
                <a:lnTo>
                  <a:pt x="1759" y="2228"/>
                </a:lnTo>
                <a:lnTo>
                  <a:pt x="1774" y="2237"/>
                </a:lnTo>
                <a:lnTo>
                  <a:pt x="1780" y="2242"/>
                </a:lnTo>
                <a:lnTo>
                  <a:pt x="1781" y="2243"/>
                </a:lnTo>
                <a:lnTo>
                  <a:pt x="1775" y="2248"/>
                </a:lnTo>
                <a:lnTo>
                  <a:pt x="1775" y="2252"/>
                </a:lnTo>
                <a:lnTo>
                  <a:pt x="1783" y="2262"/>
                </a:lnTo>
                <a:lnTo>
                  <a:pt x="1785" y="2262"/>
                </a:lnTo>
                <a:lnTo>
                  <a:pt x="1787" y="2262"/>
                </a:lnTo>
                <a:lnTo>
                  <a:pt x="1789" y="2270"/>
                </a:lnTo>
                <a:lnTo>
                  <a:pt x="1775" y="2283"/>
                </a:lnTo>
                <a:lnTo>
                  <a:pt x="1775" y="2290"/>
                </a:lnTo>
                <a:lnTo>
                  <a:pt x="1764" y="2296"/>
                </a:lnTo>
                <a:lnTo>
                  <a:pt x="1742" y="2302"/>
                </a:lnTo>
                <a:lnTo>
                  <a:pt x="1726" y="2306"/>
                </a:lnTo>
                <a:lnTo>
                  <a:pt x="1715" y="2306"/>
                </a:lnTo>
                <a:lnTo>
                  <a:pt x="1707" y="2303"/>
                </a:lnTo>
                <a:lnTo>
                  <a:pt x="1708" y="2305"/>
                </a:lnTo>
                <a:lnTo>
                  <a:pt x="1707" y="2311"/>
                </a:lnTo>
                <a:lnTo>
                  <a:pt x="1712" y="2315"/>
                </a:lnTo>
                <a:lnTo>
                  <a:pt x="1708" y="2315"/>
                </a:lnTo>
                <a:lnTo>
                  <a:pt x="1712" y="2319"/>
                </a:lnTo>
                <a:lnTo>
                  <a:pt x="1709" y="2323"/>
                </a:lnTo>
                <a:lnTo>
                  <a:pt x="1708" y="2323"/>
                </a:lnTo>
                <a:lnTo>
                  <a:pt x="1707" y="2328"/>
                </a:lnTo>
                <a:lnTo>
                  <a:pt x="1705" y="2328"/>
                </a:lnTo>
                <a:lnTo>
                  <a:pt x="1708" y="2333"/>
                </a:lnTo>
                <a:lnTo>
                  <a:pt x="1707" y="2335"/>
                </a:lnTo>
                <a:lnTo>
                  <a:pt x="1709" y="2335"/>
                </a:lnTo>
                <a:lnTo>
                  <a:pt x="1707" y="2342"/>
                </a:lnTo>
                <a:lnTo>
                  <a:pt x="1697" y="2347"/>
                </a:lnTo>
                <a:lnTo>
                  <a:pt x="1686" y="2347"/>
                </a:lnTo>
                <a:lnTo>
                  <a:pt x="1674" y="2341"/>
                </a:lnTo>
                <a:lnTo>
                  <a:pt x="1671" y="2339"/>
                </a:lnTo>
                <a:lnTo>
                  <a:pt x="1668" y="2339"/>
                </a:lnTo>
                <a:lnTo>
                  <a:pt x="1667" y="2338"/>
                </a:lnTo>
                <a:lnTo>
                  <a:pt x="1667" y="2343"/>
                </a:lnTo>
                <a:lnTo>
                  <a:pt x="1668" y="2349"/>
                </a:lnTo>
                <a:lnTo>
                  <a:pt x="1667" y="2358"/>
                </a:lnTo>
                <a:lnTo>
                  <a:pt x="1668" y="2360"/>
                </a:lnTo>
                <a:lnTo>
                  <a:pt x="1676" y="2364"/>
                </a:lnTo>
                <a:lnTo>
                  <a:pt x="1675" y="2367"/>
                </a:lnTo>
                <a:lnTo>
                  <a:pt x="1676" y="2367"/>
                </a:lnTo>
                <a:lnTo>
                  <a:pt x="1677" y="2367"/>
                </a:lnTo>
                <a:lnTo>
                  <a:pt x="1685" y="2361"/>
                </a:lnTo>
                <a:lnTo>
                  <a:pt x="1687" y="2364"/>
                </a:lnTo>
                <a:lnTo>
                  <a:pt x="1687" y="2369"/>
                </a:lnTo>
                <a:lnTo>
                  <a:pt x="1686" y="2372"/>
                </a:lnTo>
                <a:lnTo>
                  <a:pt x="1681" y="2375"/>
                </a:lnTo>
                <a:lnTo>
                  <a:pt x="1679" y="2372"/>
                </a:lnTo>
                <a:lnTo>
                  <a:pt x="1679" y="2369"/>
                </a:lnTo>
                <a:lnTo>
                  <a:pt x="1677" y="2367"/>
                </a:lnTo>
                <a:lnTo>
                  <a:pt x="1667" y="2371"/>
                </a:lnTo>
                <a:lnTo>
                  <a:pt x="1667" y="2372"/>
                </a:lnTo>
                <a:lnTo>
                  <a:pt x="1679" y="2376"/>
                </a:lnTo>
                <a:lnTo>
                  <a:pt x="1670" y="2380"/>
                </a:lnTo>
                <a:lnTo>
                  <a:pt x="1663" y="2389"/>
                </a:lnTo>
                <a:lnTo>
                  <a:pt x="1663" y="2391"/>
                </a:lnTo>
                <a:lnTo>
                  <a:pt x="1664" y="2394"/>
                </a:lnTo>
                <a:lnTo>
                  <a:pt x="1663" y="2399"/>
                </a:lnTo>
                <a:lnTo>
                  <a:pt x="1664" y="2400"/>
                </a:lnTo>
                <a:lnTo>
                  <a:pt x="1663" y="2403"/>
                </a:lnTo>
                <a:lnTo>
                  <a:pt x="1658" y="2406"/>
                </a:lnTo>
                <a:lnTo>
                  <a:pt x="1658" y="2409"/>
                </a:lnTo>
                <a:lnTo>
                  <a:pt x="1658" y="2414"/>
                </a:lnTo>
                <a:lnTo>
                  <a:pt x="1649" y="2413"/>
                </a:lnTo>
                <a:lnTo>
                  <a:pt x="1639" y="2417"/>
                </a:lnTo>
                <a:lnTo>
                  <a:pt x="1630" y="2432"/>
                </a:lnTo>
                <a:lnTo>
                  <a:pt x="1629" y="2436"/>
                </a:lnTo>
                <a:lnTo>
                  <a:pt x="1630" y="2440"/>
                </a:lnTo>
                <a:lnTo>
                  <a:pt x="1641" y="2449"/>
                </a:lnTo>
                <a:lnTo>
                  <a:pt x="1652" y="2452"/>
                </a:lnTo>
                <a:lnTo>
                  <a:pt x="1654" y="2453"/>
                </a:lnTo>
                <a:lnTo>
                  <a:pt x="1654" y="2459"/>
                </a:lnTo>
                <a:lnTo>
                  <a:pt x="1654" y="2465"/>
                </a:lnTo>
                <a:lnTo>
                  <a:pt x="1653" y="2466"/>
                </a:lnTo>
                <a:lnTo>
                  <a:pt x="1656" y="2471"/>
                </a:lnTo>
                <a:lnTo>
                  <a:pt x="1650" y="2471"/>
                </a:lnTo>
                <a:lnTo>
                  <a:pt x="1650" y="2471"/>
                </a:lnTo>
                <a:lnTo>
                  <a:pt x="1635" y="2481"/>
                </a:lnTo>
                <a:lnTo>
                  <a:pt x="1630" y="2489"/>
                </a:lnTo>
                <a:lnTo>
                  <a:pt x="1629" y="2493"/>
                </a:lnTo>
                <a:lnTo>
                  <a:pt x="1626" y="2495"/>
                </a:lnTo>
                <a:lnTo>
                  <a:pt x="1629" y="2494"/>
                </a:lnTo>
                <a:lnTo>
                  <a:pt x="1628" y="2505"/>
                </a:lnTo>
                <a:lnTo>
                  <a:pt x="1626" y="2508"/>
                </a:lnTo>
                <a:lnTo>
                  <a:pt x="1618" y="2511"/>
                </a:lnTo>
                <a:lnTo>
                  <a:pt x="1615" y="2507"/>
                </a:lnTo>
                <a:lnTo>
                  <a:pt x="1610" y="2511"/>
                </a:lnTo>
                <a:lnTo>
                  <a:pt x="1615" y="2511"/>
                </a:lnTo>
                <a:lnTo>
                  <a:pt x="1617" y="2512"/>
                </a:lnTo>
                <a:lnTo>
                  <a:pt x="1610" y="2516"/>
                </a:lnTo>
                <a:lnTo>
                  <a:pt x="1608" y="2519"/>
                </a:lnTo>
                <a:lnTo>
                  <a:pt x="1607" y="2525"/>
                </a:lnTo>
                <a:lnTo>
                  <a:pt x="1603" y="2528"/>
                </a:lnTo>
                <a:lnTo>
                  <a:pt x="1607" y="2528"/>
                </a:lnTo>
                <a:lnTo>
                  <a:pt x="1610" y="2540"/>
                </a:lnTo>
                <a:lnTo>
                  <a:pt x="1600" y="2543"/>
                </a:lnTo>
                <a:lnTo>
                  <a:pt x="1610" y="2543"/>
                </a:lnTo>
                <a:lnTo>
                  <a:pt x="1614" y="2553"/>
                </a:lnTo>
                <a:lnTo>
                  <a:pt x="1614" y="2553"/>
                </a:lnTo>
                <a:lnTo>
                  <a:pt x="1616" y="2554"/>
                </a:lnTo>
                <a:lnTo>
                  <a:pt x="1614" y="2553"/>
                </a:lnTo>
                <a:lnTo>
                  <a:pt x="1614" y="2555"/>
                </a:lnTo>
                <a:lnTo>
                  <a:pt x="1603" y="2550"/>
                </a:lnTo>
                <a:lnTo>
                  <a:pt x="1602" y="2551"/>
                </a:lnTo>
                <a:lnTo>
                  <a:pt x="1602" y="2554"/>
                </a:lnTo>
                <a:lnTo>
                  <a:pt x="1600" y="2557"/>
                </a:lnTo>
                <a:lnTo>
                  <a:pt x="1597" y="2555"/>
                </a:lnTo>
                <a:lnTo>
                  <a:pt x="1582" y="2561"/>
                </a:lnTo>
                <a:lnTo>
                  <a:pt x="1582" y="2566"/>
                </a:lnTo>
                <a:lnTo>
                  <a:pt x="1582" y="2574"/>
                </a:lnTo>
                <a:lnTo>
                  <a:pt x="1582" y="2582"/>
                </a:lnTo>
                <a:lnTo>
                  <a:pt x="1578" y="2586"/>
                </a:lnTo>
                <a:lnTo>
                  <a:pt x="1565" y="2581"/>
                </a:lnTo>
                <a:lnTo>
                  <a:pt x="1560" y="2576"/>
                </a:lnTo>
                <a:lnTo>
                  <a:pt x="1564" y="2576"/>
                </a:lnTo>
                <a:lnTo>
                  <a:pt x="1565" y="2576"/>
                </a:lnTo>
                <a:lnTo>
                  <a:pt x="1566" y="2574"/>
                </a:lnTo>
                <a:lnTo>
                  <a:pt x="1566" y="2572"/>
                </a:lnTo>
                <a:lnTo>
                  <a:pt x="1570" y="2572"/>
                </a:lnTo>
                <a:lnTo>
                  <a:pt x="1570" y="2575"/>
                </a:lnTo>
                <a:lnTo>
                  <a:pt x="1567" y="2579"/>
                </a:lnTo>
                <a:lnTo>
                  <a:pt x="1570" y="2578"/>
                </a:lnTo>
                <a:lnTo>
                  <a:pt x="1571" y="2571"/>
                </a:lnTo>
                <a:lnTo>
                  <a:pt x="1576" y="2569"/>
                </a:lnTo>
                <a:lnTo>
                  <a:pt x="1578" y="2563"/>
                </a:lnTo>
                <a:lnTo>
                  <a:pt x="1578" y="2562"/>
                </a:lnTo>
                <a:lnTo>
                  <a:pt x="1572" y="2563"/>
                </a:lnTo>
                <a:lnTo>
                  <a:pt x="1567" y="2569"/>
                </a:lnTo>
                <a:lnTo>
                  <a:pt x="1564" y="2567"/>
                </a:lnTo>
                <a:lnTo>
                  <a:pt x="1559" y="2570"/>
                </a:lnTo>
                <a:lnTo>
                  <a:pt x="1565" y="2572"/>
                </a:lnTo>
                <a:lnTo>
                  <a:pt x="1560" y="2572"/>
                </a:lnTo>
                <a:lnTo>
                  <a:pt x="1562" y="2574"/>
                </a:lnTo>
                <a:lnTo>
                  <a:pt x="1560" y="2576"/>
                </a:lnTo>
                <a:lnTo>
                  <a:pt x="1557" y="2576"/>
                </a:lnTo>
                <a:lnTo>
                  <a:pt x="1560" y="2579"/>
                </a:lnTo>
                <a:lnTo>
                  <a:pt x="1554" y="2575"/>
                </a:lnTo>
                <a:lnTo>
                  <a:pt x="1553" y="2576"/>
                </a:lnTo>
                <a:lnTo>
                  <a:pt x="1546" y="2571"/>
                </a:lnTo>
                <a:lnTo>
                  <a:pt x="1546" y="2569"/>
                </a:lnTo>
                <a:lnTo>
                  <a:pt x="1551" y="2571"/>
                </a:lnTo>
                <a:lnTo>
                  <a:pt x="1557" y="2574"/>
                </a:lnTo>
                <a:lnTo>
                  <a:pt x="1556" y="2572"/>
                </a:lnTo>
                <a:lnTo>
                  <a:pt x="1557" y="2572"/>
                </a:lnTo>
                <a:lnTo>
                  <a:pt x="1553" y="2572"/>
                </a:lnTo>
                <a:lnTo>
                  <a:pt x="1556" y="2569"/>
                </a:lnTo>
                <a:lnTo>
                  <a:pt x="1553" y="2563"/>
                </a:lnTo>
                <a:lnTo>
                  <a:pt x="1557" y="2561"/>
                </a:lnTo>
                <a:lnTo>
                  <a:pt x="1560" y="2562"/>
                </a:lnTo>
                <a:lnTo>
                  <a:pt x="1564" y="2560"/>
                </a:lnTo>
                <a:lnTo>
                  <a:pt x="1562" y="2560"/>
                </a:lnTo>
                <a:lnTo>
                  <a:pt x="1557" y="2560"/>
                </a:lnTo>
                <a:lnTo>
                  <a:pt x="1552" y="2564"/>
                </a:lnTo>
                <a:lnTo>
                  <a:pt x="1553" y="2567"/>
                </a:lnTo>
                <a:lnTo>
                  <a:pt x="1550" y="2569"/>
                </a:lnTo>
                <a:lnTo>
                  <a:pt x="1546" y="2567"/>
                </a:lnTo>
                <a:lnTo>
                  <a:pt x="1547" y="2566"/>
                </a:lnTo>
                <a:lnTo>
                  <a:pt x="1543" y="2564"/>
                </a:lnTo>
                <a:lnTo>
                  <a:pt x="1545" y="2564"/>
                </a:lnTo>
                <a:lnTo>
                  <a:pt x="1546" y="2564"/>
                </a:lnTo>
                <a:lnTo>
                  <a:pt x="1549" y="2564"/>
                </a:lnTo>
                <a:lnTo>
                  <a:pt x="1550" y="2560"/>
                </a:lnTo>
                <a:lnTo>
                  <a:pt x="1553" y="2560"/>
                </a:lnTo>
                <a:lnTo>
                  <a:pt x="1550" y="2556"/>
                </a:lnTo>
                <a:lnTo>
                  <a:pt x="1549" y="2561"/>
                </a:lnTo>
                <a:lnTo>
                  <a:pt x="1548" y="2560"/>
                </a:lnTo>
                <a:lnTo>
                  <a:pt x="1542" y="2561"/>
                </a:lnTo>
                <a:lnTo>
                  <a:pt x="1542" y="2560"/>
                </a:lnTo>
                <a:lnTo>
                  <a:pt x="1539" y="2561"/>
                </a:lnTo>
                <a:lnTo>
                  <a:pt x="1538" y="2557"/>
                </a:lnTo>
                <a:lnTo>
                  <a:pt x="1541" y="2555"/>
                </a:lnTo>
                <a:lnTo>
                  <a:pt x="1539" y="2552"/>
                </a:lnTo>
                <a:lnTo>
                  <a:pt x="1537" y="2554"/>
                </a:lnTo>
                <a:lnTo>
                  <a:pt x="1535" y="2551"/>
                </a:lnTo>
                <a:lnTo>
                  <a:pt x="1537" y="2551"/>
                </a:lnTo>
                <a:lnTo>
                  <a:pt x="1531" y="2550"/>
                </a:lnTo>
                <a:lnTo>
                  <a:pt x="1535" y="2546"/>
                </a:lnTo>
                <a:lnTo>
                  <a:pt x="1537" y="2549"/>
                </a:lnTo>
                <a:lnTo>
                  <a:pt x="1541" y="2552"/>
                </a:lnTo>
                <a:lnTo>
                  <a:pt x="1542" y="2554"/>
                </a:lnTo>
                <a:lnTo>
                  <a:pt x="1542" y="2554"/>
                </a:lnTo>
                <a:lnTo>
                  <a:pt x="1542" y="2555"/>
                </a:lnTo>
                <a:lnTo>
                  <a:pt x="1542" y="2555"/>
                </a:lnTo>
                <a:lnTo>
                  <a:pt x="1542" y="2558"/>
                </a:lnTo>
                <a:lnTo>
                  <a:pt x="1544" y="2557"/>
                </a:lnTo>
                <a:lnTo>
                  <a:pt x="1543" y="2555"/>
                </a:lnTo>
                <a:lnTo>
                  <a:pt x="1545" y="2551"/>
                </a:lnTo>
                <a:lnTo>
                  <a:pt x="1543" y="2547"/>
                </a:lnTo>
                <a:lnTo>
                  <a:pt x="1545" y="2551"/>
                </a:lnTo>
                <a:lnTo>
                  <a:pt x="1548" y="2551"/>
                </a:lnTo>
                <a:lnTo>
                  <a:pt x="1549" y="2549"/>
                </a:lnTo>
                <a:lnTo>
                  <a:pt x="1545" y="2546"/>
                </a:lnTo>
                <a:lnTo>
                  <a:pt x="1543" y="2543"/>
                </a:lnTo>
                <a:lnTo>
                  <a:pt x="1543" y="2543"/>
                </a:lnTo>
                <a:lnTo>
                  <a:pt x="1541" y="2539"/>
                </a:lnTo>
                <a:lnTo>
                  <a:pt x="1540" y="2539"/>
                </a:lnTo>
                <a:lnTo>
                  <a:pt x="1539" y="2539"/>
                </a:lnTo>
                <a:lnTo>
                  <a:pt x="1539" y="2539"/>
                </a:lnTo>
                <a:lnTo>
                  <a:pt x="1538" y="2539"/>
                </a:lnTo>
                <a:lnTo>
                  <a:pt x="1538" y="2539"/>
                </a:lnTo>
                <a:lnTo>
                  <a:pt x="1538" y="2534"/>
                </a:lnTo>
                <a:lnTo>
                  <a:pt x="1545" y="2539"/>
                </a:lnTo>
                <a:lnTo>
                  <a:pt x="1542" y="2532"/>
                </a:lnTo>
                <a:lnTo>
                  <a:pt x="1542" y="2531"/>
                </a:lnTo>
                <a:lnTo>
                  <a:pt x="1542" y="2528"/>
                </a:lnTo>
                <a:lnTo>
                  <a:pt x="1538" y="2531"/>
                </a:lnTo>
                <a:lnTo>
                  <a:pt x="1538" y="2532"/>
                </a:lnTo>
                <a:lnTo>
                  <a:pt x="1537" y="2534"/>
                </a:lnTo>
                <a:lnTo>
                  <a:pt x="1537" y="2532"/>
                </a:lnTo>
                <a:lnTo>
                  <a:pt x="1537" y="2531"/>
                </a:lnTo>
                <a:lnTo>
                  <a:pt x="1537" y="2531"/>
                </a:lnTo>
                <a:lnTo>
                  <a:pt x="1535" y="2528"/>
                </a:lnTo>
                <a:lnTo>
                  <a:pt x="1535" y="2528"/>
                </a:lnTo>
                <a:lnTo>
                  <a:pt x="1535" y="2528"/>
                </a:lnTo>
                <a:lnTo>
                  <a:pt x="1535" y="2528"/>
                </a:lnTo>
                <a:lnTo>
                  <a:pt x="1537" y="2527"/>
                </a:lnTo>
                <a:lnTo>
                  <a:pt x="1541" y="2527"/>
                </a:lnTo>
                <a:lnTo>
                  <a:pt x="1541" y="2521"/>
                </a:lnTo>
                <a:lnTo>
                  <a:pt x="1542" y="2520"/>
                </a:lnTo>
                <a:lnTo>
                  <a:pt x="1542" y="2520"/>
                </a:lnTo>
                <a:lnTo>
                  <a:pt x="1540" y="2517"/>
                </a:lnTo>
                <a:lnTo>
                  <a:pt x="1543" y="2515"/>
                </a:lnTo>
                <a:lnTo>
                  <a:pt x="1538" y="2516"/>
                </a:lnTo>
                <a:lnTo>
                  <a:pt x="1535" y="2515"/>
                </a:lnTo>
                <a:lnTo>
                  <a:pt x="1527" y="2511"/>
                </a:lnTo>
                <a:lnTo>
                  <a:pt x="1530" y="2509"/>
                </a:lnTo>
                <a:lnTo>
                  <a:pt x="1533" y="2508"/>
                </a:lnTo>
                <a:lnTo>
                  <a:pt x="1535" y="2511"/>
                </a:lnTo>
                <a:lnTo>
                  <a:pt x="1537" y="2512"/>
                </a:lnTo>
                <a:lnTo>
                  <a:pt x="1533" y="2507"/>
                </a:lnTo>
                <a:lnTo>
                  <a:pt x="1535" y="2507"/>
                </a:lnTo>
                <a:lnTo>
                  <a:pt x="1539" y="2509"/>
                </a:lnTo>
                <a:lnTo>
                  <a:pt x="1535" y="2505"/>
                </a:lnTo>
                <a:lnTo>
                  <a:pt x="1533" y="2505"/>
                </a:lnTo>
                <a:lnTo>
                  <a:pt x="1538" y="2503"/>
                </a:lnTo>
                <a:lnTo>
                  <a:pt x="1535" y="2503"/>
                </a:lnTo>
                <a:lnTo>
                  <a:pt x="1533" y="2501"/>
                </a:lnTo>
                <a:lnTo>
                  <a:pt x="1533" y="2501"/>
                </a:lnTo>
                <a:lnTo>
                  <a:pt x="1533" y="2501"/>
                </a:lnTo>
                <a:lnTo>
                  <a:pt x="1538" y="2498"/>
                </a:lnTo>
                <a:lnTo>
                  <a:pt x="1536" y="2497"/>
                </a:lnTo>
                <a:lnTo>
                  <a:pt x="1535" y="2499"/>
                </a:lnTo>
                <a:lnTo>
                  <a:pt x="1534" y="2498"/>
                </a:lnTo>
                <a:lnTo>
                  <a:pt x="1535" y="2498"/>
                </a:lnTo>
                <a:lnTo>
                  <a:pt x="1533" y="2497"/>
                </a:lnTo>
                <a:lnTo>
                  <a:pt x="1532" y="2497"/>
                </a:lnTo>
                <a:lnTo>
                  <a:pt x="1530" y="2484"/>
                </a:lnTo>
                <a:lnTo>
                  <a:pt x="1530" y="2483"/>
                </a:lnTo>
                <a:lnTo>
                  <a:pt x="1530" y="2483"/>
                </a:lnTo>
                <a:lnTo>
                  <a:pt x="1530" y="2483"/>
                </a:lnTo>
                <a:lnTo>
                  <a:pt x="1530" y="2483"/>
                </a:lnTo>
                <a:lnTo>
                  <a:pt x="1530" y="2482"/>
                </a:lnTo>
                <a:lnTo>
                  <a:pt x="1530" y="2481"/>
                </a:lnTo>
                <a:lnTo>
                  <a:pt x="1530" y="2482"/>
                </a:lnTo>
                <a:lnTo>
                  <a:pt x="1530" y="2483"/>
                </a:lnTo>
                <a:lnTo>
                  <a:pt x="1529" y="2483"/>
                </a:lnTo>
                <a:lnTo>
                  <a:pt x="1525" y="2482"/>
                </a:lnTo>
                <a:lnTo>
                  <a:pt x="1523" y="2482"/>
                </a:lnTo>
                <a:lnTo>
                  <a:pt x="1523" y="2485"/>
                </a:lnTo>
                <a:lnTo>
                  <a:pt x="1520" y="2482"/>
                </a:lnTo>
                <a:lnTo>
                  <a:pt x="1522" y="2481"/>
                </a:lnTo>
                <a:lnTo>
                  <a:pt x="1522" y="2481"/>
                </a:lnTo>
                <a:lnTo>
                  <a:pt x="1523" y="2481"/>
                </a:lnTo>
                <a:lnTo>
                  <a:pt x="1523" y="2481"/>
                </a:lnTo>
                <a:lnTo>
                  <a:pt x="1522" y="2480"/>
                </a:lnTo>
                <a:lnTo>
                  <a:pt x="1519" y="2481"/>
                </a:lnTo>
                <a:lnTo>
                  <a:pt x="1519" y="2481"/>
                </a:lnTo>
                <a:lnTo>
                  <a:pt x="1516" y="2482"/>
                </a:lnTo>
                <a:lnTo>
                  <a:pt x="1517" y="2483"/>
                </a:lnTo>
                <a:lnTo>
                  <a:pt x="1514" y="2483"/>
                </a:lnTo>
                <a:lnTo>
                  <a:pt x="1514" y="2482"/>
                </a:lnTo>
                <a:lnTo>
                  <a:pt x="1514" y="2481"/>
                </a:lnTo>
                <a:lnTo>
                  <a:pt x="1514" y="2482"/>
                </a:lnTo>
                <a:lnTo>
                  <a:pt x="1515" y="2478"/>
                </a:lnTo>
                <a:lnTo>
                  <a:pt x="1518" y="2474"/>
                </a:lnTo>
                <a:lnTo>
                  <a:pt x="1514" y="2475"/>
                </a:lnTo>
                <a:lnTo>
                  <a:pt x="1514" y="2470"/>
                </a:lnTo>
                <a:lnTo>
                  <a:pt x="1517" y="2471"/>
                </a:lnTo>
                <a:lnTo>
                  <a:pt x="1519" y="2471"/>
                </a:lnTo>
                <a:lnTo>
                  <a:pt x="1522" y="2478"/>
                </a:lnTo>
                <a:lnTo>
                  <a:pt x="1526" y="2479"/>
                </a:lnTo>
                <a:lnTo>
                  <a:pt x="1527" y="2479"/>
                </a:lnTo>
                <a:lnTo>
                  <a:pt x="1526" y="2476"/>
                </a:lnTo>
                <a:lnTo>
                  <a:pt x="1527" y="2470"/>
                </a:lnTo>
                <a:lnTo>
                  <a:pt x="1530" y="2477"/>
                </a:lnTo>
                <a:lnTo>
                  <a:pt x="1530" y="2480"/>
                </a:lnTo>
                <a:lnTo>
                  <a:pt x="1533" y="2477"/>
                </a:lnTo>
                <a:lnTo>
                  <a:pt x="1534" y="2477"/>
                </a:lnTo>
                <a:lnTo>
                  <a:pt x="1538" y="2478"/>
                </a:lnTo>
                <a:lnTo>
                  <a:pt x="1535" y="2475"/>
                </a:lnTo>
                <a:lnTo>
                  <a:pt x="1537" y="2475"/>
                </a:lnTo>
                <a:lnTo>
                  <a:pt x="1535" y="2474"/>
                </a:lnTo>
                <a:lnTo>
                  <a:pt x="1535" y="2474"/>
                </a:lnTo>
                <a:lnTo>
                  <a:pt x="1535" y="2474"/>
                </a:lnTo>
                <a:lnTo>
                  <a:pt x="1535" y="2474"/>
                </a:lnTo>
                <a:lnTo>
                  <a:pt x="1535" y="2475"/>
                </a:lnTo>
                <a:lnTo>
                  <a:pt x="1534" y="2473"/>
                </a:lnTo>
                <a:lnTo>
                  <a:pt x="1535" y="2473"/>
                </a:lnTo>
                <a:lnTo>
                  <a:pt x="1534" y="2472"/>
                </a:lnTo>
                <a:lnTo>
                  <a:pt x="1533" y="2471"/>
                </a:lnTo>
                <a:lnTo>
                  <a:pt x="1541" y="2471"/>
                </a:lnTo>
                <a:lnTo>
                  <a:pt x="1545" y="2475"/>
                </a:lnTo>
                <a:lnTo>
                  <a:pt x="1546" y="2471"/>
                </a:lnTo>
                <a:lnTo>
                  <a:pt x="1548" y="2471"/>
                </a:lnTo>
                <a:lnTo>
                  <a:pt x="1545" y="2470"/>
                </a:lnTo>
                <a:lnTo>
                  <a:pt x="1543" y="2466"/>
                </a:lnTo>
                <a:lnTo>
                  <a:pt x="1549" y="2469"/>
                </a:lnTo>
                <a:lnTo>
                  <a:pt x="1545" y="2466"/>
                </a:lnTo>
                <a:lnTo>
                  <a:pt x="1542" y="2463"/>
                </a:lnTo>
                <a:lnTo>
                  <a:pt x="1542" y="2462"/>
                </a:lnTo>
                <a:lnTo>
                  <a:pt x="1542" y="2459"/>
                </a:lnTo>
                <a:lnTo>
                  <a:pt x="1540" y="2464"/>
                </a:lnTo>
                <a:lnTo>
                  <a:pt x="1539" y="2466"/>
                </a:lnTo>
                <a:lnTo>
                  <a:pt x="1536" y="2466"/>
                </a:lnTo>
                <a:lnTo>
                  <a:pt x="1535" y="2466"/>
                </a:lnTo>
                <a:lnTo>
                  <a:pt x="1535" y="2466"/>
                </a:lnTo>
                <a:lnTo>
                  <a:pt x="1527" y="2465"/>
                </a:lnTo>
                <a:lnTo>
                  <a:pt x="1530" y="2463"/>
                </a:lnTo>
                <a:lnTo>
                  <a:pt x="1533" y="2463"/>
                </a:lnTo>
                <a:lnTo>
                  <a:pt x="1534" y="2463"/>
                </a:lnTo>
                <a:lnTo>
                  <a:pt x="1534" y="2463"/>
                </a:lnTo>
                <a:lnTo>
                  <a:pt x="1533" y="2463"/>
                </a:lnTo>
                <a:lnTo>
                  <a:pt x="1530" y="2460"/>
                </a:lnTo>
                <a:lnTo>
                  <a:pt x="1533" y="2455"/>
                </a:lnTo>
                <a:lnTo>
                  <a:pt x="1537" y="2455"/>
                </a:lnTo>
                <a:lnTo>
                  <a:pt x="1539" y="2452"/>
                </a:lnTo>
                <a:lnTo>
                  <a:pt x="1538" y="2451"/>
                </a:lnTo>
                <a:lnTo>
                  <a:pt x="1539" y="2451"/>
                </a:lnTo>
                <a:lnTo>
                  <a:pt x="1538" y="2451"/>
                </a:lnTo>
                <a:lnTo>
                  <a:pt x="1538" y="2451"/>
                </a:lnTo>
                <a:lnTo>
                  <a:pt x="1538" y="2451"/>
                </a:lnTo>
                <a:lnTo>
                  <a:pt x="1537" y="2449"/>
                </a:lnTo>
                <a:lnTo>
                  <a:pt x="1535" y="2447"/>
                </a:lnTo>
                <a:lnTo>
                  <a:pt x="1530" y="2447"/>
                </a:lnTo>
                <a:lnTo>
                  <a:pt x="1531" y="2448"/>
                </a:lnTo>
                <a:lnTo>
                  <a:pt x="1524" y="2446"/>
                </a:lnTo>
                <a:lnTo>
                  <a:pt x="1523" y="2443"/>
                </a:lnTo>
                <a:lnTo>
                  <a:pt x="1518" y="2445"/>
                </a:lnTo>
                <a:lnTo>
                  <a:pt x="1519" y="2449"/>
                </a:lnTo>
                <a:lnTo>
                  <a:pt x="1517" y="2451"/>
                </a:lnTo>
                <a:lnTo>
                  <a:pt x="1516" y="2451"/>
                </a:lnTo>
                <a:lnTo>
                  <a:pt x="1515" y="2447"/>
                </a:lnTo>
                <a:lnTo>
                  <a:pt x="1514" y="2446"/>
                </a:lnTo>
                <a:lnTo>
                  <a:pt x="1515" y="2445"/>
                </a:lnTo>
                <a:lnTo>
                  <a:pt x="1514" y="2443"/>
                </a:lnTo>
                <a:lnTo>
                  <a:pt x="1514" y="2441"/>
                </a:lnTo>
                <a:lnTo>
                  <a:pt x="1518" y="2437"/>
                </a:lnTo>
                <a:lnTo>
                  <a:pt x="1518" y="2440"/>
                </a:lnTo>
                <a:lnTo>
                  <a:pt x="1522" y="2436"/>
                </a:lnTo>
                <a:lnTo>
                  <a:pt x="1526" y="2433"/>
                </a:lnTo>
                <a:lnTo>
                  <a:pt x="1527" y="2431"/>
                </a:lnTo>
                <a:lnTo>
                  <a:pt x="1533" y="2431"/>
                </a:lnTo>
                <a:lnTo>
                  <a:pt x="1537" y="2431"/>
                </a:lnTo>
                <a:lnTo>
                  <a:pt x="1538" y="2432"/>
                </a:lnTo>
                <a:lnTo>
                  <a:pt x="1539" y="2432"/>
                </a:lnTo>
                <a:lnTo>
                  <a:pt x="1533" y="2436"/>
                </a:lnTo>
                <a:lnTo>
                  <a:pt x="1538" y="2435"/>
                </a:lnTo>
                <a:lnTo>
                  <a:pt x="1539" y="2435"/>
                </a:lnTo>
                <a:lnTo>
                  <a:pt x="1541" y="2436"/>
                </a:lnTo>
                <a:lnTo>
                  <a:pt x="1538" y="2441"/>
                </a:lnTo>
                <a:lnTo>
                  <a:pt x="1541" y="2442"/>
                </a:lnTo>
                <a:lnTo>
                  <a:pt x="1545" y="2432"/>
                </a:lnTo>
                <a:lnTo>
                  <a:pt x="1542" y="2437"/>
                </a:lnTo>
                <a:lnTo>
                  <a:pt x="1542" y="2433"/>
                </a:lnTo>
                <a:lnTo>
                  <a:pt x="1543" y="2432"/>
                </a:lnTo>
                <a:lnTo>
                  <a:pt x="1542" y="2432"/>
                </a:lnTo>
                <a:lnTo>
                  <a:pt x="1542" y="2431"/>
                </a:lnTo>
                <a:lnTo>
                  <a:pt x="1543" y="2431"/>
                </a:lnTo>
                <a:lnTo>
                  <a:pt x="1542" y="2431"/>
                </a:lnTo>
                <a:lnTo>
                  <a:pt x="1548" y="2427"/>
                </a:lnTo>
                <a:lnTo>
                  <a:pt x="1544" y="2427"/>
                </a:lnTo>
                <a:lnTo>
                  <a:pt x="1545" y="2421"/>
                </a:lnTo>
                <a:lnTo>
                  <a:pt x="1549" y="2418"/>
                </a:lnTo>
                <a:lnTo>
                  <a:pt x="1552" y="2421"/>
                </a:lnTo>
                <a:lnTo>
                  <a:pt x="1555" y="2420"/>
                </a:lnTo>
                <a:lnTo>
                  <a:pt x="1547" y="2416"/>
                </a:lnTo>
                <a:lnTo>
                  <a:pt x="1542" y="2417"/>
                </a:lnTo>
                <a:lnTo>
                  <a:pt x="1542" y="2418"/>
                </a:lnTo>
                <a:lnTo>
                  <a:pt x="1540" y="2417"/>
                </a:lnTo>
                <a:lnTo>
                  <a:pt x="1541" y="2418"/>
                </a:lnTo>
                <a:lnTo>
                  <a:pt x="1538" y="2420"/>
                </a:lnTo>
                <a:lnTo>
                  <a:pt x="1537" y="2416"/>
                </a:lnTo>
                <a:lnTo>
                  <a:pt x="1534" y="2416"/>
                </a:lnTo>
                <a:lnTo>
                  <a:pt x="1534" y="2414"/>
                </a:lnTo>
                <a:lnTo>
                  <a:pt x="1540" y="2413"/>
                </a:lnTo>
                <a:lnTo>
                  <a:pt x="1542" y="2414"/>
                </a:lnTo>
                <a:lnTo>
                  <a:pt x="1542" y="2415"/>
                </a:lnTo>
                <a:lnTo>
                  <a:pt x="1542" y="2416"/>
                </a:lnTo>
                <a:lnTo>
                  <a:pt x="1542" y="2416"/>
                </a:lnTo>
                <a:lnTo>
                  <a:pt x="1542" y="2416"/>
                </a:lnTo>
                <a:lnTo>
                  <a:pt x="1542" y="2415"/>
                </a:lnTo>
                <a:lnTo>
                  <a:pt x="1547" y="2414"/>
                </a:lnTo>
                <a:lnTo>
                  <a:pt x="1548" y="2412"/>
                </a:lnTo>
                <a:lnTo>
                  <a:pt x="1549" y="2412"/>
                </a:lnTo>
                <a:lnTo>
                  <a:pt x="1549" y="2411"/>
                </a:lnTo>
                <a:lnTo>
                  <a:pt x="1548" y="2411"/>
                </a:lnTo>
                <a:lnTo>
                  <a:pt x="1545" y="2408"/>
                </a:lnTo>
                <a:lnTo>
                  <a:pt x="1545" y="2407"/>
                </a:lnTo>
                <a:lnTo>
                  <a:pt x="1544" y="2407"/>
                </a:lnTo>
                <a:lnTo>
                  <a:pt x="1544" y="2407"/>
                </a:lnTo>
                <a:lnTo>
                  <a:pt x="1546" y="2405"/>
                </a:lnTo>
                <a:lnTo>
                  <a:pt x="1546" y="2401"/>
                </a:lnTo>
                <a:lnTo>
                  <a:pt x="1546" y="2401"/>
                </a:lnTo>
                <a:lnTo>
                  <a:pt x="1550" y="2403"/>
                </a:lnTo>
                <a:lnTo>
                  <a:pt x="1552" y="2403"/>
                </a:lnTo>
                <a:lnTo>
                  <a:pt x="1556" y="2403"/>
                </a:lnTo>
                <a:lnTo>
                  <a:pt x="1554" y="2406"/>
                </a:lnTo>
                <a:lnTo>
                  <a:pt x="1554" y="2408"/>
                </a:lnTo>
                <a:lnTo>
                  <a:pt x="1558" y="2402"/>
                </a:lnTo>
                <a:lnTo>
                  <a:pt x="1558" y="2401"/>
                </a:lnTo>
                <a:lnTo>
                  <a:pt x="1556" y="2402"/>
                </a:lnTo>
                <a:lnTo>
                  <a:pt x="1548" y="2397"/>
                </a:lnTo>
                <a:lnTo>
                  <a:pt x="1549" y="2395"/>
                </a:lnTo>
                <a:lnTo>
                  <a:pt x="1550" y="2395"/>
                </a:lnTo>
                <a:lnTo>
                  <a:pt x="1550" y="2395"/>
                </a:lnTo>
                <a:lnTo>
                  <a:pt x="1552" y="2391"/>
                </a:lnTo>
                <a:lnTo>
                  <a:pt x="1550" y="2385"/>
                </a:lnTo>
                <a:lnTo>
                  <a:pt x="1552" y="2382"/>
                </a:lnTo>
                <a:lnTo>
                  <a:pt x="1553" y="2380"/>
                </a:lnTo>
                <a:lnTo>
                  <a:pt x="1556" y="2379"/>
                </a:lnTo>
                <a:lnTo>
                  <a:pt x="1557" y="2379"/>
                </a:lnTo>
                <a:lnTo>
                  <a:pt x="1554" y="2368"/>
                </a:lnTo>
                <a:lnTo>
                  <a:pt x="1554" y="2367"/>
                </a:lnTo>
                <a:lnTo>
                  <a:pt x="1559" y="2368"/>
                </a:lnTo>
                <a:lnTo>
                  <a:pt x="1556" y="2363"/>
                </a:lnTo>
                <a:lnTo>
                  <a:pt x="1558" y="2361"/>
                </a:lnTo>
                <a:lnTo>
                  <a:pt x="1561" y="2367"/>
                </a:lnTo>
                <a:lnTo>
                  <a:pt x="1558" y="2359"/>
                </a:lnTo>
                <a:lnTo>
                  <a:pt x="1557" y="2359"/>
                </a:lnTo>
                <a:lnTo>
                  <a:pt x="1556" y="2358"/>
                </a:lnTo>
                <a:lnTo>
                  <a:pt x="1557" y="2356"/>
                </a:lnTo>
                <a:lnTo>
                  <a:pt x="1562" y="2355"/>
                </a:lnTo>
                <a:lnTo>
                  <a:pt x="1559" y="2355"/>
                </a:lnTo>
                <a:lnTo>
                  <a:pt x="1553" y="2351"/>
                </a:lnTo>
                <a:lnTo>
                  <a:pt x="1550" y="2351"/>
                </a:lnTo>
                <a:lnTo>
                  <a:pt x="1550" y="2352"/>
                </a:lnTo>
                <a:lnTo>
                  <a:pt x="1549" y="2355"/>
                </a:lnTo>
                <a:lnTo>
                  <a:pt x="1543" y="2355"/>
                </a:lnTo>
                <a:lnTo>
                  <a:pt x="1545" y="2349"/>
                </a:lnTo>
                <a:lnTo>
                  <a:pt x="1543" y="2351"/>
                </a:lnTo>
                <a:lnTo>
                  <a:pt x="1539" y="2349"/>
                </a:lnTo>
                <a:lnTo>
                  <a:pt x="1538" y="2340"/>
                </a:lnTo>
                <a:lnTo>
                  <a:pt x="1542" y="2332"/>
                </a:lnTo>
                <a:lnTo>
                  <a:pt x="1542" y="2326"/>
                </a:lnTo>
                <a:lnTo>
                  <a:pt x="1542" y="2324"/>
                </a:lnTo>
                <a:lnTo>
                  <a:pt x="1542" y="2322"/>
                </a:lnTo>
                <a:lnTo>
                  <a:pt x="1548" y="2322"/>
                </a:lnTo>
                <a:lnTo>
                  <a:pt x="1549" y="2312"/>
                </a:lnTo>
                <a:lnTo>
                  <a:pt x="1545" y="2294"/>
                </a:lnTo>
                <a:lnTo>
                  <a:pt x="1546" y="2287"/>
                </a:lnTo>
                <a:lnTo>
                  <a:pt x="1543" y="2283"/>
                </a:lnTo>
                <a:lnTo>
                  <a:pt x="1545" y="2278"/>
                </a:lnTo>
                <a:lnTo>
                  <a:pt x="1543" y="2277"/>
                </a:lnTo>
                <a:lnTo>
                  <a:pt x="1545" y="2274"/>
                </a:lnTo>
                <a:lnTo>
                  <a:pt x="1548" y="2274"/>
                </a:lnTo>
                <a:lnTo>
                  <a:pt x="1550" y="2271"/>
                </a:lnTo>
                <a:lnTo>
                  <a:pt x="1550" y="2266"/>
                </a:lnTo>
                <a:lnTo>
                  <a:pt x="1552" y="2266"/>
                </a:lnTo>
                <a:lnTo>
                  <a:pt x="1556" y="2253"/>
                </a:lnTo>
                <a:lnTo>
                  <a:pt x="1558" y="2249"/>
                </a:lnTo>
                <a:lnTo>
                  <a:pt x="1558" y="2244"/>
                </a:lnTo>
                <a:lnTo>
                  <a:pt x="1563" y="2237"/>
                </a:lnTo>
                <a:lnTo>
                  <a:pt x="1568" y="2225"/>
                </a:lnTo>
                <a:lnTo>
                  <a:pt x="1567" y="2221"/>
                </a:lnTo>
                <a:lnTo>
                  <a:pt x="1570" y="2215"/>
                </a:lnTo>
                <a:lnTo>
                  <a:pt x="1572" y="2214"/>
                </a:lnTo>
                <a:lnTo>
                  <a:pt x="1571" y="2203"/>
                </a:lnTo>
                <a:lnTo>
                  <a:pt x="1571" y="2203"/>
                </a:lnTo>
                <a:lnTo>
                  <a:pt x="1574" y="2196"/>
                </a:lnTo>
                <a:lnTo>
                  <a:pt x="1574" y="2192"/>
                </a:lnTo>
                <a:lnTo>
                  <a:pt x="1574" y="2190"/>
                </a:lnTo>
                <a:lnTo>
                  <a:pt x="1574" y="2181"/>
                </a:lnTo>
                <a:lnTo>
                  <a:pt x="1570" y="2164"/>
                </a:lnTo>
                <a:lnTo>
                  <a:pt x="1570" y="2158"/>
                </a:lnTo>
                <a:lnTo>
                  <a:pt x="1573" y="2157"/>
                </a:lnTo>
                <a:lnTo>
                  <a:pt x="1574" y="2152"/>
                </a:lnTo>
                <a:lnTo>
                  <a:pt x="1574" y="2144"/>
                </a:lnTo>
                <a:lnTo>
                  <a:pt x="1574" y="2141"/>
                </a:lnTo>
                <a:lnTo>
                  <a:pt x="1574" y="2135"/>
                </a:lnTo>
                <a:lnTo>
                  <a:pt x="1578" y="2125"/>
                </a:lnTo>
                <a:lnTo>
                  <a:pt x="1581" y="2118"/>
                </a:lnTo>
                <a:lnTo>
                  <a:pt x="1582" y="2114"/>
                </a:lnTo>
                <a:lnTo>
                  <a:pt x="1582" y="2107"/>
                </a:lnTo>
                <a:lnTo>
                  <a:pt x="1582" y="2104"/>
                </a:lnTo>
                <a:lnTo>
                  <a:pt x="1582" y="2103"/>
                </a:lnTo>
                <a:lnTo>
                  <a:pt x="1586" y="2093"/>
                </a:lnTo>
                <a:lnTo>
                  <a:pt x="1586" y="2088"/>
                </a:lnTo>
                <a:lnTo>
                  <a:pt x="1586" y="2085"/>
                </a:lnTo>
                <a:lnTo>
                  <a:pt x="1590" y="2078"/>
                </a:lnTo>
                <a:lnTo>
                  <a:pt x="1587" y="2067"/>
                </a:lnTo>
                <a:lnTo>
                  <a:pt x="1589" y="2054"/>
                </a:lnTo>
                <a:lnTo>
                  <a:pt x="1590" y="2050"/>
                </a:lnTo>
                <a:lnTo>
                  <a:pt x="1589" y="2049"/>
                </a:lnTo>
                <a:lnTo>
                  <a:pt x="1586" y="2049"/>
                </a:lnTo>
                <a:lnTo>
                  <a:pt x="1586" y="2045"/>
                </a:lnTo>
                <a:lnTo>
                  <a:pt x="1590" y="2045"/>
                </a:lnTo>
                <a:lnTo>
                  <a:pt x="1593" y="2039"/>
                </a:lnTo>
                <a:lnTo>
                  <a:pt x="1594" y="2020"/>
                </a:lnTo>
                <a:lnTo>
                  <a:pt x="1595" y="2015"/>
                </a:lnTo>
                <a:lnTo>
                  <a:pt x="1593" y="2006"/>
                </a:lnTo>
                <a:lnTo>
                  <a:pt x="1593" y="1993"/>
                </a:lnTo>
                <a:lnTo>
                  <a:pt x="1590" y="1976"/>
                </a:lnTo>
                <a:lnTo>
                  <a:pt x="1590" y="1970"/>
                </a:lnTo>
                <a:lnTo>
                  <a:pt x="1588" y="1971"/>
                </a:lnTo>
                <a:lnTo>
                  <a:pt x="1578" y="1961"/>
                </a:lnTo>
                <a:lnTo>
                  <a:pt x="1575" y="1954"/>
                </a:lnTo>
                <a:lnTo>
                  <a:pt x="1570" y="1952"/>
                </a:lnTo>
                <a:lnTo>
                  <a:pt x="1560" y="1946"/>
                </a:lnTo>
                <a:lnTo>
                  <a:pt x="1541" y="1938"/>
                </a:lnTo>
                <a:lnTo>
                  <a:pt x="1539" y="1934"/>
                </a:lnTo>
                <a:lnTo>
                  <a:pt x="1523" y="1927"/>
                </a:lnTo>
                <a:lnTo>
                  <a:pt x="1516" y="1918"/>
                </a:lnTo>
                <a:lnTo>
                  <a:pt x="1512" y="1915"/>
                </a:lnTo>
                <a:lnTo>
                  <a:pt x="1506" y="1908"/>
                </a:lnTo>
                <a:lnTo>
                  <a:pt x="1505" y="1905"/>
                </a:lnTo>
                <a:lnTo>
                  <a:pt x="1506" y="1905"/>
                </a:lnTo>
                <a:lnTo>
                  <a:pt x="1506" y="1895"/>
                </a:lnTo>
                <a:lnTo>
                  <a:pt x="1504" y="1890"/>
                </a:lnTo>
                <a:lnTo>
                  <a:pt x="1499" y="1880"/>
                </a:lnTo>
                <a:lnTo>
                  <a:pt x="1494" y="1875"/>
                </a:lnTo>
                <a:lnTo>
                  <a:pt x="1493" y="1869"/>
                </a:lnTo>
                <a:lnTo>
                  <a:pt x="1486" y="1864"/>
                </a:lnTo>
                <a:lnTo>
                  <a:pt x="1486" y="1857"/>
                </a:lnTo>
                <a:lnTo>
                  <a:pt x="1479" y="1849"/>
                </a:lnTo>
                <a:lnTo>
                  <a:pt x="1473" y="1830"/>
                </a:lnTo>
                <a:lnTo>
                  <a:pt x="1472" y="1830"/>
                </a:lnTo>
                <a:lnTo>
                  <a:pt x="1471" y="1822"/>
                </a:lnTo>
                <a:lnTo>
                  <a:pt x="1468" y="1817"/>
                </a:lnTo>
                <a:lnTo>
                  <a:pt x="1462" y="1811"/>
                </a:lnTo>
                <a:lnTo>
                  <a:pt x="1456" y="1798"/>
                </a:lnTo>
                <a:lnTo>
                  <a:pt x="1453" y="1794"/>
                </a:lnTo>
                <a:lnTo>
                  <a:pt x="1434" y="1784"/>
                </a:lnTo>
                <a:lnTo>
                  <a:pt x="1434" y="1780"/>
                </a:lnTo>
                <a:lnTo>
                  <a:pt x="1439" y="1780"/>
                </a:lnTo>
                <a:lnTo>
                  <a:pt x="1440" y="1776"/>
                </a:lnTo>
                <a:lnTo>
                  <a:pt x="1439" y="1774"/>
                </a:lnTo>
                <a:lnTo>
                  <a:pt x="1436" y="1770"/>
                </a:lnTo>
                <a:lnTo>
                  <a:pt x="1437" y="1768"/>
                </a:lnTo>
                <a:lnTo>
                  <a:pt x="1433" y="1763"/>
                </a:lnTo>
                <a:lnTo>
                  <a:pt x="1434" y="1757"/>
                </a:lnTo>
                <a:lnTo>
                  <a:pt x="1439" y="1749"/>
                </a:lnTo>
                <a:lnTo>
                  <a:pt x="1446" y="1742"/>
                </a:lnTo>
                <a:lnTo>
                  <a:pt x="1446" y="1741"/>
                </a:lnTo>
                <a:lnTo>
                  <a:pt x="1452" y="1739"/>
                </a:lnTo>
                <a:lnTo>
                  <a:pt x="1456" y="1730"/>
                </a:lnTo>
                <a:lnTo>
                  <a:pt x="1453" y="1727"/>
                </a:lnTo>
                <a:lnTo>
                  <a:pt x="1455" y="1721"/>
                </a:lnTo>
                <a:lnTo>
                  <a:pt x="1450" y="1724"/>
                </a:lnTo>
                <a:lnTo>
                  <a:pt x="1450" y="1727"/>
                </a:lnTo>
                <a:lnTo>
                  <a:pt x="1450" y="1730"/>
                </a:lnTo>
                <a:lnTo>
                  <a:pt x="1448" y="1732"/>
                </a:lnTo>
                <a:lnTo>
                  <a:pt x="1440" y="1727"/>
                </a:lnTo>
                <a:lnTo>
                  <a:pt x="1439" y="1724"/>
                </a:lnTo>
                <a:lnTo>
                  <a:pt x="1438" y="1724"/>
                </a:lnTo>
                <a:lnTo>
                  <a:pt x="1438" y="1720"/>
                </a:lnTo>
                <a:lnTo>
                  <a:pt x="1438" y="1716"/>
                </a:lnTo>
                <a:lnTo>
                  <a:pt x="1442" y="1713"/>
                </a:lnTo>
                <a:lnTo>
                  <a:pt x="1439" y="1708"/>
                </a:lnTo>
                <a:lnTo>
                  <a:pt x="1440" y="1708"/>
                </a:lnTo>
                <a:lnTo>
                  <a:pt x="1443" y="1708"/>
                </a:lnTo>
                <a:lnTo>
                  <a:pt x="1446" y="1702"/>
                </a:lnTo>
                <a:lnTo>
                  <a:pt x="1445" y="1697"/>
                </a:lnTo>
                <a:lnTo>
                  <a:pt x="1451" y="1690"/>
                </a:lnTo>
                <a:lnTo>
                  <a:pt x="1452" y="1687"/>
                </a:lnTo>
                <a:lnTo>
                  <a:pt x="1450" y="1682"/>
                </a:lnTo>
                <a:lnTo>
                  <a:pt x="1450" y="1679"/>
                </a:lnTo>
                <a:lnTo>
                  <a:pt x="1467" y="1675"/>
                </a:lnTo>
                <a:lnTo>
                  <a:pt x="1471" y="1671"/>
                </a:lnTo>
                <a:lnTo>
                  <a:pt x="1471" y="1671"/>
                </a:lnTo>
                <a:lnTo>
                  <a:pt x="1469" y="1669"/>
                </a:lnTo>
                <a:lnTo>
                  <a:pt x="1466" y="1668"/>
                </a:lnTo>
                <a:lnTo>
                  <a:pt x="1469" y="1664"/>
                </a:lnTo>
                <a:lnTo>
                  <a:pt x="1474" y="1666"/>
                </a:lnTo>
                <a:lnTo>
                  <a:pt x="1474" y="1663"/>
                </a:lnTo>
                <a:lnTo>
                  <a:pt x="1472" y="1660"/>
                </a:lnTo>
                <a:lnTo>
                  <a:pt x="1474" y="1657"/>
                </a:lnTo>
                <a:lnTo>
                  <a:pt x="1476" y="1656"/>
                </a:lnTo>
                <a:lnTo>
                  <a:pt x="1477" y="1656"/>
                </a:lnTo>
                <a:lnTo>
                  <a:pt x="1480" y="1656"/>
                </a:lnTo>
                <a:lnTo>
                  <a:pt x="1481" y="1656"/>
                </a:lnTo>
                <a:lnTo>
                  <a:pt x="1483" y="1656"/>
                </a:lnTo>
                <a:lnTo>
                  <a:pt x="1482" y="1654"/>
                </a:lnTo>
                <a:lnTo>
                  <a:pt x="1482" y="1653"/>
                </a:lnTo>
                <a:lnTo>
                  <a:pt x="1482" y="1652"/>
                </a:lnTo>
                <a:lnTo>
                  <a:pt x="1482" y="1653"/>
                </a:lnTo>
                <a:lnTo>
                  <a:pt x="1482" y="1652"/>
                </a:lnTo>
                <a:lnTo>
                  <a:pt x="1487" y="1645"/>
                </a:lnTo>
                <a:lnTo>
                  <a:pt x="1487" y="1644"/>
                </a:lnTo>
                <a:lnTo>
                  <a:pt x="1490" y="1644"/>
                </a:lnTo>
                <a:lnTo>
                  <a:pt x="1490" y="1643"/>
                </a:lnTo>
                <a:lnTo>
                  <a:pt x="1490" y="1641"/>
                </a:lnTo>
                <a:lnTo>
                  <a:pt x="1495" y="1636"/>
                </a:lnTo>
                <a:lnTo>
                  <a:pt x="1496" y="1633"/>
                </a:lnTo>
                <a:lnTo>
                  <a:pt x="1494" y="1635"/>
                </a:lnTo>
                <a:lnTo>
                  <a:pt x="1491" y="1633"/>
                </a:lnTo>
                <a:lnTo>
                  <a:pt x="1491" y="1633"/>
                </a:lnTo>
                <a:lnTo>
                  <a:pt x="1490" y="1633"/>
                </a:lnTo>
                <a:lnTo>
                  <a:pt x="1488" y="1632"/>
                </a:lnTo>
                <a:lnTo>
                  <a:pt x="1490" y="1632"/>
                </a:lnTo>
                <a:lnTo>
                  <a:pt x="1494" y="1630"/>
                </a:lnTo>
                <a:lnTo>
                  <a:pt x="1490" y="1627"/>
                </a:lnTo>
                <a:lnTo>
                  <a:pt x="1490" y="1626"/>
                </a:lnTo>
                <a:lnTo>
                  <a:pt x="1490" y="1626"/>
                </a:lnTo>
                <a:lnTo>
                  <a:pt x="1490" y="1626"/>
                </a:lnTo>
                <a:lnTo>
                  <a:pt x="1490" y="1623"/>
                </a:lnTo>
                <a:lnTo>
                  <a:pt x="1490" y="1614"/>
                </a:lnTo>
                <a:lnTo>
                  <a:pt x="1490" y="1610"/>
                </a:lnTo>
                <a:lnTo>
                  <a:pt x="1488" y="1609"/>
                </a:lnTo>
                <a:lnTo>
                  <a:pt x="1494" y="1605"/>
                </a:lnTo>
                <a:lnTo>
                  <a:pt x="1490" y="1598"/>
                </a:lnTo>
                <a:lnTo>
                  <a:pt x="1491" y="1595"/>
                </a:lnTo>
                <a:lnTo>
                  <a:pt x="1482" y="1584"/>
                </a:lnTo>
                <a:lnTo>
                  <a:pt x="1482" y="1581"/>
                </a:lnTo>
                <a:lnTo>
                  <a:pt x="1482" y="1583"/>
                </a:lnTo>
                <a:lnTo>
                  <a:pt x="1479" y="1577"/>
                </a:lnTo>
                <a:lnTo>
                  <a:pt x="1475" y="1571"/>
                </a:lnTo>
                <a:lnTo>
                  <a:pt x="1479" y="1571"/>
                </a:lnTo>
                <a:lnTo>
                  <a:pt x="1476" y="1567"/>
                </a:lnTo>
                <a:lnTo>
                  <a:pt x="1475" y="1567"/>
                </a:lnTo>
                <a:lnTo>
                  <a:pt x="1472" y="1563"/>
                </a:lnTo>
                <a:lnTo>
                  <a:pt x="1464" y="1557"/>
                </a:lnTo>
                <a:lnTo>
                  <a:pt x="1464" y="1556"/>
                </a:lnTo>
                <a:lnTo>
                  <a:pt x="1458" y="1557"/>
                </a:lnTo>
                <a:lnTo>
                  <a:pt x="1454" y="1559"/>
                </a:lnTo>
                <a:lnTo>
                  <a:pt x="1454" y="1563"/>
                </a:lnTo>
                <a:lnTo>
                  <a:pt x="1452" y="1565"/>
                </a:lnTo>
                <a:lnTo>
                  <a:pt x="1443" y="1568"/>
                </a:lnTo>
                <a:lnTo>
                  <a:pt x="1444" y="1571"/>
                </a:lnTo>
                <a:lnTo>
                  <a:pt x="1452" y="1577"/>
                </a:lnTo>
                <a:lnTo>
                  <a:pt x="1447" y="1581"/>
                </a:lnTo>
                <a:lnTo>
                  <a:pt x="1444" y="1584"/>
                </a:lnTo>
                <a:lnTo>
                  <a:pt x="1437" y="1584"/>
                </a:lnTo>
                <a:lnTo>
                  <a:pt x="1438" y="1583"/>
                </a:lnTo>
                <a:lnTo>
                  <a:pt x="1435" y="1575"/>
                </a:lnTo>
                <a:lnTo>
                  <a:pt x="1430" y="1575"/>
                </a:lnTo>
                <a:lnTo>
                  <a:pt x="1430" y="1579"/>
                </a:lnTo>
                <a:lnTo>
                  <a:pt x="1428" y="1579"/>
                </a:lnTo>
                <a:lnTo>
                  <a:pt x="1424" y="1571"/>
                </a:lnTo>
                <a:lnTo>
                  <a:pt x="1418" y="1571"/>
                </a:lnTo>
                <a:lnTo>
                  <a:pt x="1417" y="1567"/>
                </a:lnTo>
                <a:lnTo>
                  <a:pt x="1410" y="1567"/>
                </a:lnTo>
                <a:lnTo>
                  <a:pt x="1410" y="1567"/>
                </a:lnTo>
                <a:lnTo>
                  <a:pt x="1410" y="1567"/>
                </a:lnTo>
                <a:lnTo>
                  <a:pt x="1410" y="1567"/>
                </a:lnTo>
                <a:lnTo>
                  <a:pt x="1410" y="1567"/>
                </a:lnTo>
                <a:lnTo>
                  <a:pt x="1410" y="1567"/>
                </a:lnTo>
                <a:lnTo>
                  <a:pt x="1410" y="1569"/>
                </a:lnTo>
                <a:lnTo>
                  <a:pt x="1409" y="1568"/>
                </a:lnTo>
                <a:lnTo>
                  <a:pt x="1410" y="1567"/>
                </a:lnTo>
                <a:lnTo>
                  <a:pt x="1410" y="1567"/>
                </a:lnTo>
                <a:lnTo>
                  <a:pt x="1410" y="1567"/>
                </a:lnTo>
                <a:lnTo>
                  <a:pt x="1409" y="1567"/>
                </a:lnTo>
                <a:lnTo>
                  <a:pt x="1409" y="1568"/>
                </a:lnTo>
                <a:lnTo>
                  <a:pt x="1409" y="1568"/>
                </a:lnTo>
                <a:lnTo>
                  <a:pt x="1409" y="1567"/>
                </a:lnTo>
                <a:lnTo>
                  <a:pt x="1408" y="1567"/>
                </a:lnTo>
                <a:lnTo>
                  <a:pt x="1405" y="1571"/>
                </a:lnTo>
                <a:lnTo>
                  <a:pt x="1405" y="1567"/>
                </a:lnTo>
                <a:lnTo>
                  <a:pt x="1404" y="1567"/>
                </a:lnTo>
                <a:lnTo>
                  <a:pt x="1408" y="1565"/>
                </a:lnTo>
                <a:lnTo>
                  <a:pt x="1407" y="1565"/>
                </a:lnTo>
                <a:lnTo>
                  <a:pt x="1404" y="1563"/>
                </a:lnTo>
                <a:lnTo>
                  <a:pt x="1402" y="1563"/>
                </a:lnTo>
                <a:lnTo>
                  <a:pt x="1401" y="1565"/>
                </a:lnTo>
                <a:lnTo>
                  <a:pt x="1401" y="1566"/>
                </a:lnTo>
                <a:lnTo>
                  <a:pt x="1395" y="1564"/>
                </a:lnTo>
                <a:lnTo>
                  <a:pt x="1397" y="1560"/>
                </a:lnTo>
                <a:lnTo>
                  <a:pt x="1397" y="1557"/>
                </a:lnTo>
                <a:lnTo>
                  <a:pt x="1388" y="1550"/>
                </a:lnTo>
                <a:lnTo>
                  <a:pt x="1385" y="1550"/>
                </a:lnTo>
                <a:lnTo>
                  <a:pt x="1382" y="1545"/>
                </a:lnTo>
                <a:lnTo>
                  <a:pt x="1373" y="1542"/>
                </a:lnTo>
                <a:lnTo>
                  <a:pt x="1373" y="1544"/>
                </a:lnTo>
                <a:lnTo>
                  <a:pt x="1380" y="1547"/>
                </a:lnTo>
                <a:lnTo>
                  <a:pt x="1377" y="1550"/>
                </a:lnTo>
                <a:lnTo>
                  <a:pt x="1373" y="1547"/>
                </a:lnTo>
                <a:lnTo>
                  <a:pt x="1369" y="1545"/>
                </a:lnTo>
                <a:lnTo>
                  <a:pt x="1366" y="1540"/>
                </a:lnTo>
                <a:lnTo>
                  <a:pt x="1370" y="1537"/>
                </a:lnTo>
                <a:lnTo>
                  <a:pt x="1369" y="1535"/>
                </a:lnTo>
                <a:lnTo>
                  <a:pt x="1366" y="1535"/>
                </a:lnTo>
                <a:lnTo>
                  <a:pt x="1369" y="1535"/>
                </a:lnTo>
                <a:lnTo>
                  <a:pt x="1369" y="1530"/>
                </a:lnTo>
                <a:lnTo>
                  <a:pt x="1370" y="1527"/>
                </a:lnTo>
                <a:lnTo>
                  <a:pt x="1381" y="1532"/>
                </a:lnTo>
                <a:lnTo>
                  <a:pt x="1383" y="1530"/>
                </a:lnTo>
                <a:lnTo>
                  <a:pt x="1394" y="1534"/>
                </a:lnTo>
                <a:lnTo>
                  <a:pt x="1398" y="1534"/>
                </a:lnTo>
                <a:lnTo>
                  <a:pt x="1400" y="1532"/>
                </a:lnTo>
                <a:lnTo>
                  <a:pt x="1404" y="1541"/>
                </a:lnTo>
                <a:lnTo>
                  <a:pt x="1414" y="1550"/>
                </a:lnTo>
                <a:lnTo>
                  <a:pt x="1411" y="1550"/>
                </a:lnTo>
                <a:lnTo>
                  <a:pt x="1414" y="1553"/>
                </a:lnTo>
                <a:lnTo>
                  <a:pt x="1417" y="1559"/>
                </a:lnTo>
                <a:lnTo>
                  <a:pt x="1422" y="1559"/>
                </a:lnTo>
                <a:lnTo>
                  <a:pt x="1422" y="1555"/>
                </a:lnTo>
                <a:lnTo>
                  <a:pt x="1427" y="1559"/>
                </a:lnTo>
                <a:lnTo>
                  <a:pt x="1433" y="1561"/>
                </a:lnTo>
                <a:lnTo>
                  <a:pt x="1449" y="1555"/>
                </a:lnTo>
                <a:lnTo>
                  <a:pt x="1456" y="1549"/>
                </a:lnTo>
                <a:lnTo>
                  <a:pt x="1466" y="1551"/>
                </a:lnTo>
                <a:lnTo>
                  <a:pt x="1464" y="1555"/>
                </a:lnTo>
                <a:lnTo>
                  <a:pt x="1472" y="1555"/>
                </a:lnTo>
                <a:lnTo>
                  <a:pt x="1481" y="1555"/>
                </a:lnTo>
                <a:lnTo>
                  <a:pt x="1487" y="1561"/>
                </a:lnTo>
                <a:lnTo>
                  <a:pt x="1490" y="1563"/>
                </a:lnTo>
                <a:lnTo>
                  <a:pt x="1490" y="1562"/>
                </a:lnTo>
                <a:lnTo>
                  <a:pt x="1494" y="1568"/>
                </a:lnTo>
                <a:lnTo>
                  <a:pt x="1494" y="1570"/>
                </a:lnTo>
                <a:lnTo>
                  <a:pt x="1489" y="1564"/>
                </a:lnTo>
                <a:lnTo>
                  <a:pt x="1488" y="1564"/>
                </a:lnTo>
                <a:lnTo>
                  <a:pt x="1490" y="1571"/>
                </a:lnTo>
                <a:lnTo>
                  <a:pt x="1490" y="1572"/>
                </a:lnTo>
                <a:lnTo>
                  <a:pt x="1490" y="1574"/>
                </a:lnTo>
                <a:lnTo>
                  <a:pt x="1490" y="1575"/>
                </a:lnTo>
                <a:lnTo>
                  <a:pt x="1494" y="1572"/>
                </a:lnTo>
                <a:lnTo>
                  <a:pt x="1498" y="1574"/>
                </a:lnTo>
                <a:lnTo>
                  <a:pt x="1498" y="1564"/>
                </a:lnTo>
                <a:lnTo>
                  <a:pt x="1497" y="1563"/>
                </a:lnTo>
                <a:lnTo>
                  <a:pt x="1506" y="1557"/>
                </a:lnTo>
                <a:lnTo>
                  <a:pt x="1509" y="1552"/>
                </a:lnTo>
                <a:lnTo>
                  <a:pt x="1516" y="1548"/>
                </a:lnTo>
                <a:lnTo>
                  <a:pt x="1516" y="1547"/>
                </a:lnTo>
                <a:lnTo>
                  <a:pt x="1515" y="1545"/>
                </a:lnTo>
                <a:lnTo>
                  <a:pt x="1517" y="1533"/>
                </a:lnTo>
                <a:lnTo>
                  <a:pt x="1518" y="1530"/>
                </a:lnTo>
                <a:lnTo>
                  <a:pt x="1518" y="1529"/>
                </a:lnTo>
                <a:lnTo>
                  <a:pt x="1523" y="1528"/>
                </a:lnTo>
                <a:lnTo>
                  <a:pt x="1527" y="1525"/>
                </a:lnTo>
                <a:lnTo>
                  <a:pt x="1533" y="1527"/>
                </a:lnTo>
                <a:lnTo>
                  <a:pt x="1536" y="1527"/>
                </a:lnTo>
                <a:lnTo>
                  <a:pt x="1539" y="1521"/>
                </a:lnTo>
                <a:lnTo>
                  <a:pt x="1550" y="1522"/>
                </a:lnTo>
                <a:lnTo>
                  <a:pt x="1559" y="1517"/>
                </a:lnTo>
                <a:lnTo>
                  <a:pt x="1565" y="1513"/>
                </a:lnTo>
                <a:lnTo>
                  <a:pt x="1566" y="1509"/>
                </a:lnTo>
                <a:lnTo>
                  <a:pt x="1566" y="1511"/>
                </a:lnTo>
                <a:lnTo>
                  <a:pt x="1568" y="1511"/>
                </a:lnTo>
                <a:lnTo>
                  <a:pt x="1569" y="1511"/>
                </a:lnTo>
                <a:lnTo>
                  <a:pt x="1573" y="1505"/>
                </a:lnTo>
                <a:lnTo>
                  <a:pt x="1578" y="1506"/>
                </a:lnTo>
                <a:lnTo>
                  <a:pt x="1578" y="1511"/>
                </a:lnTo>
                <a:lnTo>
                  <a:pt x="1578" y="1513"/>
                </a:lnTo>
                <a:lnTo>
                  <a:pt x="1569" y="1517"/>
                </a:lnTo>
                <a:lnTo>
                  <a:pt x="1566" y="1522"/>
                </a:lnTo>
                <a:lnTo>
                  <a:pt x="1562" y="1524"/>
                </a:lnTo>
                <a:lnTo>
                  <a:pt x="1555" y="1534"/>
                </a:lnTo>
                <a:lnTo>
                  <a:pt x="1555" y="1535"/>
                </a:lnTo>
                <a:lnTo>
                  <a:pt x="1561" y="1527"/>
                </a:lnTo>
                <a:lnTo>
                  <a:pt x="1565" y="1525"/>
                </a:lnTo>
                <a:lnTo>
                  <a:pt x="1568" y="1521"/>
                </a:lnTo>
                <a:lnTo>
                  <a:pt x="1570" y="1532"/>
                </a:lnTo>
                <a:lnTo>
                  <a:pt x="1570" y="1536"/>
                </a:lnTo>
                <a:lnTo>
                  <a:pt x="1563" y="1546"/>
                </a:lnTo>
                <a:lnTo>
                  <a:pt x="1570" y="1552"/>
                </a:lnTo>
                <a:lnTo>
                  <a:pt x="1570" y="1555"/>
                </a:lnTo>
                <a:lnTo>
                  <a:pt x="1572" y="1557"/>
                </a:lnTo>
                <a:lnTo>
                  <a:pt x="1578" y="1555"/>
                </a:lnTo>
                <a:lnTo>
                  <a:pt x="1582" y="1552"/>
                </a:lnTo>
                <a:lnTo>
                  <a:pt x="1582" y="1546"/>
                </a:lnTo>
                <a:lnTo>
                  <a:pt x="1574" y="1535"/>
                </a:lnTo>
                <a:lnTo>
                  <a:pt x="1574" y="1531"/>
                </a:lnTo>
                <a:lnTo>
                  <a:pt x="1574" y="1530"/>
                </a:lnTo>
                <a:lnTo>
                  <a:pt x="1589" y="1525"/>
                </a:lnTo>
                <a:lnTo>
                  <a:pt x="1591" y="1523"/>
                </a:lnTo>
                <a:lnTo>
                  <a:pt x="1590" y="1523"/>
                </a:lnTo>
                <a:lnTo>
                  <a:pt x="1590" y="1515"/>
                </a:lnTo>
                <a:lnTo>
                  <a:pt x="1592" y="1512"/>
                </a:lnTo>
                <a:lnTo>
                  <a:pt x="1598" y="1509"/>
                </a:lnTo>
                <a:lnTo>
                  <a:pt x="1598" y="1512"/>
                </a:lnTo>
                <a:lnTo>
                  <a:pt x="1602" y="1521"/>
                </a:lnTo>
                <a:lnTo>
                  <a:pt x="1606" y="1520"/>
                </a:lnTo>
                <a:lnTo>
                  <a:pt x="1613" y="1521"/>
                </a:lnTo>
                <a:lnTo>
                  <a:pt x="1619" y="1527"/>
                </a:lnTo>
                <a:lnTo>
                  <a:pt x="1622" y="1530"/>
                </a:lnTo>
                <a:lnTo>
                  <a:pt x="1618" y="1531"/>
                </a:lnTo>
                <a:lnTo>
                  <a:pt x="1618" y="1535"/>
                </a:lnTo>
                <a:lnTo>
                  <a:pt x="1623" y="1538"/>
                </a:lnTo>
                <a:lnTo>
                  <a:pt x="1650" y="1539"/>
                </a:lnTo>
                <a:lnTo>
                  <a:pt x="1650" y="1536"/>
                </a:lnTo>
                <a:lnTo>
                  <a:pt x="1656" y="1539"/>
                </a:lnTo>
                <a:lnTo>
                  <a:pt x="1668" y="1543"/>
                </a:lnTo>
                <a:lnTo>
                  <a:pt x="1673" y="1543"/>
                </a:lnTo>
                <a:lnTo>
                  <a:pt x="1681" y="1539"/>
                </a:lnTo>
                <a:lnTo>
                  <a:pt x="1688" y="1539"/>
                </a:lnTo>
                <a:lnTo>
                  <a:pt x="1683" y="1537"/>
                </a:lnTo>
                <a:lnTo>
                  <a:pt x="1679" y="1536"/>
                </a:lnTo>
                <a:lnTo>
                  <a:pt x="1679" y="1532"/>
                </a:lnTo>
                <a:lnTo>
                  <a:pt x="1689" y="1537"/>
                </a:lnTo>
                <a:lnTo>
                  <a:pt x="1697" y="1535"/>
                </a:lnTo>
                <a:lnTo>
                  <a:pt x="1714" y="1535"/>
                </a:lnTo>
                <a:lnTo>
                  <a:pt x="1709" y="1538"/>
                </a:lnTo>
                <a:lnTo>
                  <a:pt x="1708" y="1539"/>
                </a:lnTo>
                <a:lnTo>
                  <a:pt x="1703" y="1539"/>
                </a:lnTo>
                <a:lnTo>
                  <a:pt x="1706" y="1548"/>
                </a:lnTo>
                <a:lnTo>
                  <a:pt x="1707" y="1544"/>
                </a:lnTo>
                <a:lnTo>
                  <a:pt x="1707" y="1549"/>
                </a:lnTo>
                <a:lnTo>
                  <a:pt x="1710" y="1547"/>
                </a:lnTo>
                <a:lnTo>
                  <a:pt x="1713" y="1547"/>
                </a:lnTo>
                <a:lnTo>
                  <a:pt x="1709" y="1545"/>
                </a:lnTo>
                <a:lnTo>
                  <a:pt x="1710" y="1543"/>
                </a:lnTo>
                <a:lnTo>
                  <a:pt x="1714" y="1544"/>
                </a:lnTo>
                <a:lnTo>
                  <a:pt x="1717" y="1550"/>
                </a:lnTo>
                <a:lnTo>
                  <a:pt x="1716" y="1547"/>
                </a:lnTo>
                <a:lnTo>
                  <a:pt x="1719" y="1547"/>
                </a:lnTo>
                <a:lnTo>
                  <a:pt x="1719" y="1544"/>
                </a:lnTo>
                <a:lnTo>
                  <a:pt x="1723" y="1551"/>
                </a:lnTo>
                <a:lnTo>
                  <a:pt x="1727" y="1551"/>
                </a:lnTo>
                <a:lnTo>
                  <a:pt x="1727" y="1552"/>
                </a:lnTo>
                <a:lnTo>
                  <a:pt x="1727" y="1554"/>
                </a:lnTo>
                <a:lnTo>
                  <a:pt x="1726" y="1557"/>
                </a:lnTo>
                <a:lnTo>
                  <a:pt x="1725" y="1562"/>
                </a:lnTo>
                <a:lnTo>
                  <a:pt x="1727" y="1561"/>
                </a:lnTo>
                <a:lnTo>
                  <a:pt x="1730" y="1558"/>
                </a:lnTo>
                <a:lnTo>
                  <a:pt x="1728" y="1563"/>
                </a:lnTo>
                <a:lnTo>
                  <a:pt x="1728" y="1563"/>
                </a:lnTo>
                <a:lnTo>
                  <a:pt x="1728" y="1562"/>
                </a:lnTo>
                <a:lnTo>
                  <a:pt x="1726" y="1563"/>
                </a:lnTo>
                <a:lnTo>
                  <a:pt x="1725" y="1563"/>
                </a:lnTo>
                <a:lnTo>
                  <a:pt x="1724" y="1563"/>
                </a:lnTo>
                <a:lnTo>
                  <a:pt x="1723" y="1564"/>
                </a:lnTo>
                <a:lnTo>
                  <a:pt x="1723" y="1565"/>
                </a:lnTo>
                <a:lnTo>
                  <a:pt x="1723" y="1567"/>
                </a:lnTo>
                <a:lnTo>
                  <a:pt x="1724" y="1567"/>
                </a:lnTo>
                <a:lnTo>
                  <a:pt x="1725" y="1566"/>
                </a:lnTo>
                <a:lnTo>
                  <a:pt x="1725" y="1566"/>
                </a:lnTo>
                <a:lnTo>
                  <a:pt x="1727" y="1566"/>
                </a:lnTo>
                <a:lnTo>
                  <a:pt x="1727" y="1567"/>
                </a:lnTo>
                <a:lnTo>
                  <a:pt x="1728" y="1565"/>
                </a:lnTo>
                <a:lnTo>
                  <a:pt x="1735" y="1567"/>
                </a:lnTo>
                <a:lnTo>
                  <a:pt x="1736" y="1567"/>
                </a:lnTo>
                <a:lnTo>
                  <a:pt x="1738" y="1567"/>
                </a:lnTo>
                <a:lnTo>
                  <a:pt x="1742" y="1567"/>
                </a:lnTo>
                <a:lnTo>
                  <a:pt x="1742" y="1566"/>
                </a:lnTo>
                <a:lnTo>
                  <a:pt x="1743" y="1567"/>
                </a:lnTo>
                <a:lnTo>
                  <a:pt x="1745" y="1567"/>
                </a:lnTo>
                <a:lnTo>
                  <a:pt x="1755" y="1573"/>
                </a:lnTo>
                <a:lnTo>
                  <a:pt x="1763" y="1585"/>
                </a:lnTo>
                <a:lnTo>
                  <a:pt x="1763" y="1589"/>
                </a:lnTo>
                <a:lnTo>
                  <a:pt x="1763" y="1590"/>
                </a:lnTo>
                <a:lnTo>
                  <a:pt x="1761" y="1598"/>
                </a:lnTo>
                <a:lnTo>
                  <a:pt x="1764" y="1592"/>
                </a:lnTo>
                <a:lnTo>
                  <a:pt x="1765" y="1592"/>
                </a:lnTo>
                <a:lnTo>
                  <a:pt x="1771" y="1593"/>
                </a:lnTo>
                <a:lnTo>
                  <a:pt x="1776" y="1597"/>
                </a:lnTo>
                <a:lnTo>
                  <a:pt x="1777" y="1601"/>
                </a:lnTo>
                <a:lnTo>
                  <a:pt x="1779" y="1600"/>
                </a:lnTo>
                <a:lnTo>
                  <a:pt x="1782" y="1602"/>
                </a:lnTo>
                <a:lnTo>
                  <a:pt x="1783" y="1605"/>
                </a:lnTo>
                <a:lnTo>
                  <a:pt x="1782" y="1613"/>
                </a:lnTo>
                <a:lnTo>
                  <a:pt x="1780" y="1615"/>
                </a:lnTo>
                <a:lnTo>
                  <a:pt x="1782" y="1620"/>
                </a:lnTo>
                <a:lnTo>
                  <a:pt x="1783" y="1620"/>
                </a:lnTo>
                <a:lnTo>
                  <a:pt x="1781" y="1616"/>
                </a:lnTo>
                <a:lnTo>
                  <a:pt x="1783" y="1614"/>
                </a:lnTo>
                <a:lnTo>
                  <a:pt x="1783" y="1612"/>
                </a:lnTo>
                <a:lnTo>
                  <a:pt x="1784" y="1607"/>
                </a:lnTo>
                <a:lnTo>
                  <a:pt x="1787" y="1607"/>
                </a:lnTo>
                <a:lnTo>
                  <a:pt x="1799" y="1612"/>
                </a:lnTo>
                <a:lnTo>
                  <a:pt x="1799" y="1608"/>
                </a:lnTo>
                <a:lnTo>
                  <a:pt x="1809" y="1608"/>
                </a:lnTo>
                <a:lnTo>
                  <a:pt x="1811" y="1606"/>
                </a:lnTo>
                <a:lnTo>
                  <a:pt x="1811" y="1609"/>
                </a:lnTo>
                <a:lnTo>
                  <a:pt x="1813" y="1608"/>
                </a:lnTo>
                <a:lnTo>
                  <a:pt x="1823" y="1609"/>
                </a:lnTo>
                <a:lnTo>
                  <a:pt x="1823" y="1612"/>
                </a:lnTo>
                <a:lnTo>
                  <a:pt x="1824" y="1612"/>
                </a:lnTo>
                <a:lnTo>
                  <a:pt x="1827" y="1611"/>
                </a:lnTo>
                <a:lnTo>
                  <a:pt x="1828" y="1606"/>
                </a:lnTo>
                <a:lnTo>
                  <a:pt x="1830" y="1605"/>
                </a:lnTo>
                <a:lnTo>
                  <a:pt x="1835" y="1609"/>
                </a:lnTo>
                <a:lnTo>
                  <a:pt x="1843" y="1610"/>
                </a:lnTo>
                <a:lnTo>
                  <a:pt x="1855" y="1622"/>
                </a:lnTo>
                <a:lnTo>
                  <a:pt x="1855" y="1622"/>
                </a:lnTo>
                <a:lnTo>
                  <a:pt x="1857" y="1623"/>
                </a:lnTo>
                <a:lnTo>
                  <a:pt x="1859" y="1629"/>
                </a:lnTo>
                <a:lnTo>
                  <a:pt x="1859" y="1633"/>
                </a:lnTo>
                <a:lnTo>
                  <a:pt x="1851" y="1646"/>
                </a:lnTo>
                <a:lnTo>
                  <a:pt x="1848" y="1657"/>
                </a:lnTo>
                <a:lnTo>
                  <a:pt x="1843" y="1664"/>
                </a:lnTo>
                <a:lnTo>
                  <a:pt x="1845" y="1664"/>
                </a:lnTo>
                <a:lnTo>
                  <a:pt x="1851" y="1658"/>
                </a:lnTo>
                <a:lnTo>
                  <a:pt x="1854" y="1647"/>
                </a:lnTo>
                <a:lnTo>
                  <a:pt x="1862" y="1634"/>
                </a:lnTo>
                <a:lnTo>
                  <a:pt x="1865" y="1632"/>
                </a:lnTo>
                <a:lnTo>
                  <a:pt x="1866" y="1634"/>
                </a:lnTo>
                <a:lnTo>
                  <a:pt x="1865" y="1629"/>
                </a:lnTo>
                <a:lnTo>
                  <a:pt x="1870" y="1633"/>
                </a:lnTo>
                <a:lnTo>
                  <a:pt x="1871" y="1636"/>
                </a:lnTo>
                <a:lnTo>
                  <a:pt x="1871" y="1636"/>
                </a:lnTo>
                <a:lnTo>
                  <a:pt x="1871" y="1647"/>
                </a:lnTo>
                <a:lnTo>
                  <a:pt x="1877" y="1662"/>
                </a:lnTo>
                <a:lnTo>
                  <a:pt x="1880" y="1668"/>
                </a:lnTo>
                <a:lnTo>
                  <a:pt x="1881" y="1668"/>
                </a:lnTo>
                <a:lnTo>
                  <a:pt x="1885" y="1668"/>
                </a:lnTo>
                <a:lnTo>
                  <a:pt x="1887" y="1668"/>
                </a:lnTo>
                <a:lnTo>
                  <a:pt x="1887" y="1674"/>
                </a:lnTo>
                <a:lnTo>
                  <a:pt x="1887" y="1676"/>
                </a:lnTo>
                <a:lnTo>
                  <a:pt x="1879" y="1685"/>
                </a:lnTo>
                <a:lnTo>
                  <a:pt x="1877" y="1692"/>
                </a:lnTo>
                <a:lnTo>
                  <a:pt x="1874" y="1692"/>
                </a:lnTo>
                <a:lnTo>
                  <a:pt x="1868" y="1696"/>
                </a:lnTo>
                <a:lnTo>
                  <a:pt x="1859" y="1704"/>
                </a:lnTo>
                <a:lnTo>
                  <a:pt x="1859" y="1708"/>
                </a:lnTo>
                <a:lnTo>
                  <a:pt x="1863" y="1704"/>
                </a:lnTo>
                <a:lnTo>
                  <a:pt x="1865" y="1703"/>
                </a:lnTo>
                <a:lnTo>
                  <a:pt x="1867" y="1701"/>
                </a:lnTo>
                <a:lnTo>
                  <a:pt x="1867" y="1700"/>
                </a:lnTo>
                <a:lnTo>
                  <a:pt x="1869" y="1698"/>
                </a:lnTo>
                <a:lnTo>
                  <a:pt x="1867" y="1701"/>
                </a:lnTo>
                <a:lnTo>
                  <a:pt x="1870" y="1698"/>
                </a:lnTo>
                <a:lnTo>
                  <a:pt x="1872" y="1700"/>
                </a:lnTo>
                <a:lnTo>
                  <a:pt x="1867" y="1703"/>
                </a:lnTo>
                <a:lnTo>
                  <a:pt x="1867" y="1704"/>
                </a:lnTo>
                <a:lnTo>
                  <a:pt x="1868" y="1708"/>
                </a:lnTo>
                <a:lnTo>
                  <a:pt x="1871" y="1706"/>
                </a:lnTo>
                <a:lnTo>
                  <a:pt x="1870" y="1711"/>
                </a:lnTo>
                <a:lnTo>
                  <a:pt x="1873" y="1708"/>
                </a:lnTo>
                <a:lnTo>
                  <a:pt x="1875" y="1708"/>
                </a:lnTo>
                <a:lnTo>
                  <a:pt x="1875" y="1705"/>
                </a:lnTo>
                <a:lnTo>
                  <a:pt x="1875" y="1706"/>
                </a:lnTo>
                <a:lnTo>
                  <a:pt x="1875" y="1706"/>
                </a:lnTo>
                <a:lnTo>
                  <a:pt x="1872" y="1707"/>
                </a:lnTo>
                <a:lnTo>
                  <a:pt x="1873" y="1704"/>
                </a:lnTo>
                <a:lnTo>
                  <a:pt x="1875" y="1703"/>
                </a:lnTo>
                <a:lnTo>
                  <a:pt x="1875" y="1703"/>
                </a:lnTo>
                <a:lnTo>
                  <a:pt x="1875" y="1702"/>
                </a:lnTo>
                <a:lnTo>
                  <a:pt x="1875" y="1703"/>
                </a:lnTo>
                <a:lnTo>
                  <a:pt x="1875" y="1700"/>
                </a:lnTo>
                <a:lnTo>
                  <a:pt x="1875" y="1699"/>
                </a:lnTo>
                <a:lnTo>
                  <a:pt x="1875" y="1700"/>
                </a:lnTo>
                <a:lnTo>
                  <a:pt x="1876" y="1698"/>
                </a:lnTo>
                <a:lnTo>
                  <a:pt x="1880" y="1700"/>
                </a:lnTo>
                <a:lnTo>
                  <a:pt x="1881" y="1700"/>
                </a:lnTo>
                <a:lnTo>
                  <a:pt x="1893" y="1699"/>
                </a:lnTo>
                <a:lnTo>
                  <a:pt x="1899" y="1696"/>
                </a:lnTo>
                <a:lnTo>
                  <a:pt x="1911" y="1697"/>
                </a:lnTo>
                <a:lnTo>
                  <a:pt x="1910" y="1708"/>
                </a:lnTo>
                <a:lnTo>
                  <a:pt x="1903" y="1716"/>
                </a:lnTo>
                <a:lnTo>
                  <a:pt x="1901" y="1719"/>
                </a:lnTo>
                <a:lnTo>
                  <a:pt x="1900" y="1719"/>
                </a:lnTo>
                <a:lnTo>
                  <a:pt x="1900" y="1719"/>
                </a:lnTo>
                <a:lnTo>
                  <a:pt x="1899" y="1720"/>
                </a:lnTo>
                <a:lnTo>
                  <a:pt x="1897" y="1720"/>
                </a:lnTo>
                <a:lnTo>
                  <a:pt x="1891" y="1726"/>
                </a:lnTo>
                <a:lnTo>
                  <a:pt x="1891" y="1731"/>
                </a:lnTo>
                <a:lnTo>
                  <a:pt x="1898" y="1722"/>
                </a:lnTo>
                <a:lnTo>
                  <a:pt x="1900" y="1721"/>
                </a:lnTo>
                <a:lnTo>
                  <a:pt x="1899" y="1722"/>
                </a:lnTo>
                <a:lnTo>
                  <a:pt x="1900" y="1721"/>
                </a:lnTo>
                <a:lnTo>
                  <a:pt x="1903" y="1720"/>
                </a:lnTo>
                <a:lnTo>
                  <a:pt x="1906" y="1716"/>
                </a:lnTo>
                <a:lnTo>
                  <a:pt x="1907" y="1716"/>
                </a:lnTo>
                <a:lnTo>
                  <a:pt x="1907" y="1714"/>
                </a:lnTo>
                <a:lnTo>
                  <a:pt x="1907" y="1712"/>
                </a:lnTo>
                <a:lnTo>
                  <a:pt x="1911" y="1714"/>
                </a:lnTo>
                <a:lnTo>
                  <a:pt x="1911" y="1712"/>
                </a:lnTo>
                <a:lnTo>
                  <a:pt x="1912" y="1708"/>
                </a:lnTo>
                <a:lnTo>
                  <a:pt x="1911" y="1708"/>
                </a:lnTo>
                <a:lnTo>
                  <a:pt x="1911" y="1707"/>
                </a:lnTo>
                <a:lnTo>
                  <a:pt x="1915" y="1704"/>
                </a:lnTo>
                <a:lnTo>
                  <a:pt x="1916" y="1707"/>
                </a:lnTo>
                <a:lnTo>
                  <a:pt x="1919" y="1704"/>
                </a:lnTo>
                <a:lnTo>
                  <a:pt x="1919" y="1704"/>
                </a:lnTo>
                <a:lnTo>
                  <a:pt x="1919" y="1704"/>
                </a:lnTo>
                <a:lnTo>
                  <a:pt x="1920" y="1703"/>
                </a:lnTo>
                <a:lnTo>
                  <a:pt x="1920" y="1706"/>
                </a:lnTo>
                <a:lnTo>
                  <a:pt x="1922" y="1703"/>
                </a:lnTo>
                <a:lnTo>
                  <a:pt x="1924" y="1706"/>
                </a:lnTo>
                <a:lnTo>
                  <a:pt x="1924" y="1703"/>
                </a:lnTo>
                <a:lnTo>
                  <a:pt x="1931" y="1704"/>
                </a:lnTo>
                <a:lnTo>
                  <a:pt x="1932" y="1704"/>
                </a:lnTo>
                <a:lnTo>
                  <a:pt x="1932" y="1707"/>
                </a:lnTo>
                <a:lnTo>
                  <a:pt x="1933" y="1704"/>
                </a:lnTo>
                <a:lnTo>
                  <a:pt x="1936" y="1708"/>
                </a:lnTo>
                <a:lnTo>
                  <a:pt x="1936" y="1708"/>
                </a:lnTo>
                <a:lnTo>
                  <a:pt x="1936" y="1708"/>
                </a:lnTo>
                <a:lnTo>
                  <a:pt x="1938" y="1708"/>
                </a:lnTo>
                <a:lnTo>
                  <a:pt x="1940" y="1707"/>
                </a:lnTo>
                <a:lnTo>
                  <a:pt x="1940" y="1708"/>
                </a:lnTo>
                <a:lnTo>
                  <a:pt x="1944" y="1708"/>
                </a:lnTo>
                <a:lnTo>
                  <a:pt x="1942" y="1712"/>
                </a:lnTo>
                <a:lnTo>
                  <a:pt x="1944" y="1712"/>
                </a:lnTo>
                <a:lnTo>
                  <a:pt x="1944" y="1712"/>
                </a:lnTo>
                <a:lnTo>
                  <a:pt x="1945" y="1708"/>
                </a:lnTo>
                <a:lnTo>
                  <a:pt x="1948" y="1712"/>
                </a:lnTo>
                <a:lnTo>
                  <a:pt x="1948" y="1711"/>
                </a:lnTo>
                <a:lnTo>
                  <a:pt x="1948" y="1714"/>
                </a:lnTo>
                <a:lnTo>
                  <a:pt x="1948" y="1712"/>
                </a:lnTo>
                <a:lnTo>
                  <a:pt x="1952" y="1714"/>
                </a:lnTo>
                <a:lnTo>
                  <a:pt x="1952" y="1718"/>
                </a:lnTo>
                <a:lnTo>
                  <a:pt x="1956" y="1714"/>
                </a:lnTo>
                <a:lnTo>
                  <a:pt x="1956" y="1716"/>
                </a:lnTo>
                <a:lnTo>
                  <a:pt x="1961" y="1716"/>
                </a:lnTo>
                <a:lnTo>
                  <a:pt x="1963" y="1716"/>
                </a:lnTo>
                <a:lnTo>
                  <a:pt x="1961" y="1720"/>
                </a:lnTo>
                <a:lnTo>
                  <a:pt x="1964" y="1720"/>
                </a:lnTo>
                <a:lnTo>
                  <a:pt x="1964" y="1719"/>
                </a:lnTo>
                <a:lnTo>
                  <a:pt x="1966" y="1720"/>
                </a:lnTo>
                <a:lnTo>
                  <a:pt x="1968" y="1720"/>
                </a:lnTo>
                <a:lnTo>
                  <a:pt x="1969" y="1724"/>
                </a:lnTo>
                <a:lnTo>
                  <a:pt x="1966" y="1729"/>
                </a:lnTo>
                <a:lnTo>
                  <a:pt x="1969" y="1726"/>
                </a:lnTo>
                <a:lnTo>
                  <a:pt x="1971" y="1729"/>
                </a:lnTo>
                <a:lnTo>
                  <a:pt x="1968" y="1731"/>
                </a:lnTo>
                <a:lnTo>
                  <a:pt x="1966" y="1738"/>
                </a:lnTo>
                <a:lnTo>
                  <a:pt x="1964" y="1743"/>
                </a:lnTo>
                <a:lnTo>
                  <a:pt x="1969" y="1737"/>
                </a:lnTo>
                <a:lnTo>
                  <a:pt x="1969" y="1736"/>
                </a:lnTo>
                <a:lnTo>
                  <a:pt x="1970" y="1736"/>
                </a:lnTo>
                <a:lnTo>
                  <a:pt x="1969" y="1736"/>
                </a:lnTo>
                <a:lnTo>
                  <a:pt x="1971" y="1731"/>
                </a:lnTo>
                <a:lnTo>
                  <a:pt x="1975" y="1730"/>
                </a:lnTo>
                <a:lnTo>
                  <a:pt x="1976" y="1732"/>
                </a:lnTo>
                <a:lnTo>
                  <a:pt x="1972" y="1735"/>
                </a:lnTo>
                <a:lnTo>
                  <a:pt x="1977" y="1732"/>
                </a:lnTo>
                <a:lnTo>
                  <a:pt x="1982" y="1732"/>
                </a:lnTo>
                <a:lnTo>
                  <a:pt x="1985" y="1732"/>
                </a:lnTo>
                <a:lnTo>
                  <a:pt x="1995" y="1733"/>
                </a:lnTo>
                <a:lnTo>
                  <a:pt x="2001" y="1736"/>
                </a:lnTo>
                <a:lnTo>
                  <a:pt x="2004" y="1736"/>
                </a:lnTo>
                <a:lnTo>
                  <a:pt x="2008" y="1735"/>
                </a:lnTo>
                <a:lnTo>
                  <a:pt x="2009" y="1740"/>
                </a:lnTo>
                <a:lnTo>
                  <a:pt x="2014" y="1740"/>
                </a:lnTo>
                <a:lnTo>
                  <a:pt x="2012" y="1738"/>
                </a:lnTo>
                <a:lnTo>
                  <a:pt x="2012" y="1737"/>
                </a:lnTo>
                <a:lnTo>
                  <a:pt x="2027" y="1736"/>
                </a:lnTo>
                <a:lnTo>
                  <a:pt x="2034" y="1736"/>
                </a:lnTo>
                <a:lnTo>
                  <a:pt x="2055" y="1749"/>
                </a:lnTo>
                <a:lnTo>
                  <a:pt x="2068" y="1761"/>
                </a:lnTo>
                <a:lnTo>
                  <a:pt x="2073" y="1764"/>
                </a:lnTo>
                <a:lnTo>
                  <a:pt x="2074" y="1766"/>
                </a:lnTo>
                <a:lnTo>
                  <a:pt x="2079" y="1770"/>
                </a:lnTo>
                <a:lnTo>
                  <a:pt x="2080" y="1772"/>
                </a:lnTo>
                <a:lnTo>
                  <a:pt x="2092" y="1772"/>
                </a:lnTo>
                <a:lnTo>
                  <a:pt x="2100" y="1773"/>
                </a:lnTo>
                <a:lnTo>
                  <a:pt x="2106" y="1789"/>
                </a:lnTo>
                <a:lnTo>
                  <a:pt x="2109" y="1799"/>
                </a:lnTo>
                <a:close/>
                <a:moveTo>
                  <a:pt x="1412" y="1550"/>
                </a:moveTo>
                <a:lnTo>
                  <a:pt x="1412" y="1550"/>
                </a:lnTo>
                <a:lnTo>
                  <a:pt x="1412" y="1550"/>
                </a:lnTo>
                <a:lnTo>
                  <a:pt x="1412" y="1550"/>
                </a:lnTo>
                <a:close/>
                <a:moveTo>
                  <a:pt x="1490" y="1575"/>
                </a:moveTo>
                <a:lnTo>
                  <a:pt x="1486" y="1577"/>
                </a:lnTo>
                <a:lnTo>
                  <a:pt x="1488" y="1578"/>
                </a:lnTo>
                <a:lnTo>
                  <a:pt x="1490" y="1576"/>
                </a:lnTo>
                <a:lnTo>
                  <a:pt x="1490" y="1575"/>
                </a:lnTo>
                <a:close/>
                <a:moveTo>
                  <a:pt x="1494" y="1630"/>
                </a:moveTo>
                <a:lnTo>
                  <a:pt x="1492" y="1632"/>
                </a:lnTo>
                <a:lnTo>
                  <a:pt x="1494" y="1632"/>
                </a:lnTo>
                <a:lnTo>
                  <a:pt x="1494" y="1630"/>
                </a:lnTo>
                <a:close/>
                <a:moveTo>
                  <a:pt x="1488" y="1644"/>
                </a:moveTo>
                <a:lnTo>
                  <a:pt x="1487" y="1646"/>
                </a:lnTo>
                <a:lnTo>
                  <a:pt x="1488" y="1645"/>
                </a:lnTo>
                <a:lnTo>
                  <a:pt x="1488" y="1644"/>
                </a:lnTo>
                <a:close/>
                <a:moveTo>
                  <a:pt x="1535" y="1527"/>
                </a:moveTo>
                <a:lnTo>
                  <a:pt x="1530" y="1528"/>
                </a:lnTo>
                <a:lnTo>
                  <a:pt x="1530" y="1529"/>
                </a:lnTo>
                <a:lnTo>
                  <a:pt x="1534" y="1530"/>
                </a:lnTo>
                <a:lnTo>
                  <a:pt x="1535" y="1527"/>
                </a:lnTo>
                <a:close/>
                <a:moveTo>
                  <a:pt x="1560" y="2359"/>
                </a:moveTo>
                <a:lnTo>
                  <a:pt x="1560" y="2359"/>
                </a:lnTo>
                <a:lnTo>
                  <a:pt x="1559" y="2361"/>
                </a:lnTo>
                <a:lnTo>
                  <a:pt x="1560" y="2361"/>
                </a:lnTo>
                <a:lnTo>
                  <a:pt x="1560" y="2359"/>
                </a:lnTo>
                <a:close/>
                <a:moveTo>
                  <a:pt x="1549" y="2564"/>
                </a:moveTo>
                <a:lnTo>
                  <a:pt x="1546" y="2564"/>
                </a:lnTo>
                <a:lnTo>
                  <a:pt x="1547" y="2566"/>
                </a:lnTo>
                <a:lnTo>
                  <a:pt x="1549" y="2564"/>
                </a:lnTo>
                <a:close/>
                <a:moveTo>
                  <a:pt x="1548" y="2546"/>
                </a:moveTo>
                <a:lnTo>
                  <a:pt x="1545" y="2540"/>
                </a:lnTo>
                <a:lnTo>
                  <a:pt x="1543" y="2542"/>
                </a:lnTo>
                <a:lnTo>
                  <a:pt x="1548" y="2546"/>
                </a:lnTo>
                <a:close/>
                <a:moveTo>
                  <a:pt x="1558" y="2543"/>
                </a:moveTo>
                <a:lnTo>
                  <a:pt x="1557" y="2543"/>
                </a:lnTo>
                <a:lnTo>
                  <a:pt x="1548" y="2540"/>
                </a:lnTo>
                <a:lnTo>
                  <a:pt x="1548" y="2539"/>
                </a:lnTo>
                <a:lnTo>
                  <a:pt x="1548" y="2540"/>
                </a:lnTo>
                <a:lnTo>
                  <a:pt x="1546" y="2539"/>
                </a:lnTo>
                <a:lnTo>
                  <a:pt x="1546" y="2539"/>
                </a:lnTo>
                <a:lnTo>
                  <a:pt x="1549" y="2542"/>
                </a:lnTo>
                <a:lnTo>
                  <a:pt x="1549" y="2548"/>
                </a:lnTo>
                <a:lnTo>
                  <a:pt x="1550" y="2547"/>
                </a:lnTo>
                <a:lnTo>
                  <a:pt x="1549" y="2546"/>
                </a:lnTo>
                <a:lnTo>
                  <a:pt x="1549" y="2542"/>
                </a:lnTo>
                <a:lnTo>
                  <a:pt x="1551" y="2544"/>
                </a:lnTo>
                <a:lnTo>
                  <a:pt x="1550" y="2546"/>
                </a:lnTo>
                <a:lnTo>
                  <a:pt x="1553" y="2547"/>
                </a:lnTo>
                <a:lnTo>
                  <a:pt x="1553" y="2547"/>
                </a:lnTo>
                <a:lnTo>
                  <a:pt x="1553" y="2547"/>
                </a:lnTo>
                <a:lnTo>
                  <a:pt x="1553" y="2547"/>
                </a:lnTo>
                <a:lnTo>
                  <a:pt x="1550" y="2550"/>
                </a:lnTo>
                <a:lnTo>
                  <a:pt x="1554" y="2551"/>
                </a:lnTo>
                <a:lnTo>
                  <a:pt x="1554" y="2547"/>
                </a:lnTo>
                <a:lnTo>
                  <a:pt x="1556" y="2547"/>
                </a:lnTo>
                <a:lnTo>
                  <a:pt x="1557" y="2547"/>
                </a:lnTo>
                <a:lnTo>
                  <a:pt x="1558" y="2547"/>
                </a:lnTo>
                <a:lnTo>
                  <a:pt x="1558" y="2543"/>
                </a:lnTo>
                <a:close/>
                <a:moveTo>
                  <a:pt x="1558" y="2542"/>
                </a:moveTo>
                <a:lnTo>
                  <a:pt x="1556" y="2538"/>
                </a:lnTo>
                <a:lnTo>
                  <a:pt x="1549" y="2536"/>
                </a:lnTo>
                <a:lnTo>
                  <a:pt x="1558" y="2542"/>
                </a:lnTo>
                <a:lnTo>
                  <a:pt x="1558" y="2542"/>
                </a:lnTo>
                <a:close/>
                <a:moveTo>
                  <a:pt x="1562" y="2557"/>
                </a:moveTo>
                <a:lnTo>
                  <a:pt x="1559" y="2560"/>
                </a:lnTo>
                <a:lnTo>
                  <a:pt x="1562" y="2560"/>
                </a:lnTo>
                <a:lnTo>
                  <a:pt x="1562" y="2557"/>
                </a:lnTo>
                <a:close/>
                <a:moveTo>
                  <a:pt x="1570" y="2360"/>
                </a:moveTo>
                <a:lnTo>
                  <a:pt x="1570" y="2360"/>
                </a:lnTo>
                <a:lnTo>
                  <a:pt x="1570" y="2360"/>
                </a:lnTo>
                <a:lnTo>
                  <a:pt x="1570" y="2360"/>
                </a:lnTo>
                <a:close/>
                <a:moveTo>
                  <a:pt x="1573" y="2560"/>
                </a:moveTo>
                <a:lnTo>
                  <a:pt x="1566" y="2560"/>
                </a:lnTo>
                <a:lnTo>
                  <a:pt x="1570" y="2561"/>
                </a:lnTo>
                <a:lnTo>
                  <a:pt x="1573" y="2560"/>
                </a:lnTo>
                <a:close/>
                <a:moveTo>
                  <a:pt x="1698" y="1539"/>
                </a:moveTo>
                <a:lnTo>
                  <a:pt x="1699" y="1539"/>
                </a:lnTo>
                <a:lnTo>
                  <a:pt x="1699" y="1538"/>
                </a:lnTo>
                <a:lnTo>
                  <a:pt x="1700" y="1539"/>
                </a:lnTo>
                <a:lnTo>
                  <a:pt x="1700" y="1538"/>
                </a:lnTo>
                <a:lnTo>
                  <a:pt x="1699" y="1538"/>
                </a:lnTo>
                <a:lnTo>
                  <a:pt x="1698" y="1538"/>
                </a:lnTo>
                <a:lnTo>
                  <a:pt x="1698" y="1539"/>
                </a:lnTo>
                <a:close/>
                <a:moveTo>
                  <a:pt x="1703" y="1542"/>
                </a:moveTo>
                <a:lnTo>
                  <a:pt x="1698" y="1543"/>
                </a:lnTo>
                <a:lnTo>
                  <a:pt x="1701" y="1543"/>
                </a:lnTo>
                <a:lnTo>
                  <a:pt x="1703" y="1543"/>
                </a:lnTo>
                <a:lnTo>
                  <a:pt x="1703" y="1542"/>
                </a:lnTo>
                <a:close/>
                <a:moveTo>
                  <a:pt x="1703" y="1539"/>
                </a:moveTo>
                <a:lnTo>
                  <a:pt x="1700" y="1539"/>
                </a:lnTo>
                <a:lnTo>
                  <a:pt x="1703" y="1542"/>
                </a:lnTo>
                <a:lnTo>
                  <a:pt x="1703" y="1542"/>
                </a:lnTo>
                <a:lnTo>
                  <a:pt x="1703" y="1539"/>
                </a:lnTo>
                <a:close/>
                <a:moveTo>
                  <a:pt x="1800" y="2168"/>
                </a:moveTo>
                <a:lnTo>
                  <a:pt x="1800" y="2168"/>
                </a:lnTo>
                <a:lnTo>
                  <a:pt x="1800" y="2168"/>
                </a:lnTo>
                <a:lnTo>
                  <a:pt x="1800" y="2168"/>
                </a:lnTo>
                <a:lnTo>
                  <a:pt x="1800" y="2168"/>
                </a:lnTo>
                <a:close/>
                <a:moveTo>
                  <a:pt x="1802" y="2130"/>
                </a:moveTo>
                <a:lnTo>
                  <a:pt x="1800" y="2130"/>
                </a:lnTo>
                <a:lnTo>
                  <a:pt x="1794" y="2135"/>
                </a:lnTo>
                <a:lnTo>
                  <a:pt x="1793" y="2138"/>
                </a:lnTo>
                <a:lnTo>
                  <a:pt x="1790" y="2138"/>
                </a:lnTo>
                <a:lnTo>
                  <a:pt x="1783" y="2148"/>
                </a:lnTo>
                <a:lnTo>
                  <a:pt x="1779" y="2149"/>
                </a:lnTo>
                <a:lnTo>
                  <a:pt x="1779" y="2151"/>
                </a:lnTo>
                <a:lnTo>
                  <a:pt x="1783" y="2151"/>
                </a:lnTo>
                <a:lnTo>
                  <a:pt x="1791" y="2142"/>
                </a:lnTo>
                <a:lnTo>
                  <a:pt x="1795" y="2142"/>
                </a:lnTo>
                <a:lnTo>
                  <a:pt x="1796" y="2137"/>
                </a:lnTo>
                <a:lnTo>
                  <a:pt x="1802" y="2130"/>
                </a:lnTo>
                <a:close/>
                <a:moveTo>
                  <a:pt x="1855" y="2188"/>
                </a:moveTo>
                <a:lnTo>
                  <a:pt x="1855" y="2189"/>
                </a:lnTo>
                <a:lnTo>
                  <a:pt x="1855" y="2187"/>
                </a:lnTo>
                <a:lnTo>
                  <a:pt x="1855" y="2188"/>
                </a:lnTo>
                <a:close/>
                <a:moveTo>
                  <a:pt x="1880" y="2158"/>
                </a:moveTo>
                <a:lnTo>
                  <a:pt x="1878" y="2158"/>
                </a:lnTo>
                <a:lnTo>
                  <a:pt x="1878" y="2162"/>
                </a:lnTo>
                <a:lnTo>
                  <a:pt x="1878" y="2162"/>
                </a:lnTo>
                <a:lnTo>
                  <a:pt x="1880" y="2158"/>
                </a:lnTo>
                <a:close/>
                <a:moveTo>
                  <a:pt x="1890" y="1724"/>
                </a:moveTo>
                <a:lnTo>
                  <a:pt x="1893" y="1724"/>
                </a:lnTo>
                <a:lnTo>
                  <a:pt x="1897" y="1720"/>
                </a:lnTo>
                <a:lnTo>
                  <a:pt x="1895" y="1720"/>
                </a:lnTo>
                <a:lnTo>
                  <a:pt x="1891" y="1720"/>
                </a:lnTo>
                <a:lnTo>
                  <a:pt x="1891" y="1718"/>
                </a:lnTo>
                <a:lnTo>
                  <a:pt x="1890" y="1720"/>
                </a:lnTo>
                <a:lnTo>
                  <a:pt x="1887" y="1719"/>
                </a:lnTo>
                <a:lnTo>
                  <a:pt x="1881" y="1720"/>
                </a:lnTo>
                <a:lnTo>
                  <a:pt x="1880" y="1720"/>
                </a:lnTo>
                <a:lnTo>
                  <a:pt x="1881" y="1722"/>
                </a:lnTo>
                <a:lnTo>
                  <a:pt x="1887" y="1721"/>
                </a:lnTo>
                <a:lnTo>
                  <a:pt x="1890" y="1724"/>
                </a:lnTo>
                <a:close/>
                <a:moveTo>
                  <a:pt x="1923" y="2071"/>
                </a:moveTo>
                <a:lnTo>
                  <a:pt x="1919" y="2074"/>
                </a:lnTo>
                <a:lnTo>
                  <a:pt x="1919" y="2075"/>
                </a:lnTo>
                <a:lnTo>
                  <a:pt x="1923" y="2071"/>
                </a:lnTo>
                <a:close/>
                <a:moveTo>
                  <a:pt x="2048" y="1884"/>
                </a:moveTo>
                <a:lnTo>
                  <a:pt x="2048" y="1886"/>
                </a:lnTo>
                <a:lnTo>
                  <a:pt x="2048" y="1886"/>
                </a:lnTo>
                <a:lnTo>
                  <a:pt x="2048" y="1884"/>
                </a:lnTo>
                <a:close/>
                <a:moveTo>
                  <a:pt x="1530" y="2527"/>
                </a:moveTo>
                <a:lnTo>
                  <a:pt x="1531" y="2531"/>
                </a:lnTo>
                <a:lnTo>
                  <a:pt x="1533" y="2528"/>
                </a:lnTo>
                <a:lnTo>
                  <a:pt x="1531" y="2527"/>
                </a:lnTo>
                <a:lnTo>
                  <a:pt x="1530" y="2527"/>
                </a:lnTo>
                <a:close/>
                <a:moveTo>
                  <a:pt x="1548" y="2540"/>
                </a:moveTo>
                <a:lnTo>
                  <a:pt x="1549" y="2542"/>
                </a:lnTo>
                <a:lnTo>
                  <a:pt x="1549" y="2542"/>
                </a:lnTo>
                <a:lnTo>
                  <a:pt x="1548" y="2540"/>
                </a:lnTo>
                <a:lnTo>
                  <a:pt x="1548" y="2540"/>
                </a:lnTo>
                <a:close/>
                <a:moveTo>
                  <a:pt x="1540" y="2531"/>
                </a:moveTo>
                <a:lnTo>
                  <a:pt x="1540" y="2531"/>
                </a:lnTo>
                <a:lnTo>
                  <a:pt x="1541" y="2531"/>
                </a:lnTo>
                <a:lnTo>
                  <a:pt x="1540" y="2531"/>
                </a:lnTo>
                <a:close/>
                <a:moveTo>
                  <a:pt x="1534" y="2359"/>
                </a:moveTo>
                <a:lnTo>
                  <a:pt x="1534" y="2359"/>
                </a:lnTo>
                <a:lnTo>
                  <a:pt x="1534" y="2359"/>
                </a:lnTo>
                <a:lnTo>
                  <a:pt x="1534" y="2359"/>
                </a:lnTo>
                <a:close/>
                <a:moveTo>
                  <a:pt x="1537" y="2532"/>
                </a:moveTo>
                <a:lnTo>
                  <a:pt x="1535" y="2532"/>
                </a:lnTo>
                <a:lnTo>
                  <a:pt x="1535" y="2534"/>
                </a:lnTo>
                <a:lnTo>
                  <a:pt x="1537" y="2536"/>
                </a:lnTo>
                <a:lnTo>
                  <a:pt x="1537" y="2532"/>
                </a:lnTo>
                <a:close/>
                <a:moveTo>
                  <a:pt x="2217" y="391"/>
                </a:moveTo>
                <a:lnTo>
                  <a:pt x="2217" y="391"/>
                </a:lnTo>
                <a:lnTo>
                  <a:pt x="2220" y="391"/>
                </a:lnTo>
                <a:lnTo>
                  <a:pt x="2221" y="391"/>
                </a:lnTo>
                <a:lnTo>
                  <a:pt x="2217" y="389"/>
                </a:lnTo>
                <a:lnTo>
                  <a:pt x="2217" y="391"/>
                </a:lnTo>
                <a:close/>
                <a:moveTo>
                  <a:pt x="1541" y="2531"/>
                </a:moveTo>
                <a:lnTo>
                  <a:pt x="1541" y="2531"/>
                </a:lnTo>
                <a:lnTo>
                  <a:pt x="1541" y="2531"/>
                </a:lnTo>
                <a:lnTo>
                  <a:pt x="1541" y="2531"/>
                </a:lnTo>
                <a:close/>
                <a:moveTo>
                  <a:pt x="1531" y="2408"/>
                </a:moveTo>
                <a:lnTo>
                  <a:pt x="1530" y="2408"/>
                </a:lnTo>
                <a:lnTo>
                  <a:pt x="1533" y="2409"/>
                </a:lnTo>
                <a:lnTo>
                  <a:pt x="1531" y="2408"/>
                </a:lnTo>
                <a:close/>
                <a:moveTo>
                  <a:pt x="1530" y="2405"/>
                </a:moveTo>
                <a:lnTo>
                  <a:pt x="1527" y="2406"/>
                </a:lnTo>
                <a:lnTo>
                  <a:pt x="1531" y="2406"/>
                </a:lnTo>
                <a:lnTo>
                  <a:pt x="1530" y="2405"/>
                </a:lnTo>
                <a:close/>
                <a:moveTo>
                  <a:pt x="1526" y="2405"/>
                </a:moveTo>
                <a:lnTo>
                  <a:pt x="1526" y="2406"/>
                </a:lnTo>
                <a:lnTo>
                  <a:pt x="1527" y="2405"/>
                </a:lnTo>
                <a:lnTo>
                  <a:pt x="1526" y="2405"/>
                </a:lnTo>
                <a:close/>
                <a:moveTo>
                  <a:pt x="1530" y="2423"/>
                </a:moveTo>
                <a:lnTo>
                  <a:pt x="1531" y="2423"/>
                </a:lnTo>
                <a:lnTo>
                  <a:pt x="1531" y="2420"/>
                </a:lnTo>
                <a:lnTo>
                  <a:pt x="1530" y="2423"/>
                </a:lnTo>
                <a:close/>
                <a:moveTo>
                  <a:pt x="1535" y="2408"/>
                </a:moveTo>
                <a:lnTo>
                  <a:pt x="1539" y="2406"/>
                </a:lnTo>
                <a:lnTo>
                  <a:pt x="1538" y="2405"/>
                </a:lnTo>
                <a:lnTo>
                  <a:pt x="1533" y="2406"/>
                </a:lnTo>
                <a:lnTo>
                  <a:pt x="1535" y="2408"/>
                </a:lnTo>
                <a:close/>
                <a:moveTo>
                  <a:pt x="2039" y="548"/>
                </a:moveTo>
                <a:lnTo>
                  <a:pt x="2042" y="548"/>
                </a:lnTo>
                <a:lnTo>
                  <a:pt x="2036" y="548"/>
                </a:lnTo>
                <a:lnTo>
                  <a:pt x="2039" y="548"/>
                </a:lnTo>
                <a:close/>
                <a:moveTo>
                  <a:pt x="1538" y="2405"/>
                </a:moveTo>
                <a:lnTo>
                  <a:pt x="1539" y="2405"/>
                </a:lnTo>
                <a:lnTo>
                  <a:pt x="1539" y="2402"/>
                </a:lnTo>
                <a:lnTo>
                  <a:pt x="1537" y="2401"/>
                </a:lnTo>
                <a:lnTo>
                  <a:pt x="1538" y="2405"/>
                </a:lnTo>
                <a:close/>
                <a:moveTo>
                  <a:pt x="1527" y="2425"/>
                </a:moveTo>
                <a:lnTo>
                  <a:pt x="1530" y="2425"/>
                </a:lnTo>
                <a:lnTo>
                  <a:pt x="1530" y="2423"/>
                </a:lnTo>
                <a:lnTo>
                  <a:pt x="1527" y="2424"/>
                </a:lnTo>
                <a:lnTo>
                  <a:pt x="1527" y="2425"/>
                </a:lnTo>
                <a:close/>
                <a:moveTo>
                  <a:pt x="1535" y="2413"/>
                </a:moveTo>
                <a:lnTo>
                  <a:pt x="1539" y="2412"/>
                </a:lnTo>
                <a:lnTo>
                  <a:pt x="1537" y="2409"/>
                </a:lnTo>
                <a:lnTo>
                  <a:pt x="1533" y="2413"/>
                </a:lnTo>
                <a:lnTo>
                  <a:pt x="1535" y="2413"/>
                </a:lnTo>
                <a:close/>
                <a:moveTo>
                  <a:pt x="1543" y="2405"/>
                </a:moveTo>
                <a:lnTo>
                  <a:pt x="1541" y="2405"/>
                </a:lnTo>
                <a:lnTo>
                  <a:pt x="1543" y="2408"/>
                </a:lnTo>
                <a:lnTo>
                  <a:pt x="1545" y="2406"/>
                </a:lnTo>
                <a:lnTo>
                  <a:pt x="1543" y="2405"/>
                </a:lnTo>
                <a:close/>
                <a:moveTo>
                  <a:pt x="1535" y="2424"/>
                </a:moveTo>
                <a:lnTo>
                  <a:pt x="1533" y="2421"/>
                </a:lnTo>
                <a:lnTo>
                  <a:pt x="1531" y="2423"/>
                </a:lnTo>
                <a:lnTo>
                  <a:pt x="1531" y="2425"/>
                </a:lnTo>
                <a:lnTo>
                  <a:pt x="1535" y="2424"/>
                </a:lnTo>
                <a:close/>
                <a:moveTo>
                  <a:pt x="1538" y="2355"/>
                </a:moveTo>
                <a:lnTo>
                  <a:pt x="1538" y="2356"/>
                </a:lnTo>
                <a:lnTo>
                  <a:pt x="1539" y="2355"/>
                </a:lnTo>
                <a:lnTo>
                  <a:pt x="1538" y="2355"/>
                </a:lnTo>
                <a:close/>
                <a:moveTo>
                  <a:pt x="1545" y="2408"/>
                </a:moveTo>
                <a:lnTo>
                  <a:pt x="1544" y="2408"/>
                </a:lnTo>
                <a:lnTo>
                  <a:pt x="1543" y="2408"/>
                </a:lnTo>
                <a:lnTo>
                  <a:pt x="1543" y="2409"/>
                </a:lnTo>
                <a:lnTo>
                  <a:pt x="1545" y="2408"/>
                </a:lnTo>
                <a:close/>
                <a:moveTo>
                  <a:pt x="1541" y="2412"/>
                </a:moveTo>
                <a:lnTo>
                  <a:pt x="1539" y="2408"/>
                </a:lnTo>
                <a:lnTo>
                  <a:pt x="1539" y="2409"/>
                </a:lnTo>
                <a:lnTo>
                  <a:pt x="1541" y="2412"/>
                </a:lnTo>
                <a:close/>
                <a:moveTo>
                  <a:pt x="1538" y="2409"/>
                </a:moveTo>
                <a:lnTo>
                  <a:pt x="1539" y="2408"/>
                </a:lnTo>
                <a:lnTo>
                  <a:pt x="1537" y="2409"/>
                </a:lnTo>
                <a:lnTo>
                  <a:pt x="1538" y="2409"/>
                </a:lnTo>
                <a:close/>
                <a:moveTo>
                  <a:pt x="1532" y="2380"/>
                </a:moveTo>
                <a:lnTo>
                  <a:pt x="1542" y="2384"/>
                </a:lnTo>
                <a:lnTo>
                  <a:pt x="1541" y="2379"/>
                </a:lnTo>
                <a:lnTo>
                  <a:pt x="1546" y="2379"/>
                </a:lnTo>
                <a:lnTo>
                  <a:pt x="1545" y="2376"/>
                </a:lnTo>
                <a:lnTo>
                  <a:pt x="1543" y="2375"/>
                </a:lnTo>
                <a:lnTo>
                  <a:pt x="1542" y="2375"/>
                </a:lnTo>
                <a:lnTo>
                  <a:pt x="1542" y="2372"/>
                </a:lnTo>
                <a:lnTo>
                  <a:pt x="1538" y="2368"/>
                </a:lnTo>
                <a:lnTo>
                  <a:pt x="1538" y="2367"/>
                </a:lnTo>
                <a:lnTo>
                  <a:pt x="1538" y="2366"/>
                </a:lnTo>
                <a:lnTo>
                  <a:pt x="1543" y="2371"/>
                </a:lnTo>
                <a:lnTo>
                  <a:pt x="1544" y="2371"/>
                </a:lnTo>
                <a:lnTo>
                  <a:pt x="1542" y="2368"/>
                </a:lnTo>
                <a:lnTo>
                  <a:pt x="1542" y="2367"/>
                </a:lnTo>
                <a:lnTo>
                  <a:pt x="1543" y="2367"/>
                </a:lnTo>
                <a:lnTo>
                  <a:pt x="1544" y="2367"/>
                </a:lnTo>
                <a:lnTo>
                  <a:pt x="1546" y="2367"/>
                </a:lnTo>
                <a:lnTo>
                  <a:pt x="1546" y="2362"/>
                </a:lnTo>
                <a:lnTo>
                  <a:pt x="1542" y="2361"/>
                </a:lnTo>
                <a:lnTo>
                  <a:pt x="1542" y="2359"/>
                </a:lnTo>
                <a:lnTo>
                  <a:pt x="1542" y="2357"/>
                </a:lnTo>
                <a:lnTo>
                  <a:pt x="1542" y="2356"/>
                </a:lnTo>
                <a:lnTo>
                  <a:pt x="1541" y="2356"/>
                </a:lnTo>
                <a:lnTo>
                  <a:pt x="1539" y="2359"/>
                </a:lnTo>
                <a:lnTo>
                  <a:pt x="1534" y="2359"/>
                </a:lnTo>
                <a:lnTo>
                  <a:pt x="1535" y="2362"/>
                </a:lnTo>
                <a:lnTo>
                  <a:pt x="1533" y="2367"/>
                </a:lnTo>
                <a:lnTo>
                  <a:pt x="1534" y="2368"/>
                </a:lnTo>
                <a:lnTo>
                  <a:pt x="1534" y="2374"/>
                </a:lnTo>
                <a:lnTo>
                  <a:pt x="1532" y="2380"/>
                </a:lnTo>
                <a:close/>
                <a:moveTo>
                  <a:pt x="1533" y="2543"/>
                </a:moveTo>
                <a:lnTo>
                  <a:pt x="1537" y="2545"/>
                </a:lnTo>
                <a:lnTo>
                  <a:pt x="1543" y="2550"/>
                </a:lnTo>
                <a:lnTo>
                  <a:pt x="1541" y="2546"/>
                </a:lnTo>
                <a:lnTo>
                  <a:pt x="1537" y="2543"/>
                </a:lnTo>
                <a:lnTo>
                  <a:pt x="1531" y="2539"/>
                </a:lnTo>
                <a:lnTo>
                  <a:pt x="1533" y="2543"/>
                </a:lnTo>
                <a:close/>
                <a:moveTo>
                  <a:pt x="1960" y="25"/>
                </a:moveTo>
                <a:lnTo>
                  <a:pt x="1960" y="25"/>
                </a:lnTo>
                <a:lnTo>
                  <a:pt x="1947" y="19"/>
                </a:lnTo>
                <a:lnTo>
                  <a:pt x="1935" y="23"/>
                </a:lnTo>
                <a:lnTo>
                  <a:pt x="1947" y="25"/>
                </a:lnTo>
                <a:lnTo>
                  <a:pt x="1935" y="24"/>
                </a:lnTo>
                <a:lnTo>
                  <a:pt x="1947" y="29"/>
                </a:lnTo>
                <a:lnTo>
                  <a:pt x="1964" y="28"/>
                </a:lnTo>
                <a:lnTo>
                  <a:pt x="1960" y="25"/>
                </a:lnTo>
                <a:lnTo>
                  <a:pt x="1960" y="25"/>
                </a:lnTo>
                <a:lnTo>
                  <a:pt x="1960" y="25"/>
                </a:lnTo>
                <a:close/>
                <a:moveTo>
                  <a:pt x="1796" y="327"/>
                </a:moveTo>
                <a:lnTo>
                  <a:pt x="1794" y="330"/>
                </a:lnTo>
                <a:lnTo>
                  <a:pt x="1796" y="330"/>
                </a:lnTo>
                <a:lnTo>
                  <a:pt x="1799" y="330"/>
                </a:lnTo>
                <a:lnTo>
                  <a:pt x="1799" y="329"/>
                </a:lnTo>
                <a:lnTo>
                  <a:pt x="1796" y="327"/>
                </a:lnTo>
                <a:close/>
                <a:moveTo>
                  <a:pt x="1979" y="49"/>
                </a:moveTo>
                <a:lnTo>
                  <a:pt x="1979" y="49"/>
                </a:lnTo>
                <a:lnTo>
                  <a:pt x="1978" y="49"/>
                </a:lnTo>
                <a:lnTo>
                  <a:pt x="1979" y="49"/>
                </a:lnTo>
                <a:close/>
                <a:moveTo>
                  <a:pt x="1788" y="302"/>
                </a:moveTo>
                <a:lnTo>
                  <a:pt x="1787" y="301"/>
                </a:lnTo>
                <a:lnTo>
                  <a:pt x="1786" y="302"/>
                </a:lnTo>
                <a:lnTo>
                  <a:pt x="1788" y="302"/>
                </a:lnTo>
                <a:close/>
                <a:moveTo>
                  <a:pt x="1650" y="214"/>
                </a:moveTo>
                <a:lnTo>
                  <a:pt x="1650" y="214"/>
                </a:lnTo>
                <a:lnTo>
                  <a:pt x="1644" y="214"/>
                </a:lnTo>
                <a:lnTo>
                  <a:pt x="1650" y="214"/>
                </a:lnTo>
                <a:close/>
                <a:moveTo>
                  <a:pt x="2333" y="158"/>
                </a:moveTo>
                <a:lnTo>
                  <a:pt x="2333" y="158"/>
                </a:lnTo>
                <a:lnTo>
                  <a:pt x="2332" y="158"/>
                </a:lnTo>
                <a:lnTo>
                  <a:pt x="2333" y="159"/>
                </a:lnTo>
                <a:lnTo>
                  <a:pt x="2333" y="158"/>
                </a:lnTo>
                <a:lnTo>
                  <a:pt x="2333" y="158"/>
                </a:lnTo>
                <a:lnTo>
                  <a:pt x="2333" y="158"/>
                </a:lnTo>
                <a:lnTo>
                  <a:pt x="2333" y="158"/>
                </a:lnTo>
                <a:close/>
                <a:moveTo>
                  <a:pt x="2046" y="8"/>
                </a:moveTo>
                <a:lnTo>
                  <a:pt x="2039" y="10"/>
                </a:lnTo>
                <a:lnTo>
                  <a:pt x="2048" y="11"/>
                </a:lnTo>
                <a:lnTo>
                  <a:pt x="2048" y="10"/>
                </a:lnTo>
                <a:lnTo>
                  <a:pt x="2046" y="8"/>
                </a:lnTo>
                <a:close/>
                <a:moveTo>
                  <a:pt x="1843" y="539"/>
                </a:moveTo>
                <a:lnTo>
                  <a:pt x="1843" y="539"/>
                </a:lnTo>
                <a:lnTo>
                  <a:pt x="1843" y="539"/>
                </a:lnTo>
                <a:lnTo>
                  <a:pt x="1843" y="539"/>
                </a:lnTo>
                <a:close/>
                <a:moveTo>
                  <a:pt x="1835" y="531"/>
                </a:moveTo>
                <a:lnTo>
                  <a:pt x="1837" y="530"/>
                </a:lnTo>
                <a:lnTo>
                  <a:pt x="1835" y="529"/>
                </a:lnTo>
                <a:lnTo>
                  <a:pt x="1835" y="531"/>
                </a:lnTo>
                <a:close/>
                <a:moveTo>
                  <a:pt x="2260" y="346"/>
                </a:moveTo>
                <a:lnTo>
                  <a:pt x="2281" y="342"/>
                </a:lnTo>
                <a:lnTo>
                  <a:pt x="2251" y="337"/>
                </a:lnTo>
                <a:lnTo>
                  <a:pt x="2277" y="341"/>
                </a:lnTo>
                <a:lnTo>
                  <a:pt x="2260" y="334"/>
                </a:lnTo>
                <a:lnTo>
                  <a:pt x="2249" y="336"/>
                </a:lnTo>
                <a:lnTo>
                  <a:pt x="2244" y="339"/>
                </a:lnTo>
                <a:lnTo>
                  <a:pt x="2242" y="341"/>
                </a:lnTo>
                <a:lnTo>
                  <a:pt x="2260" y="346"/>
                </a:lnTo>
                <a:close/>
                <a:moveTo>
                  <a:pt x="1808" y="377"/>
                </a:moveTo>
                <a:lnTo>
                  <a:pt x="1808" y="377"/>
                </a:lnTo>
                <a:lnTo>
                  <a:pt x="1804" y="380"/>
                </a:lnTo>
                <a:lnTo>
                  <a:pt x="1808" y="381"/>
                </a:lnTo>
                <a:lnTo>
                  <a:pt x="1810" y="380"/>
                </a:lnTo>
                <a:lnTo>
                  <a:pt x="1808" y="378"/>
                </a:lnTo>
                <a:lnTo>
                  <a:pt x="1808" y="377"/>
                </a:lnTo>
                <a:lnTo>
                  <a:pt x="1808" y="377"/>
                </a:lnTo>
                <a:close/>
                <a:moveTo>
                  <a:pt x="1848" y="479"/>
                </a:moveTo>
                <a:lnTo>
                  <a:pt x="1854" y="480"/>
                </a:lnTo>
                <a:lnTo>
                  <a:pt x="1855" y="480"/>
                </a:lnTo>
                <a:lnTo>
                  <a:pt x="1848" y="479"/>
                </a:lnTo>
                <a:close/>
                <a:moveTo>
                  <a:pt x="1843" y="539"/>
                </a:moveTo>
                <a:lnTo>
                  <a:pt x="1843" y="538"/>
                </a:lnTo>
                <a:lnTo>
                  <a:pt x="1841" y="539"/>
                </a:lnTo>
                <a:lnTo>
                  <a:pt x="1843" y="539"/>
                </a:lnTo>
                <a:close/>
                <a:moveTo>
                  <a:pt x="1838" y="480"/>
                </a:moveTo>
                <a:lnTo>
                  <a:pt x="1839" y="481"/>
                </a:lnTo>
                <a:lnTo>
                  <a:pt x="1839" y="480"/>
                </a:lnTo>
                <a:lnTo>
                  <a:pt x="1838" y="480"/>
                </a:lnTo>
                <a:close/>
                <a:moveTo>
                  <a:pt x="1845" y="395"/>
                </a:moveTo>
                <a:lnTo>
                  <a:pt x="1843" y="395"/>
                </a:lnTo>
                <a:lnTo>
                  <a:pt x="1843" y="398"/>
                </a:lnTo>
                <a:lnTo>
                  <a:pt x="1846" y="399"/>
                </a:lnTo>
                <a:lnTo>
                  <a:pt x="1855" y="396"/>
                </a:lnTo>
                <a:lnTo>
                  <a:pt x="1853" y="395"/>
                </a:lnTo>
                <a:lnTo>
                  <a:pt x="1862" y="391"/>
                </a:lnTo>
                <a:lnTo>
                  <a:pt x="1853" y="391"/>
                </a:lnTo>
                <a:lnTo>
                  <a:pt x="1845" y="395"/>
                </a:lnTo>
                <a:close/>
                <a:moveTo>
                  <a:pt x="1862" y="391"/>
                </a:moveTo>
                <a:lnTo>
                  <a:pt x="1862" y="391"/>
                </a:lnTo>
                <a:lnTo>
                  <a:pt x="1862" y="391"/>
                </a:lnTo>
                <a:lnTo>
                  <a:pt x="1862" y="391"/>
                </a:lnTo>
                <a:close/>
                <a:moveTo>
                  <a:pt x="1859" y="479"/>
                </a:moveTo>
                <a:lnTo>
                  <a:pt x="1867" y="476"/>
                </a:lnTo>
                <a:lnTo>
                  <a:pt x="1864" y="477"/>
                </a:lnTo>
                <a:lnTo>
                  <a:pt x="1857" y="478"/>
                </a:lnTo>
                <a:lnTo>
                  <a:pt x="1859" y="479"/>
                </a:lnTo>
                <a:close/>
                <a:moveTo>
                  <a:pt x="2357" y="69"/>
                </a:moveTo>
                <a:lnTo>
                  <a:pt x="2358" y="69"/>
                </a:lnTo>
                <a:lnTo>
                  <a:pt x="2357" y="69"/>
                </a:lnTo>
                <a:lnTo>
                  <a:pt x="2357" y="69"/>
                </a:lnTo>
                <a:close/>
                <a:moveTo>
                  <a:pt x="1840" y="480"/>
                </a:moveTo>
                <a:lnTo>
                  <a:pt x="1841" y="480"/>
                </a:lnTo>
                <a:lnTo>
                  <a:pt x="1841" y="480"/>
                </a:lnTo>
                <a:lnTo>
                  <a:pt x="1839" y="480"/>
                </a:lnTo>
                <a:lnTo>
                  <a:pt x="1840" y="481"/>
                </a:lnTo>
                <a:lnTo>
                  <a:pt x="1840" y="480"/>
                </a:lnTo>
                <a:close/>
                <a:moveTo>
                  <a:pt x="1886" y="571"/>
                </a:moveTo>
                <a:lnTo>
                  <a:pt x="1886" y="571"/>
                </a:lnTo>
                <a:lnTo>
                  <a:pt x="1886" y="571"/>
                </a:lnTo>
                <a:lnTo>
                  <a:pt x="1886" y="571"/>
                </a:lnTo>
                <a:close/>
                <a:moveTo>
                  <a:pt x="2281" y="437"/>
                </a:moveTo>
                <a:lnTo>
                  <a:pt x="2283" y="434"/>
                </a:lnTo>
                <a:lnTo>
                  <a:pt x="2278" y="434"/>
                </a:lnTo>
                <a:lnTo>
                  <a:pt x="2277" y="434"/>
                </a:lnTo>
                <a:lnTo>
                  <a:pt x="2281" y="437"/>
                </a:lnTo>
                <a:close/>
                <a:moveTo>
                  <a:pt x="1899" y="624"/>
                </a:moveTo>
                <a:lnTo>
                  <a:pt x="1899" y="625"/>
                </a:lnTo>
                <a:lnTo>
                  <a:pt x="1899" y="625"/>
                </a:lnTo>
                <a:lnTo>
                  <a:pt x="1899" y="624"/>
                </a:lnTo>
                <a:lnTo>
                  <a:pt x="1899" y="624"/>
                </a:lnTo>
                <a:close/>
                <a:moveTo>
                  <a:pt x="2000" y="610"/>
                </a:moveTo>
                <a:lnTo>
                  <a:pt x="1998" y="610"/>
                </a:lnTo>
                <a:lnTo>
                  <a:pt x="2000" y="612"/>
                </a:lnTo>
                <a:lnTo>
                  <a:pt x="2001" y="612"/>
                </a:lnTo>
                <a:lnTo>
                  <a:pt x="2000" y="612"/>
                </a:lnTo>
                <a:lnTo>
                  <a:pt x="2000" y="610"/>
                </a:lnTo>
                <a:close/>
                <a:moveTo>
                  <a:pt x="2098" y="526"/>
                </a:moveTo>
                <a:lnTo>
                  <a:pt x="2098" y="527"/>
                </a:lnTo>
                <a:lnTo>
                  <a:pt x="2098" y="529"/>
                </a:lnTo>
                <a:lnTo>
                  <a:pt x="2100" y="527"/>
                </a:lnTo>
                <a:lnTo>
                  <a:pt x="2100" y="527"/>
                </a:lnTo>
                <a:lnTo>
                  <a:pt x="2098" y="526"/>
                </a:lnTo>
                <a:close/>
                <a:moveTo>
                  <a:pt x="1873" y="484"/>
                </a:moveTo>
                <a:lnTo>
                  <a:pt x="1874" y="484"/>
                </a:lnTo>
                <a:lnTo>
                  <a:pt x="1874" y="483"/>
                </a:lnTo>
                <a:lnTo>
                  <a:pt x="1873" y="484"/>
                </a:lnTo>
                <a:close/>
                <a:moveTo>
                  <a:pt x="1906" y="640"/>
                </a:moveTo>
                <a:lnTo>
                  <a:pt x="1905" y="640"/>
                </a:lnTo>
                <a:lnTo>
                  <a:pt x="1908" y="640"/>
                </a:lnTo>
                <a:lnTo>
                  <a:pt x="1906" y="640"/>
                </a:lnTo>
                <a:close/>
                <a:moveTo>
                  <a:pt x="1875" y="484"/>
                </a:moveTo>
                <a:lnTo>
                  <a:pt x="1875" y="485"/>
                </a:lnTo>
                <a:lnTo>
                  <a:pt x="1879" y="487"/>
                </a:lnTo>
                <a:lnTo>
                  <a:pt x="1881" y="486"/>
                </a:lnTo>
                <a:lnTo>
                  <a:pt x="1875" y="484"/>
                </a:lnTo>
                <a:close/>
                <a:moveTo>
                  <a:pt x="2277" y="439"/>
                </a:moveTo>
                <a:lnTo>
                  <a:pt x="2277" y="438"/>
                </a:lnTo>
                <a:lnTo>
                  <a:pt x="2277" y="439"/>
                </a:lnTo>
                <a:lnTo>
                  <a:pt x="2277" y="439"/>
                </a:lnTo>
                <a:close/>
                <a:moveTo>
                  <a:pt x="2219" y="81"/>
                </a:moveTo>
                <a:lnTo>
                  <a:pt x="2221" y="80"/>
                </a:lnTo>
                <a:lnTo>
                  <a:pt x="2218" y="81"/>
                </a:lnTo>
                <a:lnTo>
                  <a:pt x="2219" y="81"/>
                </a:lnTo>
                <a:lnTo>
                  <a:pt x="2219" y="81"/>
                </a:lnTo>
                <a:lnTo>
                  <a:pt x="2219" y="81"/>
                </a:lnTo>
                <a:close/>
                <a:moveTo>
                  <a:pt x="2043" y="545"/>
                </a:moveTo>
                <a:lnTo>
                  <a:pt x="2045" y="547"/>
                </a:lnTo>
                <a:lnTo>
                  <a:pt x="2045" y="545"/>
                </a:lnTo>
                <a:lnTo>
                  <a:pt x="2043" y="545"/>
                </a:lnTo>
                <a:close/>
                <a:moveTo>
                  <a:pt x="2277" y="438"/>
                </a:moveTo>
                <a:lnTo>
                  <a:pt x="2277" y="437"/>
                </a:lnTo>
                <a:lnTo>
                  <a:pt x="2277" y="437"/>
                </a:lnTo>
                <a:lnTo>
                  <a:pt x="2277" y="438"/>
                </a:lnTo>
                <a:lnTo>
                  <a:pt x="2277" y="438"/>
                </a:lnTo>
                <a:close/>
                <a:moveTo>
                  <a:pt x="2328" y="122"/>
                </a:moveTo>
                <a:lnTo>
                  <a:pt x="2325" y="127"/>
                </a:lnTo>
                <a:lnTo>
                  <a:pt x="2339" y="125"/>
                </a:lnTo>
                <a:lnTo>
                  <a:pt x="2330" y="122"/>
                </a:lnTo>
                <a:lnTo>
                  <a:pt x="2329" y="122"/>
                </a:lnTo>
                <a:lnTo>
                  <a:pt x="2328" y="122"/>
                </a:lnTo>
                <a:close/>
                <a:moveTo>
                  <a:pt x="2240" y="401"/>
                </a:moveTo>
                <a:lnTo>
                  <a:pt x="2240" y="401"/>
                </a:lnTo>
                <a:lnTo>
                  <a:pt x="2232" y="406"/>
                </a:lnTo>
                <a:lnTo>
                  <a:pt x="2221" y="407"/>
                </a:lnTo>
                <a:lnTo>
                  <a:pt x="2213" y="411"/>
                </a:lnTo>
                <a:lnTo>
                  <a:pt x="2208" y="414"/>
                </a:lnTo>
                <a:lnTo>
                  <a:pt x="2206" y="418"/>
                </a:lnTo>
                <a:lnTo>
                  <a:pt x="2235" y="415"/>
                </a:lnTo>
                <a:lnTo>
                  <a:pt x="2248" y="411"/>
                </a:lnTo>
                <a:lnTo>
                  <a:pt x="2247" y="406"/>
                </a:lnTo>
                <a:lnTo>
                  <a:pt x="2241" y="404"/>
                </a:lnTo>
                <a:lnTo>
                  <a:pt x="2241" y="400"/>
                </a:lnTo>
                <a:lnTo>
                  <a:pt x="2240" y="400"/>
                </a:lnTo>
                <a:lnTo>
                  <a:pt x="2240" y="401"/>
                </a:lnTo>
                <a:close/>
                <a:moveTo>
                  <a:pt x="2304" y="306"/>
                </a:moveTo>
                <a:lnTo>
                  <a:pt x="2302" y="307"/>
                </a:lnTo>
                <a:lnTo>
                  <a:pt x="2295" y="311"/>
                </a:lnTo>
                <a:lnTo>
                  <a:pt x="2307" y="315"/>
                </a:lnTo>
                <a:lnTo>
                  <a:pt x="2322" y="313"/>
                </a:lnTo>
                <a:lnTo>
                  <a:pt x="2317" y="310"/>
                </a:lnTo>
                <a:lnTo>
                  <a:pt x="2316" y="307"/>
                </a:lnTo>
                <a:lnTo>
                  <a:pt x="2315" y="306"/>
                </a:lnTo>
                <a:lnTo>
                  <a:pt x="2310" y="306"/>
                </a:lnTo>
                <a:lnTo>
                  <a:pt x="2304" y="306"/>
                </a:lnTo>
                <a:close/>
                <a:moveTo>
                  <a:pt x="2276" y="440"/>
                </a:moveTo>
                <a:lnTo>
                  <a:pt x="2277" y="439"/>
                </a:lnTo>
                <a:lnTo>
                  <a:pt x="2275" y="439"/>
                </a:lnTo>
                <a:lnTo>
                  <a:pt x="2276" y="440"/>
                </a:lnTo>
                <a:close/>
                <a:moveTo>
                  <a:pt x="2245" y="1101"/>
                </a:moveTo>
                <a:lnTo>
                  <a:pt x="2244" y="1102"/>
                </a:lnTo>
                <a:lnTo>
                  <a:pt x="2245" y="1102"/>
                </a:lnTo>
                <a:lnTo>
                  <a:pt x="2245" y="1101"/>
                </a:lnTo>
                <a:close/>
                <a:moveTo>
                  <a:pt x="2220" y="2644"/>
                </a:moveTo>
                <a:lnTo>
                  <a:pt x="2221" y="2643"/>
                </a:lnTo>
                <a:lnTo>
                  <a:pt x="2220" y="2643"/>
                </a:lnTo>
                <a:lnTo>
                  <a:pt x="2220" y="2644"/>
                </a:lnTo>
                <a:close/>
                <a:moveTo>
                  <a:pt x="2229" y="2666"/>
                </a:moveTo>
                <a:lnTo>
                  <a:pt x="2231" y="2668"/>
                </a:lnTo>
                <a:lnTo>
                  <a:pt x="2231" y="2666"/>
                </a:lnTo>
                <a:lnTo>
                  <a:pt x="2229" y="2666"/>
                </a:lnTo>
                <a:close/>
                <a:moveTo>
                  <a:pt x="2233" y="2681"/>
                </a:moveTo>
                <a:lnTo>
                  <a:pt x="2233" y="2680"/>
                </a:lnTo>
                <a:lnTo>
                  <a:pt x="2229" y="2681"/>
                </a:lnTo>
                <a:lnTo>
                  <a:pt x="2233" y="2681"/>
                </a:lnTo>
                <a:close/>
                <a:moveTo>
                  <a:pt x="2244" y="1102"/>
                </a:moveTo>
                <a:lnTo>
                  <a:pt x="2238" y="1102"/>
                </a:lnTo>
                <a:lnTo>
                  <a:pt x="2240" y="1103"/>
                </a:lnTo>
                <a:lnTo>
                  <a:pt x="2243" y="1103"/>
                </a:lnTo>
                <a:lnTo>
                  <a:pt x="2244" y="1102"/>
                </a:lnTo>
                <a:close/>
                <a:moveTo>
                  <a:pt x="2179" y="478"/>
                </a:moveTo>
                <a:lnTo>
                  <a:pt x="2182" y="479"/>
                </a:lnTo>
                <a:lnTo>
                  <a:pt x="2184" y="477"/>
                </a:lnTo>
                <a:lnTo>
                  <a:pt x="2183" y="476"/>
                </a:lnTo>
                <a:lnTo>
                  <a:pt x="2179" y="478"/>
                </a:lnTo>
                <a:close/>
                <a:moveTo>
                  <a:pt x="2248" y="1115"/>
                </a:moveTo>
                <a:lnTo>
                  <a:pt x="2250" y="1116"/>
                </a:lnTo>
                <a:lnTo>
                  <a:pt x="2250" y="1115"/>
                </a:lnTo>
                <a:lnTo>
                  <a:pt x="2248" y="1115"/>
                </a:lnTo>
                <a:close/>
                <a:moveTo>
                  <a:pt x="2247" y="1437"/>
                </a:moveTo>
                <a:lnTo>
                  <a:pt x="2248" y="1439"/>
                </a:lnTo>
                <a:lnTo>
                  <a:pt x="2250" y="1437"/>
                </a:lnTo>
                <a:lnTo>
                  <a:pt x="2248" y="1436"/>
                </a:lnTo>
                <a:lnTo>
                  <a:pt x="2247" y="1437"/>
                </a:lnTo>
                <a:close/>
                <a:moveTo>
                  <a:pt x="2247" y="1433"/>
                </a:moveTo>
                <a:lnTo>
                  <a:pt x="2243" y="1434"/>
                </a:lnTo>
                <a:lnTo>
                  <a:pt x="2243" y="1436"/>
                </a:lnTo>
                <a:lnTo>
                  <a:pt x="2248" y="1434"/>
                </a:lnTo>
                <a:lnTo>
                  <a:pt x="2247" y="1433"/>
                </a:lnTo>
                <a:close/>
                <a:moveTo>
                  <a:pt x="2123" y="512"/>
                </a:moveTo>
                <a:lnTo>
                  <a:pt x="2123" y="510"/>
                </a:lnTo>
                <a:lnTo>
                  <a:pt x="2121" y="513"/>
                </a:lnTo>
                <a:lnTo>
                  <a:pt x="2123" y="512"/>
                </a:lnTo>
                <a:close/>
                <a:moveTo>
                  <a:pt x="2051" y="1889"/>
                </a:moveTo>
                <a:lnTo>
                  <a:pt x="2051" y="1889"/>
                </a:lnTo>
                <a:lnTo>
                  <a:pt x="2051" y="1888"/>
                </a:lnTo>
                <a:lnTo>
                  <a:pt x="2051" y="1889"/>
                </a:lnTo>
                <a:close/>
                <a:moveTo>
                  <a:pt x="2084" y="533"/>
                </a:moveTo>
                <a:lnTo>
                  <a:pt x="2080" y="535"/>
                </a:lnTo>
                <a:lnTo>
                  <a:pt x="2080" y="536"/>
                </a:lnTo>
                <a:lnTo>
                  <a:pt x="2080" y="537"/>
                </a:lnTo>
                <a:lnTo>
                  <a:pt x="2084" y="533"/>
                </a:lnTo>
                <a:close/>
                <a:moveTo>
                  <a:pt x="2076" y="540"/>
                </a:moveTo>
                <a:lnTo>
                  <a:pt x="2075" y="540"/>
                </a:lnTo>
                <a:lnTo>
                  <a:pt x="2076" y="543"/>
                </a:lnTo>
                <a:lnTo>
                  <a:pt x="2078" y="541"/>
                </a:lnTo>
                <a:lnTo>
                  <a:pt x="2076" y="540"/>
                </a:lnTo>
                <a:close/>
                <a:moveTo>
                  <a:pt x="2079" y="540"/>
                </a:moveTo>
                <a:lnTo>
                  <a:pt x="2080" y="536"/>
                </a:lnTo>
                <a:lnTo>
                  <a:pt x="2078" y="536"/>
                </a:lnTo>
                <a:lnTo>
                  <a:pt x="2079" y="540"/>
                </a:lnTo>
                <a:close/>
                <a:moveTo>
                  <a:pt x="2198" y="1087"/>
                </a:moveTo>
                <a:lnTo>
                  <a:pt x="2200" y="1089"/>
                </a:lnTo>
                <a:lnTo>
                  <a:pt x="2203" y="1091"/>
                </a:lnTo>
                <a:lnTo>
                  <a:pt x="2206" y="1089"/>
                </a:lnTo>
                <a:lnTo>
                  <a:pt x="2202" y="1087"/>
                </a:lnTo>
                <a:lnTo>
                  <a:pt x="2198" y="1087"/>
                </a:lnTo>
                <a:close/>
                <a:moveTo>
                  <a:pt x="2159" y="1072"/>
                </a:moveTo>
                <a:lnTo>
                  <a:pt x="2160" y="1070"/>
                </a:lnTo>
                <a:lnTo>
                  <a:pt x="2159" y="1070"/>
                </a:lnTo>
                <a:lnTo>
                  <a:pt x="2159" y="1072"/>
                </a:lnTo>
                <a:close/>
                <a:moveTo>
                  <a:pt x="2132" y="501"/>
                </a:moveTo>
                <a:lnTo>
                  <a:pt x="2132" y="498"/>
                </a:lnTo>
                <a:lnTo>
                  <a:pt x="2131" y="498"/>
                </a:lnTo>
                <a:lnTo>
                  <a:pt x="2132" y="501"/>
                </a:lnTo>
                <a:close/>
                <a:moveTo>
                  <a:pt x="2216" y="1083"/>
                </a:moveTo>
                <a:lnTo>
                  <a:pt x="2216" y="1085"/>
                </a:lnTo>
                <a:lnTo>
                  <a:pt x="2219" y="1085"/>
                </a:lnTo>
                <a:lnTo>
                  <a:pt x="2221" y="1083"/>
                </a:lnTo>
                <a:lnTo>
                  <a:pt x="2216" y="1083"/>
                </a:lnTo>
                <a:close/>
                <a:moveTo>
                  <a:pt x="1875" y="579"/>
                </a:moveTo>
                <a:lnTo>
                  <a:pt x="1875" y="578"/>
                </a:lnTo>
                <a:lnTo>
                  <a:pt x="1871" y="579"/>
                </a:lnTo>
                <a:lnTo>
                  <a:pt x="1875" y="579"/>
                </a:lnTo>
                <a:close/>
                <a:moveTo>
                  <a:pt x="1864" y="583"/>
                </a:moveTo>
                <a:lnTo>
                  <a:pt x="1867" y="582"/>
                </a:lnTo>
                <a:lnTo>
                  <a:pt x="1867" y="582"/>
                </a:lnTo>
                <a:lnTo>
                  <a:pt x="1864" y="583"/>
                </a:lnTo>
                <a:close/>
                <a:moveTo>
                  <a:pt x="1875" y="603"/>
                </a:moveTo>
                <a:lnTo>
                  <a:pt x="1876" y="600"/>
                </a:lnTo>
                <a:lnTo>
                  <a:pt x="1875" y="602"/>
                </a:lnTo>
                <a:lnTo>
                  <a:pt x="1875" y="603"/>
                </a:lnTo>
                <a:close/>
                <a:moveTo>
                  <a:pt x="1864" y="579"/>
                </a:moveTo>
                <a:lnTo>
                  <a:pt x="1867" y="580"/>
                </a:lnTo>
                <a:lnTo>
                  <a:pt x="1871" y="579"/>
                </a:lnTo>
                <a:lnTo>
                  <a:pt x="1868" y="579"/>
                </a:lnTo>
                <a:lnTo>
                  <a:pt x="1864" y="579"/>
                </a:lnTo>
                <a:close/>
                <a:moveTo>
                  <a:pt x="1875" y="604"/>
                </a:moveTo>
                <a:lnTo>
                  <a:pt x="1875" y="603"/>
                </a:lnTo>
                <a:lnTo>
                  <a:pt x="1875" y="604"/>
                </a:lnTo>
                <a:lnTo>
                  <a:pt x="1875" y="604"/>
                </a:lnTo>
                <a:close/>
                <a:moveTo>
                  <a:pt x="1849" y="545"/>
                </a:moveTo>
                <a:lnTo>
                  <a:pt x="1851" y="543"/>
                </a:lnTo>
                <a:lnTo>
                  <a:pt x="1848" y="544"/>
                </a:lnTo>
                <a:lnTo>
                  <a:pt x="1849" y="545"/>
                </a:lnTo>
                <a:close/>
                <a:moveTo>
                  <a:pt x="1852" y="543"/>
                </a:moveTo>
                <a:lnTo>
                  <a:pt x="1851" y="543"/>
                </a:lnTo>
                <a:lnTo>
                  <a:pt x="1851" y="543"/>
                </a:lnTo>
                <a:lnTo>
                  <a:pt x="1852" y="543"/>
                </a:lnTo>
                <a:close/>
                <a:moveTo>
                  <a:pt x="1881" y="567"/>
                </a:moveTo>
                <a:lnTo>
                  <a:pt x="1875" y="567"/>
                </a:lnTo>
                <a:lnTo>
                  <a:pt x="1881" y="568"/>
                </a:lnTo>
                <a:lnTo>
                  <a:pt x="1879" y="569"/>
                </a:lnTo>
                <a:lnTo>
                  <a:pt x="1879" y="571"/>
                </a:lnTo>
                <a:lnTo>
                  <a:pt x="1886" y="571"/>
                </a:lnTo>
                <a:lnTo>
                  <a:pt x="1885" y="567"/>
                </a:lnTo>
                <a:lnTo>
                  <a:pt x="1881" y="567"/>
                </a:lnTo>
                <a:close/>
                <a:moveTo>
                  <a:pt x="1934" y="656"/>
                </a:moveTo>
                <a:lnTo>
                  <a:pt x="1935" y="656"/>
                </a:lnTo>
                <a:lnTo>
                  <a:pt x="1934" y="656"/>
                </a:lnTo>
                <a:lnTo>
                  <a:pt x="1934" y="656"/>
                </a:lnTo>
                <a:close/>
                <a:moveTo>
                  <a:pt x="1891" y="629"/>
                </a:moveTo>
                <a:lnTo>
                  <a:pt x="1895" y="628"/>
                </a:lnTo>
                <a:lnTo>
                  <a:pt x="1891" y="628"/>
                </a:lnTo>
                <a:lnTo>
                  <a:pt x="1891" y="629"/>
                </a:lnTo>
                <a:close/>
                <a:moveTo>
                  <a:pt x="2003" y="620"/>
                </a:moveTo>
                <a:lnTo>
                  <a:pt x="2000" y="619"/>
                </a:lnTo>
                <a:lnTo>
                  <a:pt x="2000" y="620"/>
                </a:lnTo>
                <a:lnTo>
                  <a:pt x="2003" y="620"/>
                </a:lnTo>
                <a:close/>
                <a:moveTo>
                  <a:pt x="1935" y="656"/>
                </a:moveTo>
                <a:lnTo>
                  <a:pt x="1935" y="656"/>
                </a:lnTo>
                <a:lnTo>
                  <a:pt x="1935" y="656"/>
                </a:lnTo>
                <a:lnTo>
                  <a:pt x="1935" y="656"/>
                </a:lnTo>
                <a:close/>
                <a:moveTo>
                  <a:pt x="2000" y="620"/>
                </a:moveTo>
                <a:lnTo>
                  <a:pt x="2000" y="620"/>
                </a:lnTo>
                <a:lnTo>
                  <a:pt x="1997" y="620"/>
                </a:lnTo>
                <a:lnTo>
                  <a:pt x="2000" y="620"/>
                </a:lnTo>
                <a:close/>
                <a:moveTo>
                  <a:pt x="1897" y="628"/>
                </a:moveTo>
                <a:lnTo>
                  <a:pt x="1898" y="628"/>
                </a:lnTo>
                <a:lnTo>
                  <a:pt x="1895" y="628"/>
                </a:lnTo>
                <a:lnTo>
                  <a:pt x="1897" y="628"/>
                </a:lnTo>
                <a:close/>
                <a:moveTo>
                  <a:pt x="1898" y="628"/>
                </a:moveTo>
                <a:lnTo>
                  <a:pt x="1899" y="625"/>
                </a:lnTo>
                <a:lnTo>
                  <a:pt x="1898" y="628"/>
                </a:lnTo>
                <a:lnTo>
                  <a:pt x="1898" y="628"/>
                </a:lnTo>
                <a:close/>
                <a:moveTo>
                  <a:pt x="2087" y="536"/>
                </a:moveTo>
                <a:lnTo>
                  <a:pt x="2086" y="536"/>
                </a:lnTo>
                <a:lnTo>
                  <a:pt x="2090" y="535"/>
                </a:lnTo>
                <a:lnTo>
                  <a:pt x="2088" y="535"/>
                </a:lnTo>
                <a:lnTo>
                  <a:pt x="2087" y="535"/>
                </a:lnTo>
                <a:lnTo>
                  <a:pt x="2087" y="536"/>
                </a:lnTo>
                <a:lnTo>
                  <a:pt x="2087" y="536"/>
                </a:lnTo>
                <a:close/>
                <a:moveTo>
                  <a:pt x="4639" y="1940"/>
                </a:moveTo>
                <a:lnTo>
                  <a:pt x="4636" y="1940"/>
                </a:lnTo>
                <a:lnTo>
                  <a:pt x="4634" y="1941"/>
                </a:lnTo>
                <a:lnTo>
                  <a:pt x="4633" y="1942"/>
                </a:lnTo>
                <a:lnTo>
                  <a:pt x="4632" y="1944"/>
                </a:lnTo>
                <a:lnTo>
                  <a:pt x="4632" y="1945"/>
                </a:lnTo>
                <a:lnTo>
                  <a:pt x="4637" y="1945"/>
                </a:lnTo>
                <a:lnTo>
                  <a:pt x="4637" y="1941"/>
                </a:lnTo>
                <a:lnTo>
                  <a:pt x="4639" y="1941"/>
                </a:lnTo>
                <a:lnTo>
                  <a:pt x="4639" y="1940"/>
                </a:lnTo>
                <a:close/>
                <a:moveTo>
                  <a:pt x="4395" y="1820"/>
                </a:moveTo>
                <a:lnTo>
                  <a:pt x="4393" y="1820"/>
                </a:lnTo>
                <a:lnTo>
                  <a:pt x="4393" y="1820"/>
                </a:lnTo>
                <a:lnTo>
                  <a:pt x="4395" y="1820"/>
                </a:lnTo>
                <a:lnTo>
                  <a:pt x="4392" y="1817"/>
                </a:lnTo>
                <a:lnTo>
                  <a:pt x="4389" y="1820"/>
                </a:lnTo>
                <a:lnTo>
                  <a:pt x="4388" y="1820"/>
                </a:lnTo>
                <a:lnTo>
                  <a:pt x="4382" y="1820"/>
                </a:lnTo>
                <a:lnTo>
                  <a:pt x="4379" y="1820"/>
                </a:lnTo>
                <a:lnTo>
                  <a:pt x="4377" y="1820"/>
                </a:lnTo>
                <a:lnTo>
                  <a:pt x="4367" y="1816"/>
                </a:lnTo>
                <a:lnTo>
                  <a:pt x="4363" y="1816"/>
                </a:lnTo>
                <a:lnTo>
                  <a:pt x="4359" y="1815"/>
                </a:lnTo>
                <a:lnTo>
                  <a:pt x="4354" y="1818"/>
                </a:lnTo>
                <a:lnTo>
                  <a:pt x="4349" y="1820"/>
                </a:lnTo>
                <a:lnTo>
                  <a:pt x="4349" y="1820"/>
                </a:lnTo>
                <a:lnTo>
                  <a:pt x="4349" y="1822"/>
                </a:lnTo>
                <a:lnTo>
                  <a:pt x="4348" y="1824"/>
                </a:lnTo>
                <a:lnTo>
                  <a:pt x="4349" y="1824"/>
                </a:lnTo>
                <a:lnTo>
                  <a:pt x="4349" y="1821"/>
                </a:lnTo>
                <a:lnTo>
                  <a:pt x="4351" y="1822"/>
                </a:lnTo>
                <a:lnTo>
                  <a:pt x="4353" y="1824"/>
                </a:lnTo>
                <a:lnTo>
                  <a:pt x="4362" y="1824"/>
                </a:lnTo>
                <a:lnTo>
                  <a:pt x="4366" y="1827"/>
                </a:lnTo>
                <a:lnTo>
                  <a:pt x="4369" y="1829"/>
                </a:lnTo>
                <a:lnTo>
                  <a:pt x="4374" y="1829"/>
                </a:lnTo>
                <a:lnTo>
                  <a:pt x="4374" y="1826"/>
                </a:lnTo>
                <a:lnTo>
                  <a:pt x="4375" y="1824"/>
                </a:lnTo>
                <a:lnTo>
                  <a:pt x="4380" y="1826"/>
                </a:lnTo>
                <a:lnTo>
                  <a:pt x="4388" y="1823"/>
                </a:lnTo>
                <a:lnTo>
                  <a:pt x="4395" y="1820"/>
                </a:lnTo>
                <a:close/>
                <a:moveTo>
                  <a:pt x="4321" y="1816"/>
                </a:moveTo>
                <a:lnTo>
                  <a:pt x="4320" y="1816"/>
                </a:lnTo>
                <a:lnTo>
                  <a:pt x="4321" y="1816"/>
                </a:lnTo>
                <a:lnTo>
                  <a:pt x="4321" y="1816"/>
                </a:lnTo>
                <a:close/>
                <a:moveTo>
                  <a:pt x="4401" y="1819"/>
                </a:moveTo>
                <a:lnTo>
                  <a:pt x="4401" y="1816"/>
                </a:lnTo>
                <a:lnTo>
                  <a:pt x="4399" y="1816"/>
                </a:lnTo>
                <a:lnTo>
                  <a:pt x="4397" y="1819"/>
                </a:lnTo>
                <a:lnTo>
                  <a:pt x="4400" y="1819"/>
                </a:lnTo>
                <a:lnTo>
                  <a:pt x="4401" y="1819"/>
                </a:lnTo>
                <a:close/>
                <a:moveTo>
                  <a:pt x="4395" y="1820"/>
                </a:moveTo>
                <a:lnTo>
                  <a:pt x="4397" y="1820"/>
                </a:lnTo>
                <a:lnTo>
                  <a:pt x="4397" y="1819"/>
                </a:lnTo>
                <a:lnTo>
                  <a:pt x="4397" y="1819"/>
                </a:lnTo>
                <a:lnTo>
                  <a:pt x="4395" y="1820"/>
                </a:lnTo>
                <a:lnTo>
                  <a:pt x="4396" y="1820"/>
                </a:lnTo>
                <a:lnTo>
                  <a:pt x="4395" y="1820"/>
                </a:lnTo>
                <a:close/>
                <a:moveTo>
                  <a:pt x="4380" y="1850"/>
                </a:moveTo>
                <a:lnTo>
                  <a:pt x="4381" y="1850"/>
                </a:lnTo>
                <a:lnTo>
                  <a:pt x="4382" y="1849"/>
                </a:lnTo>
                <a:lnTo>
                  <a:pt x="4382" y="1849"/>
                </a:lnTo>
                <a:lnTo>
                  <a:pt x="4381" y="1849"/>
                </a:lnTo>
                <a:lnTo>
                  <a:pt x="4381" y="1849"/>
                </a:lnTo>
                <a:lnTo>
                  <a:pt x="4380" y="1850"/>
                </a:lnTo>
                <a:close/>
                <a:moveTo>
                  <a:pt x="4320" y="1816"/>
                </a:moveTo>
                <a:lnTo>
                  <a:pt x="4320" y="1816"/>
                </a:lnTo>
                <a:lnTo>
                  <a:pt x="4320" y="1816"/>
                </a:lnTo>
                <a:lnTo>
                  <a:pt x="4320" y="1816"/>
                </a:lnTo>
                <a:close/>
                <a:moveTo>
                  <a:pt x="4319" y="1817"/>
                </a:moveTo>
                <a:lnTo>
                  <a:pt x="4319" y="1816"/>
                </a:lnTo>
                <a:lnTo>
                  <a:pt x="4319" y="1816"/>
                </a:lnTo>
                <a:lnTo>
                  <a:pt x="4317" y="1816"/>
                </a:lnTo>
                <a:lnTo>
                  <a:pt x="4317" y="1818"/>
                </a:lnTo>
                <a:lnTo>
                  <a:pt x="4319" y="1819"/>
                </a:lnTo>
                <a:lnTo>
                  <a:pt x="4319" y="1817"/>
                </a:lnTo>
                <a:close/>
                <a:moveTo>
                  <a:pt x="4320" y="1816"/>
                </a:moveTo>
                <a:lnTo>
                  <a:pt x="4320" y="1816"/>
                </a:lnTo>
                <a:lnTo>
                  <a:pt x="4319" y="1816"/>
                </a:lnTo>
                <a:lnTo>
                  <a:pt x="4319" y="1816"/>
                </a:lnTo>
                <a:lnTo>
                  <a:pt x="4320" y="1816"/>
                </a:lnTo>
                <a:lnTo>
                  <a:pt x="4320" y="1816"/>
                </a:lnTo>
                <a:close/>
                <a:moveTo>
                  <a:pt x="4401" y="1819"/>
                </a:moveTo>
                <a:lnTo>
                  <a:pt x="4401" y="1819"/>
                </a:lnTo>
                <a:lnTo>
                  <a:pt x="4401" y="1819"/>
                </a:lnTo>
                <a:lnTo>
                  <a:pt x="4401" y="1819"/>
                </a:lnTo>
                <a:close/>
                <a:moveTo>
                  <a:pt x="4405" y="1937"/>
                </a:moveTo>
                <a:lnTo>
                  <a:pt x="4405" y="1938"/>
                </a:lnTo>
                <a:lnTo>
                  <a:pt x="4408" y="1938"/>
                </a:lnTo>
                <a:lnTo>
                  <a:pt x="4411" y="1937"/>
                </a:lnTo>
                <a:lnTo>
                  <a:pt x="4408" y="1937"/>
                </a:lnTo>
                <a:lnTo>
                  <a:pt x="4405" y="1937"/>
                </a:lnTo>
                <a:close/>
                <a:moveTo>
                  <a:pt x="4393" y="1816"/>
                </a:moveTo>
                <a:lnTo>
                  <a:pt x="4394" y="1816"/>
                </a:lnTo>
                <a:lnTo>
                  <a:pt x="4394" y="1816"/>
                </a:lnTo>
                <a:lnTo>
                  <a:pt x="4395" y="1815"/>
                </a:lnTo>
                <a:lnTo>
                  <a:pt x="4396" y="1813"/>
                </a:lnTo>
                <a:lnTo>
                  <a:pt x="4394" y="1815"/>
                </a:lnTo>
                <a:lnTo>
                  <a:pt x="4396" y="1812"/>
                </a:lnTo>
                <a:lnTo>
                  <a:pt x="4396" y="1812"/>
                </a:lnTo>
                <a:lnTo>
                  <a:pt x="4396" y="1812"/>
                </a:lnTo>
                <a:lnTo>
                  <a:pt x="4393" y="1812"/>
                </a:lnTo>
                <a:lnTo>
                  <a:pt x="4393" y="1815"/>
                </a:lnTo>
                <a:lnTo>
                  <a:pt x="4392" y="1816"/>
                </a:lnTo>
                <a:lnTo>
                  <a:pt x="4392" y="1817"/>
                </a:lnTo>
                <a:lnTo>
                  <a:pt x="4393" y="1816"/>
                </a:lnTo>
                <a:lnTo>
                  <a:pt x="4393" y="1816"/>
                </a:lnTo>
                <a:close/>
                <a:moveTo>
                  <a:pt x="4427" y="1912"/>
                </a:moveTo>
                <a:lnTo>
                  <a:pt x="4428" y="1913"/>
                </a:lnTo>
                <a:lnTo>
                  <a:pt x="4430" y="1914"/>
                </a:lnTo>
                <a:lnTo>
                  <a:pt x="4430" y="1914"/>
                </a:lnTo>
                <a:lnTo>
                  <a:pt x="4430" y="1910"/>
                </a:lnTo>
                <a:lnTo>
                  <a:pt x="4430" y="1910"/>
                </a:lnTo>
                <a:lnTo>
                  <a:pt x="4428" y="1911"/>
                </a:lnTo>
                <a:lnTo>
                  <a:pt x="4427" y="1912"/>
                </a:lnTo>
                <a:close/>
                <a:moveTo>
                  <a:pt x="4409" y="1812"/>
                </a:moveTo>
                <a:lnTo>
                  <a:pt x="4408" y="1812"/>
                </a:lnTo>
                <a:lnTo>
                  <a:pt x="4409" y="1813"/>
                </a:lnTo>
                <a:lnTo>
                  <a:pt x="4409" y="1813"/>
                </a:lnTo>
                <a:lnTo>
                  <a:pt x="4409" y="1812"/>
                </a:lnTo>
                <a:close/>
                <a:moveTo>
                  <a:pt x="4317" y="1818"/>
                </a:moveTo>
                <a:lnTo>
                  <a:pt x="4316" y="1818"/>
                </a:lnTo>
                <a:lnTo>
                  <a:pt x="4314" y="1816"/>
                </a:lnTo>
                <a:lnTo>
                  <a:pt x="4308" y="1820"/>
                </a:lnTo>
                <a:lnTo>
                  <a:pt x="4308" y="1822"/>
                </a:lnTo>
                <a:lnTo>
                  <a:pt x="4307" y="1826"/>
                </a:lnTo>
                <a:lnTo>
                  <a:pt x="4310" y="1827"/>
                </a:lnTo>
                <a:lnTo>
                  <a:pt x="4312" y="1829"/>
                </a:lnTo>
                <a:lnTo>
                  <a:pt x="4313" y="1829"/>
                </a:lnTo>
                <a:lnTo>
                  <a:pt x="4315" y="1829"/>
                </a:lnTo>
                <a:lnTo>
                  <a:pt x="4316" y="1829"/>
                </a:lnTo>
                <a:lnTo>
                  <a:pt x="4321" y="1826"/>
                </a:lnTo>
                <a:lnTo>
                  <a:pt x="4325" y="1824"/>
                </a:lnTo>
                <a:lnTo>
                  <a:pt x="4317" y="1819"/>
                </a:lnTo>
                <a:lnTo>
                  <a:pt x="4317" y="1818"/>
                </a:lnTo>
                <a:close/>
                <a:moveTo>
                  <a:pt x="4401" y="1819"/>
                </a:moveTo>
                <a:lnTo>
                  <a:pt x="4401" y="1819"/>
                </a:lnTo>
                <a:lnTo>
                  <a:pt x="4403" y="1820"/>
                </a:lnTo>
                <a:lnTo>
                  <a:pt x="4411" y="1815"/>
                </a:lnTo>
                <a:lnTo>
                  <a:pt x="4409" y="1814"/>
                </a:lnTo>
                <a:lnTo>
                  <a:pt x="4409" y="1813"/>
                </a:lnTo>
                <a:lnTo>
                  <a:pt x="4408" y="1814"/>
                </a:lnTo>
                <a:lnTo>
                  <a:pt x="4407" y="1816"/>
                </a:lnTo>
                <a:lnTo>
                  <a:pt x="4406" y="1816"/>
                </a:lnTo>
                <a:lnTo>
                  <a:pt x="4404" y="1816"/>
                </a:lnTo>
                <a:lnTo>
                  <a:pt x="4404" y="1816"/>
                </a:lnTo>
                <a:lnTo>
                  <a:pt x="4403" y="1816"/>
                </a:lnTo>
                <a:lnTo>
                  <a:pt x="4402" y="1816"/>
                </a:lnTo>
                <a:lnTo>
                  <a:pt x="4404" y="1817"/>
                </a:lnTo>
                <a:lnTo>
                  <a:pt x="4401" y="1819"/>
                </a:lnTo>
                <a:close/>
                <a:moveTo>
                  <a:pt x="4402" y="1816"/>
                </a:moveTo>
                <a:lnTo>
                  <a:pt x="4401" y="1815"/>
                </a:lnTo>
                <a:lnTo>
                  <a:pt x="4401" y="1816"/>
                </a:lnTo>
                <a:lnTo>
                  <a:pt x="4402" y="1816"/>
                </a:lnTo>
                <a:lnTo>
                  <a:pt x="4402" y="1816"/>
                </a:lnTo>
                <a:close/>
                <a:moveTo>
                  <a:pt x="4401" y="1820"/>
                </a:moveTo>
                <a:lnTo>
                  <a:pt x="4401" y="1819"/>
                </a:lnTo>
                <a:lnTo>
                  <a:pt x="4400" y="1820"/>
                </a:lnTo>
                <a:lnTo>
                  <a:pt x="4401" y="1820"/>
                </a:lnTo>
                <a:close/>
                <a:moveTo>
                  <a:pt x="4393" y="1762"/>
                </a:moveTo>
                <a:lnTo>
                  <a:pt x="4393" y="1765"/>
                </a:lnTo>
                <a:lnTo>
                  <a:pt x="4395" y="1760"/>
                </a:lnTo>
                <a:lnTo>
                  <a:pt x="4399" y="1758"/>
                </a:lnTo>
                <a:lnTo>
                  <a:pt x="4398" y="1759"/>
                </a:lnTo>
                <a:lnTo>
                  <a:pt x="4397" y="1760"/>
                </a:lnTo>
                <a:lnTo>
                  <a:pt x="4397" y="1762"/>
                </a:lnTo>
                <a:lnTo>
                  <a:pt x="4399" y="1763"/>
                </a:lnTo>
                <a:lnTo>
                  <a:pt x="4400" y="1764"/>
                </a:lnTo>
                <a:lnTo>
                  <a:pt x="4400" y="1764"/>
                </a:lnTo>
                <a:lnTo>
                  <a:pt x="4397" y="1764"/>
                </a:lnTo>
                <a:lnTo>
                  <a:pt x="4397" y="1763"/>
                </a:lnTo>
                <a:lnTo>
                  <a:pt x="4395" y="1768"/>
                </a:lnTo>
                <a:lnTo>
                  <a:pt x="4398" y="1770"/>
                </a:lnTo>
                <a:lnTo>
                  <a:pt x="4400" y="1771"/>
                </a:lnTo>
                <a:lnTo>
                  <a:pt x="4397" y="1772"/>
                </a:lnTo>
                <a:lnTo>
                  <a:pt x="4393" y="1773"/>
                </a:lnTo>
                <a:lnTo>
                  <a:pt x="4393" y="1776"/>
                </a:lnTo>
                <a:lnTo>
                  <a:pt x="4393" y="1776"/>
                </a:lnTo>
                <a:lnTo>
                  <a:pt x="4391" y="1775"/>
                </a:lnTo>
                <a:lnTo>
                  <a:pt x="4391" y="1776"/>
                </a:lnTo>
                <a:lnTo>
                  <a:pt x="4388" y="1776"/>
                </a:lnTo>
                <a:lnTo>
                  <a:pt x="4389" y="1772"/>
                </a:lnTo>
                <a:lnTo>
                  <a:pt x="4389" y="1768"/>
                </a:lnTo>
                <a:lnTo>
                  <a:pt x="4388" y="1766"/>
                </a:lnTo>
                <a:lnTo>
                  <a:pt x="4388" y="1764"/>
                </a:lnTo>
                <a:lnTo>
                  <a:pt x="4391" y="1763"/>
                </a:lnTo>
                <a:lnTo>
                  <a:pt x="4393" y="1762"/>
                </a:lnTo>
                <a:close/>
                <a:moveTo>
                  <a:pt x="4392" y="1768"/>
                </a:moveTo>
                <a:lnTo>
                  <a:pt x="4389" y="1770"/>
                </a:lnTo>
                <a:lnTo>
                  <a:pt x="4389" y="1770"/>
                </a:lnTo>
                <a:lnTo>
                  <a:pt x="4392" y="1768"/>
                </a:lnTo>
                <a:close/>
                <a:moveTo>
                  <a:pt x="4401" y="1845"/>
                </a:moveTo>
                <a:lnTo>
                  <a:pt x="4402" y="1845"/>
                </a:lnTo>
                <a:lnTo>
                  <a:pt x="4401" y="1845"/>
                </a:lnTo>
                <a:lnTo>
                  <a:pt x="4401" y="1845"/>
                </a:lnTo>
                <a:close/>
                <a:moveTo>
                  <a:pt x="4399" y="1745"/>
                </a:moveTo>
                <a:lnTo>
                  <a:pt x="4399" y="1747"/>
                </a:lnTo>
                <a:lnTo>
                  <a:pt x="4399" y="1747"/>
                </a:lnTo>
                <a:lnTo>
                  <a:pt x="4400" y="1746"/>
                </a:lnTo>
                <a:lnTo>
                  <a:pt x="4400" y="1745"/>
                </a:lnTo>
                <a:lnTo>
                  <a:pt x="4399" y="1745"/>
                </a:lnTo>
                <a:close/>
                <a:moveTo>
                  <a:pt x="4396" y="1712"/>
                </a:moveTo>
                <a:lnTo>
                  <a:pt x="4394" y="1716"/>
                </a:lnTo>
                <a:lnTo>
                  <a:pt x="4396" y="1717"/>
                </a:lnTo>
                <a:lnTo>
                  <a:pt x="4399" y="1714"/>
                </a:lnTo>
                <a:lnTo>
                  <a:pt x="4400" y="1714"/>
                </a:lnTo>
                <a:lnTo>
                  <a:pt x="4400" y="1714"/>
                </a:lnTo>
                <a:lnTo>
                  <a:pt x="4400" y="1718"/>
                </a:lnTo>
                <a:lnTo>
                  <a:pt x="4400" y="1720"/>
                </a:lnTo>
                <a:lnTo>
                  <a:pt x="4400" y="1720"/>
                </a:lnTo>
                <a:lnTo>
                  <a:pt x="4400" y="1720"/>
                </a:lnTo>
                <a:lnTo>
                  <a:pt x="4400" y="1720"/>
                </a:lnTo>
                <a:lnTo>
                  <a:pt x="4402" y="1716"/>
                </a:lnTo>
                <a:lnTo>
                  <a:pt x="4403" y="1716"/>
                </a:lnTo>
                <a:lnTo>
                  <a:pt x="4404" y="1714"/>
                </a:lnTo>
                <a:lnTo>
                  <a:pt x="4404" y="1712"/>
                </a:lnTo>
                <a:lnTo>
                  <a:pt x="4403" y="1712"/>
                </a:lnTo>
                <a:lnTo>
                  <a:pt x="4400" y="1713"/>
                </a:lnTo>
                <a:lnTo>
                  <a:pt x="4397" y="1713"/>
                </a:lnTo>
                <a:lnTo>
                  <a:pt x="4397" y="1712"/>
                </a:lnTo>
                <a:lnTo>
                  <a:pt x="4396" y="1712"/>
                </a:lnTo>
                <a:close/>
                <a:moveTo>
                  <a:pt x="4397" y="1752"/>
                </a:moveTo>
                <a:lnTo>
                  <a:pt x="4399" y="1754"/>
                </a:lnTo>
                <a:lnTo>
                  <a:pt x="4400" y="1755"/>
                </a:lnTo>
                <a:lnTo>
                  <a:pt x="4402" y="1752"/>
                </a:lnTo>
                <a:lnTo>
                  <a:pt x="4401" y="1752"/>
                </a:lnTo>
                <a:lnTo>
                  <a:pt x="4399" y="1751"/>
                </a:lnTo>
                <a:lnTo>
                  <a:pt x="4397" y="1752"/>
                </a:lnTo>
                <a:close/>
                <a:moveTo>
                  <a:pt x="4410" y="1721"/>
                </a:moveTo>
                <a:lnTo>
                  <a:pt x="4408" y="1721"/>
                </a:lnTo>
                <a:lnTo>
                  <a:pt x="4410" y="1722"/>
                </a:lnTo>
                <a:lnTo>
                  <a:pt x="4410" y="1721"/>
                </a:lnTo>
                <a:close/>
                <a:moveTo>
                  <a:pt x="4440" y="1641"/>
                </a:moveTo>
                <a:lnTo>
                  <a:pt x="4439" y="1640"/>
                </a:lnTo>
                <a:lnTo>
                  <a:pt x="4438" y="1638"/>
                </a:lnTo>
                <a:lnTo>
                  <a:pt x="4436" y="1638"/>
                </a:lnTo>
                <a:lnTo>
                  <a:pt x="4438" y="1643"/>
                </a:lnTo>
                <a:lnTo>
                  <a:pt x="4439" y="1642"/>
                </a:lnTo>
                <a:lnTo>
                  <a:pt x="4440" y="1641"/>
                </a:lnTo>
                <a:close/>
                <a:moveTo>
                  <a:pt x="4416" y="1813"/>
                </a:moveTo>
                <a:lnTo>
                  <a:pt x="4414" y="1816"/>
                </a:lnTo>
                <a:lnTo>
                  <a:pt x="4411" y="1816"/>
                </a:lnTo>
                <a:lnTo>
                  <a:pt x="4412" y="1818"/>
                </a:lnTo>
                <a:lnTo>
                  <a:pt x="4414" y="1820"/>
                </a:lnTo>
                <a:lnTo>
                  <a:pt x="4416" y="1813"/>
                </a:lnTo>
                <a:close/>
                <a:moveTo>
                  <a:pt x="4429" y="1720"/>
                </a:moveTo>
                <a:lnTo>
                  <a:pt x="4418" y="1720"/>
                </a:lnTo>
                <a:lnTo>
                  <a:pt x="4416" y="1721"/>
                </a:lnTo>
                <a:lnTo>
                  <a:pt x="4418" y="1723"/>
                </a:lnTo>
                <a:lnTo>
                  <a:pt x="4421" y="1723"/>
                </a:lnTo>
                <a:lnTo>
                  <a:pt x="4424" y="1724"/>
                </a:lnTo>
                <a:lnTo>
                  <a:pt x="4430" y="1724"/>
                </a:lnTo>
                <a:lnTo>
                  <a:pt x="4434" y="1724"/>
                </a:lnTo>
                <a:lnTo>
                  <a:pt x="4440" y="1722"/>
                </a:lnTo>
                <a:lnTo>
                  <a:pt x="4439" y="1723"/>
                </a:lnTo>
                <a:lnTo>
                  <a:pt x="4438" y="1725"/>
                </a:lnTo>
                <a:lnTo>
                  <a:pt x="4441" y="1729"/>
                </a:lnTo>
                <a:lnTo>
                  <a:pt x="4441" y="1725"/>
                </a:lnTo>
                <a:lnTo>
                  <a:pt x="4440" y="1722"/>
                </a:lnTo>
                <a:lnTo>
                  <a:pt x="4447" y="1720"/>
                </a:lnTo>
                <a:lnTo>
                  <a:pt x="4432" y="1720"/>
                </a:lnTo>
                <a:lnTo>
                  <a:pt x="4429" y="1721"/>
                </a:lnTo>
                <a:lnTo>
                  <a:pt x="4429" y="1720"/>
                </a:lnTo>
                <a:lnTo>
                  <a:pt x="4429" y="1720"/>
                </a:lnTo>
                <a:close/>
                <a:moveTo>
                  <a:pt x="4385" y="1773"/>
                </a:moveTo>
                <a:lnTo>
                  <a:pt x="4384" y="1770"/>
                </a:lnTo>
                <a:lnTo>
                  <a:pt x="4382" y="1768"/>
                </a:lnTo>
                <a:lnTo>
                  <a:pt x="4381" y="1768"/>
                </a:lnTo>
                <a:lnTo>
                  <a:pt x="4381" y="1770"/>
                </a:lnTo>
                <a:lnTo>
                  <a:pt x="4380" y="1771"/>
                </a:lnTo>
                <a:lnTo>
                  <a:pt x="4382" y="1773"/>
                </a:lnTo>
                <a:lnTo>
                  <a:pt x="4385" y="1773"/>
                </a:lnTo>
                <a:close/>
                <a:moveTo>
                  <a:pt x="4349" y="1841"/>
                </a:moveTo>
                <a:lnTo>
                  <a:pt x="4359" y="1845"/>
                </a:lnTo>
                <a:lnTo>
                  <a:pt x="4363" y="1845"/>
                </a:lnTo>
                <a:lnTo>
                  <a:pt x="4367" y="1844"/>
                </a:lnTo>
                <a:lnTo>
                  <a:pt x="4365" y="1840"/>
                </a:lnTo>
                <a:lnTo>
                  <a:pt x="4362" y="1837"/>
                </a:lnTo>
                <a:lnTo>
                  <a:pt x="4360" y="1835"/>
                </a:lnTo>
                <a:lnTo>
                  <a:pt x="4357" y="1837"/>
                </a:lnTo>
                <a:lnTo>
                  <a:pt x="4357" y="1833"/>
                </a:lnTo>
                <a:lnTo>
                  <a:pt x="4352" y="1831"/>
                </a:lnTo>
                <a:lnTo>
                  <a:pt x="4352" y="1832"/>
                </a:lnTo>
                <a:lnTo>
                  <a:pt x="4352" y="1833"/>
                </a:lnTo>
                <a:lnTo>
                  <a:pt x="4344" y="1833"/>
                </a:lnTo>
                <a:lnTo>
                  <a:pt x="4340" y="1834"/>
                </a:lnTo>
                <a:lnTo>
                  <a:pt x="4339" y="1836"/>
                </a:lnTo>
                <a:lnTo>
                  <a:pt x="4344" y="1841"/>
                </a:lnTo>
                <a:lnTo>
                  <a:pt x="4349" y="1841"/>
                </a:lnTo>
                <a:close/>
                <a:moveTo>
                  <a:pt x="4443" y="1828"/>
                </a:moveTo>
                <a:lnTo>
                  <a:pt x="4446" y="1827"/>
                </a:lnTo>
                <a:lnTo>
                  <a:pt x="4448" y="1826"/>
                </a:lnTo>
                <a:lnTo>
                  <a:pt x="4449" y="1824"/>
                </a:lnTo>
                <a:lnTo>
                  <a:pt x="4449" y="1823"/>
                </a:lnTo>
                <a:lnTo>
                  <a:pt x="4452" y="1822"/>
                </a:lnTo>
                <a:lnTo>
                  <a:pt x="4456" y="1821"/>
                </a:lnTo>
                <a:lnTo>
                  <a:pt x="4457" y="1819"/>
                </a:lnTo>
                <a:lnTo>
                  <a:pt x="4458" y="1816"/>
                </a:lnTo>
                <a:lnTo>
                  <a:pt x="4457" y="1816"/>
                </a:lnTo>
                <a:lnTo>
                  <a:pt x="4456" y="1815"/>
                </a:lnTo>
                <a:lnTo>
                  <a:pt x="4452" y="1817"/>
                </a:lnTo>
                <a:lnTo>
                  <a:pt x="4449" y="1819"/>
                </a:lnTo>
                <a:lnTo>
                  <a:pt x="4447" y="1816"/>
                </a:lnTo>
                <a:lnTo>
                  <a:pt x="4438" y="1818"/>
                </a:lnTo>
                <a:lnTo>
                  <a:pt x="4429" y="1820"/>
                </a:lnTo>
                <a:lnTo>
                  <a:pt x="4425" y="1826"/>
                </a:lnTo>
                <a:lnTo>
                  <a:pt x="4421" y="1829"/>
                </a:lnTo>
                <a:lnTo>
                  <a:pt x="4414" y="1832"/>
                </a:lnTo>
                <a:lnTo>
                  <a:pt x="4410" y="1835"/>
                </a:lnTo>
                <a:lnTo>
                  <a:pt x="4407" y="1837"/>
                </a:lnTo>
                <a:lnTo>
                  <a:pt x="4406" y="1840"/>
                </a:lnTo>
                <a:lnTo>
                  <a:pt x="4404" y="1843"/>
                </a:lnTo>
                <a:lnTo>
                  <a:pt x="4408" y="1844"/>
                </a:lnTo>
                <a:lnTo>
                  <a:pt x="4404" y="1845"/>
                </a:lnTo>
                <a:lnTo>
                  <a:pt x="4404" y="1844"/>
                </a:lnTo>
                <a:lnTo>
                  <a:pt x="4403" y="1844"/>
                </a:lnTo>
                <a:lnTo>
                  <a:pt x="4402" y="1845"/>
                </a:lnTo>
                <a:lnTo>
                  <a:pt x="4401" y="1846"/>
                </a:lnTo>
                <a:lnTo>
                  <a:pt x="4401" y="1849"/>
                </a:lnTo>
                <a:lnTo>
                  <a:pt x="4403" y="1849"/>
                </a:lnTo>
                <a:lnTo>
                  <a:pt x="4397" y="1854"/>
                </a:lnTo>
                <a:lnTo>
                  <a:pt x="4397" y="1855"/>
                </a:lnTo>
                <a:lnTo>
                  <a:pt x="4399" y="1855"/>
                </a:lnTo>
                <a:lnTo>
                  <a:pt x="4401" y="1854"/>
                </a:lnTo>
                <a:lnTo>
                  <a:pt x="4403" y="1853"/>
                </a:lnTo>
                <a:lnTo>
                  <a:pt x="4405" y="1851"/>
                </a:lnTo>
                <a:lnTo>
                  <a:pt x="4405" y="1849"/>
                </a:lnTo>
                <a:lnTo>
                  <a:pt x="4410" y="1849"/>
                </a:lnTo>
                <a:lnTo>
                  <a:pt x="4414" y="1845"/>
                </a:lnTo>
                <a:lnTo>
                  <a:pt x="4418" y="1845"/>
                </a:lnTo>
                <a:lnTo>
                  <a:pt x="4425" y="1838"/>
                </a:lnTo>
                <a:lnTo>
                  <a:pt x="4427" y="1834"/>
                </a:lnTo>
                <a:lnTo>
                  <a:pt x="4429" y="1832"/>
                </a:lnTo>
                <a:lnTo>
                  <a:pt x="4432" y="1831"/>
                </a:lnTo>
                <a:lnTo>
                  <a:pt x="4443" y="1828"/>
                </a:lnTo>
                <a:close/>
                <a:moveTo>
                  <a:pt x="4320" y="1816"/>
                </a:moveTo>
                <a:lnTo>
                  <a:pt x="4321" y="1816"/>
                </a:lnTo>
                <a:lnTo>
                  <a:pt x="4322" y="1816"/>
                </a:lnTo>
                <a:lnTo>
                  <a:pt x="4321" y="1815"/>
                </a:lnTo>
                <a:lnTo>
                  <a:pt x="4321" y="1813"/>
                </a:lnTo>
                <a:lnTo>
                  <a:pt x="4320" y="1816"/>
                </a:lnTo>
                <a:close/>
                <a:moveTo>
                  <a:pt x="4360" y="1788"/>
                </a:moveTo>
                <a:lnTo>
                  <a:pt x="4362" y="1782"/>
                </a:lnTo>
                <a:lnTo>
                  <a:pt x="4360" y="1780"/>
                </a:lnTo>
                <a:lnTo>
                  <a:pt x="4360" y="1780"/>
                </a:lnTo>
                <a:lnTo>
                  <a:pt x="4357" y="1780"/>
                </a:lnTo>
                <a:lnTo>
                  <a:pt x="4357" y="1788"/>
                </a:lnTo>
                <a:lnTo>
                  <a:pt x="4360" y="1788"/>
                </a:lnTo>
                <a:lnTo>
                  <a:pt x="4360" y="1788"/>
                </a:lnTo>
                <a:close/>
                <a:moveTo>
                  <a:pt x="4348" y="1820"/>
                </a:moveTo>
                <a:lnTo>
                  <a:pt x="4348" y="1818"/>
                </a:lnTo>
                <a:lnTo>
                  <a:pt x="4347" y="1816"/>
                </a:lnTo>
                <a:lnTo>
                  <a:pt x="4345" y="1821"/>
                </a:lnTo>
                <a:lnTo>
                  <a:pt x="4347" y="1821"/>
                </a:lnTo>
                <a:lnTo>
                  <a:pt x="4347" y="1820"/>
                </a:lnTo>
                <a:lnTo>
                  <a:pt x="4348" y="1820"/>
                </a:lnTo>
                <a:close/>
                <a:moveTo>
                  <a:pt x="4326" y="1819"/>
                </a:moveTo>
                <a:lnTo>
                  <a:pt x="4328" y="1819"/>
                </a:lnTo>
                <a:lnTo>
                  <a:pt x="4329" y="1820"/>
                </a:lnTo>
                <a:lnTo>
                  <a:pt x="4329" y="1820"/>
                </a:lnTo>
                <a:lnTo>
                  <a:pt x="4326" y="1823"/>
                </a:lnTo>
                <a:lnTo>
                  <a:pt x="4325" y="1824"/>
                </a:lnTo>
                <a:lnTo>
                  <a:pt x="4325" y="1824"/>
                </a:lnTo>
                <a:lnTo>
                  <a:pt x="4326" y="1824"/>
                </a:lnTo>
                <a:lnTo>
                  <a:pt x="4329" y="1824"/>
                </a:lnTo>
                <a:lnTo>
                  <a:pt x="4333" y="1824"/>
                </a:lnTo>
                <a:lnTo>
                  <a:pt x="4336" y="1824"/>
                </a:lnTo>
                <a:lnTo>
                  <a:pt x="4337" y="1824"/>
                </a:lnTo>
                <a:lnTo>
                  <a:pt x="4337" y="1824"/>
                </a:lnTo>
                <a:lnTo>
                  <a:pt x="4339" y="1824"/>
                </a:lnTo>
                <a:lnTo>
                  <a:pt x="4340" y="1824"/>
                </a:lnTo>
                <a:lnTo>
                  <a:pt x="4343" y="1822"/>
                </a:lnTo>
                <a:lnTo>
                  <a:pt x="4337" y="1820"/>
                </a:lnTo>
                <a:lnTo>
                  <a:pt x="4337" y="1816"/>
                </a:lnTo>
                <a:lnTo>
                  <a:pt x="4337" y="1816"/>
                </a:lnTo>
                <a:lnTo>
                  <a:pt x="4335" y="1818"/>
                </a:lnTo>
                <a:lnTo>
                  <a:pt x="4333" y="1820"/>
                </a:lnTo>
                <a:lnTo>
                  <a:pt x="4333" y="1816"/>
                </a:lnTo>
                <a:lnTo>
                  <a:pt x="4333" y="1816"/>
                </a:lnTo>
                <a:lnTo>
                  <a:pt x="4331" y="1817"/>
                </a:lnTo>
                <a:lnTo>
                  <a:pt x="4327" y="1813"/>
                </a:lnTo>
                <a:lnTo>
                  <a:pt x="4325" y="1814"/>
                </a:lnTo>
                <a:lnTo>
                  <a:pt x="4322" y="1816"/>
                </a:lnTo>
                <a:lnTo>
                  <a:pt x="4324" y="1817"/>
                </a:lnTo>
                <a:lnTo>
                  <a:pt x="4326" y="1819"/>
                </a:lnTo>
                <a:close/>
                <a:moveTo>
                  <a:pt x="4370" y="1801"/>
                </a:moveTo>
                <a:lnTo>
                  <a:pt x="4370" y="1801"/>
                </a:lnTo>
                <a:lnTo>
                  <a:pt x="4370" y="1802"/>
                </a:lnTo>
                <a:lnTo>
                  <a:pt x="4371" y="1802"/>
                </a:lnTo>
                <a:lnTo>
                  <a:pt x="4370" y="1801"/>
                </a:lnTo>
                <a:lnTo>
                  <a:pt x="4370" y="1801"/>
                </a:lnTo>
                <a:close/>
                <a:moveTo>
                  <a:pt x="4366" y="1797"/>
                </a:moveTo>
                <a:lnTo>
                  <a:pt x="4363" y="1797"/>
                </a:lnTo>
                <a:lnTo>
                  <a:pt x="4365" y="1798"/>
                </a:lnTo>
                <a:lnTo>
                  <a:pt x="4366" y="1798"/>
                </a:lnTo>
                <a:lnTo>
                  <a:pt x="4366" y="1797"/>
                </a:lnTo>
                <a:close/>
                <a:moveTo>
                  <a:pt x="4569" y="1576"/>
                </a:moveTo>
                <a:lnTo>
                  <a:pt x="4569" y="1576"/>
                </a:lnTo>
                <a:lnTo>
                  <a:pt x="4567" y="1581"/>
                </a:lnTo>
                <a:lnTo>
                  <a:pt x="4567" y="1582"/>
                </a:lnTo>
                <a:lnTo>
                  <a:pt x="4567" y="1582"/>
                </a:lnTo>
                <a:lnTo>
                  <a:pt x="4569" y="1579"/>
                </a:lnTo>
                <a:lnTo>
                  <a:pt x="4569" y="1576"/>
                </a:lnTo>
                <a:close/>
                <a:moveTo>
                  <a:pt x="4735" y="983"/>
                </a:moveTo>
                <a:lnTo>
                  <a:pt x="4728" y="991"/>
                </a:lnTo>
                <a:lnTo>
                  <a:pt x="4725" y="994"/>
                </a:lnTo>
                <a:lnTo>
                  <a:pt x="4722" y="997"/>
                </a:lnTo>
                <a:lnTo>
                  <a:pt x="4722" y="998"/>
                </a:lnTo>
                <a:lnTo>
                  <a:pt x="4725" y="997"/>
                </a:lnTo>
                <a:lnTo>
                  <a:pt x="4726" y="997"/>
                </a:lnTo>
                <a:lnTo>
                  <a:pt x="4727" y="997"/>
                </a:lnTo>
                <a:lnTo>
                  <a:pt x="4728" y="997"/>
                </a:lnTo>
                <a:lnTo>
                  <a:pt x="4729" y="994"/>
                </a:lnTo>
                <a:lnTo>
                  <a:pt x="4731" y="991"/>
                </a:lnTo>
                <a:lnTo>
                  <a:pt x="4740" y="986"/>
                </a:lnTo>
                <a:lnTo>
                  <a:pt x="4738" y="984"/>
                </a:lnTo>
                <a:lnTo>
                  <a:pt x="4735" y="983"/>
                </a:lnTo>
                <a:close/>
                <a:moveTo>
                  <a:pt x="4583" y="1722"/>
                </a:moveTo>
                <a:lnTo>
                  <a:pt x="4588" y="1724"/>
                </a:lnTo>
                <a:lnTo>
                  <a:pt x="4593" y="1724"/>
                </a:lnTo>
                <a:lnTo>
                  <a:pt x="4596" y="1722"/>
                </a:lnTo>
                <a:lnTo>
                  <a:pt x="4599" y="1722"/>
                </a:lnTo>
                <a:lnTo>
                  <a:pt x="4578" y="1720"/>
                </a:lnTo>
                <a:lnTo>
                  <a:pt x="4578" y="1720"/>
                </a:lnTo>
                <a:lnTo>
                  <a:pt x="4583" y="1722"/>
                </a:lnTo>
                <a:close/>
                <a:moveTo>
                  <a:pt x="4580" y="1706"/>
                </a:moveTo>
                <a:lnTo>
                  <a:pt x="4581" y="1705"/>
                </a:lnTo>
                <a:lnTo>
                  <a:pt x="4581" y="1705"/>
                </a:lnTo>
                <a:lnTo>
                  <a:pt x="4582" y="1707"/>
                </a:lnTo>
                <a:lnTo>
                  <a:pt x="4582" y="1710"/>
                </a:lnTo>
                <a:lnTo>
                  <a:pt x="4588" y="1711"/>
                </a:lnTo>
                <a:lnTo>
                  <a:pt x="4592" y="1710"/>
                </a:lnTo>
                <a:lnTo>
                  <a:pt x="4588" y="1708"/>
                </a:lnTo>
                <a:lnTo>
                  <a:pt x="4582" y="1704"/>
                </a:lnTo>
                <a:lnTo>
                  <a:pt x="4581" y="1704"/>
                </a:lnTo>
                <a:lnTo>
                  <a:pt x="4578" y="1704"/>
                </a:lnTo>
                <a:lnTo>
                  <a:pt x="4578" y="1704"/>
                </a:lnTo>
                <a:lnTo>
                  <a:pt x="4578" y="1705"/>
                </a:lnTo>
                <a:lnTo>
                  <a:pt x="4580" y="1706"/>
                </a:lnTo>
                <a:close/>
                <a:moveTo>
                  <a:pt x="4506" y="1694"/>
                </a:moveTo>
                <a:lnTo>
                  <a:pt x="4507" y="1694"/>
                </a:lnTo>
                <a:lnTo>
                  <a:pt x="4507" y="1694"/>
                </a:lnTo>
                <a:lnTo>
                  <a:pt x="4507" y="1694"/>
                </a:lnTo>
                <a:lnTo>
                  <a:pt x="4506" y="1694"/>
                </a:lnTo>
                <a:lnTo>
                  <a:pt x="4506" y="1694"/>
                </a:lnTo>
                <a:lnTo>
                  <a:pt x="4506" y="1694"/>
                </a:lnTo>
                <a:lnTo>
                  <a:pt x="4506" y="1694"/>
                </a:lnTo>
                <a:lnTo>
                  <a:pt x="4506" y="1694"/>
                </a:lnTo>
                <a:lnTo>
                  <a:pt x="4506" y="1694"/>
                </a:lnTo>
                <a:lnTo>
                  <a:pt x="4506" y="1694"/>
                </a:lnTo>
                <a:lnTo>
                  <a:pt x="4506" y="1694"/>
                </a:lnTo>
                <a:lnTo>
                  <a:pt x="4506" y="1694"/>
                </a:lnTo>
                <a:lnTo>
                  <a:pt x="4506" y="1694"/>
                </a:lnTo>
                <a:close/>
                <a:moveTo>
                  <a:pt x="4637" y="1153"/>
                </a:moveTo>
                <a:lnTo>
                  <a:pt x="4637" y="1154"/>
                </a:lnTo>
                <a:lnTo>
                  <a:pt x="4639" y="1154"/>
                </a:lnTo>
                <a:lnTo>
                  <a:pt x="4638" y="1153"/>
                </a:lnTo>
                <a:lnTo>
                  <a:pt x="4637" y="1153"/>
                </a:lnTo>
                <a:close/>
                <a:moveTo>
                  <a:pt x="4728" y="1471"/>
                </a:moveTo>
                <a:lnTo>
                  <a:pt x="4728" y="1468"/>
                </a:lnTo>
                <a:lnTo>
                  <a:pt x="4725" y="1469"/>
                </a:lnTo>
                <a:lnTo>
                  <a:pt x="4728" y="1471"/>
                </a:lnTo>
                <a:lnTo>
                  <a:pt x="4728" y="1471"/>
                </a:lnTo>
                <a:close/>
                <a:moveTo>
                  <a:pt x="4736" y="1002"/>
                </a:moveTo>
                <a:lnTo>
                  <a:pt x="4734" y="1002"/>
                </a:lnTo>
                <a:lnTo>
                  <a:pt x="4736" y="1003"/>
                </a:lnTo>
                <a:lnTo>
                  <a:pt x="4736" y="1003"/>
                </a:lnTo>
                <a:lnTo>
                  <a:pt x="4736" y="1002"/>
                </a:lnTo>
                <a:close/>
                <a:moveTo>
                  <a:pt x="4731" y="1764"/>
                </a:moveTo>
                <a:lnTo>
                  <a:pt x="4733" y="1764"/>
                </a:lnTo>
                <a:lnTo>
                  <a:pt x="4731" y="1763"/>
                </a:lnTo>
                <a:lnTo>
                  <a:pt x="4731" y="1761"/>
                </a:lnTo>
                <a:lnTo>
                  <a:pt x="4730" y="1763"/>
                </a:lnTo>
                <a:lnTo>
                  <a:pt x="4729" y="1764"/>
                </a:lnTo>
                <a:lnTo>
                  <a:pt x="4730" y="1764"/>
                </a:lnTo>
                <a:lnTo>
                  <a:pt x="4731" y="1765"/>
                </a:lnTo>
                <a:lnTo>
                  <a:pt x="4731" y="1764"/>
                </a:lnTo>
                <a:close/>
                <a:moveTo>
                  <a:pt x="4717" y="1488"/>
                </a:moveTo>
                <a:lnTo>
                  <a:pt x="4714" y="1491"/>
                </a:lnTo>
                <a:lnTo>
                  <a:pt x="4715" y="1494"/>
                </a:lnTo>
                <a:lnTo>
                  <a:pt x="4718" y="1488"/>
                </a:lnTo>
                <a:lnTo>
                  <a:pt x="4717" y="1488"/>
                </a:lnTo>
                <a:close/>
                <a:moveTo>
                  <a:pt x="4451" y="1634"/>
                </a:moveTo>
                <a:lnTo>
                  <a:pt x="4455" y="1630"/>
                </a:lnTo>
                <a:lnTo>
                  <a:pt x="4453" y="1628"/>
                </a:lnTo>
                <a:lnTo>
                  <a:pt x="4452" y="1627"/>
                </a:lnTo>
                <a:lnTo>
                  <a:pt x="4451" y="1625"/>
                </a:lnTo>
                <a:lnTo>
                  <a:pt x="4451" y="1624"/>
                </a:lnTo>
                <a:lnTo>
                  <a:pt x="4449" y="1624"/>
                </a:lnTo>
                <a:lnTo>
                  <a:pt x="4449" y="1628"/>
                </a:lnTo>
                <a:lnTo>
                  <a:pt x="4450" y="1629"/>
                </a:lnTo>
                <a:lnTo>
                  <a:pt x="4451" y="1630"/>
                </a:lnTo>
                <a:lnTo>
                  <a:pt x="4451" y="1632"/>
                </a:lnTo>
                <a:lnTo>
                  <a:pt x="4451" y="1634"/>
                </a:lnTo>
                <a:close/>
                <a:moveTo>
                  <a:pt x="4517" y="1220"/>
                </a:moveTo>
                <a:lnTo>
                  <a:pt x="4515" y="1221"/>
                </a:lnTo>
                <a:lnTo>
                  <a:pt x="4514" y="1222"/>
                </a:lnTo>
                <a:lnTo>
                  <a:pt x="4514" y="1227"/>
                </a:lnTo>
                <a:lnTo>
                  <a:pt x="4516" y="1227"/>
                </a:lnTo>
                <a:lnTo>
                  <a:pt x="4517" y="1220"/>
                </a:lnTo>
                <a:close/>
                <a:moveTo>
                  <a:pt x="4494" y="1721"/>
                </a:moveTo>
                <a:lnTo>
                  <a:pt x="4497" y="1723"/>
                </a:lnTo>
                <a:lnTo>
                  <a:pt x="4500" y="1724"/>
                </a:lnTo>
                <a:lnTo>
                  <a:pt x="4504" y="1724"/>
                </a:lnTo>
                <a:lnTo>
                  <a:pt x="4505" y="1722"/>
                </a:lnTo>
                <a:lnTo>
                  <a:pt x="4505" y="1720"/>
                </a:lnTo>
                <a:lnTo>
                  <a:pt x="4505" y="1718"/>
                </a:lnTo>
                <a:lnTo>
                  <a:pt x="4504" y="1717"/>
                </a:lnTo>
                <a:lnTo>
                  <a:pt x="4499" y="1719"/>
                </a:lnTo>
                <a:lnTo>
                  <a:pt x="4494" y="1721"/>
                </a:lnTo>
                <a:close/>
                <a:moveTo>
                  <a:pt x="4503" y="1700"/>
                </a:moveTo>
                <a:lnTo>
                  <a:pt x="4505" y="1696"/>
                </a:lnTo>
                <a:lnTo>
                  <a:pt x="4504" y="1696"/>
                </a:lnTo>
                <a:lnTo>
                  <a:pt x="4503" y="1696"/>
                </a:lnTo>
                <a:lnTo>
                  <a:pt x="4505" y="1695"/>
                </a:lnTo>
                <a:lnTo>
                  <a:pt x="4506" y="1694"/>
                </a:lnTo>
                <a:lnTo>
                  <a:pt x="4507" y="1695"/>
                </a:lnTo>
                <a:lnTo>
                  <a:pt x="4508" y="1696"/>
                </a:lnTo>
                <a:lnTo>
                  <a:pt x="4509" y="1696"/>
                </a:lnTo>
                <a:lnTo>
                  <a:pt x="4506" y="1694"/>
                </a:lnTo>
                <a:lnTo>
                  <a:pt x="4507" y="1694"/>
                </a:lnTo>
                <a:lnTo>
                  <a:pt x="4509" y="1696"/>
                </a:lnTo>
                <a:lnTo>
                  <a:pt x="4515" y="1696"/>
                </a:lnTo>
                <a:lnTo>
                  <a:pt x="4516" y="1696"/>
                </a:lnTo>
                <a:lnTo>
                  <a:pt x="4518" y="1695"/>
                </a:lnTo>
                <a:lnTo>
                  <a:pt x="4518" y="1696"/>
                </a:lnTo>
                <a:lnTo>
                  <a:pt x="4517" y="1698"/>
                </a:lnTo>
                <a:lnTo>
                  <a:pt x="4517" y="1700"/>
                </a:lnTo>
                <a:lnTo>
                  <a:pt x="4514" y="1700"/>
                </a:lnTo>
                <a:lnTo>
                  <a:pt x="4512" y="1698"/>
                </a:lnTo>
                <a:lnTo>
                  <a:pt x="4511" y="1700"/>
                </a:lnTo>
                <a:lnTo>
                  <a:pt x="4510" y="1698"/>
                </a:lnTo>
                <a:lnTo>
                  <a:pt x="4510" y="1700"/>
                </a:lnTo>
                <a:lnTo>
                  <a:pt x="4508" y="1700"/>
                </a:lnTo>
                <a:lnTo>
                  <a:pt x="4507" y="1700"/>
                </a:lnTo>
                <a:lnTo>
                  <a:pt x="4506" y="1700"/>
                </a:lnTo>
                <a:lnTo>
                  <a:pt x="4503" y="1700"/>
                </a:lnTo>
                <a:close/>
                <a:moveTo>
                  <a:pt x="4509" y="1697"/>
                </a:moveTo>
                <a:lnTo>
                  <a:pt x="4509" y="1698"/>
                </a:lnTo>
                <a:lnTo>
                  <a:pt x="4510" y="1698"/>
                </a:lnTo>
                <a:lnTo>
                  <a:pt x="4509" y="1697"/>
                </a:lnTo>
                <a:close/>
                <a:moveTo>
                  <a:pt x="4509" y="1229"/>
                </a:moveTo>
                <a:lnTo>
                  <a:pt x="4510" y="1227"/>
                </a:lnTo>
                <a:lnTo>
                  <a:pt x="4509" y="1226"/>
                </a:lnTo>
                <a:lnTo>
                  <a:pt x="4506" y="1227"/>
                </a:lnTo>
                <a:lnTo>
                  <a:pt x="4507" y="1228"/>
                </a:lnTo>
                <a:lnTo>
                  <a:pt x="4507" y="1229"/>
                </a:lnTo>
                <a:lnTo>
                  <a:pt x="4509" y="1229"/>
                </a:lnTo>
                <a:close/>
                <a:moveTo>
                  <a:pt x="4569" y="1710"/>
                </a:moveTo>
                <a:lnTo>
                  <a:pt x="4571" y="1708"/>
                </a:lnTo>
                <a:lnTo>
                  <a:pt x="4569" y="1706"/>
                </a:lnTo>
                <a:lnTo>
                  <a:pt x="4567" y="1708"/>
                </a:lnTo>
                <a:lnTo>
                  <a:pt x="4569" y="1710"/>
                </a:lnTo>
                <a:close/>
                <a:moveTo>
                  <a:pt x="4566" y="1582"/>
                </a:moveTo>
                <a:lnTo>
                  <a:pt x="4564" y="1582"/>
                </a:lnTo>
                <a:lnTo>
                  <a:pt x="4566" y="1583"/>
                </a:lnTo>
                <a:lnTo>
                  <a:pt x="4566" y="1582"/>
                </a:lnTo>
                <a:close/>
                <a:moveTo>
                  <a:pt x="4511" y="1705"/>
                </a:moveTo>
                <a:lnTo>
                  <a:pt x="4505" y="1705"/>
                </a:lnTo>
                <a:lnTo>
                  <a:pt x="4505" y="1705"/>
                </a:lnTo>
                <a:lnTo>
                  <a:pt x="4504" y="1706"/>
                </a:lnTo>
                <a:lnTo>
                  <a:pt x="4508" y="1705"/>
                </a:lnTo>
                <a:lnTo>
                  <a:pt x="4511" y="1705"/>
                </a:lnTo>
                <a:close/>
                <a:moveTo>
                  <a:pt x="4466" y="1741"/>
                </a:moveTo>
                <a:lnTo>
                  <a:pt x="4466" y="1740"/>
                </a:lnTo>
                <a:lnTo>
                  <a:pt x="4465" y="1741"/>
                </a:lnTo>
                <a:lnTo>
                  <a:pt x="4463" y="1744"/>
                </a:lnTo>
                <a:lnTo>
                  <a:pt x="4466" y="1744"/>
                </a:lnTo>
                <a:lnTo>
                  <a:pt x="4468" y="1744"/>
                </a:lnTo>
                <a:lnTo>
                  <a:pt x="4469" y="1745"/>
                </a:lnTo>
                <a:lnTo>
                  <a:pt x="4469" y="1745"/>
                </a:lnTo>
                <a:lnTo>
                  <a:pt x="4469" y="1745"/>
                </a:lnTo>
                <a:lnTo>
                  <a:pt x="4471" y="1740"/>
                </a:lnTo>
                <a:lnTo>
                  <a:pt x="4468" y="1740"/>
                </a:lnTo>
                <a:lnTo>
                  <a:pt x="4466" y="1741"/>
                </a:lnTo>
                <a:close/>
                <a:moveTo>
                  <a:pt x="4478" y="1798"/>
                </a:moveTo>
                <a:lnTo>
                  <a:pt x="4478" y="1798"/>
                </a:lnTo>
                <a:lnTo>
                  <a:pt x="4479" y="1798"/>
                </a:lnTo>
                <a:lnTo>
                  <a:pt x="4480" y="1798"/>
                </a:lnTo>
                <a:lnTo>
                  <a:pt x="4481" y="1797"/>
                </a:lnTo>
                <a:lnTo>
                  <a:pt x="4479" y="1797"/>
                </a:lnTo>
                <a:lnTo>
                  <a:pt x="4478" y="1798"/>
                </a:lnTo>
                <a:close/>
                <a:moveTo>
                  <a:pt x="4497" y="1812"/>
                </a:moveTo>
                <a:lnTo>
                  <a:pt x="4497" y="1812"/>
                </a:lnTo>
                <a:lnTo>
                  <a:pt x="4497" y="1809"/>
                </a:lnTo>
                <a:lnTo>
                  <a:pt x="4493" y="1809"/>
                </a:lnTo>
                <a:lnTo>
                  <a:pt x="4493" y="1809"/>
                </a:lnTo>
                <a:lnTo>
                  <a:pt x="4497" y="1812"/>
                </a:lnTo>
                <a:close/>
                <a:moveTo>
                  <a:pt x="4473" y="1816"/>
                </a:moveTo>
                <a:lnTo>
                  <a:pt x="4469" y="1813"/>
                </a:lnTo>
                <a:lnTo>
                  <a:pt x="4469" y="1813"/>
                </a:lnTo>
                <a:lnTo>
                  <a:pt x="4469" y="1813"/>
                </a:lnTo>
                <a:lnTo>
                  <a:pt x="4467" y="1813"/>
                </a:lnTo>
                <a:lnTo>
                  <a:pt x="4465" y="1812"/>
                </a:lnTo>
                <a:lnTo>
                  <a:pt x="4465" y="1815"/>
                </a:lnTo>
                <a:lnTo>
                  <a:pt x="4466" y="1814"/>
                </a:lnTo>
                <a:lnTo>
                  <a:pt x="4467" y="1813"/>
                </a:lnTo>
                <a:lnTo>
                  <a:pt x="4469" y="1815"/>
                </a:lnTo>
                <a:lnTo>
                  <a:pt x="4469" y="1816"/>
                </a:lnTo>
                <a:lnTo>
                  <a:pt x="4473" y="1816"/>
                </a:lnTo>
                <a:close/>
                <a:moveTo>
                  <a:pt x="4485" y="1739"/>
                </a:moveTo>
                <a:lnTo>
                  <a:pt x="4483" y="1740"/>
                </a:lnTo>
                <a:lnTo>
                  <a:pt x="4472" y="1740"/>
                </a:lnTo>
                <a:lnTo>
                  <a:pt x="4477" y="1745"/>
                </a:lnTo>
                <a:lnTo>
                  <a:pt x="4475" y="1747"/>
                </a:lnTo>
                <a:lnTo>
                  <a:pt x="4477" y="1746"/>
                </a:lnTo>
                <a:lnTo>
                  <a:pt x="4477" y="1746"/>
                </a:lnTo>
                <a:lnTo>
                  <a:pt x="4477" y="1746"/>
                </a:lnTo>
                <a:lnTo>
                  <a:pt x="4478" y="1746"/>
                </a:lnTo>
                <a:lnTo>
                  <a:pt x="4478" y="1748"/>
                </a:lnTo>
                <a:lnTo>
                  <a:pt x="4478" y="1748"/>
                </a:lnTo>
                <a:lnTo>
                  <a:pt x="4480" y="1746"/>
                </a:lnTo>
                <a:lnTo>
                  <a:pt x="4482" y="1745"/>
                </a:lnTo>
                <a:lnTo>
                  <a:pt x="4482" y="1745"/>
                </a:lnTo>
                <a:lnTo>
                  <a:pt x="4483" y="1744"/>
                </a:lnTo>
                <a:lnTo>
                  <a:pt x="4485" y="1744"/>
                </a:lnTo>
                <a:lnTo>
                  <a:pt x="4483" y="1743"/>
                </a:lnTo>
                <a:lnTo>
                  <a:pt x="4487" y="1743"/>
                </a:lnTo>
                <a:lnTo>
                  <a:pt x="4490" y="1744"/>
                </a:lnTo>
                <a:lnTo>
                  <a:pt x="4490" y="1744"/>
                </a:lnTo>
                <a:lnTo>
                  <a:pt x="4498" y="1744"/>
                </a:lnTo>
                <a:lnTo>
                  <a:pt x="4499" y="1745"/>
                </a:lnTo>
                <a:lnTo>
                  <a:pt x="4510" y="1751"/>
                </a:lnTo>
                <a:lnTo>
                  <a:pt x="4510" y="1751"/>
                </a:lnTo>
                <a:lnTo>
                  <a:pt x="4510" y="1751"/>
                </a:lnTo>
                <a:lnTo>
                  <a:pt x="4511" y="1745"/>
                </a:lnTo>
                <a:lnTo>
                  <a:pt x="4511" y="1744"/>
                </a:lnTo>
                <a:lnTo>
                  <a:pt x="4508" y="1741"/>
                </a:lnTo>
                <a:lnTo>
                  <a:pt x="4507" y="1739"/>
                </a:lnTo>
                <a:lnTo>
                  <a:pt x="4506" y="1740"/>
                </a:lnTo>
                <a:lnTo>
                  <a:pt x="4504" y="1740"/>
                </a:lnTo>
                <a:lnTo>
                  <a:pt x="4499" y="1740"/>
                </a:lnTo>
                <a:lnTo>
                  <a:pt x="4496" y="1737"/>
                </a:lnTo>
                <a:lnTo>
                  <a:pt x="4493" y="1734"/>
                </a:lnTo>
                <a:lnTo>
                  <a:pt x="4489" y="1736"/>
                </a:lnTo>
                <a:lnTo>
                  <a:pt x="4486" y="1737"/>
                </a:lnTo>
                <a:lnTo>
                  <a:pt x="4485" y="1739"/>
                </a:lnTo>
                <a:close/>
                <a:moveTo>
                  <a:pt x="4562" y="1160"/>
                </a:moveTo>
                <a:lnTo>
                  <a:pt x="4565" y="1158"/>
                </a:lnTo>
                <a:lnTo>
                  <a:pt x="4562" y="1158"/>
                </a:lnTo>
                <a:lnTo>
                  <a:pt x="4562" y="1159"/>
                </a:lnTo>
                <a:lnTo>
                  <a:pt x="4562" y="1160"/>
                </a:lnTo>
                <a:close/>
                <a:moveTo>
                  <a:pt x="4470" y="1720"/>
                </a:moveTo>
                <a:lnTo>
                  <a:pt x="4471" y="1720"/>
                </a:lnTo>
                <a:lnTo>
                  <a:pt x="4463" y="1715"/>
                </a:lnTo>
                <a:lnTo>
                  <a:pt x="4463" y="1715"/>
                </a:lnTo>
                <a:lnTo>
                  <a:pt x="4461" y="1715"/>
                </a:lnTo>
                <a:lnTo>
                  <a:pt x="4457" y="1716"/>
                </a:lnTo>
                <a:lnTo>
                  <a:pt x="4457" y="1720"/>
                </a:lnTo>
                <a:lnTo>
                  <a:pt x="4463" y="1720"/>
                </a:lnTo>
                <a:lnTo>
                  <a:pt x="4470" y="1720"/>
                </a:lnTo>
                <a:close/>
                <a:moveTo>
                  <a:pt x="4465" y="1816"/>
                </a:moveTo>
                <a:lnTo>
                  <a:pt x="4465" y="1816"/>
                </a:lnTo>
                <a:lnTo>
                  <a:pt x="4465" y="1816"/>
                </a:lnTo>
                <a:lnTo>
                  <a:pt x="4465" y="1816"/>
                </a:lnTo>
                <a:close/>
                <a:moveTo>
                  <a:pt x="4471" y="1740"/>
                </a:moveTo>
                <a:lnTo>
                  <a:pt x="4471" y="1740"/>
                </a:lnTo>
                <a:lnTo>
                  <a:pt x="4472" y="1740"/>
                </a:lnTo>
                <a:lnTo>
                  <a:pt x="4471" y="1739"/>
                </a:lnTo>
                <a:lnTo>
                  <a:pt x="4471" y="1740"/>
                </a:lnTo>
                <a:close/>
                <a:moveTo>
                  <a:pt x="4475" y="1745"/>
                </a:moveTo>
                <a:lnTo>
                  <a:pt x="4470" y="1745"/>
                </a:lnTo>
                <a:lnTo>
                  <a:pt x="4469" y="1746"/>
                </a:lnTo>
                <a:lnTo>
                  <a:pt x="4469" y="1747"/>
                </a:lnTo>
                <a:lnTo>
                  <a:pt x="4469" y="1749"/>
                </a:lnTo>
                <a:lnTo>
                  <a:pt x="4469" y="1749"/>
                </a:lnTo>
                <a:lnTo>
                  <a:pt x="4471" y="1747"/>
                </a:lnTo>
                <a:lnTo>
                  <a:pt x="4471" y="1749"/>
                </a:lnTo>
                <a:lnTo>
                  <a:pt x="4473" y="1749"/>
                </a:lnTo>
                <a:lnTo>
                  <a:pt x="4475" y="1745"/>
                </a:lnTo>
                <a:close/>
                <a:moveTo>
                  <a:pt x="4488" y="1164"/>
                </a:moveTo>
                <a:lnTo>
                  <a:pt x="4492" y="1162"/>
                </a:lnTo>
                <a:lnTo>
                  <a:pt x="4491" y="1162"/>
                </a:lnTo>
                <a:lnTo>
                  <a:pt x="4490" y="1162"/>
                </a:lnTo>
                <a:lnTo>
                  <a:pt x="4489" y="1163"/>
                </a:lnTo>
                <a:lnTo>
                  <a:pt x="4488" y="1164"/>
                </a:lnTo>
                <a:close/>
                <a:moveTo>
                  <a:pt x="4490" y="1162"/>
                </a:moveTo>
                <a:lnTo>
                  <a:pt x="4492" y="1162"/>
                </a:lnTo>
                <a:lnTo>
                  <a:pt x="4493" y="1158"/>
                </a:lnTo>
                <a:lnTo>
                  <a:pt x="4494" y="1154"/>
                </a:lnTo>
                <a:lnTo>
                  <a:pt x="4490" y="1157"/>
                </a:lnTo>
                <a:lnTo>
                  <a:pt x="4490" y="1162"/>
                </a:lnTo>
                <a:close/>
                <a:moveTo>
                  <a:pt x="4510" y="1214"/>
                </a:moveTo>
                <a:lnTo>
                  <a:pt x="4510" y="1214"/>
                </a:lnTo>
                <a:lnTo>
                  <a:pt x="4510" y="1214"/>
                </a:lnTo>
                <a:lnTo>
                  <a:pt x="4510" y="1214"/>
                </a:lnTo>
                <a:lnTo>
                  <a:pt x="4510" y="1214"/>
                </a:lnTo>
                <a:close/>
                <a:moveTo>
                  <a:pt x="4493" y="1696"/>
                </a:moveTo>
                <a:lnTo>
                  <a:pt x="4493" y="1696"/>
                </a:lnTo>
                <a:lnTo>
                  <a:pt x="4493" y="1695"/>
                </a:lnTo>
                <a:lnTo>
                  <a:pt x="4489" y="1692"/>
                </a:lnTo>
                <a:lnTo>
                  <a:pt x="4493" y="1696"/>
                </a:lnTo>
                <a:close/>
                <a:moveTo>
                  <a:pt x="4489" y="1263"/>
                </a:moveTo>
                <a:lnTo>
                  <a:pt x="4490" y="1263"/>
                </a:lnTo>
                <a:lnTo>
                  <a:pt x="4490" y="1264"/>
                </a:lnTo>
                <a:lnTo>
                  <a:pt x="4492" y="1264"/>
                </a:lnTo>
                <a:lnTo>
                  <a:pt x="4494" y="1261"/>
                </a:lnTo>
                <a:lnTo>
                  <a:pt x="4496" y="1259"/>
                </a:lnTo>
                <a:lnTo>
                  <a:pt x="4496" y="1258"/>
                </a:lnTo>
                <a:lnTo>
                  <a:pt x="4496" y="1258"/>
                </a:lnTo>
                <a:lnTo>
                  <a:pt x="4492" y="1260"/>
                </a:lnTo>
                <a:lnTo>
                  <a:pt x="4488" y="1262"/>
                </a:lnTo>
                <a:lnTo>
                  <a:pt x="4489" y="1263"/>
                </a:lnTo>
                <a:close/>
                <a:moveTo>
                  <a:pt x="4487" y="1184"/>
                </a:moveTo>
                <a:lnTo>
                  <a:pt x="4487" y="1185"/>
                </a:lnTo>
                <a:lnTo>
                  <a:pt x="4487" y="1185"/>
                </a:lnTo>
                <a:lnTo>
                  <a:pt x="4488" y="1185"/>
                </a:lnTo>
                <a:lnTo>
                  <a:pt x="4488" y="1184"/>
                </a:lnTo>
                <a:lnTo>
                  <a:pt x="4488" y="1183"/>
                </a:lnTo>
                <a:lnTo>
                  <a:pt x="4488" y="1181"/>
                </a:lnTo>
                <a:lnTo>
                  <a:pt x="4488" y="1181"/>
                </a:lnTo>
                <a:lnTo>
                  <a:pt x="4488" y="1182"/>
                </a:lnTo>
                <a:lnTo>
                  <a:pt x="4487" y="1184"/>
                </a:lnTo>
                <a:close/>
                <a:moveTo>
                  <a:pt x="4462" y="1805"/>
                </a:moveTo>
                <a:lnTo>
                  <a:pt x="4460" y="1804"/>
                </a:lnTo>
                <a:lnTo>
                  <a:pt x="4460" y="1805"/>
                </a:lnTo>
                <a:lnTo>
                  <a:pt x="4462" y="1805"/>
                </a:lnTo>
                <a:close/>
                <a:moveTo>
                  <a:pt x="4722" y="1481"/>
                </a:moveTo>
                <a:lnTo>
                  <a:pt x="4718" y="1481"/>
                </a:lnTo>
                <a:lnTo>
                  <a:pt x="4721" y="1482"/>
                </a:lnTo>
                <a:lnTo>
                  <a:pt x="4722" y="1481"/>
                </a:lnTo>
                <a:close/>
                <a:moveTo>
                  <a:pt x="4421" y="1533"/>
                </a:moveTo>
                <a:lnTo>
                  <a:pt x="4421" y="1533"/>
                </a:lnTo>
                <a:lnTo>
                  <a:pt x="4421" y="1533"/>
                </a:lnTo>
                <a:lnTo>
                  <a:pt x="4421" y="1535"/>
                </a:lnTo>
                <a:lnTo>
                  <a:pt x="4421" y="1535"/>
                </a:lnTo>
                <a:lnTo>
                  <a:pt x="4421" y="1535"/>
                </a:lnTo>
                <a:lnTo>
                  <a:pt x="4421" y="1540"/>
                </a:lnTo>
                <a:lnTo>
                  <a:pt x="4427" y="1541"/>
                </a:lnTo>
                <a:lnTo>
                  <a:pt x="4427" y="1536"/>
                </a:lnTo>
                <a:lnTo>
                  <a:pt x="4429" y="1539"/>
                </a:lnTo>
                <a:lnTo>
                  <a:pt x="4429" y="1539"/>
                </a:lnTo>
                <a:lnTo>
                  <a:pt x="4429" y="1539"/>
                </a:lnTo>
                <a:lnTo>
                  <a:pt x="4431" y="1537"/>
                </a:lnTo>
                <a:lnTo>
                  <a:pt x="4426" y="1531"/>
                </a:lnTo>
                <a:lnTo>
                  <a:pt x="4424" y="1532"/>
                </a:lnTo>
                <a:lnTo>
                  <a:pt x="4421" y="1533"/>
                </a:lnTo>
                <a:close/>
                <a:moveTo>
                  <a:pt x="4423" y="1528"/>
                </a:moveTo>
                <a:lnTo>
                  <a:pt x="4425" y="1529"/>
                </a:lnTo>
                <a:lnTo>
                  <a:pt x="4425" y="1522"/>
                </a:lnTo>
                <a:lnTo>
                  <a:pt x="4426" y="1521"/>
                </a:lnTo>
                <a:lnTo>
                  <a:pt x="4427" y="1520"/>
                </a:lnTo>
                <a:lnTo>
                  <a:pt x="4423" y="1522"/>
                </a:lnTo>
                <a:lnTo>
                  <a:pt x="4418" y="1518"/>
                </a:lnTo>
                <a:lnTo>
                  <a:pt x="4419" y="1525"/>
                </a:lnTo>
                <a:lnTo>
                  <a:pt x="4421" y="1531"/>
                </a:lnTo>
                <a:lnTo>
                  <a:pt x="4421" y="1527"/>
                </a:lnTo>
                <a:lnTo>
                  <a:pt x="4423" y="1528"/>
                </a:lnTo>
                <a:close/>
                <a:moveTo>
                  <a:pt x="4421" y="1517"/>
                </a:moveTo>
                <a:lnTo>
                  <a:pt x="4418" y="1517"/>
                </a:lnTo>
                <a:lnTo>
                  <a:pt x="4421" y="1520"/>
                </a:lnTo>
                <a:lnTo>
                  <a:pt x="4423" y="1518"/>
                </a:lnTo>
                <a:lnTo>
                  <a:pt x="4421" y="1517"/>
                </a:lnTo>
                <a:close/>
                <a:moveTo>
                  <a:pt x="4426" y="1531"/>
                </a:moveTo>
                <a:lnTo>
                  <a:pt x="4427" y="1530"/>
                </a:lnTo>
                <a:lnTo>
                  <a:pt x="4425" y="1529"/>
                </a:lnTo>
                <a:lnTo>
                  <a:pt x="4425" y="1530"/>
                </a:lnTo>
                <a:lnTo>
                  <a:pt x="4426" y="1531"/>
                </a:lnTo>
                <a:close/>
                <a:moveTo>
                  <a:pt x="4421" y="1531"/>
                </a:moveTo>
                <a:lnTo>
                  <a:pt x="4421" y="1531"/>
                </a:lnTo>
                <a:lnTo>
                  <a:pt x="4421" y="1533"/>
                </a:lnTo>
                <a:lnTo>
                  <a:pt x="4421" y="1531"/>
                </a:lnTo>
                <a:close/>
                <a:moveTo>
                  <a:pt x="4423" y="1552"/>
                </a:moveTo>
                <a:lnTo>
                  <a:pt x="4423" y="1553"/>
                </a:lnTo>
                <a:lnTo>
                  <a:pt x="4424" y="1554"/>
                </a:lnTo>
                <a:lnTo>
                  <a:pt x="4424" y="1555"/>
                </a:lnTo>
                <a:lnTo>
                  <a:pt x="4424" y="1555"/>
                </a:lnTo>
                <a:lnTo>
                  <a:pt x="4424" y="1553"/>
                </a:lnTo>
                <a:lnTo>
                  <a:pt x="4424" y="1553"/>
                </a:lnTo>
                <a:lnTo>
                  <a:pt x="4423" y="1552"/>
                </a:lnTo>
                <a:lnTo>
                  <a:pt x="4423" y="1552"/>
                </a:lnTo>
                <a:close/>
                <a:moveTo>
                  <a:pt x="4389" y="1545"/>
                </a:moveTo>
                <a:lnTo>
                  <a:pt x="4391" y="1547"/>
                </a:lnTo>
                <a:lnTo>
                  <a:pt x="4393" y="1548"/>
                </a:lnTo>
                <a:lnTo>
                  <a:pt x="4395" y="1550"/>
                </a:lnTo>
                <a:lnTo>
                  <a:pt x="4397" y="1554"/>
                </a:lnTo>
                <a:lnTo>
                  <a:pt x="4399" y="1559"/>
                </a:lnTo>
                <a:lnTo>
                  <a:pt x="4401" y="1559"/>
                </a:lnTo>
                <a:lnTo>
                  <a:pt x="4403" y="1556"/>
                </a:lnTo>
                <a:lnTo>
                  <a:pt x="4404" y="1553"/>
                </a:lnTo>
                <a:lnTo>
                  <a:pt x="4400" y="1548"/>
                </a:lnTo>
                <a:lnTo>
                  <a:pt x="4404" y="1536"/>
                </a:lnTo>
                <a:lnTo>
                  <a:pt x="4405" y="1529"/>
                </a:lnTo>
                <a:lnTo>
                  <a:pt x="4405" y="1528"/>
                </a:lnTo>
                <a:lnTo>
                  <a:pt x="4403" y="1528"/>
                </a:lnTo>
                <a:lnTo>
                  <a:pt x="4401" y="1527"/>
                </a:lnTo>
                <a:lnTo>
                  <a:pt x="4399" y="1528"/>
                </a:lnTo>
                <a:lnTo>
                  <a:pt x="4397" y="1528"/>
                </a:lnTo>
                <a:lnTo>
                  <a:pt x="4397" y="1530"/>
                </a:lnTo>
                <a:lnTo>
                  <a:pt x="4394" y="1532"/>
                </a:lnTo>
                <a:lnTo>
                  <a:pt x="4394" y="1532"/>
                </a:lnTo>
                <a:lnTo>
                  <a:pt x="4394" y="1530"/>
                </a:lnTo>
                <a:lnTo>
                  <a:pt x="4390" y="1534"/>
                </a:lnTo>
                <a:lnTo>
                  <a:pt x="4391" y="1535"/>
                </a:lnTo>
                <a:lnTo>
                  <a:pt x="4393" y="1536"/>
                </a:lnTo>
                <a:lnTo>
                  <a:pt x="4393" y="1536"/>
                </a:lnTo>
                <a:lnTo>
                  <a:pt x="4393" y="1541"/>
                </a:lnTo>
                <a:lnTo>
                  <a:pt x="4394" y="1543"/>
                </a:lnTo>
                <a:lnTo>
                  <a:pt x="4389" y="1543"/>
                </a:lnTo>
                <a:lnTo>
                  <a:pt x="4389" y="1545"/>
                </a:lnTo>
                <a:close/>
                <a:moveTo>
                  <a:pt x="4409" y="1545"/>
                </a:moveTo>
                <a:lnTo>
                  <a:pt x="4409" y="1546"/>
                </a:lnTo>
                <a:lnTo>
                  <a:pt x="4413" y="1551"/>
                </a:lnTo>
                <a:lnTo>
                  <a:pt x="4420" y="1551"/>
                </a:lnTo>
                <a:lnTo>
                  <a:pt x="4422" y="1548"/>
                </a:lnTo>
                <a:lnTo>
                  <a:pt x="4423" y="1546"/>
                </a:lnTo>
                <a:lnTo>
                  <a:pt x="4421" y="1545"/>
                </a:lnTo>
                <a:lnTo>
                  <a:pt x="4421" y="1541"/>
                </a:lnTo>
                <a:lnTo>
                  <a:pt x="4419" y="1540"/>
                </a:lnTo>
                <a:lnTo>
                  <a:pt x="4416" y="1540"/>
                </a:lnTo>
                <a:lnTo>
                  <a:pt x="4409" y="1545"/>
                </a:lnTo>
                <a:close/>
                <a:moveTo>
                  <a:pt x="4394" y="1509"/>
                </a:moveTo>
                <a:lnTo>
                  <a:pt x="4394" y="1506"/>
                </a:lnTo>
                <a:lnTo>
                  <a:pt x="4390" y="1506"/>
                </a:lnTo>
                <a:lnTo>
                  <a:pt x="4394" y="1509"/>
                </a:lnTo>
                <a:lnTo>
                  <a:pt x="4394" y="1509"/>
                </a:lnTo>
                <a:close/>
                <a:moveTo>
                  <a:pt x="4417" y="1531"/>
                </a:moveTo>
                <a:lnTo>
                  <a:pt x="4417" y="1531"/>
                </a:lnTo>
                <a:lnTo>
                  <a:pt x="4417" y="1535"/>
                </a:lnTo>
                <a:lnTo>
                  <a:pt x="4420" y="1535"/>
                </a:lnTo>
                <a:lnTo>
                  <a:pt x="4421" y="1535"/>
                </a:lnTo>
                <a:lnTo>
                  <a:pt x="4419" y="1533"/>
                </a:lnTo>
                <a:lnTo>
                  <a:pt x="4417" y="1531"/>
                </a:lnTo>
                <a:close/>
                <a:moveTo>
                  <a:pt x="4383" y="1535"/>
                </a:moveTo>
                <a:lnTo>
                  <a:pt x="4383" y="1535"/>
                </a:lnTo>
                <a:lnTo>
                  <a:pt x="4383" y="1535"/>
                </a:lnTo>
                <a:lnTo>
                  <a:pt x="4383" y="1535"/>
                </a:lnTo>
                <a:lnTo>
                  <a:pt x="4383" y="1535"/>
                </a:lnTo>
                <a:close/>
                <a:moveTo>
                  <a:pt x="4408" y="1503"/>
                </a:moveTo>
                <a:lnTo>
                  <a:pt x="4409" y="1506"/>
                </a:lnTo>
                <a:lnTo>
                  <a:pt x="4409" y="1503"/>
                </a:lnTo>
                <a:lnTo>
                  <a:pt x="4408" y="1503"/>
                </a:lnTo>
                <a:close/>
                <a:moveTo>
                  <a:pt x="4381" y="1519"/>
                </a:moveTo>
                <a:lnTo>
                  <a:pt x="4385" y="1519"/>
                </a:lnTo>
                <a:lnTo>
                  <a:pt x="4384" y="1526"/>
                </a:lnTo>
                <a:lnTo>
                  <a:pt x="4382" y="1534"/>
                </a:lnTo>
                <a:lnTo>
                  <a:pt x="4383" y="1535"/>
                </a:lnTo>
                <a:lnTo>
                  <a:pt x="4383" y="1535"/>
                </a:lnTo>
                <a:lnTo>
                  <a:pt x="4385" y="1534"/>
                </a:lnTo>
                <a:lnTo>
                  <a:pt x="4386" y="1533"/>
                </a:lnTo>
                <a:lnTo>
                  <a:pt x="4390" y="1531"/>
                </a:lnTo>
                <a:lnTo>
                  <a:pt x="4393" y="1529"/>
                </a:lnTo>
                <a:lnTo>
                  <a:pt x="4393" y="1528"/>
                </a:lnTo>
                <a:lnTo>
                  <a:pt x="4395" y="1527"/>
                </a:lnTo>
                <a:lnTo>
                  <a:pt x="4397" y="1526"/>
                </a:lnTo>
                <a:lnTo>
                  <a:pt x="4397" y="1523"/>
                </a:lnTo>
                <a:lnTo>
                  <a:pt x="4399" y="1520"/>
                </a:lnTo>
                <a:lnTo>
                  <a:pt x="4401" y="1518"/>
                </a:lnTo>
                <a:lnTo>
                  <a:pt x="4397" y="1519"/>
                </a:lnTo>
                <a:lnTo>
                  <a:pt x="4393" y="1520"/>
                </a:lnTo>
                <a:lnTo>
                  <a:pt x="4393" y="1519"/>
                </a:lnTo>
                <a:lnTo>
                  <a:pt x="4393" y="1519"/>
                </a:lnTo>
                <a:lnTo>
                  <a:pt x="4389" y="1517"/>
                </a:lnTo>
                <a:lnTo>
                  <a:pt x="4385" y="1515"/>
                </a:lnTo>
                <a:lnTo>
                  <a:pt x="4381" y="1514"/>
                </a:lnTo>
                <a:lnTo>
                  <a:pt x="4381" y="1519"/>
                </a:lnTo>
                <a:close/>
                <a:moveTo>
                  <a:pt x="4415" y="1519"/>
                </a:moveTo>
                <a:lnTo>
                  <a:pt x="4416" y="1519"/>
                </a:lnTo>
                <a:lnTo>
                  <a:pt x="4413" y="1516"/>
                </a:lnTo>
                <a:lnTo>
                  <a:pt x="4413" y="1519"/>
                </a:lnTo>
                <a:lnTo>
                  <a:pt x="4415" y="1519"/>
                </a:lnTo>
                <a:close/>
                <a:moveTo>
                  <a:pt x="4401" y="1515"/>
                </a:moveTo>
                <a:lnTo>
                  <a:pt x="4401" y="1515"/>
                </a:lnTo>
                <a:lnTo>
                  <a:pt x="4402" y="1513"/>
                </a:lnTo>
                <a:lnTo>
                  <a:pt x="4401" y="1515"/>
                </a:lnTo>
                <a:lnTo>
                  <a:pt x="4401" y="1515"/>
                </a:lnTo>
                <a:close/>
                <a:moveTo>
                  <a:pt x="4409" y="1507"/>
                </a:moveTo>
                <a:lnTo>
                  <a:pt x="4410" y="1507"/>
                </a:lnTo>
                <a:lnTo>
                  <a:pt x="4409" y="1506"/>
                </a:lnTo>
                <a:lnTo>
                  <a:pt x="4409" y="1507"/>
                </a:lnTo>
                <a:lnTo>
                  <a:pt x="4409" y="1507"/>
                </a:lnTo>
                <a:close/>
                <a:moveTo>
                  <a:pt x="4409" y="1507"/>
                </a:moveTo>
                <a:lnTo>
                  <a:pt x="4409" y="1507"/>
                </a:lnTo>
                <a:lnTo>
                  <a:pt x="4409" y="1507"/>
                </a:lnTo>
                <a:lnTo>
                  <a:pt x="4401" y="1502"/>
                </a:lnTo>
                <a:lnTo>
                  <a:pt x="4401" y="1503"/>
                </a:lnTo>
                <a:lnTo>
                  <a:pt x="4401" y="1503"/>
                </a:lnTo>
                <a:lnTo>
                  <a:pt x="4403" y="1506"/>
                </a:lnTo>
                <a:lnTo>
                  <a:pt x="4404" y="1509"/>
                </a:lnTo>
                <a:lnTo>
                  <a:pt x="4403" y="1512"/>
                </a:lnTo>
                <a:lnTo>
                  <a:pt x="4402" y="1513"/>
                </a:lnTo>
                <a:lnTo>
                  <a:pt x="4404" y="1512"/>
                </a:lnTo>
                <a:lnTo>
                  <a:pt x="4406" y="1509"/>
                </a:lnTo>
                <a:lnTo>
                  <a:pt x="4411" y="1514"/>
                </a:lnTo>
                <a:lnTo>
                  <a:pt x="4413" y="1516"/>
                </a:lnTo>
                <a:lnTo>
                  <a:pt x="4413" y="1511"/>
                </a:lnTo>
                <a:lnTo>
                  <a:pt x="4413" y="1510"/>
                </a:lnTo>
                <a:lnTo>
                  <a:pt x="4412" y="1508"/>
                </a:lnTo>
                <a:lnTo>
                  <a:pt x="4410" y="1507"/>
                </a:lnTo>
                <a:lnTo>
                  <a:pt x="4410" y="1507"/>
                </a:lnTo>
                <a:lnTo>
                  <a:pt x="4410" y="1507"/>
                </a:lnTo>
                <a:lnTo>
                  <a:pt x="4409" y="1507"/>
                </a:lnTo>
                <a:close/>
                <a:moveTo>
                  <a:pt x="4416" y="1523"/>
                </a:moveTo>
                <a:lnTo>
                  <a:pt x="4415" y="1523"/>
                </a:lnTo>
                <a:lnTo>
                  <a:pt x="4413" y="1523"/>
                </a:lnTo>
                <a:lnTo>
                  <a:pt x="4413" y="1526"/>
                </a:lnTo>
                <a:lnTo>
                  <a:pt x="4414" y="1524"/>
                </a:lnTo>
                <a:lnTo>
                  <a:pt x="4416" y="1523"/>
                </a:lnTo>
                <a:close/>
                <a:moveTo>
                  <a:pt x="4351" y="1534"/>
                </a:moveTo>
                <a:lnTo>
                  <a:pt x="4355" y="1533"/>
                </a:lnTo>
                <a:lnTo>
                  <a:pt x="4351" y="1533"/>
                </a:lnTo>
                <a:lnTo>
                  <a:pt x="4351" y="1534"/>
                </a:lnTo>
                <a:close/>
                <a:moveTo>
                  <a:pt x="4369" y="1507"/>
                </a:moveTo>
                <a:lnTo>
                  <a:pt x="4369" y="1507"/>
                </a:lnTo>
                <a:lnTo>
                  <a:pt x="4369" y="1507"/>
                </a:lnTo>
                <a:lnTo>
                  <a:pt x="4369" y="1507"/>
                </a:lnTo>
                <a:close/>
                <a:moveTo>
                  <a:pt x="4362" y="1598"/>
                </a:moveTo>
                <a:lnTo>
                  <a:pt x="4362" y="1594"/>
                </a:lnTo>
                <a:lnTo>
                  <a:pt x="4362" y="1594"/>
                </a:lnTo>
                <a:lnTo>
                  <a:pt x="4360" y="1598"/>
                </a:lnTo>
                <a:lnTo>
                  <a:pt x="4362" y="1598"/>
                </a:lnTo>
                <a:close/>
                <a:moveTo>
                  <a:pt x="4367" y="1603"/>
                </a:moveTo>
                <a:lnTo>
                  <a:pt x="4372" y="1603"/>
                </a:lnTo>
                <a:lnTo>
                  <a:pt x="4374" y="1603"/>
                </a:lnTo>
                <a:lnTo>
                  <a:pt x="4374" y="1602"/>
                </a:lnTo>
                <a:lnTo>
                  <a:pt x="4375" y="1602"/>
                </a:lnTo>
                <a:lnTo>
                  <a:pt x="4371" y="1599"/>
                </a:lnTo>
                <a:lnTo>
                  <a:pt x="4367" y="1602"/>
                </a:lnTo>
                <a:lnTo>
                  <a:pt x="4367" y="1603"/>
                </a:lnTo>
                <a:close/>
                <a:moveTo>
                  <a:pt x="4352" y="1511"/>
                </a:moveTo>
                <a:lnTo>
                  <a:pt x="4352" y="1511"/>
                </a:lnTo>
                <a:lnTo>
                  <a:pt x="4352" y="1517"/>
                </a:lnTo>
                <a:lnTo>
                  <a:pt x="4352" y="1517"/>
                </a:lnTo>
                <a:lnTo>
                  <a:pt x="4356" y="1514"/>
                </a:lnTo>
                <a:lnTo>
                  <a:pt x="4352" y="1511"/>
                </a:lnTo>
                <a:close/>
                <a:moveTo>
                  <a:pt x="4358" y="1485"/>
                </a:moveTo>
                <a:lnTo>
                  <a:pt x="4356" y="1485"/>
                </a:lnTo>
                <a:lnTo>
                  <a:pt x="4358" y="1488"/>
                </a:lnTo>
                <a:lnTo>
                  <a:pt x="4358" y="1488"/>
                </a:lnTo>
                <a:lnTo>
                  <a:pt x="4358" y="1485"/>
                </a:lnTo>
                <a:close/>
                <a:moveTo>
                  <a:pt x="4359" y="1511"/>
                </a:moveTo>
                <a:lnTo>
                  <a:pt x="4359" y="1510"/>
                </a:lnTo>
                <a:lnTo>
                  <a:pt x="4355" y="1509"/>
                </a:lnTo>
                <a:lnTo>
                  <a:pt x="4352" y="1508"/>
                </a:lnTo>
                <a:lnTo>
                  <a:pt x="4353" y="1509"/>
                </a:lnTo>
                <a:lnTo>
                  <a:pt x="4355" y="1511"/>
                </a:lnTo>
                <a:lnTo>
                  <a:pt x="4358" y="1511"/>
                </a:lnTo>
                <a:lnTo>
                  <a:pt x="4359" y="1511"/>
                </a:lnTo>
                <a:close/>
                <a:moveTo>
                  <a:pt x="4351" y="1615"/>
                </a:moveTo>
                <a:lnTo>
                  <a:pt x="4352" y="1616"/>
                </a:lnTo>
                <a:lnTo>
                  <a:pt x="4353" y="1614"/>
                </a:lnTo>
                <a:lnTo>
                  <a:pt x="4355" y="1612"/>
                </a:lnTo>
                <a:lnTo>
                  <a:pt x="4356" y="1613"/>
                </a:lnTo>
                <a:lnTo>
                  <a:pt x="4358" y="1613"/>
                </a:lnTo>
                <a:lnTo>
                  <a:pt x="4358" y="1610"/>
                </a:lnTo>
                <a:lnTo>
                  <a:pt x="4354" y="1612"/>
                </a:lnTo>
                <a:lnTo>
                  <a:pt x="4351" y="1613"/>
                </a:lnTo>
                <a:lnTo>
                  <a:pt x="4351" y="1615"/>
                </a:lnTo>
                <a:close/>
                <a:moveTo>
                  <a:pt x="4437" y="1534"/>
                </a:moveTo>
                <a:lnTo>
                  <a:pt x="4437" y="1534"/>
                </a:lnTo>
                <a:lnTo>
                  <a:pt x="4437" y="1534"/>
                </a:lnTo>
                <a:lnTo>
                  <a:pt x="4435" y="1540"/>
                </a:lnTo>
                <a:lnTo>
                  <a:pt x="4437" y="1542"/>
                </a:lnTo>
                <a:lnTo>
                  <a:pt x="4437" y="1543"/>
                </a:lnTo>
                <a:lnTo>
                  <a:pt x="4439" y="1543"/>
                </a:lnTo>
                <a:lnTo>
                  <a:pt x="4439" y="1542"/>
                </a:lnTo>
                <a:lnTo>
                  <a:pt x="4440" y="1541"/>
                </a:lnTo>
                <a:lnTo>
                  <a:pt x="4438" y="1538"/>
                </a:lnTo>
                <a:lnTo>
                  <a:pt x="4437" y="1534"/>
                </a:lnTo>
                <a:close/>
                <a:moveTo>
                  <a:pt x="4400" y="1496"/>
                </a:moveTo>
                <a:lnTo>
                  <a:pt x="4399" y="1496"/>
                </a:lnTo>
                <a:lnTo>
                  <a:pt x="4402" y="1499"/>
                </a:lnTo>
                <a:lnTo>
                  <a:pt x="4405" y="1503"/>
                </a:lnTo>
                <a:lnTo>
                  <a:pt x="4403" y="1499"/>
                </a:lnTo>
                <a:lnTo>
                  <a:pt x="4400" y="1496"/>
                </a:lnTo>
                <a:close/>
                <a:moveTo>
                  <a:pt x="4408" y="1555"/>
                </a:moveTo>
                <a:lnTo>
                  <a:pt x="4410" y="1553"/>
                </a:lnTo>
                <a:lnTo>
                  <a:pt x="4408" y="1552"/>
                </a:lnTo>
                <a:lnTo>
                  <a:pt x="4407" y="1553"/>
                </a:lnTo>
                <a:lnTo>
                  <a:pt x="4405" y="1553"/>
                </a:lnTo>
                <a:lnTo>
                  <a:pt x="4407" y="1554"/>
                </a:lnTo>
                <a:lnTo>
                  <a:pt x="4408" y="1555"/>
                </a:lnTo>
                <a:close/>
                <a:moveTo>
                  <a:pt x="4406" y="1548"/>
                </a:moveTo>
                <a:lnTo>
                  <a:pt x="4408" y="1541"/>
                </a:lnTo>
                <a:lnTo>
                  <a:pt x="4411" y="1538"/>
                </a:lnTo>
                <a:lnTo>
                  <a:pt x="4413" y="1536"/>
                </a:lnTo>
                <a:lnTo>
                  <a:pt x="4413" y="1526"/>
                </a:lnTo>
                <a:lnTo>
                  <a:pt x="4413" y="1526"/>
                </a:lnTo>
                <a:lnTo>
                  <a:pt x="4410" y="1534"/>
                </a:lnTo>
                <a:lnTo>
                  <a:pt x="4408" y="1538"/>
                </a:lnTo>
                <a:lnTo>
                  <a:pt x="4405" y="1541"/>
                </a:lnTo>
                <a:lnTo>
                  <a:pt x="4405" y="1546"/>
                </a:lnTo>
                <a:lnTo>
                  <a:pt x="4404" y="1551"/>
                </a:lnTo>
                <a:lnTo>
                  <a:pt x="4404" y="1551"/>
                </a:lnTo>
                <a:lnTo>
                  <a:pt x="4404" y="1551"/>
                </a:lnTo>
                <a:lnTo>
                  <a:pt x="4406" y="1548"/>
                </a:lnTo>
                <a:close/>
                <a:moveTo>
                  <a:pt x="4370" y="1510"/>
                </a:moveTo>
                <a:lnTo>
                  <a:pt x="4369" y="1507"/>
                </a:lnTo>
                <a:lnTo>
                  <a:pt x="4369" y="1510"/>
                </a:lnTo>
                <a:lnTo>
                  <a:pt x="4370" y="1510"/>
                </a:lnTo>
                <a:close/>
                <a:moveTo>
                  <a:pt x="4378" y="1495"/>
                </a:moveTo>
                <a:lnTo>
                  <a:pt x="4373" y="1493"/>
                </a:lnTo>
                <a:lnTo>
                  <a:pt x="4369" y="1491"/>
                </a:lnTo>
                <a:lnTo>
                  <a:pt x="4359" y="1491"/>
                </a:lnTo>
                <a:lnTo>
                  <a:pt x="4361" y="1494"/>
                </a:lnTo>
                <a:lnTo>
                  <a:pt x="4363" y="1497"/>
                </a:lnTo>
                <a:lnTo>
                  <a:pt x="4366" y="1501"/>
                </a:lnTo>
                <a:lnTo>
                  <a:pt x="4369" y="1504"/>
                </a:lnTo>
                <a:lnTo>
                  <a:pt x="4370" y="1507"/>
                </a:lnTo>
                <a:lnTo>
                  <a:pt x="4370" y="1507"/>
                </a:lnTo>
                <a:lnTo>
                  <a:pt x="4373" y="1508"/>
                </a:lnTo>
                <a:lnTo>
                  <a:pt x="4373" y="1506"/>
                </a:lnTo>
                <a:lnTo>
                  <a:pt x="4375" y="1504"/>
                </a:lnTo>
                <a:lnTo>
                  <a:pt x="4377" y="1503"/>
                </a:lnTo>
                <a:lnTo>
                  <a:pt x="4376" y="1502"/>
                </a:lnTo>
                <a:lnTo>
                  <a:pt x="4375" y="1501"/>
                </a:lnTo>
                <a:lnTo>
                  <a:pt x="4376" y="1498"/>
                </a:lnTo>
                <a:lnTo>
                  <a:pt x="4378" y="1495"/>
                </a:lnTo>
                <a:close/>
                <a:moveTo>
                  <a:pt x="4441" y="1530"/>
                </a:moveTo>
                <a:lnTo>
                  <a:pt x="4440" y="1530"/>
                </a:lnTo>
                <a:lnTo>
                  <a:pt x="4440" y="1529"/>
                </a:lnTo>
                <a:lnTo>
                  <a:pt x="4439" y="1529"/>
                </a:lnTo>
                <a:lnTo>
                  <a:pt x="4439" y="1530"/>
                </a:lnTo>
                <a:lnTo>
                  <a:pt x="4440" y="1530"/>
                </a:lnTo>
                <a:lnTo>
                  <a:pt x="4441" y="1530"/>
                </a:lnTo>
                <a:close/>
                <a:moveTo>
                  <a:pt x="4409" y="1324"/>
                </a:moveTo>
                <a:lnTo>
                  <a:pt x="4408" y="1324"/>
                </a:lnTo>
                <a:lnTo>
                  <a:pt x="4411" y="1327"/>
                </a:lnTo>
                <a:lnTo>
                  <a:pt x="4412" y="1326"/>
                </a:lnTo>
                <a:lnTo>
                  <a:pt x="4413" y="1324"/>
                </a:lnTo>
                <a:lnTo>
                  <a:pt x="4409" y="1323"/>
                </a:lnTo>
                <a:lnTo>
                  <a:pt x="4409" y="1324"/>
                </a:lnTo>
                <a:close/>
                <a:moveTo>
                  <a:pt x="4483" y="1692"/>
                </a:moveTo>
                <a:lnTo>
                  <a:pt x="4482" y="1691"/>
                </a:lnTo>
                <a:lnTo>
                  <a:pt x="4483" y="1692"/>
                </a:lnTo>
                <a:lnTo>
                  <a:pt x="4483" y="1692"/>
                </a:lnTo>
                <a:close/>
                <a:moveTo>
                  <a:pt x="4484" y="1266"/>
                </a:moveTo>
                <a:lnTo>
                  <a:pt x="4484" y="1266"/>
                </a:lnTo>
                <a:lnTo>
                  <a:pt x="4484" y="1269"/>
                </a:lnTo>
                <a:lnTo>
                  <a:pt x="4484" y="1272"/>
                </a:lnTo>
                <a:lnTo>
                  <a:pt x="4484" y="1272"/>
                </a:lnTo>
                <a:lnTo>
                  <a:pt x="4486" y="1271"/>
                </a:lnTo>
                <a:lnTo>
                  <a:pt x="4487" y="1270"/>
                </a:lnTo>
                <a:lnTo>
                  <a:pt x="4486" y="1268"/>
                </a:lnTo>
                <a:lnTo>
                  <a:pt x="4484" y="1266"/>
                </a:lnTo>
                <a:close/>
                <a:moveTo>
                  <a:pt x="4481" y="1277"/>
                </a:moveTo>
                <a:lnTo>
                  <a:pt x="4482" y="1276"/>
                </a:lnTo>
                <a:lnTo>
                  <a:pt x="4483" y="1276"/>
                </a:lnTo>
                <a:lnTo>
                  <a:pt x="4481" y="1276"/>
                </a:lnTo>
                <a:lnTo>
                  <a:pt x="4481" y="1277"/>
                </a:lnTo>
                <a:close/>
                <a:moveTo>
                  <a:pt x="4463" y="1740"/>
                </a:moveTo>
                <a:lnTo>
                  <a:pt x="4463" y="1740"/>
                </a:lnTo>
                <a:lnTo>
                  <a:pt x="4463" y="1741"/>
                </a:lnTo>
                <a:lnTo>
                  <a:pt x="4462" y="1741"/>
                </a:lnTo>
                <a:lnTo>
                  <a:pt x="4463" y="1741"/>
                </a:lnTo>
                <a:lnTo>
                  <a:pt x="4463" y="1740"/>
                </a:lnTo>
                <a:close/>
                <a:moveTo>
                  <a:pt x="4479" y="1654"/>
                </a:moveTo>
                <a:lnTo>
                  <a:pt x="4478" y="1654"/>
                </a:lnTo>
                <a:lnTo>
                  <a:pt x="4473" y="1658"/>
                </a:lnTo>
                <a:lnTo>
                  <a:pt x="4473" y="1662"/>
                </a:lnTo>
                <a:lnTo>
                  <a:pt x="4478" y="1662"/>
                </a:lnTo>
                <a:lnTo>
                  <a:pt x="4478" y="1660"/>
                </a:lnTo>
                <a:lnTo>
                  <a:pt x="4479" y="1658"/>
                </a:lnTo>
                <a:lnTo>
                  <a:pt x="4480" y="1657"/>
                </a:lnTo>
                <a:lnTo>
                  <a:pt x="4481" y="1656"/>
                </a:lnTo>
                <a:lnTo>
                  <a:pt x="4480" y="1655"/>
                </a:lnTo>
                <a:lnTo>
                  <a:pt x="4479" y="1654"/>
                </a:lnTo>
                <a:close/>
                <a:moveTo>
                  <a:pt x="4469" y="1290"/>
                </a:moveTo>
                <a:lnTo>
                  <a:pt x="4469" y="1290"/>
                </a:lnTo>
                <a:lnTo>
                  <a:pt x="4465" y="1292"/>
                </a:lnTo>
                <a:lnTo>
                  <a:pt x="4469" y="1290"/>
                </a:lnTo>
                <a:close/>
                <a:moveTo>
                  <a:pt x="4471" y="1288"/>
                </a:moveTo>
                <a:lnTo>
                  <a:pt x="4472" y="1289"/>
                </a:lnTo>
                <a:lnTo>
                  <a:pt x="4473" y="1287"/>
                </a:lnTo>
                <a:lnTo>
                  <a:pt x="4474" y="1287"/>
                </a:lnTo>
                <a:lnTo>
                  <a:pt x="4473" y="1287"/>
                </a:lnTo>
                <a:lnTo>
                  <a:pt x="4471" y="1288"/>
                </a:lnTo>
                <a:close/>
                <a:moveTo>
                  <a:pt x="4470" y="1287"/>
                </a:moveTo>
                <a:lnTo>
                  <a:pt x="4470" y="1287"/>
                </a:lnTo>
                <a:lnTo>
                  <a:pt x="4469" y="1287"/>
                </a:lnTo>
                <a:lnTo>
                  <a:pt x="4469" y="1290"/>
                </a:lnTo>
                <a:lnTo>
                  <a:pt x="4471" y="1288"/>
                </a:lnTo>
                <a:lnTo>
                  <a:pt x="4471" y="1288"/>
                </a:lnTo>
                <a:lnTo>
                  <a:pt x="4470" y="1287"/>
                </a:lnTo>
                <a:close/>
                <a:moveTo>
                  <a:pt x="4469" y="1737"/>
                </a:moveTo>
                <a:lnTo>
                  <a:pt x="4469" y="1736"/>
                </a:lnTo>
                <a:lnTo>
                  <a:pt x="4468" y="1737"/>
                </a:lnTo>
                <a:lnTo>
                  <a:pt x="4466" y="1737"/>
                </a:lnTo>
                <a:lnTo>
                  <a:pt x="4469" y="1737"/>
                </a:lnTo>
                <a:close/>
                <a:moveTo>
                  <a:pt x="4458" y="1702"/>
                </a:moveTo>
                <a:lnTo>
                  <a:pt x="4458" y="1703"/>
                </a:lnTo>
                <a:lnTo>
                  <a:pt x="4458" y="1705"/>
                </a:lnTo>
                <a:lnTo>
                  <a:pt x="4458" y="1705"/>
                </a:lnTo>
                <a:lnTo>
                  <a:pt x="4458" y="1702"/>
                </a:lnTo>
                <a:lnTo>
                  <a:pt x="4458" y="1702"/>
                </a:lnTo>
                <a:close/>
                <a:moveTo>
                  <a:pt x="4418" y="1821"/>
                </a:moveTo>
                <a:lnTo>
                  <a:pt x="4429" y="1817"/>
                </a:lnTo>
                <a:lnTo>
                  <a:pt x="4427" y="1816"/>
                </a:lnTo>
                <a:lnTo>
                  <a:pt x="4419" y="1816"/>
                </a:lnTo>
                <a:lnTo>
                  <a:pt x="4418" y="1821"/>
                </a:lnTo>
                <a:close/>
                <a:moveTo>
                  <a:pt x="4449" y="1805"/>
                </a:moveTo>
                <a:lnTo>
                  <a:pt x="4443" y="1808"/>
                </a:lnTo>
                <a:lnTo>
                  <a:pt x="4442" y="1806"/>
                </a:lnTo>
                <a:lnTo>
                  <a:pt x="4440" y="1805"/>
                </a:lnTo>
                <a:lnTo>
                  <a:pt x="4437" y="1812"/>
                </a:lnTo>
                <a:lnTo>
                  <a:pt x="4439" y="1810"/>
                </a:lnTo>
                <a:lnTo>
                  <a:pt x="4441" y="1809"/>
                </a:lnTo>
                <a:lnTo>
                  <a:pt x="4447" y="1809"/>
                </a:lnTo>
                <a:lnTo>
                  <a:pt x="4449" y="1809"/>
                </a:lnTo>
                <a:lnTo>
                  <a:pt x="4452" y="1808"/>
                </a:lnTo>
                <a:lnTo>
                  <a:pt x="4450" y="1806"/>
                </a:lnTo>
                <a:lnTo>
                  <a:pt x="4449" y="1805"/>
                </a:lnTo>
                <a:close/>
                <a:moveTo>
                  <a:pt x="4475" y="1704"/>
                </a:moveTo>
                <a:lnTo>
                  <a:pt x="4472" y="1701"/>
                </a:lnTo>
                <a:lnTo>
                  <a:pt x="4470" y="1698"/>
                </a:lnTo>
                <a:lnTo>
                  <a:pt x="4467" y="1696"/>
                </a:lnTo>
                <a:lnTo>
                  <a:pt x="4465" y="1693"/>
                </a:lnTo>
                <a:lnTo>
                  <a:pt x="4465" y="1696"/>
                </a:lnTo>
                <a:lnTo>
                  <a:pt x="4466" y="1697"/>
                </a:lnTo>
                <a:lnTo>
                  <a:pt x="4466" y="1698"/>
                </a:lnTo>
                <a:lnTo>
                  <a:pt x="4470" y="1703"/>
                </a:lnTo>
                <a:lnTo>
                  <a:pt x="4472" y="1703"/>
                </a:lnTo>
                <a:lnTo>
                  <a:pt x="4475" y="1704"/>
                </a:lnTo>
                <a:close/>
                <a:moveTo>
                  <a:pt x="4458" y="1749"/>
                </a:moveTo>
                <a:lnTo>
                  <a:pt x="4458" y="1749"/>
                </a:lnTo>
                <a:lnTo>
                  <a:pt x="4458" y="1750"/>
                </a:lnTo>
                <a:lnTo>
                  <a:pt x="4458" y="1751"/>
                </a:lnTo>
                <a:lnTo>
                  <a:pt x="4458" y="1751"/>
                </a:lnTo>
                <a:lnTo>
                  <a:pt x="4458" y="1749"/>
                </a:lnTo>
                <a:close/>
                <a:moveTo>
                  <a:pt x="4441" y="1740"/>
                </a:moveTo>
                <a:lnTo>
                  <a:pt x="4441" y="1744"/>
                </a:lnTo>
                <a:lnTo>
                  <a:pt x="4445" y="1748"/>
                </a:lnTo>
                <a:lnTo>
                  <a:pt x="4448" y="1752"/>
                </a:lnTo>
                <a:lnTo>
                  <a:pt x="4451" y="1752"/>
                </a:lnTo>
                <a:lnTo>
                  <a:pt x="4457" y="1747"/>
                </a:lnTo>
                <a:lnTo>
                  <a:pt x="4457" y="1744"/>
                </a:lnTo>
                <a:lnTo>
                  <a:pt x="4456" y="1744"/>
                </a:lnTo>
                <a:lnTo>
                  <a:pt x="4458" y="1742"/>
                </a:lnTo>
                <a:lnTo>
                  <a:pt x="4456" y="1740"/>
                </a:lnTo>
                <a:lnTo>
                  <a:pt x="4453" y="1738"/>
                </a:lnTo>
                <a:lnTo>
                  <a:pt x="4451" y="1737"/>
                </a:lnTo>
                <a:lnTo>
                  <a:pt x="4446" y="1739"/>
                </a:lnTo>
                <a:lnTo>
                  <a:pt x="4441" y="1740"/>
                </a:lnTo>
                <a:close/>
                <a:moveTo>
                  <a:pt x="4475" y="1704"/>
                </a:moveTo>
                <a:lnTo>
                  <a:pt x="4475" y="1704"/>
                </a:lnTo>
                <a:lnTo>
                  <a:pt x="4475" y="1704"/>
                </a:lnTo>
                <a:lnTo>
                  <a:pt x="4475" y="1704"/>
                </a:lnTo>
                <a:lnTo>
                  <a:pt x="4475" y="1704"/>
                </a:lnTo>
                <a:close/>
                <a:moveTo>
                  <a:pt x="4474" y="1287"/>
                </a:moveTo>
                <a:lnTo>
                  <a:pt x="4475" y="1287"/>
                </a:lnTo>
                <a:lnTo>
                  <a:pt x="4477" y="1286"/>
                </a:lnTo>
                <a:lnTo>
                  <a:pt x="4475" y="1286"/>
                </a:lnTo>
                <a:lnTo>
                  <a:pt x="4474" y="1287"/>
                </a:lnTo>
                <a:close/>
                <a:moveTo>
                  <a:pt x="4463" y="1710"/>
                </a:moveTo>
                <a:lnTo>
                  <a:pt x="4463" y="1710"/>
                </a:lnTo>
                <a:lnTo>
                  <a:pt x="4463" y="1710"/>
                </a:lnTo>
                <a:lnTo>
                  <a:pt x="4462" y="1711"/>
                </a:lnTo>
                <a:lnTo>
                  <a:pt x="4463" y="1711"/>
                </a:lnTo>
                <a:lnTo>
                  <a:pt x="4463" y="1710"/>
                </a:lnTo>
                <a:close/>
                <a:moveTo>
                  <a:pt x="4457" y="1700"/>
                </a:moveTo>
                <a:lnTo>
                  <a:pt x="4458" y="1700"/>
                </a:lnTo>
                <a:lnTo>
                  <a:pt x="4462" y="1708"/>
                </a:lnTo>
                <a:lnTo>
                  <a:pt x="4463" y="1708"/>
                </a:lnTo>
                <a:lnTo>
                  <a:pt x="4465" y="1707"/>
                </a:lnTo>
                <a:lnTo>
                  <a:pt x="4466" y="1707"/>
                </a:lnTo>
                <a:lnTo>
                  <a:pt x="4468" y="1706"/>
                </a:lnTo>
                <a:lnTo>
                  <a:pt x="4469" y="1705"/>
                </a:lnTo>
                <a:lnTo>
                  <a:pt x="4468" y="1705"/>
                </a:lnTo>
                <a:lnTo>
                  <a:pt x="4466" y="1704"/>
                </a:lnTo>
                <a:lnTo>
                  <a:pt x="4465" y="1704"/>
                </a:lnTo>
                <a:lnTo>
                  <a:pt x="4463" y="1703"/>
                </a:lnTo>
                <a:lnTo>
                  <a:pt x="4465" y="1699"/>
                </a:lnTo>
                <a:lnTo>
                  <a:pt x="4464" y="1698"/>
                </a:lnTo>
                <a:lnTo>
                  <a:pt x="4462" y="1696"/>
                </a:lnTo>
                <a:lnTo>
                  <a:pt x="4457" y="1698"/>
                </a:lnTo>
                <a:lnTo>
                  <a:pt x="4457" y="1700"/>
                </a:lnTo>
                <a:close/>
                <a:moveTo>
                  <a:pt x="4400" y="1579"/>
                </a:moveTo>
                <a:lnTo>
                  <a:pt x="4401" y="1579"/>
                </a:lnTo>
                <a:lnTo>
                  <a:pt x="4401" y="1579"/>
                </a:lnTo>
                <a:lnTo>
                  <a:pt x="4400" y="1579"/>
                </a:lnTo>
                <a:close/>
                <a:moveTo>
                  <a:pt x="4443" y="1550"/>
                </a:moveTo>
                <a:lnTo>
                  <a:pt x="4444" y="1555"/>
                </a:lnTo>
                <a:lnTo>
                  <a:pt x="4445" y="1555"/>
                </a:lnTo>
                <a:lnTo>
                  <a:pt x="4445" y="1555"/>
                </a:lnTo>
                <a:lnTo>
                  <a:pt x="4449" y="1560"/>
                </a:lnTo>
                <a:lnTo>
                  <a:pt x="4444" y="1563"/>
                </a:lnTo>
                <a:lnTo>
                  <a:pt x="4446" y="1567"/>
                </a:lnTo>
                <a:lnTo>
                  <a:pt x="4450" y="1567"/>
                </a:lnTo>
                <a:lnTo>
                  <a:pt x="4449" y="1569"/>
                </a:lnTo>
                <a:lnTo>
                  <a:pt x="4447" y="1571"/>
                </a:lnTo>
                <a:lnTo>
                  <a:pt x="4451" y="1571"/>
                </a:lnTo>
                <a:lnTo>
                  <a:pt x="4451" y="1572"/>
                </a:lnTo>
                <a:lnTo>
                  <a:pt x="4450" y="1573"/>
                </a:lnTo>
                <a:lnTo>
                  <a:pt x="4451" y="1575"/>
                </a:lnTo>
                <a:lnTo>
                  <a:pt x="4451" y="1576"/>
                </a:lnTo>
                <a:lnTo>
                  <a:pt x="4451" y="1579"/>
                </a:lnTo>
                <a:lnTo>
                  <a:pt x="4452" y="1583"/>
                </a:lnTo>
                <a:lnTo>
                  <a:pt x="4450" y="1585"/>
                </a:lnTo>
                <a:lnTo>
                  <a:pt x="4447" y="1588"/>
                </a:lnTo>
                <a:lnTo>
                  <a:pt x="4446" y="1588"/>
                </a:lnTo>
                <a:lnTo>
                  <a:pt x="4447" y="1589"/>
                </a:lnTo>
                <a:lnTo>
                  <a:pt x="4447" y="1590"/>
                </a:lnTo>
                <a:lnTo>
                  <a:pt x="4447" y="1595"/>
                </a:lnTo>
                <a:lnTo>
                  <a:pt x="4446" y="1600"/>
                </a:lnTo>
                <a:lnTo>
                  <a:pt x="4445" y="1600"/>
                </a:lnTo>
                <a:lnTo>
                  <a:pt x="4445" y="1598"/>
                </a:lnTo>
                <a:lnTo>
                  <a:pt x="4444" y="1588"/>
                </a:lnTo>
                <a:lnTo>
                  <a:pt x="4442" y="1587"/>
                </a:lnTo>
                <a:lnTo>
                  <a:pt x="4440" y="1586"/>
                </a:lnTo>
                <a:lnTo>
                  <a:pt x="4441" y="1587"/>
                </a:lnTo>
                <a:lnTo>
                  <a:pt x="4441" y="1588"/>
                </a:lnTo>
                <a:lnTo>
                  <a:pt x="4441" y="1588"/>
                </a:lnTo>
                <a:lnTo>
                  <a:pt x="4440" y="1588"/>
                </a:lnTo>
                <a:lnTo>
                  <a:pt x="4439" y="1587"/>
                </a:lnTo>
                <a:lnTo>
                  <a:pt x="4438" y="1586"/>
                </a:lnTo>
                <a:lnTo>
                  <a:pt x="4436" y="1587"/>
                </a:lnTo>
                <a:lnTo>
                  <a:pt x="4433" y="1590"/>
                </a:lnTo>
                <a:lnTo>
                  <a:pt x="4433" y="1593"/>
                </a:lnTo>
                <a:lnTo>
                  <a:pt x="4438" y="1594"/>
                </a:lnTo>
                <a:lnTo>
                  <a:pt x="4439" y="1598"/>
                </a:lnTo>
                <a:lnTo>
                  <a:pt x="4440" y="1603"/>
                </a:lnTo>
                <a:lnTo>
                  <a:pt x="4437" y="1607"/>
                </a:lnTo>
                <a:lnTo>
                  <a:pt x="4435" y="1612"/>
                </a:lnTo>
                <a:lnTo>
                  <a:pt x="4433" y="1612"/>
                </a:lnTo>
                <a:lnTo>
                  <a:pt x="4432" y="1608"/>
                </a:lnTo>
                <a:lnTo>
                  <a:pt x="4432" y="1605"/>
                </a:lnTo>
                <a:lnTo>
                  <a:pt x="4432" y="1602"/>
                </a:lnTo>
                <a:lnTo>
                  <a:pt x="4433" y="1600"/>
                </a:lnTo>
                <a:lnTo>
                  <a:pt x="4432" y="1600"/>
                </a:lnTo>
                <a:lnTo>
                  <a:pt x="4431" y="1602"/>
                </a:lnTo>
                <a:lnTo>
                  <a:pt x="4429" y="1604"/>
                </a:lnTo>
                <a:lnTo>
                  <a:pt x="4428" y="1604"/>
                </a:lnTo>
                <a:lnTo>
                  <a:pt x="4423" y="1601"/>
                </a:lnTo>
                <a:lnTo>
                  <a:pt x="4418" y="1599"/>
                </a:lnTo>
                <a:lnTo>
                  <a:pt x="4416" y="1597"/>
                </a:lnTo>
                <a:lnTo>
                  <a:pt x="4414" y="1592"/>
                </a:lnTo>
                <a:lnTo>
                  <a:pt x="4413" y="1588"/>
                </a:lnTo>
                <a:lnTo>
                  <a:pt x="4415" y="1584"/>
                </a:lnTo>
                <a:lnTo>
                  <a:pt x="4418" y="1579"/>
                </a:lnTo>
                <a:lnTo>
                  <a:pt x="4415" y="1578"/>
                </a:lnTo>
                <a:lnTo>
                  <a:pt x="4413" y="1577"/>
                </a:lnTo>
                <a:lnTo>
                  <a:pt x="4406" y="1575"/>
                </a:lnTo>
                <a:lnTo>
                  <a:pt x="4405" y="1575"/>
                </a:lnTo>
                <a:lnTo>
                  <a:pt x="4405" y="1576"/>
                </a:lnTo>
                <a:lnTo>
                  <a:pt x="4405" y="1578"/>
                </a:lnTo>
                <a:lnTo>
                  <a:pt x="4404" y="1579"/>
                </a:lnTo>
                <a:lnTo>
                  <a:pt x="4404" y="1578"/>
                </a:lnTo>
                <a:lnTo>
                  <a:pt x="4403" y="1579"/>
                </a:lnTo>
                <a:lnTo>
                  <a:pt x="4401" y="1579"/>
                </a:lnTo>
                <a:lnTo>
                  <a:pt x="4401" y="1579"/>
                </a:lnTo>
                <a:lnTo>
                  <a:pt x="4401" y="1579"/>
                </a:lnTo>
                <a:lnTo>
                  <a:pt x="4401" y="1577"/>
                </a:lnTo>
                <a:lnTo>
                  <a:pt x="4400" y="1574"/>
                </a:lnTo>
                <a:lnTo>
                  <a:pt x="4397" y="1579"/>
                </a:lnTo>
                <a:lnTo>
                  <a:pt x="4397" y="1584"/>
                </a:lnTo>
                <a:lnTo>
                  <a:pt x="4397" y="1584"/>
                </a:lnTo>
                <a:lnTo>
                  <a:pt x="4396" y="1582"/>
                </a:lnTo>
                <a:lnTo>
                  <a:pt x="4395" y="1579"/>
                </a:lnTo>
                <a:lnTo>
                  <a:pt x="4396" y="1577"/>
                </a:lnTo>
                <a:lnTo>
                  <a:pt x="4397" y="1575"/>
                </a:lnTo>
                <a:lnTo>
                  <a:pt x="4394" y="1575"/>
                </a:lnTo>
                <a:lnTo>
                  <a:pt x="4391" y="1577"/>
                </a:lnTo>
                <a:lnTo>
                  <a:pt x="4389" y="1579"/>
                </a:lnTo>
                <a:lnTo>
                  <a:pt x="4390" y="1579"/>
                </a:lnTo>
                <a:lnTo>
                  <a:pt x="4389" y="1581"/>
                </a:lnTo>
                <a:lnTo>
                  <a:pt x="4389" y="1583"/>
                </a:lnTo>
                <a:lnTo>
                  <a:pt x="4385" y="1588"/>
                </a:lnTo>
                <a:lnTo>
                  <a:pt x="4383" y="1587"/>
                </a:lnTo>
                <a:lnTo>
                  <a:pt x="4383" y="1586"/>
                </a:lnTo>
                <a:lnTo>
                  <a:pt x="4382" y="1586"/>
                </a:lnTo>
                <a:lnTo>
                  <a:pt x="4385" y="1571"/>
                </a:lnTo>
                <a:lnTo>
                  <a:pt x="4397" y="1568"/>
                </a:lnTo>
                <a:lnTo>
                  <a:pt x="4397" y="1567"/>
                </a:lnTo>
                <a:lnTo>
                  <a:pt x="4404" y="1567"/>
                </a:lnTo>
                <a:lnTo>
                  <a:pt x="4405" y="1563"/>
                </a:lnTo>
                <a:lnTo>
                  <a:pt x="4405" y="1560"/>
                </a:lnTo>
                <a:lnTo>
                  <a:pt x="4407" y="1561"/>
                </a:lnTo>
                <a:lnTo>
                  <a:pt x="4409" y="1562"/>
                </a:lnTo>
                <a:lnTo>
                  <a:pt x="4409" y="1564"/>
                </a:lnTo>
                <a:lnTo>
                  <a:pt x="4409" y="1568"/>
                </a:lnTo>
                <a:lnTo>
                  <a:pt x="4407" y="1573"/>
                </a:lnTo>
                <a:lnTo>
                  <a:pt x="4413" y="1571"/>
                </a:lnTo>
                <a:lnTo>
                  <a:pt x="4417" y="1571"/>
                </a:lnTo>
                <a:lnTo>
                  <a:pt x="4417" y="1568"/>
                </a:lnTo>
                <a:lnTo>
                  <a:pt x="4418" y="1565"/>
                </a:lnTo>
                <a:lnTo>
                  <a:pt x="4419" y="1563"/>
                </a:lnTo>
                <a:lnTo>
                  <a:pt x="4420" y="1562"/>
                </a:lnTo>
                <a:lnTo>
                  <a:pt x="4424" y="1564"/>
                </a:lnTo>
                <a:lnTo>
                  <a:pt x="4427" y="1560"/>
                </a:lnTo>
                <a:lnTo>
                  <a:pt x="4429" y="1557"/>
                </a:lnTo>
                <a:lnTo>
                  <a:pt x="4429" y="1557"/>
                </a:lnTo>
                <a:lnTo>
                  <a:pt x="4429" y="1557"/>
                </a:lnTo>
                <a:lnTo>
                  <a:pt x="4429" y="1558"/>
                </a:lnTo>
                <a:lnTo>
                  <a:pt x="4430" y="1560"/>
                </a:lnTo>
                <a:lnTo>
                  <a:pt x="4433" y="1559"/>
                </a:lnTo>
                <a:lnTo>
                  <a:pt x="4437" y="1559"/>
                </a:lnTo>
                <a:lnTo>
                  <a:pt x="4433" y="1548"/>
                </a:lnTo>
                <a:lnTo>
                  <a:pt x="4433" y="1543"/>
                </a:lnTo>
                <a:lnTo>
                  <a:pt x="4435" y="1543"/>
                </a:lnTo>
                <a:lnTo>
                  <a:pt x="4439" y="1547"/>
                </a:lnTo>
                <a:lnTo>
                  <a:pt x="4441" y="1548"/>
                </a:lnTo>
                <a:lnTo>
                  <a:pt x="4443" y="1550"/>
                </a:lnTo>
                <a:close/>
                <a:moveTo>
                  <a:pt x="4441" y="1583"/>
                </a:moveTo>
                <a:lnTo>
                  <a:pt x="4439" y="1584"/>
                </a:lnTo>
                <a:lnTo>
                  <a:pt x="4439" y="1586"/>
                </a:lnTo>
                <a:lnTo>
                  <a:pt x="4439" y="1585"/>
                </a:lnTo>
                <a:lnTo>
                  <a:pt x="4440" y="1584"/>
                </a:lnTo>
                <a:lnTo>
                  <a:pt x="4440" y="1585"/>
                </a:lnTo>
                <a:lnTo>
                  <a:pt x="4441" y="1586"/>
                </a:lnTo>
                <a:lnTo>
                  <a:pt x="4441" y="1583"/>
                </a:lnTo>
                <a:close/>
                <a:moveTo>
                  <a:pt x="4404" y="1579"/>
                </a:moveTo>
                <a:lnTo>
                  <a:pt x="4405" y="1579"/>
                </a:lnTo>
                <a:lnTo>
                  <a:pt x="4404" y="1579"/>
                </a:lnTo>
                <a:lnTo>
                  <a:pt x="4404" y="1579"/>
                </a:lnTo>
                <a:lnTo>
                  <a:pt x="4404" y="1579"/>
                </a:lnTo>
                <a:close/>
                <a:moveTo>
                  <a:pt x="4405" y="1583"/>
                </a:moveTo>
                <a:lnTo>
                  <a:pt x="4405" y="1583"/>
                </a:lnTo>
                <a:lnTo>
                  <a:pt x="4405" y="1582"/>
                </a:lnTo>
                <a:lnTo>
                  <a:pt x="4405" y="1583"/>
                </a:lnTo>
                <a:lnTo>
                  <a:pt x="4405" y="1583"/>
                </a:lnTo>
                <a:close/>
                <a:moveTo>
                  <a:pt x="4405" y="1582"/>
                </a:moveTo>
                <a:lnTo>
                  <a:pt x="4405" y="1579"/>
                </a:lnTo>
                <a:lnTo>
                  <a:pt x="4405" y="1579"/>
                </a:lnTo>
                <a:lnTo>
                  <a:pt x="4405" y="1579"/>
                </a:lnTo>
                <a:lnTo>
                  <a:pt x="4405" y="1579"/>
                </a:lnTo>
                <a:lnTo>
                  <a:pt x="4405" y="1581"/>
                </a:lnTo>
                <a:lnTo>
                  <a:pt x="4405" y="1582"/>
                </a:lnTo>
                <a:close/>
                <a:moveTo>
                  <a:pt x="4383" y="1509"/>
                </a:moveTo>
                <a:lnTo>
                  <a:pt x="4383" y="1510"/>
                </a:lnTo>
                <a:lnTo>
                  <a:pt x="4385" y="1503"/>
                </a:lnTo>
                <a:lnTo>
                  <a:pt x="4383" y="1504"/>
                </a:lnTo>
                <a:lnTo>
                  <a:pt x="4383" y="1506"/>
                </a:lnTo>
                <a:lnTo>
                  <a:pt x="4382" y="1508"/>
                </a:lnTo>
                <a:lnTo>
                  <a:pt x="4383" y="1509"/>
                </a:lnTo>
                <a:close/>
                <a:moveTo>
                  <a:pt x="4380" y="1599"/>
                </a:moveTo>
                <a:lnTo>
                  <a:pt x="4382" y="1602"/>
                </a:lnTo>
                <a:lnTo>
                  <a:pt x="4383" y="1602"/>
                </a:lnTo>
                <a:lnTo>
                  <a:pt x="4382" y="1600"/>
                </a:lnTo>
                <a:lnTo>
                  <a:pt x="4380" y="1599"/>
                </a:lnTo>
                <a:close/>
                <a:moveTo>
                  <a:pt x="4386" y="1594"/>
                </a:moveTo>
                <a:lnTo>
                  <a:pt x="4386" y="1593"/>
                </a:lnTo>
                <a:lnTo>
                  <a:pt x="4386" y="1592"/>
                </a:lnTo>
                <a:lnTo>
                  <a:pt x="4385" y="1590"/>
                </a:lnTo>
                <a:lnTo>
                  <a:pt x="4383" y="1591"/>
                </a:lnTo>
                <a:lnTo>
                  <a:pt x="4380" y="1591"/>
                </a:lnTo>
                <a:lnTo>
                  <a:pt x="4382" y="1593"/>
                </a:lnTo>
                <a:lnTo>
                  <a:pt x="4383" y="1594"/>
                </a:lnTo>
                <a:lnTo>
                  <a:pt x="4386" y="1594"/>
                </a:lnTo>
                <a:close/>
                <a:moveTo>
                  <a:pt x="4465" y="1298"/>
                </a:moveTo>
                <a:lnTo>
                  <a:pt x="4467" y="1298"/>
                </a:lnTo>
                <a:lnTo>
                  <a:pt x="4465" y="1296"/>
                </a:lnTo>
                <a:lnTo>
                  <a:pt x="4465" y="1298"/>
                </a:lnTo>
                <a:close/>
                <a:moveTo>
                  <a:pt x="4451" y="1635"/>
                </a:moveTo>
                <a:lnTo>
                  <a:pt x="4451" y="1635"/>
                </a:lnTo>
                <a:lnTo>
                  <a:pt x="4451" y="1635"/>
                </a:lnTo>
                <a:lnTo>
                  <a:pt x="4449" y="1634"/>
                </a:lnTo>
                <a:lnTo>
                  <a:pt x="4451" y="1635"/>
                </a:lnTo>
                <a:close/>
                <a:moveTo>
                  <a:pt x="4470" y="1661"/>
                </a:moveTo>
                <a:lnTo>
                  <a:pt x="4469" y="1661"/>
                </a:lnTo>
                <a:lnTo>
                  <a:pt x="4467" y="1663"/>
                </a:lnTo>
                <a:lnTo>
                  <a:pt x="4468" y="1662"/>
                </a:lnTo>
                <a:lnTo>
                  <a:pt x="4470" y="1661"/>
                </a:lnTo>
                <a:close/>
                <a:moveTo>
                  <a:pt x="4467" y="1663"/>
                </a:moveTo>
                <a:lnTo>
                  <a:pt x="4466" y="1664"/>
                </a:lnTo>
                <a:lnTo>
                  <a:pt x="4466" y="1664"/>
                </a:lnTo>
                <a:lnTo>
                  <a:pt x="4466" y="1664"/>
                </a:lnTo>
                <a:lnTo>
                  <a:pt x="4467" y="1663"/>
                </a:lnTo>
                <a:lnTo>
                  <a:pt x="4467" y="1663"/>
                </a:lnTo>
                <a:close/>
                <a:moveTo>
                  <a:pt x="4443" y="1545"/>
                </a:moveTo>
                <a:lnTo>
                  <a:pt x="4444" y="1546"/>
                </a:lnTo>
                <a:lnTo>
                  <a:pt x="4446" y="1545"/>
                </a:lnTo>
                <a:lnTo>
                  <a:pt x="4444" y="1541"/>
                </a:lnTo>
                <a:lnTo>
                  <a:pt x="4443" y="1545"/>
                </a:lnTo>
                <a:close/>
                <a:moveTo>
                  <a:pt x="4456" y="1172"/>
                </a:moveTo>
                <a:lnTo>
                  <a:pt x="4447" y="1174"/>
                </a:lnTo>
                <a:lnTo>
                  <a:pt x="4447" y="1176"/>
                </a:lnTo>
                <a:lnTo>
                  <a:pt x="4446" y="1178"/>
                </a:lnTo>
                <a:lnTo>
                  <a:pt x="4447" y="1178"/>
                </a:lnTo>
                <a:lnTo>
                  <a:pt x="4456" y="1176"/>
                </a:lnTo>
                <a:lnTo>
                  <a:pt x="4457" y="1175"/>
                </a:lnTo>
                <a:lnTo>
                  <a:pt x="4458" y="1174"/>
                </a:lnTo>
                <a:lnTo>
                  <a:pt x="4457" y="1173"/>
                </a:lnTo>
                <a:lnTo>
                  <a:pt x="4456" y="1172"/>
                </a:lnTo>
                <a:close/>
                <a:moveTo>
                  <a:pt x="4463" y="1668"/>
                </a:moveTo>
                <a:lnTo>
                  <a:pt x="4466" y="1664"/>
                </a:lnTo>
                <a:lnTo>
                  <a:pt x="4467" y="1665"/>
                </a:lnTo>
                <a:lnTo>
                  <a:pt x="4469" y="1668"/>
                </a:lnTo>
                <a:lnTo>
                  <a:pt x="4469" y="1673"/>
                </a:lnTo>
                <a:lnTo>
                  <a:pt x="4466" y="1676"/>
                </a:lnTo>
                <a:lnTo>
                  <a:pt x="4469" y="1675"/>
                </a:lnTo>
                <a:lnTo>
                  <a:pt x="4469" y="1673"/>
                </a:lnTo>
                <a:lnTo>
                  <a:pt x="4474" y="1670"/>
                </a:lnTo>
                <a:lnTo>
                  <a:pt x="4478" y="1669"/>
                </a:lnTo>
                <a:lnTo>
                  <a:pt x="4478" y="1676"/>
                </a:lnTo>
                <a:lnTo>
                  <a:pt x="4470" y="1680"/>
                </a:lnTo>
                <a:lnTo>
                  <a:pt x="4473" y="1684"/>
                </a:lnTo>
                <a:lnTo>
                  <a:pt x="4478" y="1685"/>
                </a:lnTo>
                <a:lnTo>
                  <a:pt x="4478" y="1687"/>
                </a:lnTo>
                <a:lnTo>
                  <a:pt x="4482" y="1691"/>
                </a:lnTo>
                <a:lnTo>
                  <a:pt x="4477" y="1688"/>
                </a:lnTo>
                <a:lnTo>
                  <a:pt x="4469" y="1685"/>
                </a:lnTo>
                <a:lnTo>
                  <a:pt x="4467" y="1686"/>
                </a:lnTo>
                <a:lnTo>
                  <a:pt x="4465" y="1687"/>
                </a:lnTo>
                <a:lnTo>
                  <a:pt x="4465" y="1688"/>
                </a:lnTo>
                <a:lnTo>
                  <a:pt x="4465" y="1691"/>
                </a:lnTo>
                <a:lnTo>
                  <a:pt x="4464" y="1688"/>
                </a:lnTo>
                <a:lnTo>
                  <a:pt x="4462" y="1685"/>
                </a:lnTo>
                <a:lnTo>
                  <a:pt x="4463" y="1684"/>
                </a:lnTo>
                <a:lnTo>
                  <a:pt x="4461" y="1684"/>
                </a:lnTo>
                <a:lnTo>
                  <a:pt x="4461" y="1684"/>
                </a:lnTo>
                <a:lnTo>
                  <a:pt x="4461" y="1683"/>
                </a:lnTo>
                <a:lnTo>
                  <a:pt x="4461" y="1680"/>
                </a:lnTo>
                <a:lnTo>
                  <a:pt x="4460" y="1680"/>
                </a:lnTo>
                <a:lnTo>
                  <a:pt x="4462" y="1674"/>
                </a:lnTo>
                <a:lnTo>
                  <a:pt x="4463" y="1668"/>
                </a:lnTo>
                <a:close/>
                <a:moveTo>
                  <a:pt x="4465" y="1678"/>
                </a:moveTo>
                <a:lnTo>
                  <a:pt x="4463" y="1680"/>
                </a:lnTo>
                <a:lnTo>
                  <a:pt x="4465" y="1682"/>
                </a:lnTo>
                <a:lnTo>
                  <a:pt x="4465" y="1682"/>
                </a:lnTo>
                <a:lnTo>
                  <a:pt x="4465" y="1678"/>
                </a:lnTo>
                <a:close/>
                <a:moveTo>
                  <a:pt x="4383" y="1495"/>
                </a:moveTo>
                <a:lnTo>
                  <a:pt x="4385" y="1491"/>
                </a:lnTo>
                <a:lnTo>
                  <a:pt x="4384" y="1490"/>
                </a:lnTo>
                <a:lnTo>
                  <a:pt x="4382" y="1489"/>
                </a:lnTo>
                <a:lnTo>
                  <a:pt x="4382" y="1489"/>
                </a:lnTo>
                <a:lnTo>
                  <a:pt x="4382" y="1492"/>
                </a:lnTo>
                <a:lnTo>
                  <a:pt x="4383" y="1494"/>
                </a:lnTo>
                <a:lnTo>
                  <a:pt x="4383" y="1495"/>
                </a:lnTo>
                <a:close/>
                <a:moveTo>
                  <a:pt x="4337" y="1543"/>
                </a:moveTo>
                <a:lnTo>
                  <a:pt x="4337" y="1542"/>
                </a:lnTo>
                <a:lnTo>
                  <a:pt x="4336" y="1542"/>
                </a:lnTo>
                <a:lnTo>
                  <a:pt x="4335" y="1543"/>
                </a:lnTo>
                <a:lnTo>
                  <a:pt x="4336" y="1543"/>
                </a:lnTo>
                <a:lnTo>
                  <a:pt x="4337" y="1543"/>
                </a:lnTo>
                <a:close/>
                <a:moveTo>
                  <a:pt x="4353" y="1449"/>
                </a:moveTo>
                <a:lnTo>
                  <a:pt x="4354" y="1450"/>
                </a:lnTo>
                <a:lnTo>
                  <a:pt x="4353" y="1448"/>
                </a:lnTo>
                <a:lnTo>
                  <a:pt x="4353" y="1449"/>
                </a:lnTo>
                <a:close/>
                <a:moveTo>
                  <a:pt x="4387" y="1226"/>
                </a:moveTo>
                <a:lnTo>
                  <a:pt x="4385" y="1228"/>
                </a:lnTo>
                <a:lnTo>
                  <a:pt x="4387" y="1228"/>
                </a:lnTo>
                <a:lnTo>
                  <a:pt x="4387" y="1226"/>
                </a:lnTo>
                <a:lnTo>
                  <a:pt x="4387" y="1226"/>
                </a:lnTo>
                <a:close/>
                <a:moveTo>
                  <a:pt x="4383" y="1230"/>
                </a:moveTo>
                <a:lnTo>
                  <a:pt x="4383" y="1231"/>
                </a:lnTo>
                <a:lnTo>
                  <a:pt x="4386" y="1232"/>
                </a:lnTo>
                <a:lnTo>
                  <a:pt x="4389" y="1233"/>
                </a:lnTo>
                <a:lnTo>
                  <a:pt x="4389" y="1231"/>
                </a:lnTo>
                <a:lnTo>
                  <a:pt x="4385" y="1230"/>
                </a:lnTo>
                <a:lnTo>
                  <a:pt x="4383" y="1230"/>
                </a:lnTo>
                <a:close/>
                <a:moveTo>
                  <a:pt x="4382" y="1468"/>
                </a:moveTo>
                <a:lnTo>
                  <a:pt x="4380" y="1469"/>
                </a:lnTo>
                <a:lnTo>
                  <a:pt x="4382" y="1471"/>
                </a:lnTo>
                <a:lnTo>
                  <a:pt x="4383" y="1473"/>
                </a:lnTo>
                <a:lnTo>
                  <a:pt x="4383" y="1473"/>
                </a:lnTo>
                <a:lnTo>
                  <a:pt x="4383" y="1472"/>
                </a:lnTo>
                <a:lnTo>
                  <a:pt x="4383" y="1469"/>
                </a:lnTo>
                <a:lnTo>
                  <a:pt x="4385" y="1469"/>
                </a:lnTo>
                <a:lnTo>
                  <a:pt x="4383" y="1467"/>
                </a:lnTo>
                <a:lnTo>
                  <a:pt x="4382" y="1468"/>
                </a:lnTo>
                <a:close/>
                <a:moveTo>
                  <a:pt x="4413" y="1485"/>
                </a:moveTo>
                <a:lnTo>
                  <a:pt x="4413" y="1488"/>
                </a:lnTo>
                <a:lnTo>
                  <a:pt x="4415" y="1489"/>
                </a:lnTo>
                <a:lnTo>
                  <a:pt x="4416" y="1491"/>
                </a:lnTo>
                <a:lnTo>
                  <a:pt x="4417" y="1491"/>
                </a:lnTo>
                <a:lnTo>
                  <a:pt x="4417" y="1491"/>
                </a:lnTo>
                <a:lnTo>
                  <a:pt x="4417" y="1489"/>
                </a:lnTo>
                <a:lnTo>
                  <a:pt x="4417" y="1488"/>
                </a:lnTo>
                <a:lnTo>
                  <a:pt x="4417" y="1491"/>
                </a:lnTo>
                <a:lnTo>
                  <a:pt x="4418" y="1491"/>
                </a:lnTo>
                <a:lnTo>
                  <a:pt x="4419" y="1488"/>
                </a:lnTo>
                <a:lnTo>
                  <a:pt x="4421" y="1486"/>
                </a:lnTo>
                <a:lnTo>
                  <a:pt x="4417" y="1483"/>
                </a:lnTo>
                <a:lnTo>
                  <a:pt x="4413" y="1483"/>
                </a:lnTo>
                <a:lnTo>
                  <a:pt x="4413" y="1485"/>
                </a:lnTo>
                <a:close/>
                <a:moveTo>
                  <a:pt x="4430" y="1506"/>
                </a:moveTo>
                <a:lnTo>
                  <a:pt x="4429" y="1506"/>
                </a:lnTo>
                <a:lnTo>
                  <a:pt x="4429" y="1507"/>
                </a:lnTo>
                <a:lnTo>
                  <a:pt x="4432" y="1507"/>
                </a:lnTo>
                <a:lnTo>
                  <a:pt x="4430" y="1506"/>
                </a:lnTo>
                <a:close/>
                <a:moveTo>
                  <a:pt x="4390" y="1234"/>
                </a:moveTo>
                <a:lnTo>
                  <a:pt x="4390" y="1234"/>
                </a:lnTo>
                <a:lnTo>
                  <a:pt x="4390" y="1233"/>
                </a:lnTo>
                <a:lnTo>
                  <a:pt x="4389" y="1233"/>
                </a:lnTo>
                <a:lnTo>
                  <a:pt x="4390" y="1233"/>
                </a:lnTo>
                <a:lnTo>
                  <a:pt x="4390" y="1234"/>
                </a:lnTo>
                <a:close/>
                <a:moveTo>
                  <a:pt x="4416" y="1323"/>
                </a:moveTo>
                <a:lnTo>
                  <a:pt x="4415" y="1323"/>
                </a:lnTo>
                <a:lnTo>
                  <a:pt x="4415" y="1324"/>
                </a:lnTo>
                <a:lnTo>
                  <a:pt x="4416" y="1324"/>
                </a:lnTo>
                <a:lnTo>
                  <a:pt x="4417" y="1322"/>
                </a:lnTo>
                <a:lnTo>
                  <a:pt x="4416" y="1323"/>
                </a:lnTo>
                <a:close/>
                <a:moveTo>
                  <a:pt x="4386" y="1472"/>
                </a:moveTo>
                <a:lnTo>
                  <a:pt x="4386" y="1472"/>
                </a:lnTo>
                <a:lnTo>
                  <a:pt x="4386" y="1470"/>
                </a:lnTo>
                <a:lnTo>
                  <a:pt x="4385" y="1470"/>
                </a:lnTo>
                <a:lnTo>
                  <a:pt x="4386" y="1471"/>
                </a:lnTo>
                <a:lnTo>
                  <a:pt x="4386" y="1472"/>
                </a:lnTo>
                <a:close/>
                <a:moveTo>
                  <a:pt x="4383" y="1452"/>
                </a:moveTo>
                <a:lnTo>
                  <a:pt x="4383" y="1452"/>
                </a:lnTo>
                <a:lnTo>
                  <a:pt x="4385" y="1451"/>
                </a:lnTo>
                <a:lnTo>
                  <a:pt x="4385" y="1450"/>
                </a:lnTo>
                <a:lnTo>
                  <a:pt x="4385" y="1450"/>
                </a:lnTo>
                <a:lnTo>
                  <a:pt x="4383" y="1452"/>
                </a:lnTo>
                <a:lnTo>
                  <a:pt x="4383" y="1452"/>
                </a:lnTo>
                <a:close/>
                <a:moveTo>
                  <a:pt x="4385" y="1450"/>
                </a:moveTo>
                <a:lnTo>
                  <a:pt x="4385" y="1450"/>
                </a:lnTo>
                <a:lnTo>
                  <a:pt x="4385" y="1450"/>
                </a:lnTo>
                <a:lnTo>
                  <a:pt x="4385" y="1450"/>
                </a:lnTo>
                <a:close/>
                <a:moveTo>
                  <a:pt x="4354" y="1450"/>
                </a:moveTo>
                <a:lnTo>
                  <a:pt x="4355" y="1451"/>
                </a:lnTo>
                <a:lnTo>
                  <a:pt x="4355" y="1451"/>
                </a:lnTo>
                <a:lnTo>
                  <a:pt x="4354" y="1450"/>
                </a:lnTo>
                <a:close/>
                <a:moveTo>
                  <a:pt x="4378" y="1403"/>
                </a:moveTo>
                <a:lnTo>
                  <a:pt x="4378" y="1402"/>
                </a:lnTo>
                <a:lnTo>
                  <a:pt x="4375" y="1402"/>
                </a:lnTo>
                <a:lnTo>
                  <a:pt x="4376" y="1402"/>
                </a:lnTo>
                <a:lnTo>
                  <a:pt x="4378" y="1403"/>
                </a:lnTo>
                <a:close/>
                <a:moveTo>
                  <a:pt x="4361" y="1477"/>
                </a:moveTo>
                <a:lnTo>
                  <a:pt x="4361" y="1477"/>
                </a:lnTo>
                <a:lnTo>
                  <a:pt x="4360" y="1476"/>
                </a:lnTo>
                <a:lnTo>
                  <a:pt x="4360" y="1477"/>
                </a:lnTo>
                <a:lnTo>
                  <a:pt x="4361" y="1477"/>
                </a:lnTo>
                <a:close/>
                <a:moveTo>
                  <a:pt x="4382" y="1410"/>
                </a:moveTo>
                <a:lnTo>
                  <a:pt x="4382" y="1410"/>
                </a:lnTo>
                <a:lnTo>
                  <a:pt x="4383" y="1409"/>
                </a:lnTo>
                <a:lnTo>
                  <a:pt x="4383" y="1408"/>
                </a:lnTo>
                <a:lnTo>
                  <a:pt x="4382" y="1408"/>
                </a:lnTo>
                <a:lnTo>
                  <a:pt x="4382" y="1410"/>
                </a:lnTo>
                <a:close/>
                <a:moveTo>
                  <a:pt x="4361" y="1333"/>
                </a:moveTo>
                <a:lnTo>
                  <a:pt x="4359" y="1337"/>
                </a:lnTo>
                <a:lnTo>
                  <a:pt x="4357" y="1344"/>
                </a:lnTo>
                <a:lnTo>
                  <a:pt x="4359" y="1345"/>
                </a:lnTo>
                <a:lnTo>
                  <a:pt x="4360" y="1348"/>
                </a:lnTo>
                <a:lnTo>
                  <a:pt x="4361" y="1352"/>
                </a:lnTo>
                <a:lnTo>
                  <a:pt x="4365" y="1356"/>
                </a:lnTo>
                <a:lnTo>
                  <a:pt x="4365" y="1363"/>
                </a:lnTo>
                <a:lnTo>
                  <a:pt x="4369" y="1363"/>
                </a:lnTo>
                <a:lnTo>
                  <a:pt x="4372" y="1353"/>
                </a:lnTo>
                <a:lnTo>
                  <a:pt x="4374" y="1346"/>
                </a:lnTo>
                <a:lnTo>
                  <a:pt x="4378" y="1341"/>
                </a:lnTo>
                <a:lnTo>
                  <a:pt x="4380" y="1334"/>
                </a:lnTo>
                <a:lnTo>
                  <a:pt x="4381" y="1327"/>
                </a:lnTo>
                <a:lnTo>
                  <a:pt x="4383" y="1325"/>
                </a:lnTo>
                <a:lnTo>
                  <a:pt x="4384" y="1322"/>
                </a:lnTo>
                <a:lnTo>
                  <a:pt x="4384" y="1319"/>
                </a:lnTo>
                <a:lnTo>
                  <a:pt x="4383" y="1315"/>
                </a:lnTo>
                <a:lnTo>
                  <a:pt x="4386" y="1313"/>
                </a:lnTo>
                <a:lnTo>
                  <a:pt x="4383" y="1311"/>
                </a:lnTo>
                <a:lnTo>
                  <a:pt x="4380" y="1310"/>
                </a:lnTo>
                <a:lnTo>
                  <a:pt x="4378" y="1311"/>
                </a:lnTo>
                <a:lnTo>
                  <a:pt x="4372" y="1315"/>
                </a:lnTo>
                <a:lnTo>
                  <a:pt x="4361" y="1333"/>
                </a:lnTo>
                <a:close/>
                <a:moveTo>
                  <a:pt x="4349" y="1452"/>
                </a:moveTo>
                <a:lnTo>
                  <a:pt x="4349" y="1454"/>
                </a:lnTo>
                <a:lnTo>
                  <a:pt x="4349" y="1455"/>
                </a:lnTo>
                <a:lnTo>
                  <a:pt x="4349" y="1461"/>
                </a:lnTo>
                <a:lnTo>
                  <a:pt x="4352" y="1462"/>
                </a:lnTo>
                <a:lnTo>
                  <a:pt x="4354" y="1464"/>
                </a:lnTo>
                <a:lnTo>
                  <a:pt x="4355" y="1467"/>
                </a:lnTo>
                <a:lnTo>
                  <a:pt x="4356" y="1471"/>
                </a:lnTo>
                <a:lnTo>
                  <a:pt x="4359" y="1471"/>
                </a:lnTo>
                <a:lnTo>
                  <a:pt x="4358" y="1472"/>
                </a:lnTo>
                <a:lnTo>
                  <a:pt x="4358" y="1472"/>
                </a:lnTo>
                <a:lnTo>
                  <a:pt x="4359" y="1475"/>
                </a:lnTo>
                <a:lnTo>
                  <a:pt x="4360" y="1476"/>
                </a:lnTo>
                <a:lnTo>
                  <a:pt x="4361" y="1474"/>
                </a:lnTo>
                <a:lnTo>
                  <a:pt x="4361" y="1471"/>
                </a:lnTo>
                <a:lnTo>
                  <a:pt x="4367" y="1471"/>
                </a:lnTo>
                <a:lnTo>
                  <a:pt x="4365" y="1473"/>
                </a:lnTo>
                <a:lnTo>
                  <a:pt x="4365" y="1474"/>
                </a:lnTo>
                <a:lnTo>
                  <a:pt x="4360" y="1478"/>
                </a:lnTo>
                <a:lnTo>
                  <a:pt x="4362" y="1483"/>
                </a:lnTo>
                <a:lnTo>
                  <a:pt x="4363" y="1487"/>
                </a:lnTo>
                <a:lnTo>
                  <a:pt x="4367" y="1487"/>
                </a:lnTo>
                <a:lnTo>
                  <a:pt x="4371" y="1491"/>
                </a:lnTo>
                <a:lnTo>
                  <a:pt x="4374" y="1491"/>
                </a:lnTo>
                <a:lnTo>
                  <a:pt x="4374" y="1488"/>
                </a:lnTo>
                <a:lnTo>
                  <a:pt x="4375" y="1486"/>
                </a:lnTo>
                <a:lnTo>
                  <a:pt x="4378" y="1485"/>
                </a:lnTo>
                <a:lnTo>
                  <a:pt x="4380" y="1484"/>
                </a:lnTo>
                <a:lnTo>
                  <a:pt x="4390" y="1491"/>
                </a:lnTo>
                <a:lnTo>
                  <a:pt x="4394" y="1499"/>
                </a:lnTo>
                <a:lnTo>
                  <a:pt x="4395" y="1499"/>
                </a:lnTo>
                <a:lnTo>
                  <a:pt x="4389" y="1486"/>
                </a:lnTo>
                <a:lnTo>
                  <a:pt x="4389" y="1484"/>
                </a:lnTo>
                <a:lnTo>
                  <a:pt x="4391" y="1485"/>
                </a:lnTo>
                <a:lnTo>
                  <a:pt x="4393" y="1486"/>
                </a:lnTo>
                <a:lnTo>
                  <a:pt x="4393" y="1488"/>
                </a:lnTo>
                <a:lnTo>
                  <a:pt x="4397" y="1489"/>
                </a:lnTo>
                <a:lnTo>
                  <a:pt x="4401" y="1491"/>
                </a:lnTo>
                <a:lnTo>
                  <a:pt x="4402" y="1495"/>
                </a:lnTo>
                <a:lnTo>
                  <a:pt x="4404" y="1499"/>
                </a:lnTo>
                <a:lnTo>
                  <a:pt x="4404" y="1499"/>
                </a:lnTo>
                <a:lnTo>
                  <a:pt x="4404" y="1499"/>
                </a:lnTo>
                <a:lnTo>
                  <a:pt x="4405" y="1498"/>
                </a:lnTo>
                <a:lnTo>
                  <a:pt x="4405" y="1497"/>
                </a:lnTo>
                <a:lnTo>
                  <a:pt x="4408" y="1498"/>
                </a:lnTo>
                <a:lnTo>
                  <a:pt x="4409" y="1499"/>
                </a:lnTo>
                <a:lnTo>
                  <a:pt x="4409" y="1501"/>
                </a:lnTo>
                <a:lnTo>
                  <a:pt x="4413" y="1507"/>
                </a:lnTo>
                <a:lnTo>
                  <a:pt x="4416" y="1507"/>
                </a:lnTo>
                <a:lnTo>
                  <a:pt x="4416" y="1502"/>
                </a:lnTo>
                <a:lnTo>
                  <a:pt x="4417" y="1496"/>
                </a:lnTo>
                <a:lnTo>
                  <a:pt x="4417" y="1496"/>
                </a:lnTo>
                <a:lnTo>
                  <a:pt x="4417" y="1496"/>
                </a:lnTo>
                <a:lnTo>
                  <a:pt x="4416" y="1497"/>
                </a:lnTo>
                <a:lnTo>
                  <a:pt x="4416" y="1497"/>
                </a:lnTo>
                <a:lnTo>
                  <a:pt x="4414" y="1496"/>
                </a:lnTo>
                <a:lnTo>
                  <a:pt x="4413" y="1496"/>
                </a:lnTo>
                <a:lnTo>
                  <a:pt x="4413" y="1496"/>
                </a:lnTo>
                <a:lnTo>
                  <a:pt x="4412" y="1496"/>
                </a:lnTo>
                <a:lnTo>
                  <a:pt x="4411" y="1495"/>
                </a:lnTo>
                <a:lnTo>
                  <a:pt x="4411" y="1495"/>
                </a:lnTo>
                <a:lnTo>
                  <a:pt x="4411" y="1495"/>
                </a:lnTo>
                <a:lnTo>
                  <a:pt x="4410" y="1495"/>
                </a:lnTo>
                <a:lnTo>
                  <a:pt x="4412" y="1495"/>
                </a:lnTo>
                <a:lnTo>
                  <a:pt x="4412" y="1495"/>
                </a:lnTo>
                <a:lnTo>
                  <a:pt x="4413" y="1495"/>
                </a:lnTo>
                <a:lnTo>
                  <a:pt x="4412" y="1493"/>
                </a:lnTo>
                <a:lnTo>
                  <a:pt x="4410" y="1492"/>
                </a:lnTo>
                <a:lnTo>
                  <a:pt x="4409" y="1491"/>
                </a:lnTo>
                <a:lnTo>
                  <a:pt x="4409" y="1492"/>
                </a:lnTo>
                <a:lnTo>
                  <a:pt x="4409" y="1495"/>
                </a:lnTo>
                <a:lnTo>
                  <a:pt x="4409" y="1495"/>
                </a:lnTo>
                <a:lnTo>
                  <a:pt x="4405" y="1488"/>
                </a:lnTo>
                <a:lnTo>
                  <a:pt x="4405" y="1487"/>
                </a:lnTo>
                <a:lnTo>
                  <a:pt x="4413" y="1487"/>
                </a:lnTo>
                <a:lnTo>
                  <a:pt x="4409" y="1485"/>
                </a:lnTo>
                <a:lnTo>
                  <a:pt x="4405" y="1484"/>
                </a:lnTo>
                <a:lnTo>
                  <a:pt x="4405" y="1484"/>
                </a:lnTo>
                <a:lnTo>
                  <a:pt x="4404" y="1483"/>
                </a:lnTo>
                <a:lnTo>
                  <a:pt x="4401" y="1483"/>
                </a:lnTo>
                <a:lnTo>
                  <a:pt x="4403" y="1484"/>
                </a:lnTo>
                <a:lnTo>
                  <a:pt x="4403" y="1485"/>
                </a:lnTo>
                <a:lnTo>
                  <a:pt x="4397" y="1488"/>
                </a:lnTo>
                <a:lnTo>
                  <a:pt x="4397" y="1484"/>
                </a:lnTo>
                <a:lnTo>
                  <a:pt x="4396" y="1481"/>
                </a:lnTo>
                <a:lnTo>
                  <a:pt x="4394" y="1478"/>
                </a:lnTo>
                <a:lnTo>
                  <a:pt x="4392" y="1478"/>
                </a:lnTo>
                <a:lnTo>
                  <a:pt x="4390" y="1477"/>
                </a:lnTo>
                <a:lnTo>
                  <a:pt x="4389" y="1479"/>
                </a:lnTo>
                <a:lnTo>
                  <a:pt x="4389" y="1481"/>
                </a:lnTo>
                <a:lnTo>
                  <a:pt x="4388" y="1480"/>
                </a:lnTo>
                <a:lnTo>
                  <a:pt x="4386" y="1479"/>
                </a:lnTo>
                <a:lnTo>
                  <a:pt x="4385" y="1479"/>
                </a:lnTo>
                <a:lnTo>
                  <a:pt x="4385" y="1480"/>
                </a:lnTo>
                <a:lnTo>
                  <a:pt x="4387" y="1480"/>
                </a:lnTo>
                <a:lnTo>
                  <a:pt x="4389" y="1481"/>
                </a:lnTo>
                <a:lnTo>
                  <a:pt x="4387" y="1482"/>
                </a:lnTo>
                <a:lnTo>
                  <a:pt x="4386" y="1484"/>
                </a:lnTo>
                <a:lnTo>
                  <a:pt x="4380" y="1480"/>
                </a:lnTo>
                <a:lnTo>
                  <a:pt x="4379" y="1477"/>
                </a:lnTo>
                <a:lnTo>
                  <a:pt x="4377" y="1473"/>
                </a:lnTo>
                <a:lnTo>
                  <a:pt x="4377" y="1472"/>
                </a:lnTo>
                <a:lnTo>
                  <a:pt x="4375" y="1467"/>
                </a:lnTo>
                <a:lnTo>
                  <a:pt x="4373" y="1462"/>
                </a:lnTo>
                <a:lnTo>
                  <a:pt x="4376" y="1460"/>
                </a:lnTo>
                <a:lnTo>
                  <a:pt x="4378" y="1458"/>
                </a:lnTo>
                <a:lnTo>
                  <a:pt x="4378" y="1456"/>
                </a:lnTo>
                <a:lnTo>
                  <a:pt x="4378" y="1454"/>
                </a:lnTo>
                <a:lnTo>
                  <a:pt x="4381" y="1452"/>
                </a:lnTo>
                <a:lnTo>
                  <a:pt x="4385" y="1450"/>
                </a:lnTo>
                <a:lnTo>
                  <a:pt x="4385" y="1450"/>
                </a:lnTo>
                <a:lnTo>
                  <a:pt x="4385" y="1447"/>
                </a:lnTo>
                <a:lnTo>
                  <a:pt x="4389" y="1440"/>
                </a:lnTo>
                <a:lnTo>
                  <a:pt x="4391" y="1439"/>
                </a:lnTo>
                <a:lnTo>
                  <a:pt x="4393" y="1439"/>
                </a:lnTo>
                <a:lnTo>
                  <a:pt x="4389" y="1439"/>
                </a:lnTo>
                <a:lnTo>
                  <a:pt x="4389" y="1433"/>
                </a:lnTo>
                <a:lnTo>
                  <a:pt x="4386" y="1432"/>
                </a:lnTo>
                <a:lnTo>
                  <a:pt x="4385" y="1429"/>
                </a:lnTo>
                <a:lnTo>
                  <a:pt x="4385" y="1425"/>
                </a:lnTo>
                <a:lnTo>
                  <a:pt x="4386" y="1423"/>
                </a:lnTo>
                <a:lnTo>
                  <a:pt x="4386" y="1421"/>
                </a:lnTo>
                <a:lnTo>
                  <a:pt x="4388" y="1420"/>
                </a:lnTo>
                <a:lnTo>
                  <a:pt x="4389" y="1418"/>
                </a:lnTo>
                <a:lnTo>
                  <a:pt x="4389" y="1417"/>
                </a:lnTo>
                <a:lnTo>
                  <a:pt x="4388" y="1416"/>
                </a:lnTo>
                <a:lnTo>
                  <a:pt x="4387" y="1415"/>
                </a:lnTo>
                <a:lnTo>
                  <a:pt x="4386" y="1415"/>
                </a:lnTo>
                <a:lnTo>
                  <a:pt x="4386" y="1415"/>
                </a:lnTo>
                <a:lnTo>
                  <a:pt x="4386" y="1416"/>
                </a:lnTo>
                <a:lnTo>
                  <a:pt x="4385" y="1417"/>
                </a:lnTo>
                <a:lnTo>
                  <a:pt x="4383" y="1418"/>
                </a:lnTo>
                <a:lnTo>
                  <a:pt x="4371" y="1412"/>
                </a:lnTo>
                <a:lnTo>
                  <a:pt x="4367" y="1413"/>
                </a:lnTo>
                <a:lnTo>
                  <a:pt x="4363" y="1414"/>
                </a:lnTo>
                <a:lnTo>
                  <a:pt x="4361" y="1421"/>
                </a:lnTo>
                <a:lnTo>
                  <a:pt x="4357" y="1429"/>
                </a:lnTo>
                <a:lnTo>
                  <a:pt x="4357" y="1432"/>
                </a:lnTo>
                <a:lnTo>
                  <a:pt x="4357" y="1439"/>
                </a:lnTo>
                <a:lnTo>
                  <a:pt x="4357" y="1443"/>
                </a:lnTo>
                <a:lnTo>
                  <a:pt x="4360" y="1450"/>
                </a:lnTo>
                <a:lnTo>
                  <a:pt x="4358" y="1451"/>
                </a:lnTo>
                <a:lnTo>
                  <a:pt x="4355" y="1452"/>
                </a:lnTo>
                <a:lnTo>
                  <a:pt x="4355" y="1451"/>
                </a:lnTo>
                <a:lnTo>
                  <a:pt x="4353" y="1451"/>
                </a:lnTo>
                <a:lnTo>
                  <a:pt x="4352" y="1451"/>
                </a:lnTo>
                <a:lnTo>
                  <a:pt x="4353" y="1447"/>
                </a:lnTo>
                <a:lnTo>
                  <a:pt x="4353" y="1447"/>
                </a:lnTo>
                <a:lnTo>
                  <a:pt x="4353" y="1447"/>
                </a:lnTo>
                <a:lnTo>
                  <a:pt x="4351" y="1448"/>
                </a:lnTo>
                <a:lnTo>
                  <a:pt x="4349" y="1450"/>
                </a:lnTo>
                <a:lnTo>
                  <a:pt x="4349" y="1452"/>
                </a:lnTo>
                <a:close/>
                <a:moveTo>
                  <a:pt x="4441" y="1527"/>
                </a:moveTo>
                <a:lnTo>
                  <a:pt x="4441" y="1526"/>
                </a:lnTo>
                <a:lnTo>
                  <a:pt x="4441" y="1526"/>
                </a:lnTo>
                <a:lnTo>
                  <a:pt x="4441" y="1527"/>
                </a:lnTo>
                <a:lnTo>
                  <a:pt x="4441" y="1527"/>
                </a:lnTo>
                <a:close/>
                <a:moveTo>
                  <a:pt x="4493" y="1182"/>
                </a:moveTo>
                <a:lnTo>
                  <a:pt x="4494" y="1182"/>
                </a:lnTo>
                <a:lnTo>
                  <a:pt x="4494" y="1182"/>
                </a:lnTo>
                <a:lnTo>
                  <a:pt x="4495" y="1180"/>
                </a:lnTo>
                <a:lnTo>
                  <a:pt x="4494" y="1180"/>
                </a:lnTo>
                <a:lnTo>
                  <a:pt x="4494" y="1178"/>
                </a:lnTo>
                <a:lnTo>
                  <a:pt x="4493" y="1182"/>
                </a:lnTo>
                <a:close/>
                <a:moveTo>
                  <a:pt x="4510" y="1207"/>
                </a:moveTo>
                <a:lnTo>
                  <a:pt x="4509" y="1207"/>
                </a:lnTo>
                <a:lnTo>
                  <a:pt x="4509" y="1207"/>
                </a:lnTo>
                <a:lnTo>
                  <a:pt x="4510" y="1207"/>
                </a:lnTo>
                <a:close/>
                <a:moveTo>
                  <a:pt x="4640" y="1150"/>
                </a:moveTo>
                <a:lnTo>
                  <a:pt x="4640" y="1150"/>
                </a:lnTo>
                <a:lnTo>
                  <a:pt x="4640" y="1146"/>
                </a:lnTo>
                <a:lnTo>
                  <a:pt x="4638" y="1146"/>
                </a:lnTo>
                <a:lnTo>
                  <a:pt x="4638" y="1150"/>
                </a:lnTo>
                <a:lnTo>
                  <a:pt x="4640" y="1150"/>
                </a:lnTo>
                <a:close/>
                <a:moveTo>
                  <a:pt x="4539" y="1166"/>
                </a:moveTo>
                <a:lnTo>
                  <a:pt x="4539" y="1164"/>
                </a:lnTo>
                <a:lnTo>
                  <a:pt x="4536" y="1164"/>
                </a:lnTo>
                <a:lnTo>
                  <a:pt x="4539" y="1166"/>
                </a:lnTo>
                <a:lnTo>
                  <a:pt x="4539" y="1166"/>
                </a:lnTo>
                <a:close/>
                <a:moveTo>
                  <a:pt x="4536" y="1164"/>
                </a:moveTo>
                <a:lnTo>
                  <a:pt x="4536" y="1164"/>
                </a:lnTo>
                <a:lnTo>
                  <a:pt x="4539" y="1162"/>
                </a:lnTo>
                <a:lnTo>
                  <a:pt x="4538" y="1162"/>
                </a:lnTo>
                <a:lnTo>
                  <a:pt x="4536" y="1162"/>
                </a:lnTo>
                <a:lnTo>
                  <a:pt x="4536" y="1164"/>
                </a:lnTo>
                <a:close/>
                <a:moveTo>
                  <a:pt x="4497" y="1181"/>
                </a:moveTo>
                <a:lnTo>
                  <a:pt x="4495" y="1180"/>
                </a:lnTo>
                <a:lnTo>
                  <a:pt x="4495" y="1178"/>
                </a:lnTo>
                <a:lnTo>
                  <a:pt x="4495" y="1178"/>
                </a:lnTo>
                <a:lnTo>
                  <a:pt x="4499" y="1178"/>
                </a:lnTo>
                <a:lnTo>
                  <a:pt x="4498" y="1176"/>
                </a:lnTo>
                <a:lnTo>
                  <a:pt x="4498" y="1174"/>
                </a:lnTo>
                <a:lnTo>
                  <a:pt x="4498" y="1174"/>
                </a:lnTo>
                <a:lnTo>
                  <a:pt x="4498" y="1174"/>
                </a:lnTo>
                <a:lnTo>
                  <a:pt x="4500" y="1176"/>
                </a:lnTo>
                <a:lnTo>
                  <a:pt x="4502" y="1177"/>
                </a:lnTo>
                <a:lnTo>
                  <a:pt x="4505" y="1174"/>
                </a:lnTo>
                <a:lnTo>
                  <a:pt x="4506" y="1174"/>
                </a:lnTo>
                <a:lnTo>
                  <a:pt x="4507" y="1172"/>
                </a:lnTo>
                <a:lnTo>
                  <a:pt x="4507" y="1170"/>
                </a:lnTo>
                <a:lnTo>
                  <a:pt x="4509" y="1170"/>
                </a:lnTo>
                <a:lnTo>
                  <a:pt x="4510" y="1170"/>
                </a:lnTo>
                <a:lnTo>
                  <a:pt x="4510" y="1170"/>
                </a:lnTo>
                <a:lnTo>
                  <a:pt x="4510" y="1170"/>
                </a:lnTo>
                <a:lnTo>
                  <a:pt x="4510" y="1170"/>
                </a:lnTo>
                <a:lnTo>
                  <a:pt x="4510" y="1162"/>
                </a:lnTo>
                <a:lnTo>
                  <a:pt x="4522" y="1162"/>
                </a:lnTo>
                <a:lnTo>
                  <a:pt x="4522" y="1159"/>
                </a:lnTo>
                <a:lnTo>
                  <a:pt x="4523" y="1157"/>
                </a:lnTo>
                <a:lnTo>
                  <a:pt x="4526" y="1155"/>
                </a:lnTo>
                <a:lnTo>
                  <a:pt x="4528" y="1154"/>
                </a:lnTo>
                <a:lnTo>
                  <a:pt x="4533" y="1150"/>
                </a:lnTo>
                <a:lnTo>
                  <a:pt x="4538" y="1145"/>
                </a:lnTo>
                <a:lnTo>
                  <a:pt x="4538" y="1142"/>
                </a:lnTo>
                <a:lnTo>
                  <a:pt x="4545" y="1140"/>
                </a:lnTo>
                <a:lnTo>
                  <a:pt x="4549" y="1141"/>
                </a:lnTo>
                <a:lnTo>
                  <a:pt x="4551" y="1142"/>
                </a:lnTo>
                <a:lnTo>
                  <a:pt x="4562" y="1140"/>
                </a:lnTo>
                <a:lnTo>
                  <a:pt x="4564" y="1139"/>
                </a:lnTo>
                <a:lnTo>
                  <a:pt x="4566" y="1138"/>
                </a:lnTo>
                <a:lnTo>
                  <a:pt x="4573" y="1138"/>
                </a:lnTo>
                <a:lnTo>
                  <a:pt x="4576" y="1137"/>
                </a:lnTo>
                <a:lnTo>
                  <a:pt x="4577" y="1137"/>
                </a:lnTo>
                <a:lnTo>
                  <a:pt x="4578" y="1138"/>
                </a:lnTo>
                <a:lnTo>
                  <a:pt x="4577" y="1139"/>
                </a:lnTo>
                <a:lnTo>
                  <a:pt x="4576" y="1140"/>
                </a:lnTo>
                <a:lnTo>
                  <a:pt x="4579" y="1142"/>
                </a:lnTo>
                <a:lnTo>
                  <a:pt x="4580" y="1142"/>
                </a:lnTo>
                <a:lnTo>
                  <a:pt x="4580" y="1142"/>
                </a:lnTo>
                <a:lnTo>
                  <a:pt x="4581" y="1142"/>
                </a:lnTo>
                <a:lnTo>
                  <a:pt x="4584" y="1142"/>
                </a:lnTo>
                <a:lnTo>
                  <a:pt x="4586" y="1139"/>
                </a:lnTo>
                <a:lnTo>
                  <a:pt x="4588" y="1137"/>
                </a:lnTo>
                <a:lnTo>
                  <a:pt x="4588" y="1135"/>
                </a:lnTo>
                <a:lnTo>
                  <a:pt x="4587" y="1134"/>
                </a:lnTo>
                <a:lnTo>
                  <a:pt x="4593" y="1127"/>
                </a:lnTo>
                <a:lnTo>
                  <a:pt x="4598" y="1120"/>
                </a:lnTo>
                <a:lnTo>
                  <a:pt x="4598" y="1116"/>
                </a:lnTo>
                <a:lnTo>
                  <a:pt x="4598" y="1111"/>
                </a:lnTo>
                <a:lnTo>
                  <a:pt x="4598" y="1110"/>
                </a:lnTo>
                <a:lnTo>
                  <a:pt x="4599" y="1108"/>
                </a:lnTo>
                <a:lnTo>
                  <a:pt x="4606" y="1107"/>
                </a:lnTo>
                <a:lnTo>
                  <a:pt x="4606" y="1108"/>
                </a:lnTo>
                <a:lnTo>
                  <a:pt x="4603" y="1114"/>
                </a:lnTo>
                <a:lnTo>
                  <a:pt x="4601" y="1114"/>
                </a:lnTo>
                <a:lnTo>
                  <a:pt x="4600" y="1114"/>
                </a:lnTo>
                <a:lnTo>
                  <a:pt x="4599" y="1114"/>
                </a:lnTo>
                <a:lnTo>
                  <a:pt x="4602" y="1115"/>
                </a:lnTo>
                <a:lnTo>
                  <a:pt x="4602" y="1119"/>
                </a:lnTo>
                <a:lnTo>
                  <a:pt x="4606" y="1120"/>
                </a:lnTo>
                <a:lnTo>
                  <a:pt x="4610" y="1116"/>
                </a:lnTo>
                <a:lnTo>
                  <a:pt x="4620" y="1111"/>
                </a:lnTo>
                <a:lnTo>
                  <a:pt x="4623" y="1110"/>
                </a:lnTo>
                <a:lnTo>
                  <a:pt x="4625" y="1108"/>
                </a:lnTo>
                <a:lnTo>
                  <a:pt x="4628" y="1103"/>
                </a:lnTo>
                <a:lnTo>
                  <a:pt x="4638" y="1095"/>
                </a:lnTo>
                <a:lnTo>
                  <a:pt x="4638" y="1089"/>
                </a:lnTo>
                <a:lnTo>
                  <a:pt x="4641" y="1086"/>
                </a:lnTo>
                <a:lnTo>
                  <a:pt x="4643" y="1083"/>
                </a:lnTo>
                <a:lnTo>
                  <a:pt x="4646" y="1072"/>
                </a:lnTo>
                <a:lnTo>
                  <a:pt x="4646" y="1066"/>
                </a:lnTo>
                <a:lnTo>
                  <a:pt x="4640" y="1065"/>
                </a:lnTo>
                <a:lnTo>
                  <a:pt x="4644" y="1065"/>
                </a:lnTo>
                <a:lnTo>
                  <a:pt x="4645" y="1061"/>
                </a:lnTo>
                <a:lnTo>
                  <a:pt x="4646" y="1057"/>
                </a:lnTo>
                <a:lnTo>
                  <a:pt x="4643" y="1051"/>
                </a:lnTo>
                <a:lnTo>
                  <a:pt x="4646" y="1049"/>
                </a:lnTo>
                <a:lnTo>
                  <a:pt x="4650" y="1049"/>
                </a:lnTo>
                <a:lnTo>
                  <a:pt x="4650" y="1044"/>
                </a:lnTo>
                <a:lnTo>
                  <a:pt x="4651" y="1040"/>
                </a:lnTo>
                <a:lnTo>
                  <a:pt x="4652" y="1040"/>
                </a:lnTo>
                <a:lnTo>
                  <a:pt x="4654" y="1041"/>
                </a:lnTo>
                <a:lnTo>
                  <a:pt x="4654" y="1048"/>
                </a:lnTo>
                <a:lnTo>
                  <a:pt x="4656" y="1047"/>
                </a:lnTo>
                <a:lnTo>
                  <a:pt x="4658" y="1046"/>
                </a:lnTo>
                <a:lnTo>
                  <a:pt x="4659" y="1045"/>
                </a:lnTo>
                <a:lnTo>
                  <a:pt x="4660" y="1047"/>
                </a:lnTo>
                <a:lnTo>
                  <a:pt x="4662" y="1049"/>
                </a:lnTo>
                <a:lnTo>
                  <a:pt x="4662" y="1041"/>
                </a:lnTo>
                <a:lnTo>
                  <a:pt x="4662" y="1040"/>
                </a:lnTo>
                <a:lnTo>
                  <a:pt x="4660" y="1040"/>
                </a:lnTo>
                <a:lnTo>
                  <a:pt x="4657" y="1041"/>
                </a:lnTo>
                <a:lnTo>
                  <a:pt x="4658" y="1034"/>
                </a:lnTo>
                <a:lnTo>
                  <a:pt x="4658" y="1034"/>
                </a:lnTo>
                <a:lnTo>
                  <a:pt x="4658" y="1034"/>
                </a:lnTo>
                <a:lnTo>
                  <a:pt x="4661" y="1038"/>
                </a:lnTo>
                <a:lnTo>
                  <a:pt x="4663" y="1041"/>
                </a:lnTo>
                <a:lnTo>
                  <a:pt x="4665" y="1041"/>
                </a:lnTo>
                <a:lnTo>
                  <a:pt x="4666" y="1046"/>
                </a:lnTo>
                <a:lnTo>
                  <a:pt x="4666" y="1051"/>
                </a:lnTo>
                <a:lnTo>
                  <a:pt x="4669" y="1054"/>
                </a:lnTo>
                <a:lnTo>
                  <a:pt x="4672" y="1057"/>
                </a:lnTo>
                <a:lnTo>
                  <a:pt x="4674" y="1063"/>
                </a:lnTo>
                <a:lnTo>
                  <a:pt x="4675" y="1068"/>
                </a:lnTo>
                <a:lnTo>
                  <a:pt x="4670" y="1075"/>
                </a:lnTo>
                <a:lnTo>
                  <a:pt x="4670" y="1081"/>
                </a:lnTo>
                <a:lnTo>
                  <a:pt x="4666" y="1081"/>
                </a:lnTo>
                <a:lnTo>
                  <a:pt x="4666" y="1083"/>
                </a:lnTo>
                <a:lnTo>
                  <a:pt x="4666" y="1091"/>
                </a:lnTo>
                <a:lnTo>
                  <a:pt x="4665" y="1089"/>
                </a:lnTo>
                <a:lnTo>
                  <a:pt x="4664" y="1091"/>
                </a:lnTo>
                <a:lnTo>
                  <a:pt x="4662" y="1092"/>
                </a:lnTo>
                <a:lnTo>
                  <a:pt x="4660" y="1094"/>
                </a:lnTo>
                <a:lnTo>
                  <a:pt x="4658" y="1095"/>
                </a:lnTo>
                <a:lnTo>
                  <a:pt x="4658" y="1099"/>
                </a:lnTo>
                <a:lnTo>
                  <a:pt x="4658" y="1103"/>
                </a:lnTo>
                <a:lnTo>
                  <a:pt x="4658" y="1108"/>
                </a:lnTo>
                <a:lnTo>
                  <a:pt x="4658" y="1115"/>
                </a:lnTo>
                <a:lnTo>
                  <a:pt x="4656" y="1119"/>
                </a:lnTo>
                <a:lnTo>
                  <a:pt x="4656" y="1123"/>
                </a:lnTo>
                <a:lnTo>
                  <a:pt x="4654" y="1127"/>
                </a:lnTo>
                <a:lnTo>
                  <a:pt x="4656" y="1133"/>
                </a:lnTo>
                <a:lnTo>
                  <a:pt x="4658" y="1138"/>
                </a:lnTo>
                <a:lnTo>
                  <a:pt x="4652" y="1142"/>
                </a:lnTo>
                <a:lnTo>
                  <a:pt x="4651" y="1150"/>
                </a:lnTo>
                <a:lnTo>
                  <a:pt x="4647" y="1150"/>
                </a:lnTo>
                <a:lnTo>
                  <a:pt x="4646" y="1150"/>
                </a:lnTo>
                <a:lnTo>
                  <a:pt x="4644" y="1150"/>
                </a:lnTo>
                <a:lnTo>
                  <a:pt x="4644" y="1150"/>
                </a:lnTo>
                <a:lnTo>
                  <a:pt x="4644" y="1150"/>
                </a:lnTo>
                <a:lnTo>
                  <a:pt x="4643" y="1145"/>
                </a:lnTo>
                <a:lnTo>
                  <a:pt x="4647" y="1140"/>
                </a:lnTo>
                <a:lnTo>
                  <a:pt x="4646" y="1139"/>
                </a:lnTo>
                <a:lnTo>
                  <a:pt x="4644" y="1138"/>
                </a:lnTo>
                <a:lnTo>
                  <a:pt x="4642" y="1138"/>
                </a:lnTo>
                <a:lnTo>
                  <a:pt x="4642" y="1142"/>
                </a:lnTo>
                <a:lnTo>
                  <a:pt x="4638" y="1142"/>
                </a:lnTo>
                <a:lnTo>
                  <a:pt x="4638" y="1145"/>
                </a:lnTo>
                <a:lnTo>
                  <a:pt x="4638" y="1146"/>
                </a:lnTo>
                <a:lnTo>
                  <a:pt x="4633" y="1146"/>
                </a:lnTo>
                <a:lnTo>
                  <a:pt x="4632" y="1147"/>
                </a:lnTo>
                <a:lnTo>
                  <a:pt x="4632" y="1148"/>
                </a:lnTo>
                <a:lnTo>
                  <a:pt x="4633" y="1150"/>
                </a:lnTo>
                <a:lnTo>
                  <a:pt x="4633" y="1151"/>
                </a:lnTo>
                <a:lnTo>
                  <a:pt x="4631" y="1154"/>
                </a:lnTo>
                <a:lnTo>
                  <a:pt x="4630" y="1157"/>
                </a:lnTo>
                <a:lnTo>
                  <a:pt x="4630" y="1157"/>
                </a:lnTo>
                <a:lnTo>
                  <a:pt x="4630" y="1157"/>
                </a:lnTo>
                <a:lnTo>
                  <a:pt x="4629" y="1156"/>
                </a:lnTo>
                <a:lnTo>
                  <a:pt x="4627" y="1155"/>
                </a:lnTo>
                <a:lnTo>
                  <a:pt x="4628" y="1154"/>
                </a:lnTo>
                <a:lnTo>
                  <a:pt x="4628" y="1154"/>
                </a:lnTo>
                <a:lnTo>
                  <a:pt x="4630" y="1154"/>
                </a:lnTo>
                <a:lnTo>
                  <a:pt x="4627" y="1150"/>
                </a:lnTo>
                <a:lnTo>
                  <a:pt x="4625" y="1150"/>
                </a:lnTo>
                <a:lnTo>
                  <a:pt x="4622" y="1152"/>
                </a:lnTo>
                <a:lnTo>
                  <a:pt x="4618" y="1157"/>
                </a:lnTo>
                <a:lnTo>
                  <a:pt x="4614" y="1155"/>
                </a:lnTo>
                <a:lnTo>
                  <a:pt x="4610" y="1154"/>
                </a:lnTo>
                <a:lnTo>
                  <a:pt x="4602" y="1157"/>
                </a:lnTo>
                <a:lnTo>
                  <a:pt x="4602" y="1157"/>
                </a:lnTo>
                <a:lnTo>
                  <a:pt x="4602" y="1157"/>
                </a:lnTo>
                <a:lnTo>
                  <a:pt x="4606" y="1154"/>
                </a:lnTo>
                <a:lnTo>
                  <a:pt x="4606" y="1154"/>
                </a:lnTo>
                <a:lnTo>
                  <a:pt x="4603" y="1154"/>
                </a:lnTo>
                <a:lnTo>
                  <a:pt x="4601" y="1153"/>
                </a:lnTo>
                <a:lnTo>
                  <a:pt x="4598" y="1151"/>
                </a:lnTo>
                <a:lnTo>
                  <a:pt x="4598" y="1148"/>
                </a:lnTo>
                <a:lnTo>
                  <a:pt x="4596" y="1150"/>
                </a:lnTo>
                <a:lnTo>
                  <a:pt x="4595" y="1152"/>
                </a:lnTo>
                <a:lnTo>
                  <a:pt x="4594" y="1154"/>
                </a:lnTo>
                <a:lnTo>
                  <a:pt x="4594" y="1157"/>
                </a:lnTo>
                <a:lnTo>
                  <a:pt x="4598" y="1160"/>
                </a:lnTo>
                <a:lnTo>
                  <a:pt x="4598" y="1162"/>
                </a:lnTo>
                <a:lnTo>
                  <a:pt x="4597" y="1162"/>
                </a:lnTo>
                <a:lnTo>
                  <a:pt x="4594" y="1163"/>
                </a:lnTo>
                <a:lnTo>
                  <a:pt x="4593" y="1165"/>
                </a:lnTo>
                <a:lnTo>
                  <a:pt x="4592" y="1168"/>
                </a:lnTo>
                <a:lnTo>
                  <a:pt x="4588" y="1172"/>
                </a:lnTo>
                <a:lnTo>
                  <a:pt x="4584" y="1177"/>
                </a:lnTo>
                <a:lnTo>
                  <a:pt x="4582" y="1175"/>
                </a:lnTo>
                <a:lnTo>
                  <a:pt x="4580" y="1174"/>
                </a:lnTo>
                <a:lnTo>
                  <a:pt x="4579" y="1173"/>
                </a:lnTo>
                <a:lnTo>
                  <a:pt x="4578" y="1173"/>
                </a:lnTo>
                <a:lnTo>
                  <a:pt x="4579" y="1172"/>
                </a:lnTo>
                <a:lnTo>
                  <a:pt x="4580" y="1172"/>
                </a:lnTo>
                <a:lnTo>
                  <a:pt x="4577" y="1170"/>
                </a:lnTo>
                <a:lnTo>
                  <a:pt x="4574" y="1168"/>
                </a:lnTo>
                <a:lnTo>
                  <a:pt x="4574" y="1166"/>
                </a:lnTo>
                <a:lnTo>
                  <a:pt x="4575" y="1164"/>
                </a:lnTo>
                <a:lnTo>
                  <a:pt x="4573" y="1163"/>
                </a:lnTo>
                <a:lnTo>
                  <a:pt x="4570" y="1162"/>
                </a:lnTo>
                <a:lnTo>
                  <a:pt x="4569" y="1162"/>
                </a:lnTo>
                <a:lnTo>
                  <a:pt x="4569" y="1162"/>
                </a:lnTo>
                <a:lnTo>
                  <a:pt x="4568" y="1162"/>
                </a:lnTo>
                <a:lnTo>
                  <a:pt x="4571" y="1159"/>
                </a:lnTo>
                <a:lnTo>
                  <a:pt x="4573" y="1157"/>
                </a:lnTo>
                <a:lnTo>
                  <a:pt x="4572" y="1160"/>
                </a:lnTo>
                <a:lnTo>
                  <a:pt x="4572" y="1160"/>
                </a:lnTo>
                <a:lnTo>
                  <a:pt x="4575" y="1159"/>
                </a:lnTo>
                <a:lnTo>
                  <a:pt x="4580" y="1157"/>
                </a:lnTo>
                <a:lnTo>
                  <a:pt x="4579" y="1155"/>
                </a:lnTo>
                <a:lnTo>
                  <a:pt x="4578" y="1154"/>
                </a:lnTo>
                <a:lnTo>
                  <a:pt x="4574" y="1157"/>
                </a:lnTo>
                <a:lnTo>
                  <a:pt x="4568" y="1153"/>
                </a:lnTo>
                <a:lnTo>
                  <a:pt x="4562" y="1154"/>
                </a:lnTo>
                <a:lnTo>
                  <a:pt x="4561" y="1157"/>
                </a:lnTo>
                <a:lnTo>
                  <a:pt x="4560" y="1158"/>
                </a:lnTo>
                <a:lnTo>
                  <a:pt x="4559" y="1160"/>
                </a:lnTo>
                <a:lnTo>
                  <a:pt x="4556" y="1159"/>
                </a:lnTo>
                <a:lnTo>
                  <a:pt x="4554" y="1158"/>
                </a:lnTo>
                <a:lnTo>
                  <a:pt x="4551" y="1160"/>
                </a:lnTo>
                <a:lnTo>
                  <a:pt x="4549" y="1162"/>
                </a:lnTo>
                <a:lnTo>
                  <a:pt x="4548" y="1161"/>
                </a:lnTo>
                <a:lnTo>
                  <a:pt x="4546" y="1160"/>
                </a:lnTo>
                <a:lnTo>
                  <a:pt x="4546" y="1162"/>
                </a:lnTo>
                <a:lnTo>
                  <a:pt x="4546" y="1162"/>
                </a:lnTo>
                <a:lnTo>
                  <a:pt x="4544" y="1162"/>
                </a:lnTo>
                <a:lnTo>
                  <a:pt x="4546" y="1162"/>
                </a:lnTo>
                <a:lnTo>
                  <a:pt x="4546" y="1163"/>
                </a:lnTo>
                <a:lnTo>
                  <a:pt x="4546" y="1163"/>
                </a:lnTo>
                <a:lnTo>
                  <a:pt x="4546" y="1166"/>
                </a:lnTo>
                <a:lnTo>
                  <a:pt x="4543" y="1166"/>
                </a:lnTo>
                <a:lnTo>
                  <a:pt x="4546" y="1170"/>
                </a:lnTo>
                <a:lnTo>
                  <a:pt x="4552" y="1170"/>
                </a:lnTo>
                <a:lnTo>
                  <a:pt x="4553" y="1166"/>
                </a:lnTo>
                <a:lnTo>
                  <a:pt x="4554" y="1163"/>
                </a:lnTo>
                <a:lnTo>
                  <a:pt x="4558" y="1162"/>
                </a:lnTo>
                <a:lnTo>
                  <a:pt x="4561" y="1161"/>
                </a:lnTo>
                <a:lnTo>
                  <a:pt x="4563" y="1163"/>
                </a:lnTo>
                <a:lnTo>
                  <a:pt x="4565" y="1166"/>
                </a:lnTo>
                <a:lnTo>
                  <a:pt x="4566" y="1166"/>
                </a:lnTo>
                <a:lnTo>
                  <a:pt x="4567" y="1166"/>
                </a:lnTo>
                <a:lnTo>
                  <a:pt x="4568" y="1166"/>
                </a:lnTo>
                <a:lnTo>
                  <a:pt x="4569" y="1168"/>
                </a:lnTo>
                <a:lnTo>
                  <a:pt x="4569" y="1169"/>
                </a:lnTo>
                <a:lnTo>
                  <a:pt x="4562" y="1174"/>
                </a:lnTo>
                <a:lnTo>
                  <a:pt x="4562" y="1177"/>
                </a:lnTo>
                <a:lnTo>
                  <a:pt x="4562" y="1180"/>
                </a:lnTo>
                <a:lnTo>
                  <a:pt x="4562" y="1180"/>
                </a:lnTo>
                <a:lnTo>
                  <a:pt x="4562" y="1180"/>
                </a:lnTo>
                <a:lnTo>
                  <a:pt x="4560" y="1178"/>
                </a:lnTo>
                <a:lnTo>
                  <a:pt x="4559" y="1177"/>
                </a:lnTo>
                <a:lnTo>
                  <a:pt x="4557" y="1175"/>
                </a:lnTo>
                <a:lnTo>
                  <a:pt x="4555" y="1174"/>
                </a:lnTo>
                <a:lnTo>
                  <a:pt x="4552" y="1176"/>
                </a:lnTo>
                <a:lnTo>
                  <a:pt x="4549" y="1178"/>
                </a:lnTo>
                <a:lnTo>
                  <a:pt x="4548" y="1179"/>
                </a:lnTo>
                <a:lnTo>
                  <a:pt x="4547" y="1180"/>
                </a:lnTo>
                <a:lnTo>
                  <a:pt x="4545" y="1181"/>
                </a:lnTo>
                <a:lnTo>
                  <a:pt x="4542" y="1183"/>
                </a:lnTo>
                <a:lnTo>
                  <a:pt x="4542" y="1190"/>
                </a:lnTo>
                <a:lnTo>
                  <a:pt x="4540" y="1190"/>
                </a:lnTo>
                <a:lnTo>
                  <a:pt x="4540" y="1188"/>
                </a:lnTo>
                <a:lnTo>
                  <a:pt x="4541" y="1186"/>
                </a:lnTo>
                <a:lnTo>
                  <a:pt x="4536" y="1186"/>
                </a:lnTo>
                <a:lnTo>
                  <a:pt x="4538" y="1180"/>
                </a:lnTo>
                <a:lnTo>
                  <a:pt x="4536" y="1179"/>
                </a:lnTo>
                <a:lnTo>
                  <a:pt x="4534" y="1178"/>
                </a:lnTo>
                <a:lnTo>
                  <a:pt x="4534" y="1177"/>
                </a:lnTo>
                <a:lnTo>
                  <a:pt x="4532" y="1177"/>
                </a:lnTo>
                <a:lnTo>
                  <a:pt x="4529" y="1178"/>
                </a:lnTo>
                <a:lnTo>
                  <a:pt x="4529" y="1178"/>
                </a:lnTo>
                <a:lnTo>
                  <a:pt x="4529" y="1178"/>
                </a:lnTo>
                <a:lnTo>
                  <a:pt x="4539" y="1173"/>
                </a:lnTo>
                <a:lnTo>
                  <a:pt x="4542" y="1164"/>
                </a:lnTo>
                <a:lnTo>
                  <a:pt x="4542" y="1164"/>
                </a:lnTo>
                <a:lnTo>
                  <a:pt x="4542" y="1164"/>
                </a:lnTo>
                <a:lnTo>
                  <a:pt x="4542" y="1162"/>
                </a:lnTo>
                <a:lnTo>
                  <a:pt x="4538" y="1162"/>
                </a:lnTo>
                <a:lnTo>
                  <a:pt x="4538" y="1162"/>
                </a:lnTo>
                <a:lnTo>
                  <a:pt x="4535" y="1162"/>
                </a:lnTo>
                <a:lnTo>
                  <a:pt x="4534" y="1162"/>
                </a:lnTo>
                <a:lnTo>
                  <a:pt x="4533" y="1162"/>
                </a:lnTo>
                <a:lnTo>
                  <a:pt x="4532" y="1168"/>
                </a:lnTo>
                <a:lnTo>
                  <a:pt x="4529" y="1170"/>
                </a:lnTo>
                <a:lnTo>
                  <a:pt x="4529" y="1170"/>
                </a:lnTo>
                <a:lnTo>
                  <a:pt x="4526" y="1170"/>
                </a:lnTo>
                <a:lnTo>
                  <a:pt x="4526" y="1168"/>
                </a:lnTo>
                <a:lnTo>
                  <a:pt x="4527" y="1167"/>
                </a:lnTo>
                <a:lnTo>
                  <a:pt x="4527" y="1166"/>
                </a:lnTo>
                <a:lnTo>
                  <a:pt x="4519" y="1168"/>
                </a:lnTo>
                <a:lnTo>
                  <a:pt x="4517" y="1167"/>
                </a:lnTo>
                <a:lnTo>
                  <a:pt x="4516" y="1167"/>
                </a:lnTo>
                <a:lnTo>
                  <a:pt x="4515" y="1168"/>
                </a:lnTo>
                <a:lnTo>
                  <a:pt x="4514" y="1170"/>
                </a:lnTo>
                <a:lnTo>
                  <a:pt x="4516" y="1170"/>
                </a:lnTo>
                <a:lnTo>
                  <a:pt x="4517" y="1174"/>
                </a:lnTo>
                <a:lnTo>
                  <a:pt x="4519" y="1174"/>
                </a:lnTo>
                <a:lnTo>
                  <a:pt x="4522" y="1175"/>
                </a:lnTo>
                <a:lnTo>
                  <a:pt x="4523" y="1174"/>
                </a:lnTo>
                <a:lnTo>
                  <a:pt x="4523" y="1174"/>
                </a:lnTo>
                <a:lnTo>
                  <a:pt x="4525" y="1174"/>
                </a:lnTo>
                <a:lnTo>
                  <a:pt x="4527" y="1177"/>
                </a:lnTo>
                <a:lnTo>
                  <a:pt x="4525" y="1177"/>
                </a:lnTo>
                <a:lnTo>
                  <a:pt x="4522" y="1178"/>
                </a:lnTo>
                <a:lnTo>
                  <a:pt x="4522" y="1182"/>
                </a:lnTo>
                <a:lnTo>
                  <a:pt x="4527" y="1182"/>
                </a:lnTo>
                <a:lnTo>
                  <a:pt x="4528" y="1183"/>
                </a:lnTo>
                <a:lnTo>
                  <a:pt x="4529" y="1185"/>
                </a:lnTo>
                <a:lnTo>
                  <a:pt x="4527" y="1188"/>
                </a:lnTo>
                <a:lnTo>
                  <a:pt x="4525" y="1191"/>
                </a:lnTo>
                <a:lnTo>
                  <a:pt x="4521" y="1211"/>
                </a:lnTo>
                <a:lnTo>
                  <a:pt x="4519" y="1210"/>
                </a:lnTo>
                <a:lnTo>
                  <a:pt x="4517" y="1209"/>
                </a:lnTo>
                <a:lnTo>
                  <a:pt x="4516" y="1211"/>
                </a:lnTo>
                <a:lnTo>
                  <a:pt x="4517" y="1212"/>
                </a:lnTo>
                <a:lnTo>
                  <a:pt x="4510" y="1218"/>
                </a:lnTo>
                <a:lnTo>
                  <a:pt x="4510" y="1218"/>
                </a:lnTo>
                <a:lnTo>
                  <a:pt x="4510" y="1218"/>
                </a:lnTo>
                <a:lnTo>
                  <a:pt x="4513" y="1210"/>
                </a:lnTo>
                <a:lnTo>
                  <a:pt x="4510" y="1206"/>
                </a:lnTo>
                <a:lnTo>
                  <a:pt x="4509" y="1207"/>
                </a:lnTo>
                <a:lnTo>
                  <a:pt x="4509" y="1207"/>
                </a:lnTo>
                <a:lnTo>
                  <a:pt x="4509" y="1207"/>
                </a:lnTo>
                <a:lnTo>
                  <a:pt x="4509" y="1207"/>
                </a:lnTo>
                <a:lnTo>
                  <a:pt x="4509" y="1206"/>
                </a:lnTo>
                <a:lnTo>
                  <a:pt x="4509" y="1206"/>
                </a:lnTo>
                <a:lnTo>
                  <a:pt x="4510" y="1213"/>
                </a:lnTo>
                <a:lnTo>
                  <a:pt x="4508" y="1213"/>
                </a:lnTo>
                <a:lnTo>
                  <a:pt x="4505" y="1212"/>
                </a:lnTo>
                <a:lnTo>
                  <a:pt x="4506" y="1209"/>
                </a:lnTo>
                <a:lnTo>
                  <a:pt x="4506" y="1206"/>
                </a:lnTo>
                <a:lnTo>
                  <a:pt x="4502" y="1204"/>
                </a:lnTo>
                <a:lnTo>
                  <a:pt x="4502" y="1200"/>
                </a:lnTo>
                <a:lnTo>
                  <a:pt x="4505" y="1195"/>
                </a:lnTo>
                <a:lnTo>
                  <a:pt x="4505" y="1195"/>
                </a:lnTo>
                <a:lnTo>
                  <a:pt x="4505" y="1194"/>
                </a:lnTo>
                <a:lnTo>
                  <a:pt x="4506" y="1193"/>
                </a:lnTo>
                <a:lnTo>
                  <a:pt x="4506" y="1194"/>
                </a:lnTo>
                <a:lnTo>
                  <a:pt x="4506" y="1195"/>
                </a:lnTo>
                <a:lnTo>
                  <a:pt x="4507" y="1193"/>
                </a:lnTo>
                <a:lnTo>
                  <a:pt x="4507" y="1191"/>
                </a:lnTo>
                <a:lnTo>
                  <a:pt x="4506" y="1192"/>
                </a:lnTo>
                <a:lnTo>
                  <a:pt x="4506" y="1190"/>
                </a:lnTo>
                <a:lnTo>
                  <a:pt x="4507" y="1190"/>
                </a:lnTo>
                <a:lnTo>
                  <a:pt x="4508" y="1189"/>
                </a:lnTo>
                <a:lnTo>
                  <a:pt x="4509" y="1188"/>
                </a:lnTo>
                <a:lnTo>
                  <a:pt x="4508" y="1186"/>
                </a:lnTo>
                <a:lnTo>
                  <a:pt x="4506" y="1184"/>
                </a:lnTo>
                <a:lnTo>
                  <a:pt x="4506" y="1183"/>
                </a:lnTo>
                <a:lnTo>
                  <a:pt x="4505" y="1182"/>
                </a:lnTo>
                <a:lnTo>
                  <a:pt x="4503" y="1182"/>
                </a:lnTo>
                <a:lnTo>
                  <a:pt x="4504" y="1183"/>
                </a:lnTo>
                <a:lnTo>
                  <a:pt x="4505" y="1185"/>
                </a:lnTo>
                <a:lnTo>
                  <a:pt x="4504" y="1185"/>
                </a:lnTo>
                <a:lnTo>
                  <a:pt x="4503" y="1186"/>
                </a:lnTo>
                <a:lnTo>
                  <a:pt x="4506" y="1186"/>
                </a:lnTo>
                <a:lnTo>
                  <a:pt x="4506" y="1189"/>
                </a:lnTo>
                <a:lnTo>
                  <a:pt x="4505" y="1190"/>
                </a:lnTo>
                <a:lnTo>
                  <a:pt x="4505" y="1190"/>
                </a:lnTo>
                <a:lnTo>
                  <a:pt x="4504" y="1190"/>
                </a:lnTo>
                <a:lnTo>
                  <a:pt x="4502" y="1191"/>
                </a:lnTo>
                <a:lnTo>
                  <a:pt x="4502" y="1190"/>
                </a:lnTo>
                <a:lnTo>
                  <a:pt x="4501" y="1190"/>
                </a:lnTo>
                <a:lnTo>
                  <a:pt x="4499" y="1190"/>
                </a:lnTo>
                <a:lnTo>
                  <a:pt x="4499" y="1189"/>
                </a:lnTo>
                <a:lnTo>
                  <a:pt x="4499" y="1188"/>
                </a:lnTo>
                <a:lnTo>
                  <a:pt x="4494" y="1185"/>
                </a:lnTo>
                <a:lnTo>
                  <a:pt x="4494" y="1183"/>
                </a:lnTo>
                <a:lnTo>
                  <a:pt x="4496" y="1184"/>
                </a:lnTo>
                <a:lnTo>
                  <a:pt x="4498" y="1184"/>
                </a:lnTo>
                <a:lnTo>
                  <a:pt x="4498" y="1186"/>
                </a:lnTo>
                <a:lnTo>
                  <a:pt x="4502" y="1186"/>
                </a:lnTo>
                <a:lnTo>
                  <a:pt x="4501" y="1185"/>
                </a:lnTo>
                <a:lnTo>
                  <a:pt x="4499" y="1183"/>
                </a:lnTo>
                <a:lnTo>
                  <a:pt x="4497" y="1181"/>
                </a:lnTo>
                <a:close/>
                <a:moveTo>
                  <a:pt x="4578" y="1142"/>
                </a:moveTo>
                <a:lnTo>
                  <a:pt x="4579" y="1142"/>
                </a:lnTo>
                <a:lnTo>
                  <a:pt x="4579" y="1142"/>
                </a:lnTo>
                <a:lnTo>
                  <a:pt x="4578" y="1142"/>
                </a:lnTo>
                <a:close/>
                <a:moveTo>
                  <a:pt x="4510" y="1206"/>
                </a:moveTo>
                <a:lnTo>
                  <a:pt x="4514" y="1206"/>
                </a:lnTo>
                <a:lnTo>
                  <a:pt x="4511" y="1204"/>
                </a:lnTo>
                <a:lnTo>
                  <a:pt x="4510" y="1206"/>
                </a:lnTo>
                <a:close/>
                <a:moveTo>
                  <a:pt x="4418" y="1507"/>
                </a:moveTo>
                <a:lnTo>
                  <a:pt x="4419" y="1508"/>
                </a:lnTo>
                <a:lnTo>
                  <a:pt x="4420" y="1509"/>
                </a:lnTo>
                <a:lnTo>
                  <a:pt x="4429" y="1516"/>
                </a:lnTo>
                <a:lnTo>
                  <a:pt x="4428" y="1519"/>
                </a:lnTo>
                <a:lnTo>
                  <a:pt x="4427" y="1523"/>
                </a:lnTo>
                <a:lnTo>
                  <a:pt x="4428" y="1523"/>
                </a:lnTo>
                <a:lnTo>
                  <a:pt x="4433" y="1527"/>
                </a:lnTo>
                <a:lnTo>
                  <a:pt x="4439" y="1527"/>
                </a:lnTo>
                <a:lnTo>
                  <a:pt x="4440" y="1527"/>
                </a:lnTo>
                <a:lnTo>
                  <a:pt x="4441" y="1526"/>
                </a:lnTo>
                <a:lnTo>
                  <a:pt x="4440" y="1525"/>
                </a:lnTo>
                <a:lnTo>
                  <a:pt x="4439" y="1523"/>
                </a:lnTo>
                <a:lnTo>
                  <a:pt x="4437" y="1523"/>
                </a:lnTo>
                <a:lnTo>
                  <a:pt x="4438" y="1522"/>
                </a:lnTo>
                <a:lnTo>
                  <a:pt x="4433" y="1518"/>
                </a:lnTo>
                <a:lnTo>
                  <a:pt x="4433" y="1511"/>
                </a:lnTo>
                <a:lnTo>
                  <a:pt x="4437" y="1511"/>
                </a:lnTo>
                <a:lnTo>
                  <a:pt x="4435" y="1511"/>
                </a:lnTo>
                <a:lnTo>
                  <a:pt x="4435" y="1509"/>
                </a:lnTo>
                <a:lnTo>
                  <a:pt x="4429" y="1508"/>
                </a:lnTo>
                <a:lnTo>
                  <a:pt x="4429" y="1507"/>
                </a:lnTo>
                <a:lnTo>
                  <a:pt x="4423" y="1507"/>
                </a:lnTo>
                <a:lnTo>
                  <a:pt x="4418" y="1507"/>
                </a:lnTo>
                <a:close/>
                <a:moveTo>
                  <a:pt x="4504" y="1193"/>
                </a:moveTo>
                <a:lnTo>
                  <a:pt x="4503" y="1191"/>
                </a:lnTo>
                <a:lnTo>
                  <a:pt x="4502" y="1192"/>
                </a:lnTo>
                <a:lnTo>
                  <a:pt x="4502" y="1193"/>
                </a:lnTo>
                <a:lnTo>
                  <a:pt x="4502" y="1197"/>
                </a:lnTo>
                <a:lnTo>
                  <a:pt x="4505" y="1195"/>
                </a:lnTo>
                <a:lnTo>
                  <a:pt x="4505" y="1194"/>
                </a:lnTo>
                <a:lnTo>
                  <a:pt x="4504" y="1193"/>
                </a:lnTo>
                <a:close/>
                <a:moveTo>
                  <a:pt x="4506" y="1192"/>
                </a:moveTo>
                <a:lnTo>
                  <a:pt x="4505" y="1193"/>
                </a:lnTo>
                <a:lnTo>
                  <a:pt x="4506" y="1193"/>
                </a:lnTo>
                <a:lnTo>
                  <a:pt x="4506" y="1193"/>
                </a:lnTo>
                <a:lnTo>
                  <a:pt x="4506" y="1192"/>
                </a:lnTo>
                <a:close/>
                <a:moveTo>
                  <a:pt x="4484" y="1189"/>
                </a:moveTo>
                <a:lnTo>
                  <a:pt x="4484" y="1189"/>
                </a:lnTo>
                <a:lnTo>
                  <a:pt x="4483" y="1188"/>
                </a:lnTo>
                <a:lnTo>
                  <a:pt x="4483" y="1188"/>
                </a:lnTo>
                <a:lnTo>
                  <a:pt x="4482" y="1189"/>
                </a:lnTo>
                <a:lnTo>
                  <a:pt x="4481" y="1189"/>
                </a:lnTo>
                <a:lnTo>
                  <a:pt x="4484" y="1189"/>
                </a:lnTo>
                <a:close/>
                <a:moveTo>
                  <a:pt x="4431" y="1317"/>
                </a:moveTo>
                <a:lnTo>
                  <a:pt x="4431" y="1317"/>
                </a:lnTo>
                <a:lnTo>
                  <a:pt x="4431" y="1318"/>
                </a:lnTo>
                <a:lnTo>
                  <a:pt x="4434" y="1318"/>
                </a:lnTo>
                <a:lnTo>
                  <a:pt x="4431" y="1317"/>
                </a:lnTo>
                <a:close/>
                <a:moveTo>
                  <a:pt x="4643" y="1154"/>
                </a:moveTo>
                <a:lnTo>
                  <a:pt x="4644" y="1154"/>
                </a:lnTo>
                <a:lnTo>
                  <a:pt x="4644" y="1150"/>
                </a:lnTo>
                <a:lnTo>
                  <a:pt x="4644" y="1150"/>
                </a:lnTo>
                <a:lnTo>
                  <a:pt x="4643" y="1154"/>
                </a:lnTo>
                <a:close/>
                <a:moveTo>
                  <a:pt x="4425" y="1100"/>
                </a:moveTo>
                <a:lnTo>
                  <a:pt x="4424" y="1100"/>
                </a:lnTo>
                <a:lnTo>
                  <a:pt x="4425" y="1101"/>
                </a:lnTo>
                <a:lnTo>
                  <a:pt x="4425" y="1101"/>
                </a:lnTo>
                <a:lnTo>
                  <a:pt x="4425" y="1100"/>
                </a:lnTo>
                <a:close/>
                <a:moveTo>
                  <a:pt x="4669" y="1094"/>
                </a:moveTo>
                <a:lnTo>
                  <a:pt x="4669" y="1094"/>
                </a:lnTo>
                <a:lnTo>
                  <a:pt x="4667" y="1092"/>
                </a:lnTo>
                <a:lnTo>
                  <a:pt x="4666" y="1091"/>
                </a:lnTo>
                <a:lnTo>
                  <a:pt x="4666" y="1094"/>
                </a:lnTo>
                <a:lnTo>
                  <a:pt x="4669" y="1094"/>
                </a:lnTo>
                <a:close/>
                <a:moveTo>
                  <a:pt x="4666" y="1041"/>
                </a:moveTo>
                <a:lnTo>
                  <a:pt x="4665" y="1041"/>
                </a:lnTo>
                <a:lnTo>
                  <a:pt x="4665" y="1041"/>
                </a:lnTo>
                <a:lnTo>
                  <a:pt x="4666" y="1041"/>
                </a:lnTo>
                <a:lnTo>
                  <a:pt x="4666" y="1041"/>
                </a:lnTo>
                <a:close/>
                <a:moveTo>
                  <a:pt x="4482" y="1152"/>
                </a:moveTo>
                <a:lnTo>
                  <a:pt x="4482" y="1153"/>
                </a:lnTo>
                <a:lnTo>
                  <a:pt x="4481" y="1154"/>
                </a:lnTo>
                <a:lnTo>
                  <a:pt x="4482" y="1154"/>
                </a:lnTo>
                <a:lnTo>
                  <a:pt x="4482" y="1152"/>
                </a:lnTo>
                <a:close/>
                <a:moveTo>
                  <a:pt x="4527" y="1182"/>
                </a:moveTo>
                <a:lnTo>
                  <a:pt x="4527" y="1182"/>
                </a:lnTo>
                <a:lnTo>
                  <a:pt x="4528" y="1182"/>
                </a:lnTo>
                <a:lnTo>
                  <a:pt x="4527" y="1182"/>
                </a:lnTo>
                <a:close/>
                <a:moveTo>
                  <a:pt x="4185" y="1638"/>
                </a:moveTo>
                <a:lnTo>
                  <a:pt x="4185" y="1634"/>
                </a:lnTo>
                <a:lnTo>
                  <a:pt x="4185" y="1633"/>
                </a:lnTo>
                <a:lnTo>
                  <a:pt x="4184" y="1632"/>
                </a:lnTo>
                <a:lnTo>
                  <a:pt x="4183" y="1633"/>
                </a:lnTo>
                <a:lnTo>
                  <a:pt x="4182" y="1634"/>
                </a:lnTo>
                <a:lnTo>
                  <a:pt x="4182" y="1635"/>
                </a:lnTo>
                <a:lnTo>
                  <a:pt x="4184" y="1635"/>
                </a:lnTo>
                <a:lnTo>
                  <a:pt x="4182" y="1638"/>
                </a:lnTo>
                <a:lnTo>
                  <a:pt x="4185" y="1638"/>
                </a:lnTo>
                <a:close/>
                <a:moveTo>
                  <a:pt x="4177" y="1732"/>
                </a:moveTo>
                <a:lnTo>
                  <a:pt x="4172" y="1733"/>
                </a:lnTo>
                <a:lnTo>
                  <a:pt x="4172" y="1735"/>
                </a:lnTo>
                <a:lnTo>
                  <a:pt x="4171" y="1736"/>
                </a:lnTo>
                <a:lnTo>
                  <a:pt x="4172" y="1736"/>
                </a:lnTo>
                <a:lnTo>
                  <a:pt x="4172" y="1740"/>
                </a:lnTo>
                <a:lnTo>
                  <a:pt x="4175" y="1740"/>
                </a:lnTo>
                <a:lnTo>
                  <a:pt x="4177" y="1739"/>
                </a:lnTo>
                <a:lnTo>
                  <a:pt x="4179" y="1738"/>
                </a:lnTo>
                <a:lnTo>
                  <a:pt x="4180" y="1737"/>
                </a:lnTo>
                <a:lnTo>
                  <a:pt x="4181" y="1741"/>
                </a:lnTo>
                <a:lnTo>
                  <a:pt x="4182" y="1744"/>
                </a:lnTo>
                <a:lnTo>
                  <a:pt x="4182" y="1744"/>
                </a:lnTo>
                <a:lnTo>
                  <a:pt x="4184" y="1740"/>
                </a:lnTo>
                <a:lnTo>
                  <a:pt x="4185" y="1737"/>
                </a:lnTo>
                <a:lnTo>
                  <a:pt x="4184" y="1735"/>
                </a:lnTo>
                <a:lnTo>
                  <a:pt x="4182" y="1732"/>
                </a:lnTo>
                <a:lnTo>
                  <a:pt x="4178" y="1732"/>
                </a:lnTo>
                <a:lnTo>
                  <a:pt x="4177" y="1732"/>
                </a:lnTo>
                <a:close/>
                <a:moveTo>
                  <a:pt x="4166" y="1537"/>
                </a:moveTo>
                <a:lnTo>
                  <a:pt x="4166" y="1539"/>
                </a:lnTo>
                <a:lnTo>
                  <a:pt x="4167" y="1539"/>
                </a:lnTo>
                <a:lnTo>
                  <a:pt x="4167" y="1537"/>
                </a:lnTo>
                <a:lnTo>
                  <a:pt x="4166" y="1537"/>
                </a:lnTo>
                <a:close/>
                <a:moveTo>
                  <a:pt x="4191" y="1402"/>
                </a:moveTo>
                <a:lnTo>
                  <a:pt x="4190" y="1405"/>
                </a:lnTo>
                <a:lnTo>
                  <a:pt x="4188" y="1407"/>
                </a:lnTo>
                <a:lnTo>
                  <a:pt x="4190" y="1411"/>
                </a:lnTo>
                <a:lnTo>
                  <a:pt x="4191" y="1415"/>
                </a:lnTo>
                <a:lnTo>
                  <a:pt x="4196" y="1417"/>
                </a:lnTo>
                <a:lnTo>
                  <a:pt x="4202" y="1419"/>
                </a:lnTo>
                <a:lnTo>
                  <a:pt x="4202" y="1421"/>
                </a:lnTo>
                <a:lnTo>
                  <a:pt x="4203" y="1422"/>
                </a:lnTo>
                <a:lnTo>
                  <a:pt x="4205" y="1419"/>
                </a:lnTo>
                <a:lnTo>
                  <a:pt x="4205" y="1419"/>
                </a:lnTo>
                <a:lnTo>
                  <a:pt x="4206" y="1419"/>
                </a:lnTo>
                <a:lnTo>
                  <a:pt x="4210" y="1419"/>
                </a:lnTo>
                <a:lnTo>
                  <a:pt x="4211" y="1417"/>
                </a:lnTo>
                <a:lnTo>
                  <a:pt x="4210" y="1415"/>
                </a:lnTo>
                <a:lnTo>
                  <a:pt x="4216" y="1412"/>
                </a:lnTo>
                <a:lnTo>
                  <a:pt x="4216" y="1407"/>
                </a:lnTo>
                <a:lnTo>
                  <a:pt x="4218" y="1407"/>
                </a:lnTo>
                <a:lnTo>
                  <a:pt x="4222" y="1401"/>
                </a:lnTo>
                <a:lnTo>
                  <a:pt x="4225" y="1399"/>
                </a:lnTo>
                <a:lnTo>
                  <a:pt x="4224" y="1397"/>
                </a:lnTo>
                <a:lnTo>
                  <a:pt x="4223" y="1395"/>
                </a:lnTo>
                <a:lnTo>
                  <a:pt x="4222" y="1395"/>
                </a:lnTo>
                <a:lnTo>
                  <a:pt x="4219" y="1394"/>
                </a:lnTo>
                <a:lnTo>
                  <a:pt x="4218" y="1395"/>
                </a:lnTo>
                <a:lnTo>
                  <a:pt x="4211" y="1395"/>
                </a:lnTo>
                <a:lnTo>
                  <a:pt x="4211" y="1395"/>
                </a:lnTo>
                <a:lnTo>
                  <a:pt x="4210" y="1395"/>
                </a:lnTo>
                <a:lnTo>
                  <a:pt x="4206" y="1394"/>
                </a:lnTo>
                <a:lnTo>
                  <a:pt x="4203" y="1392"/>
                </a:lnTo>
                <a:lnTo>
                  <a:pt x="4202" y="1394"/>
                </a:lnTo>
                <a:lnTo>
                  <a:pt x="4202" y="1396"/>
                </a:lnTo>
                <a:lnTo>
                  <a:pt x="4200" y="1395"/>
                </a:lnTo>
                <a:lnTo>
                  <a:pt x="4198" y="1397"/>
                </a:lnTo>
                <a:lnTo>
                  <a:pt x="4196" y="1399"/>
                </a:lnTo>
                <a:lnTo>
                  <a:pt x="4200" y="1399"/>
                </a:lnTo>
                <a:lnTo>
                  <a:pt x="4195" y="1401"/>
                </a:lnTo>
                <a:lnTo>
                  <a:pt x="4191" y="1402"/>
                </a:lnTo>
                <a:close/>
                <a:moveTo>
                  <a:pt x="4257" y="1815"/>
                </a:moveTo>
                <a:lnTo>
                  <a:pt x="4259" y="1816"/>
                </a:lnTo>
                <a:lnTo>
                  <a:pt x="4257" y="1816"/>
                </a:lnTo>
                <a:lnTo>
                  <a:pt x="4257" y="1820"/>
                </a:lnTo>
                <a:lnTo>
                  <a:pt x="4260" y="1820"/>
                </a:lnTo>
                <a:lnTo>
                  <a:pt x="4259" y="1818"/>
                </a:lnTo>
                <a:lnTo>
                  <a:pt x="4259" y="1816"/>
                </a:lnTo>
                <a:lnTo>
                  <a:pt x="4264" y="1819"/>
                </a:lnTo>
                <a:lnTo>
                  <a:pt x="4270" y="1820"/>
                </a:lnTo>
                <a:lnTo>
                  <a:pt x="4272" y="1820"/>
                </a:lnTo>
                <a:lnTo>
                  <a:pt x="4277" y="1823"/>
                </a:lnTo>
                <a:lnTo>
                  <a:pt x="4277" y="1821"/>
                </a:lnTo>
                <a:lnTo>
                  <a:pt x="4276" y="1820"/>
                </a:lnTo>
                <a:lnTo>
                  <a:pt x="4275" y="1820"/>
                </a:lnTo>
                <a:lnTo>
                  <a:pt x="4274" y="1818"/>
                </a:lnTo>
                <a:lnTo>
                  <a:pt x="4273" y="1816"/>
                </a:lnTo>
                <a:lnTo>
                  <a:pt x="4273" y="1813"/>
                </a:lnTo>
                <a:lnTo>
                  <a:pt x="4275" y="1815"/>
                </a:lnTo>
                <a:lnTo>
                  <a:pt x="4277" y="1816"/>
                </a:lnTo>
                <a:lnTo>
                  <a:pt x="4280" y="1819"/>
                </a:lnTo>
                <a:lnTo>
                  <a:pt x="4285" y="1821"/>
                </a:lnTo>
                <a:lnTo>
                  <a:pt x="4286" y="1820"/>
                </a:lnTo>
                <a:lnTo>
                  <a:pt x="4290" y="1818"/>
                </a:lnTo>
                <a:lnTo>
                  <a:pt x="4293" y="1816"/>
                </a:lnTo>
                <a:lnTo>
                  <a:pt x="4291" y="1815"/>
                </a:lnTo>
                <a:lnTo>
                  <a:pt x="4290" y="1813"/>
                </a:lnTo>
                <a:lnTo>
                  <a:pt x="4285" y="1812"/>
                </a:lnTo>
                <a:lnTo>
                  <a:pt x="4281" y="1813"/>
                </a:lnTo>
                <a:lnTo>
                  <a:pt x="4277" y="1813"/>
                </a:lnTo>
                <a:lnTo>
                  <a:pt x="4273" y="1812"/>
                </a:lnTo>
                <a:lnTo>
                  <a:pt x="4273" y="1809"/>
                </a:lnTo>
                <a:lnTo>
                  <a:pt x="4270" y="1805"/>
                </a:lnTo>
                <a:lnTo>
                  <a:pt x="4264" y="1808"/>
                </a:lnTo>
                <a:lnTo>
                  <a:pt x="4257" y="1808"/>
                </a:lnTo>
                <a:lnTo>
                  <a:pt x="4253" y="1806"/>
                </a:lnTo>
                <a:lnTo>
                  <a:pt x="4250" y="1804"/>
                </a:lnTo>
                <a:lnTo>
                  <a:pt x="4252" y="1802"/>
                </a:lnTo>
                <a:lnTo>
                  <a:pt x="4250" y="1800"/>
                </a:lnTo>
                <a:lnTo>
                  <a:pt x="4249" y="1800"/>
                </a:lnTo>
                <a:lnTo>
                  <a:pt x="4247" y="1800"/>
                </a:lnTo>
                <a:lnTo>
                  <a:pt x="4241" y="1800"/>
                </a:lnTo>
                <a:lnTo>
                  <a:pt x="4239" y="1796"/>
                </a:lnTo>
                <a:lnTo>
                  <a:pt x="4237" y="1796"/>
                </a:lnTo>
                <a:lnTo>
                  <a:pt x="4233" y="1794"/>
                </a:lnTo>
                <a:lnTo>
                  <a:pt x="4231" y="1796"/>
                </a:lnTo>
                <a:lnTo>
                  <a:pt x="4225" y="1796"/>
                </a:lnTo>
                <a:lnTo>
                  <a:pt x="4225" y="1788"/>
                </a:lnTo>
                <a:lnTo>
                  <a:pt x="4223" y="1788"/>
                </a:lnTo>
                <a:lnTo>
                  <a:pt x="4222" y="1788"/>
                </a:lnTo>
                <a:lnTo>
                  <a:pt x="4218" y="1794"/>
                </a:lnTo>
                <a:lnTo>
                  <a:pt x="4216" y="1796"/>
                </a:lnTo>
                <a:lnTo>
                  <a:pt x="4210" y="1796"/>
                </a:lnTo>
                <a:lnTo>
                  <a:pt x="4203" y="1796"/>
                </a:lnTo>
                <a:lnTo>
                  <a:pt x="4199" y="1796"/>
                </a:lnTo>
                <a:lnTo>
                  <a:pt x="4188" y="1792"/>
                </a:lnTo>
                <a:lnTo>
                  <a:pt x="4188" y="1790"/>
                </a:lnTo>
                <a:lnTo>
                  <a:pt x="4185" y="1788"/>
                </a:lnTo>
                <a:lnTo>
                  <a:pt x="4182" y="1788"/>
                </a:lnTo>
                <a:lnTo>
                  <a:pt x="4181" y="1786"/>
                </a:lnTo>
                <a:lnTo>
                  <a:pt x="4177" y="1786"/>
                </a:lnTo>
                <a:lnTo>
                  <a:pt x="4171" y="1781"/>
                </a:lnTo>
                <a:lnTo>
                  <a:pt x="4168" y="1780"/>
                </a:lnTo>
                <a:lnTo>
                  <a:pt x="4164" y="1779"/>
                </a:lnTo>
                <a:lnTo>
                  <a:pt x="4164" y="1784"/>
                </a:lnTo>
                <a:lnTo>
                  <a:pt x="4163" y="1784"/>
                </a:lnTo>
                <a:lnTo>
                  <a:pt x="4163" y="1782"/>
                </a:lnTo>
                <a:lnTo>
                  <a:pt x="4162" y="1781"/>
                </a:lnTo>
                <a:lnTo>
                  <a:pt x="4159" y="1782"/>
                </a:lnTo>
                <a:lnTo>
                  <a:pt x="4157" y="1783"/>
                </a:lnTo>
                <a:lnTo>
                  <a:pt x="4156" y="1784"/>
                </a:lnTo>
                <a:lnTo>
                  <a:pt x="4155" y="1784"/>
                </a:lnTo>
                <a:lnTo>
                  <a:pt x="4152" y="1781"/>
                </a:lnTo>
                <a:lnTo>
                  <a:pt x="4148" y="1782"/>
                </a:lnTo>
                <a:lnTo>
                  <a:pt x="4148" y="1787"/>
                </a:lnTo>
                <a:lnTo>
                  <a:pt x="4146" y="1788"/>
                </a:lnTo>
                <a:lnTo>
                  <a:pt x="4144" y="1790"/>
                </a:lnTo>
                <a:lnTo>
                  <a:pt x="4144" y="1790"/>
                </a:lnTo>
                <a:lnTo>
                  <a:pt x="4144" y="1796"/>
                </a:lnTo>
                <a:lnTo>
                  <a:pt x="4153" y="1796"/>
                </a:lnTo>
                <a:lnTo>
                  <a:pt x="4157" y="1800"/>
                </a:lnTo>
                <a:lnTo>
                  <a:pt x="4158" y="1800"/>
                </a:lnTo>
                <a:lnTo>
                  <a:pt x="4156" y="1801"/>
                </a:lnTo>
                <a:lnTo>
                  <a:pt x="4156" y="1802"/>
                </a:lnTo>
                <a:lnTo>
                  <a:pt x="4165" y="1803"/>
                </a:lnTo>
                <a:lnTo>
                  <a:pt x="4174" y="1804"/>
                </a:lnTo>
                <a:lnTo>
                  <a:pt x="4178" y="1808"/>
                </a:lnTo>
                <a:lnTo>
                  <a:pt x="4182" y="1812"/>
                </a:lnTo>
                <a:lnTo>
                  <a:pt x="4188" y="1812"/>
                </a:lnTo>
                <a:lnTo>
                  <a:pt x="4189" y="1810"/>
                </a:lnTo>
                <a:lnTo>
                  <a:pt x="4189" y="1808"/>
                </a:lnTo>
                <a:lnTo>
                  <a:pt x="4192" y="1807"/>
                </a:lnTo>
                <a:lnTo>
                  <a:pt x="4194" y="1805"/>
                </a:lnTo>
                <a:lnTo>
                  <a:pt x="4196" y="1808"/>
                </a:lnTo>
                <a:lnTo>
                  <a:pt x="4200" y="1808"/>
                </a:lnTo>
                <a:lnTo>
                  <a:pt x="4205" y="1808"/>
                </a:lnTo>
                <a:lnTo>
                  <a:pt x="4210" y="1809"/>
                </a:lnTo>
                <a:lnTo>
                  <a:pt x="4214" y="1811"/>
                </a:lnTo>
                <a:lnTo>
                  <a:pt x="4219" y="1813"/>
                </a:lnTo>
                <a:lnTo>
                  <a:pt x="4227" y="1815"/>
                </a:lnTo>
                <a:lnTo>
                  <a:pt x="4234" y="1816"/>
                </a:lnTo>
                <a:lnTo>
                  <a:pt x="4235" y="1816"/>
                </a:lnTo>
                <a:lnTo>
                  <a:pt x="4237" y="1815"/>
                </a:lnTo>
                <a:lnTo>
                  <a:pt x="4243" y="1816"/>
                </a:lnTo>
                <a:lnTo>
                  <a:pt x="4249" y="1816"/>
                </a:lnTo>
                <a:lnTo>
                  <a:pt x="4257" y="1815"/>
                </a:lnTo>
                <a:close/>
                <a:moveTo>
                  <a:pt x="4284" y="1616"/>
                </a:moveTo>
                <a:lnTo>
                  <a:pt x="4284" y="1617"/>
                </a:lnTo>
                <a:lnTo>
                  <a:pt x="4284" y="1616"/>
                </a:lnTo>
                <a:lnTo>
                  <a:pt x="4284" y="1616"/>
                </a:lnTo>
                <a:close/>
                <a:moveTo>
                  <a:pt x="4206" y="1664"/>
                </a:moveTo>
                <a:lnTo>
                  <a:pt x="4204" y="1664"/>
                </a:lnTo>
                <a:lnTo>
                  <a:pt x="4204" y="1666"/>
                </a:lnTo>
                <a:lnTo>
                  <a:pt x="4205" y="1667"/>
                </a:lnTo>
                <a:lnTo>
                  <a:pt x="4205" y="1666"/>
                </a:lnTo>
                <a:lnTo>
                  <a:pt x="4206" y="1664"/>
                </a:lnTo>
                <a:close/>
                <a:moveTo>
                  <a:pt x="4215" y="1375"/>
                </a:moveTo>
                <a:lnTo>
                  <a:pt x="4213" y="1375"/>
                </a:lnTo>
                <a:lnTo>
                  <a:pt x="4213" y="1376"/>
                </a:lnTo>
                <a:lnTo>
                  <a:pt x="4218" y="1376"/>
                </a:lnTo>
                <a:lnTo>
                  <a:pt x="4218" y="1375"/>
                </a:lnTo>
                <a:lnTo>
                  <a:pt x="4215" y="1375"/>
                </a:lnTo>
                <a:close/>
                <a:moveTo>
                  <a:pt x="4285" y="1620"/>
                </a:moveTo>
                <a:lnTo>
                  <a:pt x="4285" y="1620"/>
                </a:lnTo>
                <a:lnTo>
                  <a:pt x="4286" y="1620"/>
                </a:lnTo>
                <a:lnTo>
                  <a:pt x="4285" y="1620"/>
                </a:lnTo>
                <a:close/>
                <a:moveTo>
                  <a:pt x="4115" y="1680"/>
                </a:moveTo>
                <a:lnTo>
                  <a:pt x="4115" y="1684"/>
                </a:lnTo>
                <a:lnTo>
                  <a:pt x="4115" y="1684"/>
                </a:lnTo>
                <a:lnTo>
                  <a:pt x="4115" y="1683"/>
                </a:lnTo>
                <a:lnTo>
                  <a:pt x="4116" y="1682"/>
                </a:lnTo>
                <a:lnTo>
                  <a:pt x="4115" y="1681"/>
                </a:lnTo>
                <a:lnTo>
                  <a:pt x="4115" y="1680"/>
                </a:lnTo>
                <a:lnTo>
                  <a:pt x="4115" y="1680"/>
                </a:lnTo>
                <a:close/>
                <a:moveTo>
                  <a:pt x="4115" y="1679"/>
                </a:moveTo>
                <a:lnTo>
                  <a:pt x="4115" y="1679"/>
                </a:lnTo>
                <a:lnTo>
                  <a:pt x="4115" y="1676"/>
                </a:lnTo>
                <a:lnTo>
                  <a:pt x="4113" y="1675"/>
                </a:lnTo>
                <a:lnTo>
                  <a:pt x="4115" y="1679"/>
                </a:lnTo>
                <a:close/>
                <a:moveTo>
                  <a:pt x="4102" y="1674"/>
                </a:moveTo>
                <a:lnTo>
                  <a:pt x="4102" y="1673"/>
                </a:lnTo>
                <a:lnTo>
                  <a:pt x="4101" y="1671"/>
                </a:lnTo>
                <a:lnTo>
                  <a:pt x="4101" y="1670"/>
                </a:lnTo>
                <a:lnTo>
                  <a:pt x="4097" y="1669"/>
                </a:lnTo>
                <a:lnTo>
                  <a:pt x="4094" y="1669"/>
                </a:lnTo>
                <a:lnTo>
                  <a:pt x="4096" y="1670"/>
                </a:lnTo>
                <a:lnTo>
                  <a:pt x="4100" y="1673"/>
                </a:lnTo>
                <a:lnTo>
                  <a:pt x="4102" y="1674"/>
                </a:lnTo>
                <a:close/>
                <a:moveTo>
                  <a:pt x="4266" y="1798"/>
                </a:moveTo>
                <a:lnTo>
                  <a:pt x="4271" y="1798"/>
                </a:lnTo>
                <a:lnTo>
                  <a:pt x="4267" y="1796"/>
                </a:lnTo>
                <a:lnTo>
                  <a:pt x="4253" y="1796"/>
                </a:lnTo>
                <a:lnTo>
                  <a:pt x="4249" y="1798"/>
                </a:lnTo>
                <a:lnTo>
                  <a:pt x="4250" y="1799"/>
                </a:lnTo>
                <a:lnTo>
                  <a:pt x="4250" y="1800"/>
                </a:lnTo>
                <a:lnTo>
                  <a:pt x="4261" y="1800"/>
                </a:lnTo>
                <a:lnTo>
                  <a:pt x="4266" y="1798"/>
                </a:lnTo>
                <a:close/>
                <a:moveTo>
                  <a:pt x="4129" y="1675"/>
                </a:moveTo>
                <a:lnTo>
                  <a:pt x="4127" y="1676"/>
                </a:lnTo>
                <a:lnTo>
                  <a:pt x="4133" y="1680"/>
                </a:lnTo>
                <a:lnTo>
                  <a:pt x="4133" y="1678"/>
                </a:lnTo>
                <a:lnTo>
                  <a:pt x="4134" y="1676"/>
                </a:lnTo>
                <a:lnTo>
                  <a:pt x="4132" y="1676"/>
                </a:lnTo>
                <a:lnTo>
                  <a:pt x="4129" y="1675"/>
                </a:lnTo>
                <a:close/>
                <a:moveTo>
                  <a:pt x="4149" y="1648"/>
                </a:moveTo>
                <a:lnTo>
                  <a:pt x="4148" y="1647"/>
                </a:lnTo>
                <a:lnTo>
                  <a:pt x="4148" y="1647"/>
                </a:lnTo>
                <a:lnTo>
                  <a:pt x="4148" y="1651"/>
                </a:lnTo>
                <a:lnTo>
                  <a:pt x="4148" y="1651"/>
                </a:lnTo>
                <a:lnTo>
                  <a:pt x="4149" y="1650"/>
                </a:lnTo>
                <a:lnTo>
                  <a:pt x="4149" y="1650"/>
                </a:lnTo>
                <a:lnTo>
                  <a:pt x="4149" y="1648"/>
                </a:lnTo>
                <a:close/>
                <a:moveTo>
                  <a:pt x="4129" y="1701"/>
                </a:moveTo>
                <a:lnTo>
                  <a:pt x="4130" y="1702"/>
                </a:lnTo>
                <a:lnTo>
                  <a:pt x="4132" y="1701"/>
                </a:lnTo>
                <a:lnTo>
                  <a:pt x="4133" y="1699"/>
                </a:lnTo>
                <a:lnTo>
                  <a:pt x="4132" y="1699"/>
                </a:lnTo>
                <a:lnTo>
                  <a:pt x="4130" y="1698"/>
                </a:lnTo>
                <a:lnTo>
                  <a:pt x="4129" y="1699"/>
                </a:lnTo>
                <a:lnTo>
                  <a:pt x="4127" y="1699"/>
                </a:lnTo>
                <a:lnTo>
                  <a:pt x="4129" y="1701"/>
                </a:lnTo>
                <a:close/>
                <a:moveTo>
                  <a:pt x="4130" y="1693"/>
                </a:moveTo>
                <a:lnTo>
                  <a:pt x="4130" y="1695"/>
                </a:lnTo>
                <a:lnTo>
                  <a:pt x="4129" y="1696"/>
                </a:lnTo>
                <a:lnTo>
                  <a:pt x="4130" y="1696"/>
                </a:lnTo>
                <a:lnTo>
                  <a:pt x="4134" y="1696"/>
                </a:lnTo>
                <a:lnTo>
                  <a:pt x="4135" y="1697"/>
                </a:lnTo>
                <a:lnTo>
                  <a:pt x="4137" y="1698"/>
                </a:lnTo>
                <a:lnTo>
                  <a:pt x="4137" y="1698"/>
                </a:lnTo>
                <a:lnTo>
                  <a:pt x="4137" y="1695"/>
                </a:lnTo>
                <a:lnTo>
                  <a:pt x="4133" y="1694"/>
                </a:lnTo>
                <a:lnTo>
                  <a:pt x="4130" y="1693"/>
                </a:lnTo>
                <a:close/>
                <a:moveTo>
                  <a:pt x="4329" y="1600"/>
                </a:moveTo>
                <a:lnTo>
                  <a:pt x="4329" y="1600"/>
                </a:lnTo>
                <a:lnTo>
                  <a:pt x="4329" y="1601"/>
                </a:lnTo>
                <a:lnTo>
                  <a:pt x="4329" y="1601"/>
                </a:lnTo>
                <a:lnTo>
                  <a:pt x="4329" y="1600"/>
                </a:lnTo>
                <a:close/>
                <a:moveTo>
                  <a:pt x="4343" y="1541"/>
                </a:moveTo>
                <a:lnTo>
                  <a:pt x="4337" y="1542"/>
                </a:lnTo>
                <a:lnTo>
                  <a:pt x="4338" y="1539"/>
                </a:lnTo>
                <a:lnTo>
                  <a:pt x="4339" y="1536"/>
                </a:lnTo>
                <a:lnTo>
                  <a:pt x="4341" y="1533"/>
                </a:lnTo>
                <a:lnTo>
                  <a:pt x="4341" y="1530"/>
                </a:lnTo>
                <a:lnTo>
                  <a:pt x="4342" y="1529"/>
                </a:lnTo>
                <a:lnTo>
                  <a:pt x="4342" y="1528"/>
                </a:lnTo>
                <a:lnTo>
                  <a:pt x="4341" y="1527"/>
                </a:lnTo>
                <a:lnTo>
                  <a:pt x="4341" y="1526"/>
                </a:lnTo>
                <a:lnTo>
                  <a:pt x="4345" y="1527"/>
                </a:lnTo>
                <a:lnTo>
                  <a:pt x="4345" y="1519"/>
                </a:lnTo>
                <a:lnTo>
                  <a:pt x="4346" y="1519"/>
                </a:lnTo>
                <a:lnTo>
                  <a:pt x="4347" y="1521"/>
                </a:lnTo>
                <a:lnTo>
                  <a:pt x="4347" y="1523"/>
                </a:lnTo>
                <a:lnTo>
                  <a:pt x="4347" y="1526"/>
                </a:lnTo>
                <a:lnTo>
                  <a:pt x="4346" y="1528"/>
                </a:lnTo>
                <a:lnTo>
                  <a:pt x="4347" y="1529"/>
                </a:lnTo>
                <a:lnTo>
                  <a:pt x="4347" y="1529"/>
                </a:lnTo>
                <a:lnTo>
                  <a:pt x="4348" y="1532"/>
                </a:lnTo>
                <a:lnTo>
                  <a:pt x="4349" y="1534"/>
                </a:lnTo>
                <a:lnTo>
                  <a:pt x="4344" y="1537"/>
                </a:lnTo>
                <a:lnTo>
                  <a:pt x="4344" y="1539"/>
                </a:lnTo>
                <a:lnTo>
                  <a:pt x="4343" y="1541"/>
                </a:lnTo>
                <a:close/>
                <a:moveTo>
                  <a:pt x="4343" y="1527"/>
                </a:moveTo>
                <a:lnTo>
                  <a:pt x="4343" y="1527"/>
                </a:lnTo>
                <a:lnTo>
                  <a:pt x="4343" y="1527"/>
                </a:lnTo>
                <a:lnTo>
                  <a:pt x="4343" y="1527"/>
                </a:lnTo>
                <a:lnTo>
                  <a:pt x="4343" y="1527"/>
                </a:lnTo>
                <a:close/>
                <a:moveTo>
                  <a:pt x="4339" y="1535"/>
                </a:moveTo>
                <a:lnTo>
                  <a:pt x="4339" y="1535"/>
                </a:lnTo>
                <a:lnTo>
                  <a:pt x="4339" y="1536"/>
                </a:lnTo>
                <a:lnTo>
                  <a:pt x="4339" y="1536"/>
                </a:lnTo>
                <a:lnTo>
                  <a:pt x="4339" y="1536"/>
                </a:lnTo>
                <a:lnTo>
                  <a:pt x="4339" y="1535"/>
                </a:lnTo>
                <a:lnTo>
                  <a:pt x="4339" y="1535"/>
                </a:lnTo>
                <a:close/>
                <a:moveTo>
                  <a:pt x="4249" y="1368"/>
                </a:moveTo>
                <a:lnTo>
                  <a:pt x="4249" y="1368"/>
                </a:lnTo>
                <a:lnTo>
                  <a:pt x="4252" y="1365"/>
                </a:lnTo>
                <a:lnTo>
                  <a:pt x="4249" y="1365"/>
                </a:lnTo>
                <a:lnTo>
                  <a:pt x="4249" y="1368"/>
                </a:lnTo>
                <a:close/>
                <a:moveTo>
                  <a:pt x="4068" y="1611"/>
                </a:moveTo>
                <a:lnTo>
                  <a:pt x="4066" y="1611"/>
                </a:lnTo>
                <a:lnTo>
                  <a:pt x="4066" y="1615"/>
                </a:lnTo>
                <a:lnTo>
                  <a:pt x="4068" y="1615"/>
                </a:lnTo>
                <a:lnTo>
                  <a:pt x="4068" y="1611"/>
                </a:lnTo>
                <a:close/>
                <a:moveTo>
                  <a:pt x="4350" y="1334"/>
                </a:moveTo>
                <a:lnTo>
                  <a:pt x="4350" y="1337"/>
                </a:lnTo>
                <a:lnTo>
                  <a:pt x="4351" y="1337"/>
                </a:lnTo>
                <a:lnTo>
                  <a:pt x="4351" y="1336"/>
                </a:lnTo>
                <a:lnTo>
                  <a:pt x="4350" y="1334"/>
                </a:lnTo>
                <a:lnTo>
                  <a:pt x="4350" y="1334"/>
                </a:lnTo>
                <a:close/>
                <a:moveTo>
                  <a:pt x="4200" y="1664"/>
                </a:moveTo>
                <a:lnTo>
                  <a:pt x="4202" y="1663"/>
                </a:lnTo>
                <a:lnTo>
                  <a:pt x="4204" y="1662"/>
                </a:lnTo>
                <a:lnTo>
                  <a:pt x="4204" y="1663"/>
                </a:lnTo>
                <a:lnTo>
                  <a:pt x="4203" y="1664"/>
                </a:lnTo>
                <a:lnTo>
                  <a:pt x="4204" y="1666"/>
                </a:lnTo>
                <a:lnTo>
                  <a:pt x="4204" y="1669"/>
                </a:lnTo>
                <a:lnTo>
                  <a:pt x="4205" y="1670"/>
                </a:lnTo>
                <a:lnTo>
                  <a:pt x="4205" y="1667"/>
                </a:lnTo>
                <a:lnTo>
                  <a:pt x="4206" y="1669"/>
                </a:lnTo>
                <a:lnTo>
                  <a:pt x="4208" y="1672"/>
                </a:lnTo>
                <a:lnTo>
                  <a:pt x="4214" y="1672"/>
                </a:lnTo>
                <a:lnTo>
                  <a:pt x="4216" y="1667"/>
                </a:lnTo>
                <a:lnTo>
                  <a:pt x="4216" y="1668"/>
                </a:lnTo>
                <a:lnTo>
                  <a:pt x="4216" y="1668"/>
                </a:lnTo>
                <a:lnTo>
                  <a:pt x="4217" y="1671"/>
                </a:lnTo>
                <a:lnTo>
                  <a:pt x="4218" y="1671"/>
                </a:lnTo>
                <a:lnTo>
                  <a:pt x="4221" y="1672"/>
                </a:lnTo>
                <a:lnTo>
                  <a:pt x="4221" y="1671"/>
                </a:lnTo>
                <a:lnTo>
                  <a:pt x="4221" y="1671"/>
                </a:lnTo>
                <a:lnTo>
                  <a:pt x="4223" y="1671"/>
                </a:lnTo>
                <a:lnTo>
                  <a:pt x="4226" y="1673"/>
                </a:lnTo>
                <a:lnTo>
                  <a:pt x="4229" y="1676"/>
                </a:lnTo>
                <a:lnTo>
                  <a:pt x="4232" y="1676"/>
                </a:lnTo>
                <a:lnTo>
                  <a:pt x="4230" y="1674"/>
                </a:lnTo>
                <a:lnTo>
                  <a:pt x="4227" y="1672"/>
                </a:lnTo>
                <a:lnTo>
                  <a:pt x="4226" y="1671"/>
                </a:lnTo>
                <a:lnTo>
                  <a:pt x="4228" y="1668"/>
                </a:lnTo>
                <a:lnTo>
                  <a:pt x="4229" y="1665"/>
                </a:lnTo>
                <a:lnTo>
                  <a:pt x="4231" y="1664"/>
                </a:lnTo>
                <a:lnTo>
                  <a:pt x="4229" y="1664"/>
                </a:lnTo>
                <a:lnTo>
                  <a:pt x="4229" y="1660"/>
                </a:lnTo>
                <a:lnTo>
                  <a:pt x="4232" y="1660"/>
                </a:lnTo>
                <a:lnTo>
                  <a:pt x="4229" y="1657"/>
                </a:lnTo>
                <a:lnTo>
                  <a:pt x="4229" y="1659"/>
                </a:lnTo>
                <a:lnTo>
                  <a:pt x="4229" y="1657"/>
                </a:lnTo>
                <a:lnTo>
                  <a:pt x="4229" y="1654"/>
                </a:lnTo>
                <a:lnTo>
                  <a:pt x="4229" y="1652"/>
                </a:lnTo>
                <a:lnTo>
                  <a:pt x="4231" y="1652"/>
                </a:lnTo>
                <a:lnTo>
                  <a:pt x="4230" y="1654"/>
                </a:lnTo>
                <a:lnTo>
                  <a:pt x="4232" y="1653"/>
                </a:lnTo>
                <a:lnTo>
                  <a:pt x="4236" y="1651"/>
                </a:lnTo>
                <a:lnTo>
                  <a:pt x="4255" y="1647"/>
                </a:lnTo>
                <a:lnTo>
                  <a:pt x="4262" y="1639"/>
                </a:lnTo>
                <a:lnTo>
                  <a:pt x="4269" y="1631"/>
                </a:lnTo>
                <a:lnTo>
                  <a:pt x="4269" y="1628"/>
                </a:lnTo>
                <a:lnTo>
                  <a:pt x="4272" y="1628"/>
                </a:lnTo>
                <a:lnTo>
                  <a:pt x="4273" y="1628"/>
                </a:lnTo>
                <a:lnTo>
                  <a:pt x="4272" y="1624"/>
                </a:lnTo>
                <a:lnTo>
                  <a:pt x="4270" y="1624"/>
                </a:lnTo>
                <a:lnTo>
                  <a:pt x="4275" y="1622"/>
                </a:lnTo>
                <a:lnTo>
                  <a:pt x="4277" y="1621"/>
                </a:lnTo>
                <a:lnTo>
                  <a:pt x="4277" y="1627"/>
                </a:lnTo>
                <a:lnTo>
                  <a:pt x="4277" y="1630"/>
                </a:lnTo>
                <a:lnTo>
                  <a:pt x="4277" y="1632"/>
                </a:lnTo>
                <a:lnTo>
                  <a:pt x="4279" y="1634"/>
                </a:lnTo>
                <a:lnTo>
                  <a:pt x="4280" y="1633"/>
                </a:lnTo>
                <a:lnTo>
                  <a:pt x="4281" y="1631"/>
                </a:lnTo>
                <a:lnTo>
                  <a:pt x="4281" y="1628"/>
                </a:lnTo>
                <a:lnTo>
                  <a:pt x="4281" y="1626"/>
                </a:lnTo>
                <a:lnTo>
                  <a:pt x="4281" y="1620"/>
                </a:lnTo>
                <a:lnTo>
                  <a:pt x="4281" y="1620"/>
                </a:lnTo>
                <a:lnTo>
                  <a:pt x="4278" y="1620"/>
                </a:lnTo>
                <a:lnTo>
                  <a:pt x="4277" y="1621"/>
                </a:lnTo>
                <a:lnTo>
                  <a:pt x="4277" y="1621"/>
                </a:lnTo>
                <a:lnTo>
                  <a:pt x="4281" y="1617"/>
                </a:lnTo>
                <a:lnTo>
                  <a:pt x="4281" y="1620"/>
                </a:lnTo>
                <a:lnTo>
                  <a:pt x="4284" y="1617"/>
                </a:lnTo>
                <a:lnTo>
                  <a:pt x="4285" y="1620"/>
                </a:lnTo>
                <a:lnTo>
                  <a:pt x="4285" y="1620"/>
                </a:lnTo>
                <a:lnTo>
                  <a:pt x="4285" y="1622"/>
                </a:lnTo>
                <a:lnTo>
                  <a:pt x="4285" y="1624"/>
                </a:lnTo>
                <a:lnTo>
                  <a:pt x="4286" y="1628"/>
                </a:lnTo>
                <a:lnTo>
                  <a:pt x="4287" y="1628"/>
                </a:lnTo>
                <a:lnTo>
                  <a:pt x="4291" y="1628"/>
                </a:lnTo>
                <a:lnTo>
                  <a:pt x="4287" y="1624"/>
                </a:lnTo>
                <a:lnTo>
                  <a:pt x="4291" y="1624"/>
                </a:lnTo>
                <a:lnTo>
                  <a:pt x="4291" y="1621"/>
                </a:lnTo>
                <a:lnTo>
                  <a:pt x="4292" y="1618"/>
                </a:lnTo>
                <a:lnTo>
                  <a:pt x="4293" y="1615"/>
                </a:lnTo>
                <a:lnTo>
                  <a:pt x="4292" y="1614"/>
                </a:lnTo>
                <a:lnTo>
                  <a:pt x="4289" y="1612"/>
                </a:lnTo>
                <a:lnTo>
                  <a:pt x="4289" y="1611"/>
                </a:lnTo>
                <a:lnTo>
                  <a:pt x="4291" y="1612"/>
                </a:lnTo>
                <a:lnTo>
                  <a:pt x="4292" y="1612"/>
                </a:lnTo>
                <a:lnTo>
                  <a:pt x="4297" y="1612"/>
                </a:lnTo>
                <a:lnTo>
                  <a:pt x="4300" y="1605"/>
                </a:lnTo>
                <a:lnTo>
                  <a:pt x="4301" y="1602"/>
                </a:lnTo>
                <a:lnTo>
                  <a:pt x="4303" y="1601"/>
                </a:lnTo>
                <a:lnTo>
                  <a:pt x="4304" y="1599"/>
                </a:lnTo>
                <a:lnTo>
                  <a:pt x="4306" y="1596"/>
                </a:lnTo>
                <a:lnTo>
                  <a:pt x="4309" y="1591"/>
                </a:lnTo>
                <a:lnTo>
                  <a:pt x="4309" y="1594"/>
                </a:lnTo>
                <a:lnTo>
                  <a:pt x="4313" y="1591"/>
                </a:lnTo>
                <a:lnTo>
                  <a:pt x="4317" y="1588"/>
                </a:lnTo>
                <a:lnTo>
                  <a:pt x="4317" y="1588"/>
                </a:lnTo>
                <a:lnTo>
                  <a:pt x="4317" y="1592"/>
                </a:lnTo>
                <a:lnTo>
                  <a:pt x="4319" y="1593"/>
                </a:lnTo>
                <a:lnTo>
                  <a:pt x="4321" y="1594"/>
                </a:lnTo>
                <a:lnTo>
                  <a:pt x="4321" y="1596"/>
                </a:lnTo>
                <a:lnTo>
                  <a:pt x="4321" y="1604"/>
                </a:lnTo>
                <a:lnTo>
                  <a:pt x="4322" y="1604"/>
                </a:lnTo>
                <a:lnTo>
                  <a:pt x="4323" y="1604"/>
                </a:lnTo>
                <a:lnTo>
                  <a:pt x="4325" y="1604"/>
                </a:lnTo>
                <a:lnTo>
                  <a:pt x="4329" y="1601"/>
                </a:lnTo>
                <a:lnTo>
                  <a:pt x="4329" y="1603"/>
                </a:lnTo>
                <a:lnTo>
                  <a:pt x="4325" y="1607"/>
                </a:lnTo>
                <a:lnTo>
                  <a:pt x="4325" y="1608"/>
                </a:lnTo>
                <a:lnTo>
                  <a:pt x="4329" y="1607"/>
                </a:lnTo>
                <a:lnTo>
                  <a:pt x="4334" y="1607"/>
                </a:lnTo>
                <a:lnTo>
                  <a:pt x="4342" y="1612"/>
                </a:lnTo>
                <a:lnTo>
                  <a:pt x="4345" y="1612"/>
                </a:lnTo>
                <a:lnTo>
                  <a:pt x="4345" y="1612"/>
                </a:lnTo>
                <a:lnTo>
                  <a:pt x="4345" y="1620"/>
                </a:lnTo>
                <a:lnTo>
                  <a:pt x="4344" y="1620"/>
                </a:lnTo>
                <a:lnTo>
                  <a:pt x="4342" y="1620"/>
                </a:lnTo>
                <a:lnTo>
                  <a:pt x="4340" y="1620"/>
                </a:lnTo>
                <a:lnTo>
                  <a:pt x="4337" y="1619"/>
                </a:lnTo>
                <a:lnTo>
                  <a:pt x="4334" y="1618"/>
                </a:lnTo>
                <a:lnTo>
                  <a:pt x="4332" y="1619"/>
                </a:lnTo>
                <a:lnTo>
                  <a:pt x="4330" y="1620"/>
                </a:lnTo>
                <a:lnTo>
                  <a:pt x="4331" y="1621"/>
                </a:lnTo>
                <a:lnTo>
                  <a:pt x="4332" y="1623"/>
                </a:lnTo>
                <a:lnTo>
                  <a:pt x="4333" y="1624"/>
                </a:lnTo>
                <a:lnTo>
                  <a:pt x="4333" y="1625"/>
                </a:lnTo>
                <a:lnTo>
                  <a:pt x="4333" y="1628"/>
                </a:lnTo>
                <a:lnTo>
                  <a:pt x="4337" y="1628"/>
                </a:lnTo>
                <a:lnTo>
                  <a:pt x="4340" y="1628"/>
                </a:lnTo>
                <a:lnTo>
                  <a:pt x="4337" y="1628"/>
                </a:lnTo>
                <a:lnTo>
                  <a:pt x="4329" y="1631"/>
                </a:lnTo>
                <a:lnTo>
                  <a:pt x="4326" y="1629"/>
                </a:lnTo>
                <a:lnTo>
                  <a:pt x="4324" y="1628"/>
                </a:lnTo>
                <a:lnTo>
                  <a:pt x="4321" y="1631"/>
                </a:lnTo>
                <a:lnTo>
                  <a:pt x="4321" y="1631"/>
                </a:lnTo>
                <a:lnTo>
                  <a:pt x="4321" y="1631"/>
                </a:lnTo>
                <a:lnTo>
                  <a:pt x="4319" y="1630"/>
                </a:lnTo>
                <a:lnTo>
                  <a:pt x="4318" y="1628"/>
                </a:lnTo>
                <a:lnTo>
                  <a:pt x="4315" y="1628"/>
                </a:lnTo>
                <a:lnTo>
                  <a:pt x="4317" y="1630"/>
                </a:lnTo>
                <a:lnTo>
                  <a:pt x="4320" y="1632"/>
                </a:lnTo>
                <a:lnTo>
                  <a:pt x="4316" y="1632"/>
                </a:lnTo>
                <a:lnTo>
                  <a:pt x="4319" y="1635"/>
                </a:lnTo>
                <a:lnTo>
                  <a:pt x="4322" y="1639"/>
                </a:lnTo>
                <a:lnTo>
                  <a:pt x="4322" y="1639"/>
                </a:lnTo>
                <a:lnTo>
                  <a:pt x="4321" y="1640"/>
                </a:lnTo>
                <a:lnTo>
                  <a:pt x="4315" y="1640"/>
                </a:lnTo>
                <a:lnTo>
                  <a:pt x="4315" y="1640"/>
                </a:lnTo>
                <a:lnTo>
                  <a:pt x="4318" y="1641"/>
                </a:lnTo>
                <a:lnTo>
                  <a:pt x="4315" y="1645"/>
                </a:lnTo>
                <a:lnTo>
                  <a:pt x="4317" y="1646"/>
                </a:lnTo>
                <a:lnTo>
                  <a:pt x="4320" y="1648"/>
                </a:lnTo>
                <a:lnTo>
                  <a:pt x="4321" y="1652"/>
                </a:lnTo>
                <a:lnTo>
                  <a:pt x="4322" y="1652"/>
                </a:lnTo>
                <a:lnTo>
                  <a:pt x="4325" y="1655"/>
                </a:lnTo>
                <a:lnTo>
                  <a:pt x="4327" y="1658"/>
                </a:lnTo>
                <a:lnTo>
                  <a:pt x="4325" y="1662"/>
                </a:lnTo>
                <a:lnTo>
                  <a:pt x="4324" y="1662"/>
                </a:lnTo>
                <a:lnTo>
                  <a:pt x="4322" y="1661"/>
                </a:lnTo>
                <a:lnTo>
                  <a:pt x="4324" y="1664"/>
                </a:lnTo>
                <a:lnTo>
                  <a:pt x="4325" y="1666"/>
                </a:lnTo>
                <a:lnTo>
                  <a:pt x="4340" y="1681"/>
                </a:lnTo>
                <a:lnTo>
                  <a:pt x="4337" y="1684"/>
                </a:lnTo>
                <a:lnTo>
                  <a:pt x="4331" y="1684"/>
                </a:lnTo>
                <a:lnTo>
                  <a:pt x="4329" y="1682"/>
                </a:lnTo>
                <a:lnTo>
                  <a:pt x="4326" y="1679"/>
                </a:lnTo>
                <a:lnTo>
                  <a:pt x="4326" y="1678"/>
                </a:lnTo>
                <a:lnTo>
                  <a:pt x="4325" y="1676"/>
                </a:lnTo>
                <a:lnTo>
                  <a:pt x="4326" y="1680"/>
                </a:lnTo>
                <a:lnTo>
                  <a:pt x="4326" y="1684"/>
                </a:lnTo>
                <a:lnTo>
                  <a:pt x="4325" y="1684"/>
                </a:lnTo>
                <a:lnTo>
                  <a:pt x="4321" y="1684"/>
                </a:lnTo>
                <a:lnTo>
                  <a:pt x="4319" y="1687"/>
                </a:lnTo>
                <a:lnTo>
                  <a:pt x="4317" y="1692"/>
                </a:lnTo>
                <a:lnTo>
                  <a:pt x="4317" y="1693"/>
                </a:lnTo>
                <a:lnTo>
                  <a:pt x="4317" y="1696"/>
                </a:lnTo>
                <a:lnTo>
                  <a:pt x="4317" y="1699"/>
                </a:lnTo>
                <a:lnTo>
                  <a:pt x="4318" y="1700"/>
                </a:lnTo>
                <a:lnTo>
                  <a:pt x="4319" y="1700"/>
                </a:lnTo>
                <a:lnTo>
                  <a:pt x="4319" y="1700"/>
                </a:lnTo>
                <a:lnTo>
                  <a:pt x="4317" y="1700"/>
                </a:lnTo>
                <a:lnTo>
                  <a:pt x="4317" y="1708"/>
                </a:lnTo>
                <a:lnTo>
                  <a:pt x="4315" y="1708"/>
                </a:lnTo>
                <a:lnTo>
                  <a:pt x="4311" y="1712"/>
                </a:lnTo>
                <a:lnTo>
                  <a:pt x="4308" y="1712"/>
                </a:lnTo>
                <a:lnTo>
                  <a:pt x="4307" y="1710"/>
                </a:lnTo>
                <a:lnTo>
                  <a:pt x="4305" y="1708"/>
                </a:lnTo>
                <a:lnTo>
                  <a:pt x="4305" y="1713"/>
                </a:lnTo>
                <a:lnTo>
                  <a:pt x="4303" y="1714"/>
                </a:lnTo>
                <a:lnTo>
                  <a:pt x="4301" y="1714"/>
                </a:lnTo>
                <a:lnTo>
                  <a:pt x="4301" y="1716"/>
                </a:lnTo>
                <a:lnTo>
                  <a:pt x="4301" y="1720"/>
                </a:lnTo>
                <a:lnTo>
                  <a:pt x="4301" y="1720"/>
                </a:lnTo>
                <a:lnTo>
                  <a:pt x="4301" y="1722"/>
                </a:lnTo>
                <a:lnTo>
                  <a:pt x="4302" y="1724"/>
                </a:lnTo>
                <a:lnTo>
                  <a:pt x="4303" y="1725"/>
                </a:lnTo>
                <a:lnTo>
                  <a:pt x="4305" y="1726"/>
                </a:lnTo>
                <a:lnTo>
                  <a:pt x="4305" y="1729"/>
                </a:lnTo>
                <a:lnTo>
                  <a:pt x="4304" y="1732"/>
                </a:lnTo>
                <a:lnTo>
                  <a:pt x="4301" y="1732"/>
                </a:lnTo>
                <a:lnTo>
                  <a:pt x="4302" y="1733"/>
                </a:lnTo>
                <a:lnTo>
                  <a:pt x="4303" y="1733"/>
                </a:lnTo>
                <a:lnTo>
                  <a:pt x="4302" y="1735"/>
                </a:lnTo>
                <a:lnTo>
                  <a:pt x="4301" y="1737"/>
                </a:lnTo>
                <a:lnTo>
                  <a:pt x="4301" y="1737"/>
                </a:lnTo>
                <a:lnTo>
                  <a:pt x="4301" y="1737"/>
                </a:lnTo>
                <a:lnTo>
                  <a:pt x="4300" y="1735"/>
                </a:lnTo>
                <a:lnTo>
                  <a:pt x="4300" y="1733"/>
                </a:lnTo>
                <a:lnTo>
                  <a:pt x="4300" y="1736"/>
                </a:lnTo>
                <a:lnTo>
                  <a:pt x="4301" y="1739"/>
                </a:lnTo>
                <a:lnTo>
                  <a:pt x="4300" y="1740"/>
                </a:lnTo>
                <a:lnTo>
                  <a:pt x="4300" y="1740"/>
                </a:lnTo>
                <a:lnTo>
                  <a:pt x="4297" y="1740"/>
                </a:lnTo>
                <a:lnTo>
                  <a:pt x="4297" y="1744"/>
                </a:lnTo>
                <a:lnTo>
                  <a:pt x="4296" y="1745"/>
                </a:lnTo>
                <a:lnTo>
                  <a:pt x="4279" y="1756"/>
                </a:lnTo>
                <a:lnTo>
                  <a:pt x="4277" y="1752"/>
                </a:lnTo>
                <a:lnTo>
                  <a:pt x="4277" y="1747"/>
                </a:lnTo>
                <a:lnTo>
                  <a:pt x="4276" y="1745"/>
                </a:lnTo>
                <a:lnTo>
                  <a:pt x="4275" y="1744"/>
                </a:lnTo>
                <a:lnTo>
                  <a:pt x="4272" y="1742"/>
                </a:lnTo>
                <a:lnTo>
                  <a:pt x="4269" y="1741"/>
                </a:lnTo>
                <a:lnTo>
                  <a:pt x="4266" y="1742"/>
                </a:lnTo>
                <a:lnTo>
                  <a:pt x="4261" y="1744"/>
                </a:lnTo>
                <a:lnTo>
                  <a:pt x="4261" y="1739"/>
                </a:lnTo>
                <a:lnTo>
                  <a:pt x="4258" y="1740"/>
                </a:lnTo>
                <a:lnTo>
                  <a:pt x="4256" y="1739"/>
                </a:lnTo>
                <a:lnTo>
                  <a:pt x="4253" y="1737"/>
                </a:lnTo>
                <a:lnTo>
                  <a:pt x="4249" y="1739"/>
                </a:lnTo>
                <a:lnTo>
                  <a:pt x="4249" y="1740"/>
                </a:lnTo>
                <a:lnTo>
                  <a:pt x="4249" y="1744"/>
                </a:lnTo>
                <a:lnTo>
                  <a:pt x="4247" y="1744"/>
                </a:lnTo>
                <a:lnTo>
                  <a:pt x="4245" y="1743"/>
                </a:lnTo>
                <a:lnTo>
                  <a:pt x="4242" y="1742"/>
                </a:lnTo>
                <a:lnTo>
                  <a:pt x="4240" y="1745"/>
                </a:lnTo>
                <a:lnTo>
                  <a:pt x="4238" y="1748"/>
                </a:lnTo>
                <a:lnTo>
                  <a:pt x="4237" y="1748"/>
                </a:lnTo>
                <a:lnTo>
                  <a:pt x="4237" y="1743"/>
                </a:lnTo>
                <a:lnTo>
                  <a:pt x="4238" y="1737"/>
                </a:lnTo>
                <a:lnTo>
                  <a:pt x="4237" y="1735"/>
                </a:lnTo>
                <a:lnTo>
                  <a:pt x="4237" y="1733"/>
                </a:lnTo>
                <a:lnTo>
                  <a:pt x="4235" y="1735"/>
                </a:lnTo>
                <a:lnTo>
                  <a:pt x="4234" y="1736"/>
                </a:lnTo>
                <a:lnTo>
                  <a:pt x="4233" y="1737"/>
                </a:lnTo>
                <a:lnTo>
                  <a:pt x="4233" y="1737"/>
                </a:lnTo>
                <a:lnTo>
                  <a:pt x="4232" y="1737"/>
                </a:lnTo>
                <a:lnTo>
                  <a:pt x="4230" y="1736"/>
                </a:lnTo>
                <a:lnTo>
                  <a:pt x="4228" y="1738"/>
                </a:lnTo>
                <a:lnTo>
                  <a:pt x="4225" y="1739"/>
                </a:lnTo>
                <a:lnTo>
                  <a:pt x="4224" y="1738"/>
                </a:lnTo>
                <a:lnTo>
                  <a:pt x="4222" y="1737"/>
                </a:lnTo>
                <a:lnTo>
                  <a:pt x="4223" y="1737"/>
                </a:lnTo>
                <a:lnTo>
                  <a:pt x="4223" y="1736"/>
                </a:lnTo>
                <a:lnTo>
                  <a:pt x="4219" y="1739"/>
                </a:lnTo>
                <a:lnTo>
                  <a:pt x="4218" y="1738"/>
                </a:lnTo>
                <a:lnTo>
                  <a:pt x="4218" y="1736"/>
                </a:lnTo>
                <a:lnTo>
                  <a:pt x="4215" y="1737"/>
                </a:lnTo>
                <a:lnTo>
                  <a:pt x="4213" y="1737"/>
                </a:lnTo>
                <a:lnTo>
                  <a:pt x="4211" y="1722"/>
                </a:lnTo>
                <a:lnTo>
                  <a:pt x="4210" y="1721"/>
                </a:lnTo>
                <a:lnTo>
                  <a:pt x="4208" y="1719"/>
                </a:lnTo>
                <a:lnTo>
                  <a:pt x="4210" y="1717"/>
                </a:lnTo>
                <a:lnTo>
                  <a:pt x="4210" y="1715"/>
                </a:lnTo>
                <a:lnTo>
                  <a:pt x="4211" y="1713"/>
                </a:lnTo>
                <a:lnTo>
                  <a:pt x="4207" y="1706"/>
                </a:lnTo>
                <a:lnTo>
                  <a:pt x="4202" y="1705"/>
                </a:lnTo>
                <a:lnTo>
                  <a:pt x="4196" y="1705"/>
                </a:lnTo>
                <a:lnTo>
                  <a:pt x="4196" y="1704"/>
                </a:lnTo>
                <a:lnTo>
                  <a:pt x="4203" y="1704"/>
                </a:lnTo>
                <a:lnTo>
                  <a:pt x="4200" y="1702"/>
                </a:lnTo>
                <a:lnTo>
                  <a:pt x="4197" y="1699"/>
                </a:lnTo>
                <a:lnTo>
                  <a:pt x="4196" y="1698"/>
                </a:lnTo>
                <a:lnTo>
                  <a:pt x="4196" y="1696"/>
                </a:lnTo>
                <a:lnTo>
                  <a:pt x="4197" y="1696"/>
                </a:lnTo>
                <a:lnTo>
                  <a:pt x="4199" y="1695"/>
                </a:lnTo>
                <a:lnTo>
                  <a:pt x="4197" y="1692"/>
                </a:lnTo>
                <a:lnTo>
                  <a:pt x="4196" y="1690"/>
                </a:lnTo>
                <a:lnTo>
                  <a:pt x="4196" y="1688"/>
                </a:lnTo>
                <a:lnTo>
                  <a:pt x="4192" y="1688"/>
                </a:lnTo>
                <a:lnTo>
                  <a:pt x="4192" y="1684"/>
                </a:lnTo>
                <a:lnTo>
                  <a:pt x="4192" y="1680"/>
                </a:lnTo>
                <a:lnTo>
                  <a:pt x="4192" y="1679"/>
                </a:lnTo>
                <a:lnTo>
                  <a:pt x="4192" y="1675"/>
                </a:lnTo>
                <a:lnTo>
                  <a:pt x="4194" y="1673"/>
                </a:lnTo>
                <a:lnTo>
                  <a:pt x="4197" y="1670"/>
                </a:lnTo>
                <a:lnTo>
                  <a:pt x="4199" y="1668"/>
                </a:lnTo>
                <a:lnTo>
                  <a:pt x="4199" y="1666"/>
                </a:lnTo>
                <a:lnTo>
                  <a:pt x="4200" y="1664"/>
                </a:lnTo>
                <a:close/>
                <a:moveTo>
                  <a:pt x="4302" y="1629"/>
                </a:moveTo>
                <a:lnTo>
                  <a:pt x="4302" y="1629"/>
                </a:lnTo>
                <a:lnTo>
                  <a:pt x="4304" y="1630"/>
                </a:lnTo>
                <a:lnTo>
                  <a:pt x="4305" y="1630"/>
                </a:lnTo>
                <a:lnTo>
                  <a:pt x="4304" y="1629"/>
                </a:lnTo>
                <a:lnTo>
                  <a:pt x="4303" y="1628"/>
                </a:lnTo>
                <a:lnTo>
                  <a:pt x="4302" y="1629"/>
                </a:lnTo>
                <a:close/>
                <a:moveTo>
                  <a:pt x="4296" y="1629"/>
                </a:moveTo>
                <a:lnTo>
                  <a:pt x="4298" y="1630"/>
                </a:lnTo>
                <a:lnTo>
                  <a:pt x="4298" y="1629"/>
                </a:lnTo>
                <a:lnTo>
                  <a:pt x="4297" y="1628"/>
                </a:lnTo>
                <a:lnTo>
                  <a:pt x="4296" y="1629"/>
                </a:lnTo>
                <a:close/>
                <a:moveTo>
                  <a:pt x="4254" y="1670"/>
                </a:moveTo>
                <a:lnTo>
                  <a:pt x="4255" y="1673"/>
                </a:lnTo>
                <a:lnTo>
                  <a:pt x="4256" y="1673"/>
                </a:lnTo>
                <a:lnTo>
                  <a:pt x="4255" y="1670"/>
                </a:lnTo>
                <a:lnTo>
                  <a:pt x="4254" y="1670"/>
                </a:lnTo>
                <a:close/>
                <a:moveTo>
                  <a:pt x="4514" y="1802"/>
                </a:moveTo>
                <a:lnTo>
                  <a:pt x="4514" y="1804"/>
                </a:lnTo>
                <a:lnTo>
                  <a:pt x="4514" y="1804"/>
                </a:lnTo>
                <a:lnTo>
                  <a:pt x="4517" y="1802"/>
                </a:lnTo>
                <a:lnTo>
                  <a:pt x="4514" y="1802"/>
                </a:lnTo>
                <a:close/>
                <a:moveTo>
                  <a:pt x="4331" y="1322"/>
                </a:moveTo>
                <a:lnTo>
                  <a:pt x="4331" y="1322"/>
                </a:lnTo>
                <a:lnTo>
                  <a:pt x="4334" y="1322"/>
                </a:lnTo>
                <a:lnTo>
                  <a:pt x="4332" y="1321"/>
                </a:lnTo>
                <a:lnTo>
                  <a:pt x="4331" y="1322"/>
                </a:lnTo>
                <a:close/>
                <a:moveTo>
                  <a:pt x="4352" y="1307"/>
                </a:moveTo>
                <a:lnTo>
                  <a:pt x="4352" y="1303"/>
                </a:lnTo>
                <a:lnTo>
                  <a:pt x="4352" y="1302"/>
                </a:lnTo>
                <a:lnTo>
                  <a:pt x="4350" y="1303"/>
                </a:lnTo>
                <a:lnTo>
                  <a:pt x="4350" y="1306"/>
                </a:lnTo>
                <a:lnTo>
                  <a:pt x="4352" y="1307"/>
                </a:lnTo>
                <a:lnTo>
                  <a:pt x="4352" y="1307"/>
                </a:lnTo>
                <a:close/>
                <a:moveTo>
                  <a:pt x="4302" y="1748"/>
                </a:moveTo>
                <a:lnTo>
                  <a:pt x="4302" y="1748"/>
                </a:lnTo>
                <a:lnTo>
                  <a:pt x="4301" y="1747"/>
                </a:lnTo>
                <a:lnTo>
                  <a:pt x="4301" y="1748"/>
                </a:lnTo>
                <a:lnTo>
                  <a:pt x="4302" y="1748"/>
                </a:lnTo>
                <a:close/>
                <a:moveTo>
                  <a:pt x="4321" y="1634"/>
                </a:moveTo>
                <a:lnTo>
                  <a:pt x="4320" y="1632"/>
                </a:lnTo>
                <a:lnTo>
                  <a:pt x="4320" y="1632"/>
                </a:lnTo>
                <a:lnTo>
                  <a:pt x="4320" y="1632"/>
                </a:lnTo>
                <a:lnTo>
                  <a:pt x="4320" y="1634"/>
                </a:lnTo>
                <a:lnTo>
                  <a:pt x="4321" y="1634"/>
                </a:lnTo>
                <a:close/>
                <a:moveTo>
                  <a:pt x="4310" y="1588"/>
                </a:moveTo>
                <a:lnTo>
                  <a:pt x="4310" y="1588"/>
                </a:lnTo>
                <a:lnTo>
                  <a:pt x="4310" y="1588"/>
                </a:lnTo>
                <a:lnTo>
                  <a:pt x="4309" y="1589"/>
                </a:lnTo>
                <a:lnTo>
                  <a:pt x="4309" y="1591"/>
                </a:lnTo>
                <a:lnTo>
                  <a:pt x="4310" y="1588"/>
                </a:lnTo>
                <a:lnTo>
                  <a:pt x="4310" y="1588"/>
                </a:lnTo>
                <a:close/>
                <a:moveTo>
                  <a:pt x="4297" y="1744"/>
                </a:moveTo>
                <a:lnTo>
                  <a:pt x="4297" y="1745"/>
                </a:lnTo>
                <a:lnTo>
                  <a:pt x="4298" y="1745"/>
                </a:lnTo>
                <a:lnTo>
                  <a:pt x="4299" y="1741"/>
                </a:lnTo>
                <a:lnTo>
                  <a:pt x="4300" y="1741"/>
                </a:lnTo>
                <a:lnTo>
                  <a:pt x="4300" y="1740"/>
                </a:lnTo>
                <a:lnTo>
                  <a:pt x="4300" y="1740"/>
                </a:lnTo>
                <a:lnTo>
                  <a:pt x="4298" y="1742"/>
                </a:lnTo>
                <a:lnTo>
                  <a:pt x="4297" y="1744"/>
                </a:lnTo>
                <a:close/>
                <a:moveTo>
                  <a:pt x="4300" y="1746"/>
                </a:moveTo>
                <a:lnTo>
                  <a:pt x="4301" y="1747"/>
                </a:lnTo>
                <a:lnTo>
                  <a:pt x="4301" y="1745"/>
                </a:lnTo>
                <a:lnTo>
                  <a:pt x="4299" y="1744"/>
                </a:lnTo>
                <a:lnTo>
                  <a:pt x="4298" y="1745"/>
                </a:lnTo>
                <a:lnTo>
                  <a:pt x="4298" y="1745"/>
                </a:lnTo>
                <a:lnTo>
                  <a:pt x="4300" y="1746"/>
                </a:lnTo>
                <a:close/>
                <a:moveTo>
                  <a:pt x="4279" y="1756"/>
                </a:moveTo>
                <a:lnTo>
                  <a:pt x="4279" y="1756"/>
                </a:lnTo>
                <a:lnTo>
                  <a:pt x="4279" y="1756"/>
                </a:lnTo>
                <a:lnTo>
                  <a:pt x="4279" y="1756"/>
                </a:lnTo>
                <a:lnTo>
                  <a:pt x="4279" y="1756"/>
                </a:lnTo>
                <a:close/>
                <a:moveTo>
                  <a:pt x="4297" y="1747"/>
                </a:moveTo>
                <a:lnTo>
                  <a:pt x="4298" y="1745"/>
                </a:lnTo>
                <a:lnTo>
                  <a:pt x="4297" y="1745"/>
                </a:lnTo>
                <a:lnTo>
                  <a:pt x="4297" y="1747"/>
                </a:lnTo>
                <a:close/>
                <a:moveTo>
                  <a:pt x="4324" y="1555"/>
                </a:moveTo>
                <a:lnTo>
                  <a:pt x="4323" y="1555"/>
                </a:lnTo>
                <a:lnTo>
                  <a:pt x="4319" y="1556"/>
                </a:lnTo>
                <a:lnTo>
                  <a:pt x="4313" y="1562"/>
                </a:lnTo>
                <a:lnTo>
                  <a:pt x="4313" y="1565"/>
                </a:lnTo>
                <a:lnTo>
                  <a:pt x="4313" y="1567"/>
                </a:lnTo>
                <a:lnTo>
                  <a:pt x="4313" y="1567"/>
                </a:lnTo>
                <a:lnTo>
                  <a:pt x="4313" y="1567"/>
                </a:lnTo>
                <a:lnTo>
                  <a:pt x="4325" y="1559"/>
                </a:lnTo>
                <a:lnTo>
                  <a:pt x="4325" y="1557"/>
                </a:lnTo>
                <a:lnTo>
                  <a:pt x="4325" y="1555"/>
                </a:lnTo>
                <a:lnTo>
                  <a:pt x="4329" y="1555"/>
                </a:lnTo>
                <a:lnTo>
                  <a:pt x="4336" y="1548"/>
                </a:lnTo>
                <a:lnTo>
                  <a:pt x="4335" y="1547"/>
                </a:lnTo>
                <a:lnTo>
                  <a:pt x="4335" y="1546"/>
                </a:lnTo>
                <a:lnTo>
                  <a:pt x="4335" y="1544"/>
                </a:lnTo>
                <a:lnTo>
                  <a:pt x="4335" y="1543"/>
                </a:lnTo>
                <a:lnTo>
                  <a:pt x="4330" y="1549"/>
                </a:lnTo>
                <a:lnTo>
                  <a:pt x="4324" y="1555"/>
                </a:lnTo>
                <a:close/>
                <a:moveTo>
                  <a:pt x="4594" y="1928"/>
                </a:moveTo>
                <a:lnTo>
                  <a:pt x="4594" y="1927"/>
                </a:lnTo>
                <a:lnTo>
                  <a:pt x="4594" y="1926"/>
                </a:lnTo>
                <a:lnTo>
                  <a:pt x="4594" y="1926"/>
                </a:lnTo>
                <a:lnTo>
                  <a:pt x="4594" y="1928"/>
                </a:lnTo>
                <a:lnTo>
                  <a:pt x="4594" y="1928"/>
                </a:lnTo>
                <a:close/>
                <a:moveTo>
                  <a:pt x="4597" y="1930"/>
                </a:moveTo>
                <a:lnTo>
                  <a:pt x="4598" y="1929"/>
                </a:lnTo>
                <a:lnTo>
                  <a:pt x="4598" y="1928"/>
                </a:lnTo>
                <a:lnTo>
                  <a:pt x="4597" y="1928"/>
                </a:lnTo>
                <a:lnTo>
                  <a:pt x="4597" y="1930"/>
                </a:lnTo>
                <a:lnTo>
                  <a:pt x="4597" y="1930"/>
                </a:lnTo>
                <a:close/>
                <a:moveTo>
                  <a:pt x="4600" y="1905"/>
                </a:moveTo>
                <a:lnTo>
                  <a:pt x="4597" y="1905"/>
                </a:lnTo>
                <a:lnTo>
                  <a:pt x="4597" y="1903"/>
                </a:lnTo>
                <a:lnTo>
                  <a:pt x="4599" y="1902"/>
                </a:lnTo>
                <a:lnTo>
                  <a:pt x="4600" y="1901"/>
                </a:lnTo>
                <a:lnTo>
                  <a:pt x="4598" y="1899"/>
                </a:lnTo>
                <a:lnTo>
                  <a:pt x="4598" y="1899"/>
                </a:lnTo>
                <a:lnTo>
                  <a:pt x="4598" y="1901"/>
                </a:lnTo>
                <a:lnTo>
                  <a:pt x="4597" y="1901"/>
                </a:lnTo>
                <a:lnTo>
                  <a:pt x="4597" y="1899"/>
                </a:lnTo>
                <a:lnTo>
                  <a:pt x="4597" y="1899"/>
                </a:lnTo>
                <a:lnTo>
                  <a:pt x="4594" y="1901"/>
                </a:lnTo>
                <a:lnTo>
                  <a:pt x="4594" y="1901"/>
                </a:lnTo>
                <a:lnTo>
                  <a:pt x="4593" y="1904"/>
                </a:lnTo>
                <a:lnTo>
                  <a:pt x="4593" y="1906"/>
                </a:lnTo>
                <a:lnTo>
                  <a:pt x="4598" y="1906"/>
                </a:lnTo>
                <a:lnTo>
                  <a:pt x="4600" y="1905"/>
                </a:lnTo>
                <a:close/>
                <a:moveTo>
                  <a:pt x="4569" y="1790"/>
                </a:moveTo>
                <a:lnTo>
                  <a:pt x="4569" y="1786"/>
                </a:lnTo>
                <a:lnTo>
                  <a:pt x="4567" y="1787"/>
                </a:lnTo>
                <a:lnTo>
                  <a:pt x="4569" y="1790"/>
                </a:lnTo>
                <a:lnTo>
                  <a:pt x="4569" y="1790"/>
                </a:lnTo>
                <a:close/>
                <a:moveTo>
                  <a:pt x="4601" y="1932"/>
                </a:moveTo>
                <a:lnTo>
                  <a:pt x="4601" y="1926"/>
                </a:lnTo>
                <a:lnTo>
                  <a:pt x="4601" y="1926"/>
                </a:lnTo>
                <a:lnTo>
                  <a:pt x="4600" y="1928"/>
                </a:lnTo>
                <a:lnTo>
                  <a:pt x="4601" y="1932"/>
                </a:lnTo>
                <a:lnTo>
                  <a:pt x="4601" y="1932"/>
                </a:lnTo>
                <a:close/>
                <a:moveTo>
                  <a:pt x="4586" y="1869"/>
                </a:moveTo>
                <a:lnTo>
                  <a:pt x="4586" y="1868"/>
                </a:lnTo>
                <a:lnTo>
                  <a:pt x="4587" y="1867"/>
                </a:lnTo>
                <a:lnTo>
                  <a:pt x="4586" y="1867"/>
                </a:lnTo>
                <a:lnTo>
                  <a:pt x="4586" y="1869"/>
                </a:lnTo>
                <a:lnTo>
                  <a:pt x="4586" y="1869"/>
                </a:lnTo>
                <a:close/>
                <a:moveTo>
                  <a:pt x="4636" y="1950"/>
                </a:moveTo>
                <a:lnTo>
                  <a:pt x="4637" y="1951"/>
                </a:lnTo>
                <a:lnTo>
                  <a:pt x="4638" y="1951"/>
                </a:lnTo>
                <a:lnTo>
                  <a:pt x="4638" y="1949"/>
                </a:lnTo>
                <a:lnTo>
                  <a:pt x="4634" y="1949"/>
                </a:lnTo>
                <a:lnTo>
                  <a:pt x="4636" y="1950"/>
                </a:lnTo>
                <a:close/>
                <a:moveTo>
                  <a:pt x="4595" y="1863"/>
                </a:moveTo>
                <a:lnTo>
                  <a:pt x="4597" y="1861"/>
                </a:lnTo>
                <a:lnTo>
                  <a:pt x="4597" y="1858"/>
                </a:lnTo>
                <a:lnTo>
                  <a:pt x="4597" y="1858"/>
                </a:lnTo>
                <a:lnTo>
                  <a:pt x="4595" y="1861"/>
                </a:lnTo>
                <a:lnTo>
                  <a:pt x="4594" y="1865"/>
                </a:lnTo>
                <a:lnTo>
                  <a:pt x="4595" y="1863"/>
                </a:lnTo>
                <a:close/>
                <a:moveTo>
                  <a:pt x="4629" y="1806"/>
                </a:moveTo>
                <a:lnTo>
                  <a:pt x="4626" y="1804"/>
                </a:lnTo>
                <a:lnTo>
                  <a:pt x="4622" y="1804"/>
                </a:lnTo>
                <a:lnTo>
                  <a:pt x="4615" y="1806"/>
                </a:lnTo>
                <a:lnTo>
                  <a:pt x="4611" y="1813"/>
                </a:lnTo>
                <a:lnTo>
                  <a:pt x="4608" y="1820"/>
                </a:lnTo>
                <a:lnTo>
                  <a:pt x="4612" y="1820"/>
                </a:lnTo>
                <a:lnTo>
                  <a:pt x="4619" y="1820"/>
                </a:lnTo>
                <a:lnTo>
                  <a:pt x="4626" y="1815"/>
                </a:lnTo>
                <a:lnTo>
                  <a:pt x="4629" y="1806"/>
                </a:lnTo>
                <a:close/>
                <a:moveTo>
                  <a:pt x="4698" y="1816"/>
                </a:moveTo>
                <a:lnTo>
                  <a:pt x="4698" y="1816"/>
                </a:lnTo>
                <a:lnTo>
                  <a:pt x="4698" y="1816"/>
                </a:lnTo>
                <a:lnTo>
                  <a:pt x="4698" y="1816"/>
                </a:lnTo>
                <a:lnTo>
                  <a:pt x="4698" y="1816"/>
                </a:lnTo>
                <a:close/>
                <a:moveTo>
                  <a:pt x="4743" y="1983"/>
                </a:moveTo>
                <a:lnTo>
                  <a:pt x="4743" y="1982"/>
                </a:lnTo>
                <a:lnTo>
                  <a:pt x="4743" y="1982"/>
                </a:lnTo>
                <a:lnTo>
                  <a:pt x="4743" y="1982"/>
                </a:lnTo>
                <a:lnTo>
                  <a:pt x="4742" y="1983"/>
                </a:lnTo>
                <a:lnTo>
                  <a:pt x="4743" y="1983"/>
                </a:lnTo>
                <a:close/>
                <a:moveTo>
                  <a:pt x="4691" y="1817"/>
                </a:moveTo>
                <a:lnTo>
                  <a:pt x="4694" y="1820"/>
                </a:lnTo>
                <a:lnTo>
                  <a:pt x="4697" y="1822"/>
                </a:lnTo>
                <a:lnTo>
                  <a:pt x="4695" y="1819"/>
                </a:lnTo>
                <a:lnTo>
                  <a:pt x="4693" y="1818"/>
                </a:lnTo>
                <a:lnTo>
                  <a:pt x="4691" y="1817"/>
                </a:lnTo>
                <a:close/>
                <a:moveTo>
                  <a:pt x="4773" y="2001"/>
                </a:moveTo>
                <a:lnTo>
                  <a:pt x="4775" y="1999"/>
                </a:lnTo>
                <a:lnTo>
                  <a:pt x="4773" y="1998"/>
                </a:lnTo>
                <a:lnTo>
                  <a:pt x="4773" y="1995"/>
                </a:lnTo>
                <a:lnTo>
                  <a:pt x="4773" y="1995"/>
                </a:lnTo>
                <a:lnTo>
                  <a:pt x="4773" y="1996"/>
                </a:lnTo>
                <a:lnTo>
                  <a:pt x="4773" y="1998"/>
                </a:lnTo>
                <a:lnTo>
                  <a:pt x="4773" y="1998"/>
                </a:lnTo>
                <a:lnTo>
                  <a:pt x="4773" y="1999"/>
                </a:lnTo>
                <a:lnTo>
                  <a:pt x="4773" y="2001"/>
                </a:lnTo>
                <a:lnTo>
                  <a:pt x="4773" y="2001"/>
                </a:lnTo>
                <a:close/>
                <a:moveTo>
                  <a:pt x="4696" y="1819"/>
                </a:moveTo>
                <a:lnTo>
                  <a:pt x="4696" y="1817"/>
                </a:lnTo>
                <a:lnTo>
                  <a:pt x="4694" y="1817"/>
                </a:lnTo>
                <a:lnTo>
                  <a:pt x="4695" y="1818"/>
                </a:lnTo>
                <a:lnTo>
                  <a:pt x="4696" y="1819"/>
                </a:lnTo>
                <a:lnTo>
                  <a:pt x="4696" y="1819"/>
                </a:lnTo>
                <a:close/>
                <a:moveTo>
                  <a:pt x="4795" y="2032"/>
                </a:moveTo>
                <a:lnTo>
                  <a:pt x="4797" y="2032"/>
                </a:lnTo>
                <a:lnTo>
                  <a:pt x="4795" y="2030"/>
                </a:lnTo>
                <a:lnTo>
                  <a:pt x="4795" y="2030"/>
                </a:lnTo>
                <a:lnTo>
                  <a:pt x="4795" y="2032"/>
                </a:lnTo>
                <a:close/>
                <a:moveTo>
                  <a:pt x="4675" y="1855"/>
                </a:moveTo>
                <a:lnTo>
                  <a:pt x="4675" y="1853"/>
                </a:lnTo>
                <a:lnTo>
                  <a:pt x="4675" y="1852"/>
                </a:lnTo>
                <a:lnTo>
                  <a:pt x="4675" y="1852"/>
                </a:lnTo>
                <a:lnTo>
                  <a:pt x="4674" y="1853"/>
                </a:lnTo>
                <a:lnTo>
                  <a:pt x="4675" y="1855"/>
                </a:lnTo>
                <a:lnTo>
                  <a:pt x="4675" y="1855"/>
                </a:lnTo>
                <a:close/>
                <a:moveTo>
                  <a:pt x="4675" y="1845"/>
                </a:moveTo>
                <a:lnTo>
                  <a:pt x="4675" y="1846"/>
                </a:lnTo>
                <a:lnTo>
                  <a:pt x="4678" y="1846"/>
                </a:lnTo>
                <a:lnTo>
                  <a:pt x="4677" y="1846"/>
                </a:lnTo>
                <a:lnTo>
                  <a:pt x="4675" y="1845"/>
                </a:lnTo>
                <a:lnTo>
                  <a:pt x="4675" y="1845"/>
                </a:lnTo>
                <a:close/>
                <a:moveTo>
                  <a:pt x="4351" y="1522"/>
                </a:moveTo>
                <a:lnTo>
                  <a:pt x="4351" y="1521"/>
                </a:lnTo>
                <a:lnTo>
                  <a:pt x="4352" y="1520"/>
                </a:lnTo>
                <a:lnTo>
                  <a:pt x="4349" y="1520"/>
                </a:lnTo>
                <a:lnTo>
                  <a:pt x="4351" y="1522"/>
                </a:lnTo>
                <a:close/>
                <a:moveTo>
                  <a:pt x="4560" y="1796"/>
                </a:moveTo>
                <a:lnTo>
                  <a:pt x="4560" y="1796"/>
                </a:lnTo>
                <a:lnTo>
                  <a:pt x="4560" y="1796"/>
                </a:lnTo>
                <a:lnTo>
                  <a:pt x="4560" y="1796"/>
                </a:lnTo>
                <a:lnTo>
                  <a:pt x="4560" y="1796"/>
                </a:lnTo>
                <a:close/>
                <a:moveTo>
                  <a:pt x="4538" y="1781"/>
                </a:moveTo>
                <a:lnTo>
                  <a:pt x="4538" y="1781"/>
                </a:lnTo>
                <a:lnTo>
                  <a:pt x="4538" y="1779"/>
                </a:lnTo>
                <a:lnTo>
                  <a:pt x="4538" y="1775"/>
                </a:lnTo>
                <a:lnTo>
                  <a:pt x="4538" y="1775"/>
                </a:lnTo>
                <a:lnTo>
                  <a:pt x="4538" y="1778"/>
                </a:lnTo>
                <a:lnTo>
                  <a:pt x="4538" y="1781"/>
                </a:lnTo>
                <a:close/>
                <a:moveTo>
                  <a:pt x="4547" y="1752"/>
                </a:moveTo>
                <a:lnTo>
                  <a:pt x="4547" y="1755"/>
                </a:lnTo>
                <a:lnTo>
                  <a:pt x="4549" y="1756"/>
                </a:lnTo>
                <a:lnTo>
                  <a:pt x="4552" y="1756"/>
                </a:lnTo>
                <a:lnTo>
                  <a:pt x="4549" y="1754"/>
                </a:lnTo>
                <a:lnTo>
                  <a:pt x="4547" y="1752"/>
                </a:lnTo>
                <a:lnTo>
                  <a:pt x="4547" y="1752"/>
                </a:lnTo>
                <a:close/>
                <a:moveTo>
                  <a:pt x="4567" y="1792"/>
                </a:moveTo>
                <a:lnTo>
                  <a:pt x="4567" y="1789"/>
                </a:lnTo>
                <a:lnTo>
                  <a:pt x="4566" y="1787"/>
                </a:lnTo>
                <a:lnTo>
                  <a:pt x="4566" y="1787"/>
                </a:lnTo>
                <a:lnTo>
                  <a:pt x="4566" y="1787"/>
                </a:lnTo>
                <a:lnTo>
                  <a:pt x="4566" y="1787"/>
                </a:lnTo>
                <a:lnTo>
                  <a:pt x="4566" y="1792"/>
                </a:lnTo>
                <a:lnTo>
                  <a:pt x="4567" y="1792"/>
                </a:lnTo>
                <a:close/>
                <a:moveTo>
                  <a:pt x="4526" y="1797"/>
                </a:moveTo>
                <a:lnTo>
                  <a:pt x="4525" y="1797"/>
                </a:lnTo>
                <a:lnTo>
                  <a:pt x="4527" y="1801"/>
                </a:lnTo>
                <a:lnTo>
                  <a:pt x="4527" y="1799"/>
                </a:lnTo>
                <a:lnTo>
                  <a:pt x="4526" y="1797"/>
                </a:lnTo>
                <a:close/>
                <a:moveTo>
                  <a:pt x="4497" y="1171"/>
                </a:moveTo>
                <a:lnTo>
                  <a:pt x="4496" y="1169"/>
                </a:lnTo>
                <a:lnTo>
                  <a:pt x="4496" y="1169"/>
                </a:lnTo>
                <a:lnTo>
                  <a:pt x="4496" y="1172"/>
                </a:lnTo>
                <a:lnTo>
                  <a:pt x="4499" y="1172"/>
                </a:lnTo>
                <a:lnTo>
                  <a:pt x="4497" y="1171"/>
                </a:lnTo>
                <a:close/>
                <a:moveTo>
                  <a:pt x="4519" y="1869"/>
                </a:moveTo>
                <a:lnTo>
                  <a:pt x="4522" y="1865"/>
                </a:lnTo>
                <a:lnTo>
                  <a:pt x="4517" y="1861"/>
                </a:lnTo>
                <a:lnTo>
                  <a:pt x="4517" y="1861"/>
                </a:lnTo>
                <a:lnTo>
                  <a:pt x="4515" y="1861"/>
                </a:lnTo>
                <a:lnTo>
                  <a:pt x="4515" y="1861"/>
                </a:lnTo>
                <a:lnTo>
                  <a:pt x="4514" y="1861"/>
                </a:lnTo>
                <a:lnTo>
                  <a:pt x="4514" y="1861"/>
                </a:lnTo>
                <a:lnTo>
                  <a:pt x="4514" y="1861"/>
                </a:lnTo>
                <a:lnTo>
                  <a:pt x="4508" y="1865"/>
                </a:lnTo>
                <a:lnTo>
                  <a:pt x="4507" y="1863"/>
                </a:lnTo>
                <a:lnTo>
                  <a:pt x="4505" y="1861"/>
                </a:lnTo>
                <a:lnTo>
                  <a:pt x="4506" y="1868"/>
                </a:lnTo>
                <a:lnTo>
                  <a:pt x="4505" y="1865"/>
                </a:lnTo>
                <a:lnTo>
                  <a:pt x="4502" y="1865"/>
                </a:lnTo>
                <a:lnTo>
                  <a:pt x="4502" y="1869"/>
                </a:lnTo>
                <a:lnTo>
                  <a:pt x="4501" y="1869"/>
                </a:lnTo>
                <a:lnTo>
                  <a:pt x="4500" y="1870"/>
                </a:lnTo>
                <a:lnTo>
                  <a:pt x="4506" y="1872"/>
                </a:lnTo>
                <a:lnTo>
                  <a:pt x="4507" y="1870"/>
                </a:lnTo>
                <a:lnTo>
                  <a:pt x="4509" y="1869"/>
                </a:lnTo>
                <a:lnTo>
                  <a:pt x="4507" y="1868"/>
                </a:lnTo>
                <a:lnTo>
                  <a:pt x="4506" y="1867"/>
                </a:lnTo>
                <a:lnTo>
                  <a:pt x="4515" y="1872"/>
                </a:lnTo>
                <a:lnTo>
                  <a:pt x="4519" y="1869"/>
                </a:lnTo>
                <a:close/>
                <a:moveTo>
                  <a:pt x="4505" y="1861"/>
                </a:moveTo>
                <a:lnTo>
                  <a:pt x="4505" y="1861"/>
                </a:lnTo>
                <a:lnTo>
                  <a:pt x="4505" y="1861"/>
                </a:lnTo>
                <a:lnTo>
                  <a:pt x="4505" y="1861"/>
                </a:lnTo>
                <a:lnTo>
                  <a:pt x="4505" y="1861"/>
                </a:lnTo>
                <a:close/>
                <a:moveTo>
                  <a:pt x="4542" y="1781"/>
                </a:moveTo>
                <a:lnTo>
                  <a:pt x="4542" y="1781"/>
                </a:lnTo>
                <a:lnTo>
                  <a:pt x="4545" y="1775"/>
                </a:lnTo>
                <a:lnTo>
                  <a:pt x="4545" y="1774"/>
                </a:lnTo>
                <a:lnTo>
                  <a:pt x="4545" y="1772"/>
                </a:lnTo>
                <a:lnTo>
                  <a:pt x="4544" y="1772"/>
                </a:lnTo>
                <a:lnTo>
                  <a:pt x="4542" y="1780"/>
                </a:lnTo>
                <a:lnTo>
                  <a:pt x="4542" y="1781"/>
                </a:lnTo>
                <a:close/>
                <a:moveTo>
                  <a:pt x="4560" y="1787"/>
                </a:moveTo>
                <a:lnTo>
                  <a:pt x="4560" y="1787"/>
                </a:lnTo>
                <a:lnTo>
                  <a:pt x="4560" y="1787"/>
                </a:lnTo>
                <a:lnTo>
                  <a:pt x="4560" y="1787"/>
                </a:lnTo>
                <a:close/>
                <a:moveTo>
                  <a:pt x="4559" y="1785"/>
                </a:moveTo>
                <a:lnTo>
                  <a:pt x="4559" y="1784"/>
                </a:lnTo>
                <a:lnTo>
                  <a:pt x="4558" y="1785"/>
                </a:lnTo>
                <a:lnTo>
                  <a:pt x="4558" y="1792"/>
                </a:lnTo>
                <a:lnTo>
                  <a:pt x="4559" y="1794"/>
                </a:lnTo>
                <a:lnTo>
                  <a:pt x="4560" y="1796"/>
                </a:lnTo>
                <a:lnTo>
                  <a:pt x="4562" y="1793"/>
                </a:lnTo>
                <a:lnTo>
                  <a:pt x="4564" y="1790"/>
                </a:lnTo>
                <a:lnTo>
                  <a:pt x="4561" y="1788"/>
                </a:lnTo>
                <a:lnTo>
                  <a:pt x="4560" y="1787"/>
                </a:lnTo>
                <a:lnTo>
                  <a:pt x="4560" y="1787"/>
                </a:lnTo>
                <a:lnTo>
                  <a:pt x="4559" y="1785"/>
                </a:lnTo>
                <a:close/>
                <a:moveTo>
                  <a:pt x="4566" y="1787"/>
                </a:moveTo>
                <a:lnTo>
                  <a:pt x="4566" y="1787"/>
                </a:lnTo>
                <a:lnTo>
                  <a:pt x="4566" y="1787"/>
                </a:lnTo>
                <a:lnTo>
                  <a:pt x="4566" y="1787"/>
                </a:lnTo>
                <a:lnTo>
                  <a:pt x="4566" y="1787"/>
                </a:lnTo>
                <a:close/>
                <a:moveTo>
                  <a:pt x="4558" y="1784"/>
                </a:moveTo>
                <a:lnTo>
                  <a:pt x="4559" y="1784"/>
                </a:lnTo>
                <a:lnTo>
                  <a:pt x="4559" y="1784"/>
                </a:lnTo>
                <a:lnTo>
                  <a:pt x="4558" y="1784"/>
                </a:lnTo>
                <a:close/>
                <a:moveTo>
                  <a:pt x="4566" y="1786"/>
                </a:moveTo>
                <a:lnTo>
                  <a:pt x="4566" y="1786"/>
                </a:lnTo>
                <a:lnTo>
                  <a:pt x="4566" y="1784"/>
                </a:lnTo>
                <a:lnTo>
                  <a:pt x="4566" y="1784"/>
                </a:lnTo>
                <a:lnTo>
                  <a:pt x="4566" y="1783"/>
                </a:lnTo>
                <a:lnTo>
                  <a:pt x="4566" y="1782"/>
                </a:lnTo>
                <a:lnTo>
                  <a:pt x="4566" y="1779"/>
                </a:lnTo>
                <a:lnTo>
                  <a:pt x="4566" y="1778"/>
                </a:lnTo>
                <a:lnTo>
                  <a:pt x="4566" y="1776"/>
                </a:lnTo>
                <a:lnTo>
                  <a:pt x="4565" y="1776"/>
                </a:lnTo>
                <a:lnTo>
                  <a:pt x="4562" y="1781"/>
                </a:lnTo>
                <a:lnTo>
                  <a:pt x="4562" y="1781"/>
                </a:lnTo>
                <a:lnTo>
                  <a:pt x="4561" y="1783"/>
                </a:lnTo>
                <a:lnTo>
                  <a:pt x="4560" y="1783"/>
                </a:lnTo>
                <a:lnTo>
                  <a:pt x="4558" y="1782"/>
                </a:lnTo>
                <a:lnTo>
                  <a:pt x="4560" y="1784"/>
                </a:lnTo>
                <a:lnTo>
                  <a:pt x="4561" y="1784"/>
                </a:lnTo>
                <a:lnTo>
                  <a:pt x="4561" y="1784"/>
                </a:lnTo>
                <a:lnTo>
                  <a:pt x="4566" y="1787"/>
                </a:lnTo>
                <a:lnTo>
                  <a:pt x="4566" y="1787"/>
                </a:lnTo>
                <a:lnTo>
                  <a:pt x="4566" y="1786"/>
                </a:lnTo>
                <a:close/>
                <a:moveTo>
                  <a:pt x="4561" y="1786"/>
                </a:moveTo>
                <a:lnTo>
                  <a:pt x="4560" y="1787"/>
                </a:lnTo>
                <a:lnTo>
                  <a:pt x="4561" y="1787"/>
                </a:lnTo>
                <a:lnTo>
                  <a:pt x="4564" y="1789"/>
                </a:lnTo>
                <a:lnTo>
                  <a:pt x="4566" y="1787"/>
                </a:lnTo>
                <a:lnTo>
                  <a:pt x="4562" y="1786"/>
                </a:lnTo>
                <a:lnTo>
                  <a:pt x="4561" y="1786"/>
                </a:lnTo>
                <a:close/>
                <a:moveTo>
                  <a:pt x="4562" y="1780"/>
                </a:moveTo>
                <a:lnTo>
                  <a:pt x="4562" y="1781"/>
                </a:lnTo>
                <a:lnTo>
                  <a:pt x="4562" y="1780"/>
                </a:lnTo>
                <a:lnTo>
                  <a:pt x="4562" y="1780"/>
                </a:lnTo>
                <a:close/>
                <a:moveTo>
                  <a:pt x="4523" y="1797"/>
                </a:moveTo>
                <a:lnTo>
                  <a:pt x="4516" y="1804"/>
                </a:lnTo>
                <a:lnTo>
                  <a:pt x="4514" y="1809"/>
                </a:lnTo>
                <a:lnTo>
                  <a:pt x="4514" y="1812"/>
                </a:lnTo>
                <a:lnTo>
                  <a:pt x="4514" y="1812"/>
                </a:lnTo>
                <a:lnTo>
                  <a:pt x="4511" y="1816"/>
                </a:lnTo>
                <a:lnTo>
                  <a:pt x="4514" y="1815"/>
                </a:lnTo>
                <a:lnTo>
                  <a:pt x="4514" y="1816"/>
                </a:lnTo>
                <a:lnTo>
                  <a:pt x="4518" y="1816"/>
                </a:lnTo>
                <a:lnTo>
                  <a:pt x="4519" y="1812"/>
                </a:lnTo>
                <a:lnTo>
                  <a:pt x="4519" y="1809"/>
                </a:lnTo>
                <a:lnTo>
                  <a:pt x="4522" y="1805"/>
                </a:lnTo>
                <a:lnTo>
                  <a:pt x="4522" y="1801"/>
                </a:lnTo>
                <a:lnTo>
                  <a:pt x="4525" y="1798"/>
                </a:lnTo>
                <a:lnTo>
                  <a:pt x="4523" y="1797"/>
                </a:lnTo>
                <a:close/>
                <a:moveTo>
                  <a:pt x="4832" y="1764"/>
                </a:moveTo>
                <a:lnTo>
                  <a:pt x="4832" y="1764"/>
                </a:lnTo>
                <a:lnTo>
                  <a:pt x="4832" y="1764"/>
                </a:lnTo>
                <a:lnTo>
                  <a:pt x="4832" y="1764"/>
                </a:lnTo>
                <a:lnTo>
                  <a:pt x="4832" y="1764"/>
                </a:lnTo>
                <a:close/>
                <a:moveTo>
                  <a:pt x="4806" y="1740"/>
                </a:moveTo>
                <a:lnTo>
                  <a:pt x="4817" y="1748"/>
                </a:lnTo>
                <a:lnTo>
                  <a:pt x="4820" y="1748"/>
                </a:lnTo>
                <a:lnTo>
                  <a:pt x="4822" y="1749"/>
                </a:lnTo>
                <a:lnTo>
                  <a:pt x="4824" y="1750"/>
                </a:lnTo>
                <a:lnTo>
                  <a:pt x="4826" y="1754"/>
                </a:lnTo>
                <a:lnTo>
                  <a:pt x="4827" y="1757"/>
                </a:lnTo>
                <a:lnTo>
                  <a:pt x="4827" y="1760"/>
                </a:lnTo>
                <a:lnTo>
                  <a:pt x="4830" y="1764"/>
                </a:lnTo>
                <a:lnTo>
                  <a:pt x="4831" y="1764"/>
                </a:lnTo>
                <a:lnTo>
                  <a:pt x="4832" y="1764"/>
                </a:lnTo>
                <a:lnTo>
                  <a:pt x="4834" y="1761"/>
                </a:lnTo>
                <a:lnTo>
                  <a:pt x="4834" y="1760"/>
                </a:lnTo>
                <a:lnTo>
                  <a:pt x="4833" y="1760"/>
                </a:lnTo>
                <a:lnTo>
                  <a:pt x="4834" y="1759"/>
                </a:lnTo>
                <a:lnTo>
                  <a:pt x="4834" y="1757"/>
                </a:lnTo>
                <a:lnTo>
                  <a:pt x="4831" y="1755"/>
                </a:lnTo>
                <a:lnTo>
                  <a:pt x="4828" y="1753"/>
                </a:lnTo>
                <a:lnTo>
                  <a:pt x="4824" y="1748"/>
                </a:lnTo>
                <a:lnTo>
                  <a:pt x="4819" y="1744"/>
                </a:lnTo>
                <a:lnTo>
                  <a:pt x="4816" y="1744"/>
                </a:lnTo>
                <a:lnTo>
                  <a:pt x="4803" y="1732"/>
                </a:lnTo>
                <a:lnTo>
                  <a:pt x="4803" y="1732"/>
                </a:lnTo>
                <a:lnTo>
                  <a:pt x="4803" y="1732"/>
                </a:lnTo>
                <a:lnTo>
                  <a:pt x="4803" y="1736"/>
                </a:lnTo>
                <a:lnTo>
                  <a:pt x="4799" y="1740"/>
                </a:lnTo>
                <a:lnTo>
                  <a:pt x="4806" y="1740"/>
                </a:lnTo>
                <a:close/>
                <a:moveTo>
                  <a:pt x="4774" y="1776"/>
                </a:moveTo>
                <a:lnTo>
                  <a:pt x="4766" y="1776"/>
                </a:lnTo>
                <a:lnTo>
                  <a:pt x="4765" y="1777"/>
                </a:lnTo>
                <a:lnTo>
                  <a:pt x="4765" y="1777"/>
                </a:lnTo>
                <a:lnTo>
                  <a:pt x="4765" y="1778"/>
                </a:lnTo>
                <a:lnTo>
                  <a:pt x="4766" y="1779"/>
                </a:lnTo>
                <a:lnTo>
                  <a:pt x="4771" y="1780"/>
                </a:lnTo>
                <a:lnTo>
                  <a:pt x="4775" y="1784"/>
                </a:lnTo>
                <a:lnTo>
                  <a:pt x="4775" y="1786"/>
                </a:lnTo>
                <a:lnTo>
                  <a:pt x="4778" y="1785"/>
                </a:lnTo>
                <a:lnTo>
                  <a:pt x="4780" y="1784"/>
                </a:lnTo>
                <a:lnTo>
                  <a:pt x="4782" y="1786"/>
                </a:lnTo>
                <a:lnTo>
                  <a:pt x="4784" y="1788"/>
                </a:lnTo>
                <a:lnTo>
                  <a:pt x="4795" y="1788"/>
                </a:lnTo>
                <a:lnTo>
                  <a:pt x="4799" y="1785"/>
                </a:lnTo>
                <a:lnTo>
                  <a:pt x="4810" y="1779"/>
                </a:lnTo>
                <a:lnTo>
                  <a:pt x="4810" y="1778"/>
                </a:lnTo>
                <a:lnTo>
                  <a:pt x="4811" y="1776"/>
                </a:lnTo>
                <a:lnTo>
                  <a:pt x="4814" y="1777"/>
                </a:lnTo>
                <a:lnTo>
                  <a:pt x="4816" y="1777"/>
                </a:lnTo>
                <a:lnTo>
                  <a:pt x="4818" y="1776"/>
                </a:lnTo>
                <a:lnTo>
                  <a:pt x="4819" y="1775"/>
                </a:lnTo>
                <a:lnTo>
                  <a:pt x="4819" y="1772"/>
                </a:lnTo>
                <a:lnTo>
                  <a:pt x="4819" y="1772"/>
                </a:lnTo>
                <a:lnTo>
                  <a:pt x="4819" y="1772"/>
                </a:lnTo>
                <a:lnTo>
                  <a:pt x="4821" y="1772"/>
                </a:lnTo>
                <a:lnTo>
                  <a:pt x="4823" y="1768"/>
                </a:lnTo>
                <a:lnTo>
                  <a:pt x="4825" y="1765"/>
                </a:lnTo>
                <a:lnTo>
                  <a:pt x="4824" y="1762"/>
                </a:lnTo>
                <a:lnTo>
                  <a:pt x="4824" y="1760"/>
                </a:lnTo>
                <a:lnTo>
                  <a:pt x="4820" y="1760"/>
                </a:lnTo>
                <a:lnTo>
                  <a:pt x="4822" y="1759"/>
                </a:lnTo>
                <a:lnTo>
                  <a:pt x="4823" y="1757"/>
                </a:lnTo>
                <a:lnTo>
                  <a:pt x="4820" y="1760"/>
                </a:lnTo>
                <a:lnTo>
                  <a:pt x="4816" y="1760"/>
                </a:lnTo>
                <a:lnTo>
                  <a:pt x="4811" y="1760"/>
                </a:lnTo>
                <a:lnTo>
                  <a:pt x="4812" y="1763"/>
                </a:lnTo>
                <a:lnTo>
                  <a:pt x="4814" y="1767"/>
                </a:lnTo>
                <a:lnTo>
                  <a:pt x="4811" y="1768"/>
                </a:lnTo>
                <a:lnTo>
                  <a:pt x="4808" y="1769"/>
                </a:lnTo>
                <a:lnTo>
                  <a:pt x="4805" y="1774"/>
                </a:lnTo>
                <a:lnTo>
                  <a:pt x="4802" y="1780"/>
                </a:lnTo>
                <a:lnTo>
                  <a:pt x="4798" y="1780"/>
                </a:lnTo>
                <a:lnTo>
                  <a:pt x="4797" y="1778"/>
                </a:lnTo>
                <a:lnTo>
                  <a:pt x="4796" y="1778"/>
                </a:lnTo>
                <a:lnTo>
                  <a:pt x="4794" y="1780"/>
                </a:lnTo>
                <a:lnTo>
                  <a:pt x="4792" y="1780"/>
                </a:lnTo>
                <a:lnTo>
                  <a:pt x="4789" y="1776"/>
                </a:lnTo>
                <a:lnTo>
                  <a:pt x="4787" y="1772"/>
                </a:lnTo>
                <a:lnTo>
                  <a:pt x="4787" y="1775"/>
                </a:lnTo>
                <a:lnTo>
                  <a:pt x="4787" y="1776"/>
                </a:lnTo>
                <a:lnTo>
                  <a:pt x="4783" y="1777"/>
                </a:lnTo>
                <a:lnTo>
                  <a:pt x="4779" y="1778"/>
                </a:lnTo>
                <a:lnTo>
                  <a:pt x="4774" y="1776"/>
                </a:lnTo>
                <a:close/>
                <a:moveTo>
                  <a:pt x="4792" y="1770"/>
                </a:moveTo>
                <a:lnTo>
                  <a:pt x="4790" y="1769"/>
                </a:lnTo>
                <a:lnTo>
                  <a:pt x="4788" y="1772"/>
                </a:lnTo>
                <a:lnTo>
                  <a:pt x="4794" y="1772"/>
                </a:lnTo>
                <a:lnTo>
                  <a:pt x="4792" y="1770"/>
                </a:lnTo>
                <a:close/>
                <a:moveTo>
                  <a:pt x="4823" y="1757"/>
                </a:moveTo>
                <a:lnTo>
                  <a:pt x="4823" y="1757"/>
                </a:lnTo>
                <a:lnTo>
                  <a:pt x="4823" y="1757"/>
                </a:lnTo>
                <a:lnTo>
                  <a:pt x="4823" y="1757"/>
                </a:lnTo>
                <a:lnTo>
                  <a:pt x="4823" y="1757"/>
                </a:lnTo>
                <a:close/>
                <a:moveTo>
                  <a:pt x="4821" y="937"/>
                </a:moveTo>
                <a:lnTo>
                  <a:pt x="4822" y="934"/>
                </a:lnTo>
                <a:lnTo>
                  <a:pt x="4818" y="937"/>
                </a:lnTo>
                <a:lnTo>
                  <a:pt x="4814" y="941"/>
                </a:lnTo>
                <a:lnTo>
                  <a:pt x="4820" y="940"/>
                </a:lnTo>
                <a:lnTo>
                  <a:pt x="4821" y="937"/>
                </a:lnTo>
                <a:close/>
                <a:moveTo>
                  <a:pt x="4828" y="1743"/>
                </a:moveTo>
                <a:lnTo>
                  <a:pt x="4828" y="1739"/>
                </a:lnTo>
                <a:lnTo>
                  <a:pt x="4828" y="1739"/>
                </a:lnTo>
                <a:lnTo>
                  <a:pt x="4827" y="1740"/>
                </a:lnTo>
                <a:lnTo>
                  <a:pt x="4827" y="1741"/>
                </a:lnTo>
                <a:lnTo>
                  <a:pt x="4827" y="1742"/>
                </a:lnTo>
                <a:lnTo>
                  <a:pt x="4828" y="1743"/>
                </a:lnTo>
                <a:lnTo>
                  <a:pt x="4828" y="1743"/>
                </a:lnTo>
                <a:close/>
                <a:moveTo>
                  <a:pt x="4817" y="1734"/>
                </a:moveTo>
                <a:lnTo>
                  <a:pt x="4817" y="1736"/>
                </a:lnTo>
                <a:lnTo>
                  <a:pt x="4819" y="1736"/>
                </a:lnTo>
                <a:lnTo>
                  <a:pt x="4818" y="1735"/>
                </a:lnTo>
                <a:lnTo>
                  <a:pt x="4817" y="1734"/>
                </a:lnTo>
                <a:lnTo>
                  <a:pt x="4817" y="1734"/>
                </a:lnTo>
                <a:close/>
                <a:moveTo>
                  <a:pt x="4787" y="1772"/>
                </a:moveTo>
                <a:lnTo>
                  <a:pt x="4787" y="1772"/>
                </a:lnTo>
                <a:lnTo>
                  <a:pt x="4788" y="1772"/>
                </a:lnTo>
                <a:lnTo>
                  <a:pt x="4787" y="1772"/>
                </a:lnTo>
                <a:close/>
                <a:moveTo>
                  <a:pt x="4825" y="1829"/>
                </a:moveTo>
                <a:lnTo>
                  <a:pt x="4831" y="1831"/>
                </a:lnTo>
                <a:lnTo>
                  <a:pt x="4833" y="1830"/>
                </a:lnTo>
                <a:lnTo>
                  <a:pt x="4831" y="1826"/>
                </a:lnTo>
                <a:lnTo>
                  <a:pt x="4825" y="1829"/>
                </a:lnTo>
                <a:close/>
                <a:moveTo>
                  <a:pt x="4692" y="1029"/>
                </a:moveTo>
                <a:lnTo>
                  <a:pt x="4692" y="1029"/>
                </a:lnTo>
                <a:lnTo>
                  <a:pt x="4692" y="1029"/>
                </a:lnTo>
                <a:lnTo>
                  <a:pt x="4692" y="1029"/>
                </a:lnTo>
                <a:lnTo>
                  <a:pt x="4692" y="1029"/>
                </a:lnTo>
                <a:close/>
                <a:moveTo>
                  <a:pt x="4527" y="1009"/>
                </a:moveTo>
                <a:lnTo>
                  <a:pt x="4526" y="1011"/>
                </a:lnTo>
                <a:lnTo>
                  <a:pt x="4527" y="1011"/>
                </a:lnTo>
                <a:lnTo>
                  <a:pt x="4527" y="1009"/>
                </a:lnTo>
                <a:lnTo>
                  <a:pt x="4527" y="1009"/>
                </a:lnTo>
                <a:close/>
                <a:moveTo>
                  <a:pt x="4743" y="985"/>
                </a:moveTo>
                <a:lnTo>
                  <a:pt x="4744" y="985"/>
                </a:lnTo>
                <a:lnTo>
                  <a:pt x="4749" y="982"/>
                </a:lnTo>
                <a:lnTo>
                  <a:pt x="4755" y="980"/>
                </a:lnTo>
                <a:lnTo>
                  <a:pt x="4755" y="977"/>
                </a:lnTo>
                <a:lnTo>
                  <a:pt x="4757" y="977"/>
                </a:lnTo>
                <a:lnTo>
                  <a:pt x="4761" y="975"/>
                </a:lnTo>
                <a:lnTo>
                  <a:pt x="4765" y="973"/>
                </a:lnTo>
                <a:lnTo>
                  <a:pt x="4762" y="973"/>
                </a:lnTo>
                <a:lnTo>
                  <a:pt x="4762" y="970"/>
                </a:lnTo>
                <a:lnTo>
                  <a:pt x="4760" y="968"/>
                </a:lnTo>
                <a:lnTo>
                  <a:pt x="4755" y="968"/>
                </a:lnTo>
                <a:lnTo>
                  <a:pt x="4755" y="970"/>
                </a:lnTo>
                <a:lnTo>
                  <a:pt x="4751" y="974"/>
                </a:lnTo>
                <a:lnTo>
                  <a:pt x="4747" y="979"/>
                </a:lnTo>
                <a:lnTo>
                  <a:pt x="4749" y="980"/>
                </a:lnTo>
                <a:lnTo>
                  <a:pt x="4743" y="983"/>
                </a:lnTo>
                <a:lnTo>
                  <a:pt x="4743" y="985"/>
                </a:lnTo>
                <a:close/>
                <a:moveTo>
                  <a:pt x="4651" y="1011"/>
                </a:moveTo>
                <a:lnTo>
                  <a:pt x="4646" y="1013"/>
                </a:lnTo>
                <a:lnTo>
                  <a:pt x="4642" y="1014"/>
                </a:lnTo>
                <a:lnTo>
                  <a:pt x="4642" y="1022"/>
                </a:lnTo>
                <a:lnTo>
                  <a:pt x="4646" y="1025"/>
                </a:lnTo>
                <a:lnTo>
                  <a:pt x="4646" y="1033"/>
                </a:lnTo>
                <a:lnTo>
                  <a:pt x="4646" y="1037"/>
                </a:lnTo>
                <a:lnTo>
                  <a:pt x="4650" y="1037"/>
                </a:lnTo>
                <a:lnTo>
                  <a:pt x="4650" y="1036"/>
                </a:lnTo>
                <a:lnTo>
                  <a:pt x="4650" y="1034"/>
                </a:lnTo>
                <a:lnTo>
                  <a:pt x="4650" y="1032"/>
                </a:lnTo>
                <a:lnTo>
                  <a:pt x="4653" y="1031"/>
                </a:lnTo>
                <a:lnTo>
                  <a:pt x="4655" y="1029"/>
                </a:lnTo>
                <a:lnTo>
                  <a:pt x="4658" y="1031"/>
                </a:lnTo>
                <a:lnTo>
                  <a:pt x="4660" y="1032"/>
                </a:lnTo>
                <a:lnTo>
                  <a:pt x="4662" y="1031"/>
                </a:lnTo>
                <a:lnTo>
                  <a:pt x="4663" y="1030"/>
                </a:lnTo>
                <a:lnTo>
                  <a:pt x="4656" y="1025"/>
                </a:lnTo>
                <a:lnTo>
                  <a:pt x="4654" y="1025"/>
                </a:lnTo>
                <a:lnTo>
                  <a:pt x="4650" y="1022"/>
                </a:lnTo>
                <a:lnTo>
                  <a:pt x="4650" y="1020"/>
                </a:lnTo>
                <a:lnTo>
                  <a:pt x="4651" y="1018"/>
                </a:lnTo>
                <a:lnTo>
                  <a:pt x="4652" y="1017"/>
                </a:lnTo>
                <a:lnTo>
                  <a:pt x="4658" y="1017"/>
                </a:lnTo>
                <a:lnTo>
                  <a:pt x="4662" y="1021"/>
                </a:lnTo>
                <a:lnTo>
                  <a:pt x="4662" y="1021"/>
                </a:lnTo>
                <a:lnTo>
                  <a:pt x="4662" y="1021"/>
                </a:lnTo>
                <a:lnTo>
                  <a:pt x="4664" y="1019"/>
                </a:lnTo>
                <a:lnTo>
                  <a:pt x="4667" y="1017"/>
                </a:lnTo>
                <a:lnTo>
                  <a:pt x="4669" y="1015"/>
                </a:lnTo>
                <a:lnTo>
                  <a:pt x="4672" y="1014"/>
                </a:lnTo>
                <a:lnTo>
                  <a:pt x="4682" y="1022"/>
                </a:lnTo>
                <a:lnTo>
                  <a:pt x="4692" y="1029"/>
                </a:lnTo>
                <a:lnTo>
                  <a:pt x="4696" y="1018"/>
                </a:lnTo>
                <a:lnTo>
                  <a:pt x="4699" y="1014"/>
                </a:lnTo>
                <a:lnTo>
                  <a:pt x="4703" y="1009"/>
                </a:lnTo>
                <a:lnTo>
                  <a:pt x="4708" y="1007"/>
                </a:lnTo>
                <a:lnTo>
                  <a:pt x="4710" y="1008"/>
                </a:lnTo>
                <a:lnTo>
                  <a:pt x="4713" y="1009"/>
                </a:lnTo>
                <a:lnTo>
                  <a:pt x="4715" y="1006"/>
                </a:lnTo>
                <a:lnTo>
                  <a:pt x="4716" y="1007"/>
                </a:lnTo>
                <a:lnTo>
                  <a:pt x="4718" y="1007"/>
                </a:lnTo>
                <a:lnTo>
                  <a:pt x="4719" y="1008"/>
                </a:lnTo>
                <a:lnTo>
                  <a:pt x="4721" y="1009"/>
                </a:lnTo>
                <a:lnTo>
                  <a:pt x="4725" y="1009"/>
                </a:lnTo>
                <a:lnTo>
                  <a:pt x="4728" y="1003"/>
                </a:lnTo>
                <a:lnTo>
                  <a:pt x="4725" y="1003"/>
                </a:lnTo>
                <a:lnTo>
                  <a:pt x="4722" y="1002"/>
                </a:lnTo>
                <a:lnTo>
                  <a:pt x="4721" y="996"/>
                </a:lnTo>
                <a:lnTo>
                  <a:pt x="4719" y="993"/>
                </a:lnTo>
                <a:lnTo>
                  <a:pt x="4721" y="989"/>
                </a:lnTo>
                <a:lnTo>
                  <a:pt x="4724" y="985"/>
                </a:lnTo>
                <a:lnTo>
                  <a:pt x="4723" y="984"/>
                </a:lnTo>
                <a:lnTo>
                  <a:pt x="4722" y="983"/>
                </a:lnTo>
                <a:lnTo>
                  <a:pt x="4722" y="983"/>
                </a:lnTo>
                <a:lnTo>
                  <a:pt x="4722" y="983"/>
                </a:lnTo>
                <a:lnTo>
                  <a:pt x="4715" y="991"/>
                </a:lnTo>
                <a:lnTo>
                  <a:pt x="4711" y="991"/>
                </a:lnTo>
                <a:lnTo>
                  <a:pt x="4708" y="990"/>
                </a:lnTo>
                <a:lnTo>
                  <a:pt x="4707" y="990"/>
                </a:lnTo>
                <a:lnTo>
                  <a:pt x="4706" y="989"/>
                </a:lnTo>
                <a:lnTo>
                  <a:pt x="4699" y="989"/>
                </a:lnTo>
                <a:lnTo>
                  <a:pt x="4699" y="985"/>
                </a:lnTo>
                <a:lnTo>
                  <a:pt x="4695" y="983"/>
                </a:lnTo>
                <a:lnTo>
                  <a:pt x="4691" y="980"/>
                </a:lnTo>
                <a:lnTo>
                  <a:pt x="4674" y="961"/>
                </a:lnTo>
                <a:lnTo>
                  <a:pt x="4672" y="962"/>
                </a:lnTo>
                <a:lnTo>
                  <a:pt x="4670" y="964"/>
                </a:lnTo>
                <a:lnTo>
                  <a:pt x="4669" y="966"/>
                </a:lnTo>
                <a:lnTo>
                  <a:pt x="4670" y="972"/>
                </a:lnTo>
                <a:lnTo>
                  <a:pt x="4672" y="978"/>
                </a:lnTo>
                <a:lnTo>
                  <a:pt x="4669" y="981"/>
                </a:lnTo>
                <a:lnTo>
                  <a:pt x="4666" y="985"/>
                </a:lnTo>
                <a:lnTo>
                  <a:pt x="4666" y="990"/>
                </a:lnTo>
                <a:lnTo>
                  <a:pt x="4666" y="993"/>
                </a:lnTo>
                <a:lnTo>
                  <a:pt x="4664" y="995"/>
                </a:lnTo>
                <a:lnTo>
                  <a:pt x="4665" y="998"/>
                </a:lnTo>
                <a:lnTo>
                  <a:pt x="4666" y="1003"/>
                </a:lnTo>
                <a:lnTo>
                  <a:pt x="4662" y="1009"/>
                </a:lnTo>
                <a:lnTo>
                  <a:pt x="4658" y="1009"/>
                </a:lnTo>
                <a:lnTo>
                  <a:pt x="4652" y="1003"/>
                </a:lnTo>
                <a:lnTo>
                  <a:pt x="4651" y="1003"/>
                </a:lnTo>
                <a:lnTo>
                  <a:pt x="4652" y="1005"/>
                </a:lnTo>
                <a:lnTo>
                  <a:pt x="4654" y="1008"/>
                </a:lnTo>
                <a:lnTo>
                  <a:pt x="4652" y="1009"/>
                </a:lnTo>
                <a:lnTo>
                  <a:pt x="4651" y="1011"/>
                </a:lnTo>
                <a:close/>
                <a:moveTo>
                  <a:pt x="4785" y="1719"/>
                </a:moveTo>
                <a:lnTo>
                  <a:pt x="4787" y="1719"/>
                </a:lnTo>
                <a:lnTo>
                  <a:pt x="4786" y="1718"/>
                </a:lnTo>
                <a:lnTo>
                  <a:pt x="4785" y="1717"/>
                </a:lnTo>
                <a:lnTo>
                  <a:pt x="4785" y="1717"/>
                </a:lnTo>
                <a:lnTo>
                  <a:pt x="4784" y="1716"/>
                </a:lnTo>
                <a:lnTo>
                  <a:pt x="4784" y="1717"/>
                </a:lnTo>
                <a:lnTo>
                  <a:pt x="4783" y="1717"/>
                </a:lnTo>
                <a:lnTo>
                  <a:pt x="4785" y="1719"/>
                </a:lnTo>
                <a:close/>
                <a:moveTo>
                  <a:pt x="4792" y="954"/>
                </a:moveTo>
                <a:lnTo>
                  <a:pt x="4789" y="956"/>
                </a:lnTo>
                <a:lnTo>
                  <a:pt x="4787" y="958"/>
                </a:lnTo>
                <a:lnTo>
                  <a:pt x="4786" y="959"/>
                </a:lnTo>
                <a:lnTo>
                  <a:pt x="4783" y="964"/>
                </a:lnTo>
                <a:lnTo>
                  <a:pt x="4786" y="963"/>
                </a:lnTo>
                <a:lnTo>
                  <a:pt x="4789" y="960"/>
                </a:lnTo>
                <a:lnTo>
                  <a:pt x="4792" y="957"/>
                </a:lnTo>
                <a:lnTo>
                  <a:pt x="4794" y="955"/>
                </a:lnTo>
                <a:lnTo>
                  <a:pt x="4796" y="953"/>
                </a:lnTo>
                <a:lnTo>
                  <a:pt x="4795" y="953"/>
                </a:lnTo>
                <a:lnTo>
                  <a:pt x="4792" y="954"/>
                </a:lnTo>
                <a:close/>
                <a:moveTo>
                  <a:pt x="4791" y="1731"/>
                </a:moveTo>
                <a:lnTo>
                  <a:pt x="4788" y="1732"/>
                </a:lnTo>
                <a:lnTo>
                  <a:pt x="4790" y="1734"/>
                </a:lnTo>
                <a:lnTo>
                  <a:pt x="4792" y="1736"/>
                </a:lnTo>
                <a:lnTo>
                  <a:pt x="4795" y="1736"/>
                </a:lnTo>
                <a:lnTo>
                  <a:pt x="4796" y="1736"/>
                </a:lnTo>
                <a:lnTo>
                  <a:pt x="4795" y="1732"/>
                </a:lnTo>
                <a:lnTo>
                  <a:pt x="4794" y="1731"/>
                </a:lnTo>
                <a:lnTo>
                  <a:pt x="4791" y="1731"/>
                </a:lnTo>
                <a:close/>
                <a:moveTo>
                  <a:pt x="4747" y="1772"/>
                </a:moveTo>
                <a:lnTo>
                  <a:pt x="4746" y="1772"/>
                </a:lnTo>
                <a:lnTo>
                  <a:pt x="4748" y="1774"/>
                </a:lnTo>
                <a:lnTo>
                  <a:pt x="4750" y="1775"/>
                </a:lnTo>
                <a:lnTo>
                  <a:pt x="4750" y="1775"/>
                </a:lnTo>
                <a:lnTo>
                  <a:pt x="4750" y="1772"/>
                </a:lnTo>
                <a:lnTo>
                  <a:pt x="4748" y="1772"/>
                </a:lnTo>
                <a:lnTo>
                  <a:pt x="4747" y="1772"/>
                </a:lnTo>
                <a:close/>
                <a:moveTo>
                  <a:pt x="4656" y="1829"/>
                </a:moveTo>
                <a:lnTo>
                  <a:pt x="4657" y="1829"/>
                </a:lnTo>
                <a:lnTo>
                  <a:pt x="4654" y="1824"/>
                </a:lnTo>
                <a:lnTo>
                  <a:pt x="4654" y="1829"/>
                </a:lnTo>
                <a:lnTo>
                  <a:pt x="4656" y="1829"/>
                </a:lnTo>
                <a:close/>
                <a:moveTo>
                  <a:pt x="4757" y="1776"/>
                </a:moveTo>
                <a:lnTo>
                  <a:pt x="4757" y="1777"/>
                </a:lnTo>
                <a:lnTo>
                  <a:pt x="4760" y="1780"/>
                </a:lnTo>
                <a:lnTo>
                  <a:pt x="4761" y="1779"/>
                </a:lnTo>
                <a:lnTo>
                  <a:pt x="4761" y="1777"/>
                </a:lnTo>
                <a:lnTo>
                  <a:pt x="4759" y="1777"/>
                </a:lnTo>
                <a:lnTo>
                  <a:pt x="4757" y="1776"/>
                </a:lnTo>
                <a:close/>
                <a:moveTo>
                  <a:pt x="4741" y="998"/>
                </a:moveTo>
                <a:lnTo>
                  <a:pt x="4743" y="998"/>
                </a:lnTo>
                <a:lnTo>
                  <a:pt x="4744" y="995"/>
                </a:lnTo>
                <a:lnTo>
                  <a:pt x="4741" y="997"/>
                </a:lnTo>
                <a:lnTo>
                  <a:pt x="4741" y="998"/>
                </a:lnTo>
                <a:close/>
                <a:moveTo>
                  <a:pt x="4739" y="1778"/>
                </a:moveTo>
                <a:lnTo>
                  <a:pt x="4747" y="1784"/>
                </a:lnTo>
                <a:lnTo>
                  <a:pt x="4754" y="1784"/>
                </a:lnTo>
                <a:lnTo>
                  <a:pt x="4755" y="1787"/>
                </a:lnTo>
                <a:lnTo>
                  <a:pt x="4755" y="1792"/>
                </a:lnTo>
                <a:lnTo>
                  <a:pt x="4755" y="1794"/>
                </a:lnTo>
                <a:lnTo>
                  <a:pt x="4755" y="1796"/>
                </a:lnTo>
                <a:lnTo>
                  <a:pt x="4743" y="1796"/>
                </a:lnTo>
                <a:lnTo>
                  <a:pt x="4743" y="1797"/>
                </a:lnTo>
                <a:lnTo>
                  <a:pt x="4745" y="1798"/>
                </a:lnTo>
                <a:lnTo>
                  <a:pt x="4747" y="1799"/>
                </a:lnTo>
                <a:lnTo>
                  <a:pt x="4747" y="1805"/>
                </a:lnTo>
                <a:lnTo>
                  <a:pt x="4750" y="1805"/>
                </a:lnTo>
                <a:lnTo>
                  <a:pt x="4754" y="1806"/>
                </a:lnTo>
                <a:lnTo>
                  <a:pt x="4755" y="1808"/>
                </a:lnTo>
                <a:lnTo>
                  <a:pt x="4757" y="1811"/>
                </a:lnTo>
                <a:lnTo>
                  <a:pt x="4763" y="1812"/>
                </a:lnTo>
                <a:lnTo>
                  <a:pt x="4765" y="1820"/>
                </a:lnTo>
                <a:lnTo>
                  <a:pt x="4765" y="1821"/>
                </a:lnTo>
                <a:lnTo>
                  <a:pt x="4766" y="1822"/>
                </a:lnTo>
                <a:lnTo>
                  <a:pt x="4768" y="1826"/>
                </a:lnTo>
                <a:lnTo>
                  <a:pt x="4770" y="1829"/>
                </a:lnTo>
                <a:lnTo>
                  <a:pt x="4779" y="1829"/>
                </a:lnTo>
                <a:lnTo>
                  <a:pt x="4780" y="1829"/>
                </a:lnTo>
                <a:lnTo>
                  <a:pt x="4780" y="1830"/>
                </a:lnTo>
                <a:lnTo>
                  <a:pt x="4777" y="1832"/>
                </a:lnTo>
                <a:lnTo>
                  <a:pt x="4778" y="1833"/>
                </a:lnTo>
                <a:lnTo>
                  <a:pt x="4779" y="1834"/>
                </a:lnTo>
                <a:lnTo>
                  <a:pt x="4781" y="1835"/>
                </a:lnTo>
                <a:lnTo>
                  <a:pt x="4783" y="1837"/>
                </a:lnTo>
                <a:lnTo>
                  <a:pt x="4787" y="1837"/>
                </a:lnTo>
                <a:lnTo>
                  <a:pt x="4787" y="1837"/>
                </a:lnTo>
                <a:lnTo>
                  <a:pt x="4783" y="1839"/>
                </a:lnTo>
                <a:lnTo>
                  <a:pt x="4788" y="1843"/>
                </a:lnTo>
                <a:lnTo>
                  <a:pt x="4798" y="1845"/>
                </a:lnTo>
                <a:lnTo>
                  <a:pt x="4802" y="1845"/>
                </a:lnTo>
                <a:lnTo>
                  <a:pt x="4800" y="1847"/>
                </a:lnTo>
                <a:lnTo>
                  <a:pt x="4799" y="1849"/>
                </a:lnTo>
                <a:lnTo>
                  <a:pt x="4799" y="1849"/>
                </a:lnTo>
                <a:lnTo>
                  <a:pt x="4799" y="1851"/>
                </a:lnTo>
                <a:lnTo>
                  <a:pt x="4793" y="1851"/>
                </a:lnTo>
                <a:lnTo>
                  <a:pt x="4787" y="1851"/>
                </a:lnTo>
                <a:lnTo>
                  <a:pt x="4789" y="1850"/>
                </a:lnTo>
                <a:lnTo>
                  <a:pt x="4791" y="1849"/>
                </a:lnTo>
                <a:lnTo>
                  <a:pt x="4785" y="1847"/>
                </a:lnTo>
                <a:lnTo>
                  <a:pt x="4779" y="1846"/>
                </a:lnTo>
                <a:lnTo>
                  <a:pt x="4774" y="1845"/>
                </a:lnTo>
                <a:lnTo>
                  <a:pt x="4772" y="1844"/>
                </a:lnTo>
                <a:lnTo>
                  <a:pt x="4766" y="1845"/>
                </a:lnTo>
                <a:lnTo>
                  <a:pt x="4765" y="1845"/>
                </a:lnTo>
                <a:lnTo>
                  <a:pt x="4763" y="1845"/>
                </a:lnTo>
                <a:lnTo>
                  <a:pt x="4760" y="1845"/>
                </a:lnTo>
                <a:lnTo>
                  <a:pt x="4755" y="1843"/>
                </a:lnTo>
                <a:lnTo>
                  <a:pt x="4753" y="1840"/>
                </a:lnTo>
                <a:lnTo>
                  <a:pt x="4751" y="1836"/>
                </a:lnTo>
                <a:lnTo>
                  <a:pt x="4747" y="1833"/>
                </a:lnTo>
                <a:lnTo>
                  <a:pt x="4744" y="1831"/>
                </a:lnTo>
                <a:lnTo>
                  <a:pt x="4745" y="1829"/>
                </a:lnTo>
                <a:lnTo>
                  <a:pt x="4742" y="1829"/>
                </a:lnTo>
                <a:lnTo>
                  <a:pt x="4740" y="1829"/>
                </a:lnTo>
                <a:lnTo>
                  <a:pt x="4740" y="1827"/>
                </a:lnTo>
                <a:lnTo>
                  <a:pt x="4739" y="1824"/>
                </a:lnTo>
                <a:lnTo>
                  <a:pt x="4736" y="1818"/>
                </a:lnTo>
                <a:lnTo>
                  <a:pt x="4731" y="1812"/>
                </a:lnTo>
                <a:lnTo>
                  <a:pt x="4723" y="1811"/>
                </a:lnTo>
                <a:lnTo>
                  <a:pt x="4714" y="1810"/>
                </a:lnTo>
                <a:lnTo>
                  <a:pt x="4714" y="1809"/>
                </a:lnTo>
                <a:lnTo>
                  <a:pt x="4708" y="1806"/>
                </a:lnTo>
                <a:lnTo>
                  <a:pt x="4708" y="1805"/>
                </a:lnTo>
                <a:lnTo>
                  <a:pt x="4706" y="1805"/>
                </a:lnTo>
                <a:lnTo>
                  <a:pt x="4706" y="1806"/>
                </a:lnTo>
                <a:lnTo>
                  <a:pt x="4706" y="1808"/>
                </a:lnTo>
                <a:lnTo>
                  <a:pt x="4705" y="1810"/>
                </a:lnTo>
                <a:lnTo>
                  <a:pt x="4703" y="1809"/>
                </a:lnTo>
                <a:lnTo>
                  <a:pt x="4701" y="1809"/>
                </a:lnTo>
                <a:lnTo>
                  <a:pt x="4699" y="1807"/>
                </a:lnTo>
                <a:lnTo>
                  <a:pt x="4697" y="1805"/>
                </a:lnTo>
                <a:lnTo>
                  <a:pt x="4702" y="1811"/>
                </a:lnTo>
                <a:lnTo>
                  <a:pt x="4700" y="1811"/>
                </a:lnTo>
                <a:lnTo>
                  <a:pt x="4698" y="1812"/>
                </a:lnTo>
                <a:lnTo>
                  <a:pt x="4693" y="1811"/>
                </a:lnTo>
                <a:lnTo>
                  <a:pt x="4694" y="1811"/>
                </a:lnTo>
                <a:lnTo>
                  <a:pt x="4694" y="1812"/>
                </a:lnTo>
                <a:lnTo>
                  <a:pt x="4694" y="1816"/>
                </a:lnTo>
                <a:lnTo>
                  <a:pt x="4694" y="1816"/>
                </a:lnTo>
                <a:lnTo>
                  <a:pt x="4697" y="1816"/>
                </a:lnTo>
                <a:lnTo>
                  <a:pt x="4697" y="1816"/>
                </a:lnTo>
                <a:lnTo>
                  <a:pt x="4688" y="1817"/>
                </a:lnTo>
                <a:lnTo>
                  <a:pt x="4686" y="1817"/>
                </a:lnTo>
                <a:lnTo>
                  <a:pt x="4685" y="1817"/>
                </a:lnTo>
                <a:lnTo>
                  <a:pt x="4685" y="1817"/>
                </a:lnTo>
                <a:lnTo>
                  <a:pt x="4690" y="1819"/>
                </a:lnTo>
                <a:lnTo>
                  <a:pt x="4694" y="1824"/>
                </a:lnTo>
                <a:lnTo>
                  <a:pt x="4694" y="1826"/>
                </a:lnTo>
                <a:lnTo>
                  <a:pt x="4694" y="1827"/>
                </a:lnTo>
                <a:lnTo>
                  <a:pt x="4694" y="1829"/>
                </a:lnTo>
                <a:lnTo>
                  <a:pt x="4688" y="1829"/>
                </a:lnTo>
                <a:lnTo>
                  <a:pt x="4683" y="1833"/>
                </a:lnTo>
                <a:lnTo>
                  <a:pt x="4680" y="1831"/>
                </a:lnTo>
                <a:lnTo>
                  <a:pt x="4676" y="1830"/>
                </a:lnTo>
                <a:lnTo>
                  <a:pt x="4672" y="1831"/>
                </a:lnTo>
                <a:lnTo>
                  <a:pt x="4668" y="1831"/>
                </a:lnTo>
                <a:lnTo>
                  <a:pt x="4666" y="1831"/>
                </a:lnTo>
                <a:lnTo>
                  <a:pt x="4664" y="1830"/>
                </a:lnTo>
                <a:lnTo>
                  <a:pt x="4661" y="1831"/>
                </a:lnTo>
                <a:lnTo>
                  <a:pt x="4660" y="1831"/>
                </a:lnTo>
                <a:lnTo>
                  <a:pt x="4658" y="1830"/>
                </a:lnTo>
                <a:lnTo>
                  <a:pt x="4658" y="1796"/>
                </a:lnTo>
                <a:lnTo>
                  <a:pt x="4654" y="1796"/>
                </a:lnTo>
                <a:lnTo>
                  <a:pt x="4654" y="1824"/>
                </a:lnTo>
                <a:lnTo>
                  <a:pt x="4650" y="1820"/>
                </a:lnTo>
                <a:lnTo>
                  <a:pt x="4643" y="1813"/>
                </a:lnTo>
                <a:lnTo>
                  <a:pt x="4644" y="1811"/>
                </a:lnTo>
                <a:lnTo>
                  <a:pt x="4644" y="1809"/>
                </a:lnTo>
                <a:lnTo>
                  <a:pt x="4643" y="1812"/>
                </a:lnTo>
                <a:lnTo>
                  <a:pt x="4641" y="1816"/>
                </a:lnTo>
                <a:lnTo>
                  <a:pt x="4634" y="1816"/>
                </a:lnTo>
                <a:lnTo>
                  <a:pt x="4633" y="1814"/>
                </a:lnTo>
                <a:lnTo>
                  <a:pt x="4633" y="1813"/>
                </a:lnTo>
                <a:lnTo>
                  <a:pt x="4627" y="1816"/>
                </a:lnTo>
                <a:lnTo>
                  <a:pt x="4626" y="1815"/>
                </a:lnTo>
                <a:lnTo>
                  <a:pt x="4628" y="1810"/>
                </a:lnTo>
                <a:lnTo>
                  <a:pt x="4630" y="1805"/>
                </a:lnTo>
                <a:lnTo>
                  <a:pt x="4628" y="1802"/>
                </a:lnTo>
                <a:lnTo>
                  <a:pt x="4626" y="1800"/>
                </a:lnTo>
                <a:lnTo>
                  <a:pt x="4626" y="1800"/>
                </a:lnTo>
                <a:lnTo>
                  <a:pt x="4626" y="1800"/>
                </a:lnTo>
                <a:lnTo>
                  <a:pt x="4622" y="1797"/>
                </a:lnTo>
                <a:lnTo>
                  <a:pt x="4626" y="1793"/>
                </a:lnTo>
                <a:lnTo>
                  <a:pt x="4625" y="1792"/>
                </a:lnTo>
                <a:lnTo>
                  <a:pt x="4626" y="1792"/>
                </a:lnTo>
                <a:lnTo>
                  <a:pt x="4622" y="1792"/>
                </a:lnTo>
                <a:lnTo>
                  <a:pt x="4624" y="1793"/>
                </a:lnTo>
                <a:lnTo>
                  <a:pt x="4622" y="1792"/>
                </a:lnTo>
                <a:lnTo>
                  <a:pt x="4622" y="1790"/>
                </a:lnTo>
                <a:lnTo>
                  <a:pt x="4618" y="1786"/>
                </a:lnTo>
                <a:lnTo>
                  <a:pt x="4618" y="1779"/>
                </a:lnTo>
                <a:lnTo>
                  <a:pt x="4616" y="1779"/>
                </a:lnTo>
                <a:lnTo>
                  <a:pt x="4615" y="1780"/>
                </a:lnTo>
                <a:lnTo>
                  <a:pt x="4614" y="1780"/>
                </a:lnTo>
                <a:lnTo>
                  <a:pt x="4614" y="1776"/>
                </a:lnTo>
                <a:lnTo>
                  <a:pt x="4614" y="1776"/>
                </a:lnTo>
                <a:lnTo>
                  <a:pt x="4608" y="1771"/>
                </a:lnTo>
                <a:lnTo>
                  <a:pt x="4603" y="1767"/>
                </a:lnTo>
                <a:lnTo>
                  <a:pt x="4597" y="1764"/>
                </a:lnTo>
                <a:lnTo>
                  <a:pt x="4591" y="1762"/>
                </a:lnTo>
                <a:lnTo>
                  <a:pt x="4585" y="1760"/>
                </a:lnTo>
                <a:lnTo>
                  <a:pt x="4574" y="1758"/>
                </a:lnTo>
                <a:lnTo>
                  <a:pt x="4566" y="1753"/>
                </a:lnTo>
                <a:lnTo>
                  <a:pt x="4567" y="1752"/>
                </a:lnTo>
                <a:lnTo>
                  <a:pt x="4567" y="1752"/>
                </a:lnTo>
                <a:lnTo>
                  <a:pt x="4566" y="1752"/>
                </a:lnTo>
                <a:lnTo>
                  <a:pt x="4564" y="1752"/>
                </a:lnTo>
                <a:lnTo>
                  <a:pt x="4562" y="1751"/>
                </a:lnTo>
                <a:lnTo>
                  <a:pt x="4560" y="1752"/>
                </a:lnTo>
                <a:lnTo>
                  <a:pt x="4560" y="1752"/>
                </a:lnTo>
                <a:lnTo>
                  <a:pt x="4557" y="1752"/>
                </a:lnTo>
                <a:lnTo>
                  <a:pt x="4555" y="1746"/>
                </a:lnTo>
                <a:lnTo>
                  <a:pt x="4554" y="1747"/>
                </a:lnTo>
                <a:lnTo>
                  <a:pt x="4554" y="1746"/>
                </a:lnTo>
                <a:lnTo>
                  <a:pt x="4554" y="1746"/>
                </a:lnTo>
                <a:lnTo>
                  <a:pt x="4553" y="1745"/>
                </a:lnTo>
                <a:lnTo>
                  <a:pt x="4552" y="1744"/>
                </a:lnTo>
                <a:lnTo>
                  <a:pt x="4546" y="1744"/>
                </a:lnTo>
                <a:lnTo>
                  <a:pt x="4546" y="1745"/>
                </a:lnTo>
                <a:lnTo>
                  <a:pt x="4546" y="1747"/>
                </a:lnTo>
                <a:lnTo>
                  <a:pt x="4546" y="1749"/>
                </a:lnTo>
                <a:lnTo>
                  <a:pt x="4546" y="1751"/>
                </a:lnTo>
                <a:lnTo>
                  <a:pt x="4546" y="1753"/>
                </a:lnTo>
                <a:lnTo>
                  <a:pt x="4545" y="1756"/>
                </a:lnTo>
                <a:lnTo>
                  <a:pt x="4540" y="1756"/>
                </a:lnTo>
                <a:lnTo>
                  <a:pt x="4537" y="1749"/>
                </a:lnTo>
                <a:lnTo>
                  <a:pt x="4538" y="1745"/>
                </a:lnTo>
                <a:lnTo>
                  <a:pt x="4538" y="1744"/>
                </a:lnTo>
                <a:lnTo>
                  <a:pt x="4538" y="1744"/>
                </a:lnTo>
                <a:lnTo>
                  <a:pt x="4537" y="1742"/>
                </a:lnTo>
                <a:lnTo>
                  <a:pt x="4537" y="1739"/>
                </a:lnTo>
                <a:lnTo>
                  <a:pt x="4533" y="1736"/>
                </a:lnTo>
                <a:lnTo>
                  <a:pt x="4531" y="1737"/>
                </a:lnTo>
                <a:lnTo>
                  <a:pt x="4530" y="1737"/>
                </a:lnTo>
                <a:lnTo>
                  <a:pt x="4528" y="1735"/>
                </a:lnTo>
                <a:lnTo>
                  <a:pt x="4527" y="1734"/>
                </a:lnTo>
                <a:lnTo>
                  <a:pt x="4533" y="1733"/>
                </a:lnTo>
                <a:lnTo>
                  <a:pt x="4538" y="1734"/>
                </a:lnTo>
                <a:lnTo>
                  <a:pt x="4540" y="1733"/>
                </a:lnTo>
                <a:lnTo>
                  <a:pt x="4541" y="1732"/>
                </a:lnTo>
                <a:lnTo>
                  <a:pt x="4545" y="1732"/>
                </a:lnTo>
                <a:lnTo>
                  <a:pt x="4549" y="1732"/>
                </a:lnTo>
                <a:lnTo>
                  <a:pt x="4550" y="1732"/>
                </a:lnTo>
                <a:lnTo>
                  <a:pt x="4550" y="1732"/>
                </a:lnTo>
                <a:lnTo>
                  <a:pt x="4551" y="1731"/>
                </a:lnTo>
                <a:lnTo>
                  <a:pt x="4551" y="1729"/>
                </a:lnTo>
                <a:lnTo>
                  <a:pt x="4554" y="1728"/>
                </a:lnTo>
                <a:lnTo>
                  <a:pt x="4554" y="1727"/>
                </a:lnTo>
                <a:lnTo>
                  <a:pt x="4554" y="1727"/>
                </a:lnTo>
                <a:lnTo>
                  <a:pt x="4553" y="1728"/>
                </a:lnTo>
                <a:lnTo>
                  <a:pt x="4553" y="1727"/>
                </a:lnTo>
                <a:lnTo>
                  <a:pt x="4552" y="1728"/>
                </a:lnTo>
                <a:lnTo>
                  <a:pt x="4547" y="1728"/>
                </a:lnTo>
                <a:lnTo>
                  <a:pt x="4538" y="1729"/>
                </a:lnTo>
                <a:lnTo>
                  <a:pt x="4537" y="1728"/>
                </a:lnTo>
                <a:lnTo>
                  <a:pt x="4537" y="1728"/>
                </a:lnTo>
                <a:lnTo>
                  <a:pt x="4533" y="1728"/>
                </a:lnTo>
                <a:lnTo>
                  <a:pt x="4527" y="1726"/>
                </a:lnTo>
                <a:lnTo>
                  <a:pt x="4527" y="1721"/>
                </a:lnTo>
                <a:lnTo>
                  <a:pt x="4526" y="1717"/>
                </a:lnTo>
                <a:lnTo>
                  <a:pt x="4521" y="1716"/>
                </a:lnTo>
                <a:lnTo>
                  <a:pt x="4517" y="1714"/>
                </a:lnTo>
                <a:lnTo>
                  <a:pt x="4518" y="1715"/>
                </a:lnTo>
                <a:lnTo>
                  <a:pt x="4518" y="1716"/>
                </a:lnTo>
                <a:lnTo>
                  <a:pt x="4517" y="1716"/>
                </a:lnTo>
                <a:lnTo>
                  <a:pt x="4514" y="1713"/>
                </a:lnTo>
                <a:lnTo>
                  <a:pt x="4514" y="1713"/>
                </a:lnTo>
                <a:lnTo>
                  <a:pt x="4514" y="1713"/>
                </a:lnTo>
                <a:lnTo>
                  <a:pt x="4513" y="1713"/>
                </a:lnTo>
                <a:lnTo>
                  <a:pt x="4512" y="1715"/>
                </a:lnTo>
                <a:lnTo>
                  <a:pt x="4513" y="1713"/>
                </a:lnTo>
                <a:lnTo>
                  <a:pt x="4511" y="1711"/>
                </a:lnTo>
                <a:lnTo>
                  <a:pt x="4508" y="1709"/>
                </a:lnTo>
                <a:lnTo>
                  <a:pt x="4512" y="1708"/>
                </a:lnTo>
                <a:lnTo>
                  <a:pt x="4514" y="1708"/>
                </a:lnTo>
                <a:lnTo>
                  <a:pt x="4514" y="1705"/>
                </a:lnTo>
                <a:lnTo>
                  <a:pt x="4520" y="1704"/>
                </a:lnTo>
                <a:lnTo>
                  <a:pt x="4526" y="1703"/>
                </a:lnTo>
                <a:lnTo>
                  <a:pt x="4530" y="1699"/>
                </a:lnTo>
                <a:lnTo>
                  <a:pt x="4534" y="1698"/>
                </a:lnTo>
                <a:lnTo>
                  <a:pt x="4545" y="1702"/>
                </a:lnTo>
                <a:lnTo>
                  <a:pt x="4547" y="1703"/>
                </a:lnTo>
                <a:lnTo>
                  <a:pt x="4548" y="1704"/>
                </a:lnTo>
                <a:lnTo>
                  <a:pt x="4557" y="1704"/>
                </a:lnTo>
                <a:lnTo>
                  <a:pt x="4558" y="1705"/>
                </a:lnTo>
                <a:lnTo>
                  <a:pt x="4557" y="1706"/>
                </a:lnTo>
                <a:lnTo>
                  <a:pt x="4560" y="1713"/>
                </a:lnTo>
                <a:lnTo>
                  <a:pt x="4558" y="1717"/>
                </a:lnTo>
                <a:lnTo>
                  <a:pt x="4559" y="1722"/>
                </a:lnTo>
                <a:lnTo>
                  <a:pt x="4559" y="1728"/>
                </a:lnTo>
                <a:lnTo>
                  <a:pt x="4560" y="1732"/>
                </a:lnTo>
                <a:lnTo>
                  <a:pt x="4561" y="1736"/>
                </a:lnTo>
                <a:lnTo>
                  <a:pt x="4562" y="1733"/>
                </a:lnTo>
                <a:lnTo>
                  <a:pt x="4562" y="1732"/>
                </a:lnTo>
                <a:lnTo>
                  <a:pt x="4566" y="1732"/>
                </a:lnTo>
                <a:lnTo>
                  <a:pt x="4566" y="1735"/>
                </a:lnTo>
                <a:lnTo>
                  <a:pt x="4566" y="1737"/>
                </a:lnTo>
                <a:lnTo>
                  <a:pt x="4566" y="1736"/>
                </a:lnTo>
                <a:lnTo>
                  <a:pt x="4566" y="1739"/>
                </a:lnTo>
                <a:lnTo>
                  <a:pt x="4566" y="1740"/>
                </a:lnTo>
                <a:lnTo>
                  <a:pt x="4569" y="1742"/>
                </a:lnTo>
                <a:lnTo>
                  <a:pt x="4572" y="1744"/>
                </a:lnTo>
                <a:lnTo>
                  <a:pt x="4578" y="1744"/>
                </a:lnTo>
                <a:lnTo>
                  <a:pt x="4582" y="1741"/>
                </a:lnTo>
                <a:lnTo>
                  <a:pt x="4585" y="1737"/>
                </a:lnTo>
                <a:lnTo>
                  <a:pt x="4586" y="1735"/>
                </a:lnTo>
                <a:lnTo>
                  <a:pt x="4586" y="1733"/>
                </a:lnTo>
                <a:lnTo>
                  <a:pt x="4587" y="1732"/>
                </a:lnTo>
                <a:lnTo>
                  <a:pt x="4589" y="1731"/>
                </a:lnTo>
                <a:lnTo>
                  <a:pt x="4590" y="1729"/>
                </a:lnTo>
                <a:lnTo>
                  <a:pt x="4592" y="1728"/>
                </a:lnTo>
                <a:lnTo>
                  <a:pt x="4596" y="1728"/>
                </a:lnTo>
                <a:lnTo>
                  <a:pt x="4599" y="1726"/>
                </a:lnTo>
                <a:lnTo>
                  <a:pt x="4602" y="1725"/>
                </a:lnTo>
                <a:lnTo>
                  <a:pt x="4602" y="1719"/>
                </a:lnTo>
                <a:lnTo>
                  <a:pt x="4612" y="1714"/>
                </a:lnTo>
                <a:lnTo>
                  <a:pt x="4626" y="1721"/>
                </a:lnTo>
                <a:lnTo>
                  <a:pt x="4640" y="1728"/>
                </a:lnTo>
                <a:lnTo>
                  <a:pt x="4644" y="1728"/>
                </a:lnTo>
                <a:lnTo>
                  <a:pt x="4648" y="1732"/>
                </a:lnTo>
                <a:lnTo>
                  <a:pt x="4650" y="1732"/>
                </a:lnTo>
                <a:lnTo>
                  <a:pt x="4650" y="1732"/>
                </a:lnTo>
                <a:lnTo>
                  <a:pt x="4652" y="1732"/>
                </a:lnTo>
                <a:lnTo>
                  <a:pt x="4654" y="1731"/>
                </a:lnTo>
                <a:lnTo>
                  <a:pt x="4654" y="1786"/>
                </a:lnTo>
                <a:lnTo>
                  <a:pt x="4654" y="1790"/>
                </a:lnTo>
                <a:lnTo>
                  <a:pt x="4654" y="1792"/>
                </a:lnTo>
                <a:lnTo>
                  <a:pt x="4658" y="1787"/>
                </a:lnTo>
                <a:lnTo>
                  <a:pt x="4658" y="1736"/>
                </a:lnTo>
                <a:lnTo>
                  <a:pt x="4662" y="1736"/>
                </a:lnTo>
                <a:lnTo>
                  <a:pt x="4682" y="1745"/>
                </a:lnTo>
                <a:lnTo>
                  <a:pt x="4696" y="1746"/>
                </a:lnTo>
                <a:lnTo>
                  <a:pt x="4702" y="1751"/>
                </a:lnTo>
                <a:lnTo>
                  <a:pt x="4705" y="1753"/>
                </a:lnTo>
                <a:lnTo>
                  <a:pt x="4706" y="1752"/>
                </a:lnTo>
                <a:lnTo>
                  <a:pt x="4706" y="1752"/>
                </a:lnTo>
                <a:lnTo>
                  <a:pt x="4706" y="1753"/>
                </a:lnTo>
                <a:lnTo>
                  <a:pt x="4714" y="1755"/>
                </a:lnTo>
                <a:lnTo>
                  <a:pt x="4717" y="1758"/>
                </a:lnTo>
                <a:lnTo>
                  <a:pt x="4719" y="1759"/>
                </a:lnTo>
                <a:lnTo>
                  <a:pt x="4721" y="1760"/>
                </a:lnTo>
                <a:lnTo>
                  <a:pt x="4725" y="1763"/>
                </a:lnTo>
                <a:lnTo>
                  <a:pt x="4728" y="1765"/>
                </a:lnTo>
                <a:lnTo>
                  <a:pt x="4728" y="1767"/>
                </a:lnTo>
                <a:lnTo>
                  <a:pt x="4729" y="1770"/>
                </a:lnTo>
                <a:lnTo>
                  <a:pt x="4728" y="1773"/>
                </a:lnTo>
                <a:lnTo>
                  <a:pt x="4728" y="1777"/>
                </a:lnTo>
                <a:lnTo>
                  <a:pt x="4739" y="1778"/>
                </a:lnTo>
                <a:close/>
                <a:moveTo>
                  <a:pt x="4554" y="1726"/>
                </a:moveTo>
                <a:lnTo>
                  <a:pt x="4554" y="1726"/>
                </a:lnTo>
                <a:lnTo>
                  <a:pt x="4554" y="1726"/>
                </a:lnTo>
                <a:lnTo>
                  <a:pt x="4554" y="1726"/>
                </a:lnTo>
                <a:close/>
                <a:moveTo>
                  <a:pt x="4555" y="1737"/>
                </a:moveTo>
                <a:lnTo>
                  <a:pt x="4553" y="1738"/>
                </a:lnTo>
                <a:lnTo>
                  <a:pt x="4552" y="1739"/>
                </a:lnTo>
                <a:lnTo>
                  <a:pt x="4552" y="1744"/>
                </a:lnTo>
                <a:lnTo>
                  <a:pt x="4552" y="1742"/>
                </a:lnTo>
                <a:lnTo>
                  <a:pt x="4553" y="1740"/>
                </a:lnTo>
                <a:lnTo>
                  <a:pt x="4555" y="1739"/>
                </a:lnTo>
                <a:lnTo>
                  <a:pt x="4555" y="1737"/>
                </a:lnTo>
                <a:close/>
                <a:moveTo>
                  <a:pt x="4633" y="1800"/>
                </a:moveTo>
                <a:lnTo>
                  <a:pt x="4629" y="1800"/>
                </a:lnTo>
                <a:lnTo>
                  <a:pt x="4628" y="1800"/>
                </a:lnTo>
                <a:lnTo>
                  <a:pt x="4629" y="1802"/>
                </a:lnTo>
                <a:lnTo>
                  <a:pt x="4633" y="1800"/>
                </a:lnTo>
                <a:close/>
                <a:moveTo>
                  <a:pt x="4684" y="1816"/>
                </a:moveTo>
                <a:lnTo>
                  <a:pt x="4683" y="1816"/>
                </a:lnTo>
                <a:lnTo>
                  <a:pt x="4683" y="1816"/>
                </a:lnTo>
                <a:lnTo>
                  <a:pt x="4680" y="1817"/>
                </a:lnTo>
                <a:lnTo>
                  <a:pt x="4683" y="1817"/>
                </a:lnTo>
                <a:lnTo>
                  <a:pt x="4684" y="1816"/>
                </a:lnTo>
                <a:close/>
                <a:moveTo>
                  <a:pt x="4625" y="1816"/>
                </a:moveTo>
                <a:lnTo>
                  <a:pt x="4622" y="1820"/>
                </a:lnTo>
                <a:lnTo>
                  <a:pt x="4627" y="1820"/>
                </a:lnTo>
                <a:lnTo>
                  <a:pt x="4626" y="1816"/>
                </a:lnTo>
                <a:lnTo>
                  <a:pt x="4626" y="1816"/>
                </a:lnTo>
                <a:lnTo>
                  <a:pt x="4625" y="1816"/>
                </a:lnTo>
                <a:close/>
                <a:moveTo>
                  <a:pt x="4706" y="1752"/>
                </a:moveTo>
                <a:lnTo>
                  <a:pt x="4706" y="1752"/>
                </a:lnTo>
                <a:lnTo>
                  <a:pt x="4707" y="1752"/>
                </a:lnTo>
                <a:lnTo>
                  <a:pt x="4706" y="1752"/>
                </a:lnTo>
                <a:close/>
                <a:moveTo>
                  <a:pt x="4626" y="1816"/>
                </a:moveTo>
                <a:lnTo>
                  <a:pt x="4626" y="1815"/>
                </a:lnTo>
                <a:lnTo>
                  <a:pt x="4626" y="1815"/>
                </a:lnTo>
                <a:lnTo>
                  <a:pt x="4626" y="1816"/>
                </a:lnTo>
                <a:close/>
                <a:moveTo>
                  <a:pt x="4625" y="1793"/>
                </a:moveTo>
                <a:lnTo>
                  <a:pt x="4624" y="1793"/>
                </a:lnTo>
                <a:lnTo>
                  <a:pt x="4624" y="1793"/>
                </a:lnTo>
                <a:lnTo>
                  <a:pt x="4625" y="1793"/>
                </a:lnTo>
                <a:lnTo>
                  <a:pt x="4625" y="1793"/>
                </a:lnTo>
                <a:close/>
                <a:moveTo>
                  <a:pt x="4801" y="1833"/>
                </a:moveTo>
                <a:lnTo>
                  <a:pt x="4796" y="1832"/>
                </a:lnTo>
                <a:lnTo>
                  <a:pt x="4796" y="1836"/>
                </a:lnTo>
                <a:lnTo>
                  <a:pt x="4801" y="1837"/>
                </a:lnTo>
                <a:lnTo>
                  <a:pt x="4802" y="1837"/>
                </a:lnTo>
                <a:lnTo>
                  <a:pt x="4801" y="1833"/>
                </a:lnTo>
                <a:close/>
                <a:moveTo>
                  <a:pt x="4801" y="1851"/>
                </a:moveTo>
                <a:lnTo>
                  <a:pt x="4801" y="1851"/>
                </a:lnTo>
                <a:lnTo>
                  <a:pt x="4802" y="1851"/>
                </a:lnTo>
                <a:lnTo>
                  <a:pt x="4805" y="1851"/>
                </a:lnTo>
                <a:lnTo>
                  <a:pt x="4805" y="1851"/>
                </a:lnTo>
                <a:lnTo>
                  <a:pt x="4802" y="1851"/>
                </a:lnTo>
                <a:lnTo>
                  <a:pt x="4801" y="1851"/>
                </a:lnTo>
                <a:close/>
                <a:moveTo>
                  <a:pt x="4806" y="1824"/>
                </a:moveTo>
                <a:lnTo>
                  <a:pt x="4806" y="1817"/>
                </a:lnTo>
                <a:lnTo>
                  <a:pt x="4806" y="1817"/>
                </a:lnTo>
                <a:lnTo>
                  <a:pt x="4805" y="1819"/>
                </a:lnTo>
                <a:lnTo>
                  <a:pt x="4806" y="1824"/>
                </a:lnTo>
                <a:lnTo>
                  <a:pt x="4806" y="1824"/>
                </a:lnTo>
                <a:close/>
                <a:moveTo>
                  <a:pt x="4771" y="966"/>
                </a:moveTo>
                <a:lnTo>
                  <a:pt x="4773" y="965"/>
                </a:lnTo>
                <a:lnTo>
                  <a:pt x="4771" y="965"/>
                </a:lnTo>
                <a:lnTo>
                  <a:pt x="4771" y="966"/>
                </a:lnTo>
                <a:close/>
                <a:moveTo>
                  <a:pt x="4805" y="1844"/>
                </a:moveTo>
                <a:lnTo>
                  <a:pt x="4808" y="1845"/>
                </a:lnTo>
                <a:lnTo>
                  <a:pt x="4808" y="1840"/>
                </a:lnTo>
                <a:lnTo>
                  <a:pt x="4808" y="1840"/>
                </a:lnTo>
                <a:lnTo>
                  <a:pt x="4806" y="1843"/>
                </a:lnTo>
                <a:lnTo>
                  <a:pt x="4804" y="1840"/>
                </a:lnTo>
                <a:lnTo>
                  <a:pt x="4801" y="1837"/>
                </a:lnTo>
                <a:lnTo>
                  <a:pt x="4802" y="1844"/>
                </a:lnTo>
                <a:lnTo>
                  <a:pt x="4805" y="1844"/>
                </a:lnTo>
                <a:close/>
                <a:moveTo>
                  <a:pt x="4771" y="968"/>
                </a:moveTo>
                <a:lnTo>
                  <a:pt x="4771" y="966"/>
                </a:lnTo>
                <a:lnTo>
                  <a:pt x="4764" y="970"/>
                </a:lnTo>
                <a:lnTo>
                  <a:pt x="4771" y="968"/>
                </a:lnTo>
                <a:close/>
                <a:moveTo>
                  <a:pt x="4808" y="2055"/>
                </a:moveTo>
                <a:lnTo>
                  <a:pt x="4809" y="2055"/>
                </a:lnTo>
                <a:lnTo>
                  <a:pt x="4808" y="2051"/>
                </a:lnTo>
                <a:lnTo>
                  <a:pt x="4806" y="2051"/>
                </a:lnTo>
                <a:lnTo>
                  <a:pt x="4805" y="2050"/>
                </a:lnTo>
                <a:lnTo>
                  <a:pt x="4806" y="2053"/>
                </a:lnTo>
                <a:lnTo>
                  <a:pt x="4808" y="2055"/>
                </a:lnTo>
                <a:close/>
                <a:moveTo>
                  <a:pt x="4795" y="1833"/>
                </a:moveTo>
                <a:lnTo>
                  <a:pt x="4795" y="1831"/>
                </a:lnTo>
                <a:lnTo>
                  <a:pt x="4792" y="1831"/>
                </a:lnTo>
                <a:lnTo>
                  <a:pt x="4792" y="1832"/>
                </a:lnTo>
                <a:lnTo>
                  <a:pt x="4795" y="1833"/>
                </a:lnTo>
                <a:close/>
              </a:path>
            </a:pathLst>
          </a:custGeom>
          <a:solidFill>
            <a:schemeClr val="tx2">
              <a:lumMod val="40000"/>
              <a:lumOff val="60000"/>
            </a:schemeClr>
          </a:solidFill>
          <a:ln w="9525">
            <a:solidFill>
              <a:schemeClr val="bg1"/>
            </a:solidFill>
          </a:ln>
        </p:spPr>
        <p:txBody>
          <a:bodyPr vert="horz" wrap="square" lIns="91440" tIns="45720" rIns="91440" bIns="45720" numCol="1" anchor="t" anchorCtr="0" compatLnSpc="1">
            <a:prstTxWarp prst="textNoShape">
              <a:avLst/>
            </a:prstTxWarp>
          </a:bodyPr>
          <a:lstStyle/>
          <a:p>
            <a:endParaRPr lang="de-DE" dirty="0">
              <a:solidFill>
                <a:srgbClr val="000000"/>
              </a:solidFill>
            </a:endParaRPr>
          </a:p>
        </p:txBody>
      </p:sp>
      <p:grpSp>
        <p:nvGrpSpPr>
          <p:cNvPr id="133" name="Gruppieren 132"/>
          <p:cNvGrpSpPr/>
          <p:nvPr/>
        </p:nvGrpSpPr>
        <p:grpSpPr bwMode="gray">
          <a:xfrm>
            <a:off x="3491880" y="1707653"/>
            <a:ext cx="2052228" cy="1224000"/>
            <a:chOff x="2447764" y="1707653"/>
            <a:chExt cx="2052228" cy="1224000"/>
          </a:xfrm>
          <a:solidFill>
            <a:schemeClr val="bg1">
              <a:alpha val="50000"/>
            </a:schemeClr>
          </a:solidFill>
        </p:grpSpPr>
        <p:sp>
          <p:nvSpPr>
            <p:cNvPr id="134" name="Rechteck 133"/>
            <p:cNvSpPr/>
            <p:nvPr>
              <p:custDataLst>
                <p:tags r:id="rId51"/>
              </p:custDataLst>
            </p:nvPr>
          </p:nvSpPr>
          <p:spPr bwMode="gray">
            <a:xfrm flipH="1">
              <a:off x="2447764" y="1707653"/>
              <a:ext cx="2052228" cy="1224000"/>
            </a:xfrm>
            <a:prstGeom prst="rect">
              <a:avLst/>
            </a:prstGeom>
            <a:solidFill>
              <a:schemeClr val="bg1">
                <a:alpha val="5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46800" rIns="54000" rtlCol="0" anchor="t" anchorCtr="0"/>
            <a:lstStyle/>
            <a:p>
              <a:pPr>
                <a:buClr>
                  <a:srgbClr val="A30B1A"/>
                </a:buClr>
              </a:pPr>
              <a:endParaRPr lang="en-US" sz="1200" dirty="0">
                <a:solidFill>
                  <a:srgbClr val="FF0000"/>
                </a:solidFill>
              </a:endParaRPr>
            </a:p>
          </p:txBody>
        </p:sp>
        <p:sp>
          <p:nvSpPr>
            <p:cNvPr id="135" name="Rechteck 134"/>
            <p:cNvSpPr/>
            <p:nvPr>
              <p:custDataLst>
                <p:tags r:id="rId52"/>
              </p:custDataLst>
            </p:nvPr>
          </p:nvSpPr>
          <p:spPr bwMode="gray">
            <a:xfrm flipH="1">
              <a:off x="2447764" y="1707653"/>
              <a:ext cx="2052228" cy="1224000"/>
            </a:xfrm>
            <a:prstGeom prst="rect">
              <a:avLst/>
            </a:prstGeom>
            <a:solidFill>
              <a:schemeClr val="bg1">
                <a:alpha val="5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46800" rIns="54000" rtlCol="0" anchor="t" anchorCtr="0"/>
            <a:lstStyle/>
            <a:p>
              <a:pPr>
                <a:buClr>
                  <a:srgbClr val="A30B1A"/>
                </a:buClr>
              </a:pPr>
              <a:r>
                <a:rPr lang="en-US" sz="1200" dirty="0">
                  <a:solidFill>
                    <a:srgbClr val="FF0000"/>
                  </a:solidFill>
                </a:rPr>
                <a:t>Site A</a:t>
              </a:r>
            </a:p>
          </p:txBody>
        </p:sp>
      </p:grpSp>
      <p:grpSp>
        <p:nvGrpSpPr>
          <p:cNvPr id="136" name="Gruppieren 135"/>
          <p:cNvGrpSpPr/>
          <p:nvPr/>
        </p:nvGrpSpPr>
        <p:grpSpPr bwMode="gray">
          <a:xfrm>
            <a:off x="3491880" y="3579998"/>
            <a:ext cx="2052228" cy="1224000"/>
            <a:chOff x="2447764" y="3579998"/>
            <a:chExt cx="2052228" cy="1224000"/>
          </a:xfrm>
          <a:solidFill>
            <a:schemeClr val="bg1">
              <a:alpha val="50000"/>
            </a:schemeClr>
          </a:solidFill>
        </p:grpSpPr>
        <p:sp>
          <p:nvSpPr>
            <p:cNvPr id="137" name="Rechteck 136"/>
            <p:cNvSpPr/>
            <p:nvPr>
              <p:custDataLst>
                <p:tags r:id="rId49"/>
              </p:custDataLst>
            </p:nvPr>
          </p:nvSpPr>
          <p:spPr bwMode="gray">
            <a:xfrm flipH="1">
              <a:off x="2447764" y="3579998"/>
              <a:ext cx="2052228" cy="1224000"/>
            </a:xfrm>
            <a:prstGeom prst="rect">
              <a:avLst/>
            </a:prstGeom>
            <a:solidFill>
              <a:schemeClr val="bg1">
                <a:alpha val="5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46800" rIns="54000" rtlCol="0" anchor="t" anchorCtr="0"/>
            <a:lstStyle/>
            <a:p>
              <a:pPr>
                <a:buClr>
                  <a:srgbClr val="A30B1A"/>
                </a:buClr>
              </a:pPr>
              <a:endParaRPr lang="en-US" sz="1200" dirty="0">
                <a:solidFill>
                  <a:srgbClr val="FF0000"/>
                </a:solidFill>
              </a:endParaRPr>
            </a:p>
          </p:txBody>
        </p:sp>
        <p:sp>
          <p:nvSpPr>
            <p:cNvPr id="138" name="Rechteck 137"/>
            <p:cNvSpPr/>
            <p:nvPr>
              <p:custDataLst>
                <p:tags r:id="rId50"/>
              </p:custDataLst>
            </p:nvPr>
          </p:nvSpPr>
          <p:spPr bwMode="gray">
            <a:xfrm flipH="1">
              <a:off x="2447764" y="3579998"/>
              <a:ext cx="2052228" cy="1224000"/>
            </a:xfrm>
            <a:prstGeom prst="rect">
              <a:avLst/>
            </a:prstGeom>
            <a:solidFill>
              <a:schemeClr val="bg1">
                <a:alpha val="5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46800" rIns="54000" rtlCol="0" anchor="t" anchorCtr="0"/>
            <a:lstStyle/>
            <a:p>
              <a:pPr>
                <a:buClr>
                  <a:srgbClr val="A30B1A"/>
                </a:buClr>
              </a:pPr>
              <a:r>
                <a:rPr lang="en-US" sz="1200" dirty="0">
                  <a:solidFill>
                    <a:srgbClr val="FF0000"/>
                  </a:solidFill>
                </a:rPr>
                <a:t>Site B</a:t>
              </a:r>
            </a:p>
          </p:txBody>
        </p:sp>
      </p:grpSp>
      <p:sp>
        <p:nvSpPr>
          <p:cNvPr id="139" name="Rechteck 138"/>
          <p:cNvSpPr/>
          <p:nvPr>
            <p:custDataLst>
              <p:tags r:id="rId11"/>
            </p:custDataLst>
          </p:nvPr>
        </p:nvSpPr>
        <p:spPr bwMode="gray">
          <a:xfrm flipH="1">
            <a:off x="539551" y="1058863"/>
            <a:ext cx="2016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ru-RU" sz="1600" spc="-20" dirty="0" smtClean="0">
                <a:solidFill>
                  <a:srgbClr val="FF0000"/>
                </a:solidFill>
              </a:rPr>
              <a:t>Отдельная лента на второй площадке</a:t>
            </a:r>
            <a:endParaRPr lang="en-US" sz="1600" spc="-20" dirty="0">
              <a:solidFill>
                <a:srgbClr val="FF0000"/>
              </a:solidFill>
            </a:endParaRPr>
          </a:p>
        </p:txBody>
      </p:sp>
      <p:cxnSp>
        <p:nvCxnSpPr>
          <p:cNvPr id="140" name="Gerade Verbindung 139"/>
          <p:cNvCxnSpPr/>
          <p:nvPr>
            <p:custDataLst>
              <p:tags r:id="rId12"/>
            </p:custDataLst>
          </p:nvPr>
        </p:nvCxnSpPr>
        <p:spPr bwMode="gray">
          <a:xfrm>
            <a:off x="539552" y="1634863"/>
            <a:ext cx="2016000" cy="0"/>
          </a:xfrm>
          <a:prstGeom prst="line">
            <a:avLst/>
          </a:prstGeom>
          <a:ln cap="rnd">
            <a:solidFill>
              <a:schemeClr val="accent1"/>
            </a:solidFill>
            <a:prstDash val="sysDot"/>
            <a:tailEnd type="oval" w="sm" len="sm"/>
          </a:ln>
        </p:spPr>
        <p:style>
          <a:lnRef idx="1">
            <a:schemeClr val="accent1"/>
          </a:lnRef>
          <a:fillRef idx="0">
            <a:schemeClr val="accent1"/>
          </a:fillRef>
          <a:effectRef idx="0">
            <a:schemeClr val="accent1"/>
          </a:effectRef>
          <a:fontRef idx="minor">
            <a:schemeClr val="tx1"/>
          </a:fontRef>
        </p:style>
      </p:cxnSp>
      <p:sp>
        <p:nvSpPr>
          <p:cNvPr id="141" name="Rechteck 140"/>
          <p:cNvSpPr/>
          <p:nvPr>
            <p:custDataLst>
              <p:tags r:id="rId13"/>
            </p:custDataLst>
          </p:nvPr>
        </p:nvSpPr>
        <p:spPr bwMode="gray">
          <a:xfrm flipH="1">
            <a:off x="3491880" y="1058863"/>
            <a:ext cx="2016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ru-RU" sz="1600" spc="-20" dirty="0" smtClean="0">
                <a:solidFill>
                  <a:srgbClr val="FF0000"/>
                </a:solidFill>
              </a:rPr>
              <a:t>Асинхронная реплика </a:t>
            </a:r>
            <a:endParaRPr lang="en-US" sz="1600" spc="-20" dirty="0">
              <a:solidFill>
                <a:srgbClr val="FF0000"/>
              </a:solidFill>
            </a:endParaRPr>
          </a:p>
        </p:txBody>
      </p:sp>
      <p:cxnSp>
        <p:nvCxnSpPr>
          <p:cNvPr id="142" name="Gerade Verbindung 141"/>
          <p:cNvCxnSpPr/>
          <p:nvPr>
            <p:custDataLst>
              <p:tags r:id="rId14"/>
            </p:custDataLst>
          </p:nvPr>
        </p:nvCxnSpPr>
        <p:spPr bwMode="gray">
          <a:xfrm>
            <a:off x="3503956" y="1634863"/>
            <a:ext cx="2016000" cy="0"/>
          </a:xfrm>
          <a:prstGeom prst="line">
            <a:avLst/>
          </a:prstGeom>
          <a:ln cap="rnd">
            <a:solidFill>
              <a:schemeClr val="accent1"/>
            </a:solidFill>
            <a:prstDash val="sysDot"/>
            <a:tailEnd type="oval" w="sm" len="sm"/>
          </a:ln>
        </p:spPr>
        <p:style>
          <a:lnRef idx="1">
            <a:schemeClr val="accent1"/>
          </a:lnRef>
          <a:fillRef idx="0">
            <a:schemeClr val="accent1"/>
          </a:fillRef>
          <a:effectRef idx="0">
            <a:schemeClr val="accent1"/>
          </a:effectRef>
          <a:fontRef idx="minor">
            <a:schemeClr val="tx1"/>
          </a:fontRef>
        </p:style>
      </p:cxnSp>
      <p:sp>
        <p:nvSpPr>
          <p:cNvPr id="144" name="Rechteck 143"/>
          <p:cNvSpPr/>
          <p:nvPr>
            <p:custDataLst>
              <p:tags r:id="rId15"/>
            </p:custDataLst>
          </p:nvPr>
        </p:nvSpPr>
        <p:spPr bwMode="gray">
          <a:xfrm flipH="1">
            <a:off x="6431884" y="1058863"/>
            <a:ext cx="2016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ru-RU" sz="1600" spc="-20" dirty="0" smtClean="0">
                <a:solidFill>
                  <a:srgbClr val="FF0000"/>
                </a:solidFill>
              </a:rPr>
              <a:t>Синхронное </a:t>
            </a:r>
            <a:r>
              <a:rPr lang="ru-RU" sz="1600" spc="-20" dirty="0" err="1" smtClean="0">
                <a:solidFill>
                  <a:srgbClr val="FF0000"/>
                </a:solidFill>
              </a:rPr>
              <a:t>зеркалирование</a:t>
            </a:r>
            <a:endParaRPr lang="en-US" sz="1600" spc="-20" dirty="0">
              <a:solidFill>
                <a:srgbClr val="FF0000"/>
              </a:solidFill>
            </a:endParaRPr>
          </a:p>
        </p:txBody>
      </p:sp>
      <p:cxnSp>
        <p:nvCxnSpPr>
          <p:cNvPr id="148" name="Gerade Verbindung 147"/>
          <p:cNvCxnSpPr/>
          <p:nvPr>
            <p:custDataLst>
              <p:tags r:id="rId16"/>
            </p:custDataLst>
          </p:nvPr>
        </p:nvCxnSpPr>
        <p:spPr bwMode="gray">
          <a:xfrm>
            <a:off x="6431884" y="1634863"/>
            <a:ext cx="2016000" cy="0"/>
          </a:xfrm>
          <a:prstGeom prst="line">
            <a:avLst/>
          </a:prstGeom>
          <a:ln cap="rnd">
            <a:solidFill>
              <a:schemeClr val="accent1"/>
            </a:solidFill>
            <a:prstDash val="sysDot"/>
            <a:tailEnd type="oval" w="sm" len="sm"/>
          </a:ln>
        </p:spPr>
        <p:style>
          <a:lnRef idx="1">
            <a:schemeClr val="accent1"/>
          </a:lnRef>
          <a:fillRef idx="0">
            <a:schemeClr val="accent1"/>
          </a:fillRef>
          <a:effectRef idx="0">
            <a:schemeClr val="accent1"/>
          </a:effectRef>
          <a:fontRef idx="minor">
            <a:schemeClr val="tx1"/>
          </a:fontRef>
        </p:style>
      </p:cxnSp>
      <p:sp>
        <p:nvSpPr>
          <p:cNvPr id="149" name="Rechteck 148"/>
          <p:cNvSpPr/>
          <p:nvPr>
            <p:custDataLst>
              <p:tags r:id="rId17"/>
            </p:custDataLst>
          </p:nvPr>
        </p:nvSpPr>
        <p:spPr bwMode="gray">
          <a:xfrm flipH="1">
            <a:off x="6443264" y="1707653"/>
            <a:ext cx="972580" cy="3096121"/>
          </a:xfrm>
          <a:prstGeom prst="rect">
            <a:avLst/>
          </a:prstGeom>
          <a:solidFill>
            <a:schemeClr val="bg1">
              <a:alpha val="5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46800" rIns="54000" rtlCol="0" anchor="t" anchorCtr="0"/>
          <a:lstStyle/>
          <a:p>
            <a:pPr>
              <a:buClr>
                <a:srgbClr val="A30B1A"/>
              </a:buClr>
            </a:pPr>
            <a:r>
              <a:rPr lang="en-US" sz="1200" dirty="0">
                <a:solidFill>
                  <a:srgbClr val="FF0000"/>
                </a:solidFill>
              </a:rPr>
              <a:t>Site A</a:t>
            </a:r>
          </a:p>
        </p:txBody>
      </p:sp>
      <p:sp>
        <p:nvSpPr>
          <p:cNvPr id="150" name="Rechteck 149"/>
          <p:cNvSpPr/>
          <p:nvPr>
            <p:custDataLst>
              <p:tags r:id="rId18"/>
            </p:custDataLst>
          </p:nvPr>
        </p:nvSpPr>
        <p:spPr bwMode="gray">
          <a:xfrm flipH="1">
            <a:off x="7487852" y="1707653"/>
            <a:ext cx="972580" cy="3096121"/>
          </a:xfrm>
          <a:prstGeom prst="rect">
            <a:avLst/>
          </a:prstGeom>
          <a:solidFill>
            <a:schemeClr val="bg1">
              <a:alpha val="5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46800" rIns="54000" rtlCol="0" anchor="t" anchorCtr="0"/>
          <a:lstStyle/>
          <a:p>
            <a:pPr>
              <a:buClr>
                <a:srgbClr val="A30B1A"/>
              </a:buClr>
            </a:pPr>
            <a:r>
              <a:rPr lang="en-US" sz="1200" dirty="0">
                <a:solidFill>
                  <a:srgbClr val="FF0000"/>
                </a:solidFill>
              </a:rPr>
              <a:t>Site B</a:t>
            </a:r>
          </a:p>
        </p:txBody>
      </p:sp>
      <p:sp>
        <p:nvSpPr>
          <p:cNvPr id="151" name="Rechteck 150"/>
          <p:cNvSpPr/>
          <p:nvPr>
            <p:custDataLst>
              <p:tags r:id="rId19"/>
            </p:custDataLst>
          </p:nvPr>
        </p:nvSpPr>
        <p:spPr bwMode="gray">
          <a:xfrm flipH="1">
            <a:off x="539552" y="1707653"/>
            <a:ext cx="972000" cy="3096122"/>
          </a:xfrm>
          <a:prstGeom prst="rect">
            <a:avLst/>
          </a:prstGeom>
          <a:solidFill>
            <a:schemeClr val="bg1">
              <a:alpha val="5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46800" rIns="54000" rtlCol="0" anchor="t" anchorCtr="0"/>
          <a:lstStyle/>
          <a:p>
            <a:pPr>
              <a:buClr>
                <a:srgbClr val="A30B1A"/>
              </a:buClr>
            </a:pPr>
            <a:r>
              <a:rPr lang="en-US" sz="1200" dirty="0">
                <a:solidFill>
                  <a:srgbClr val="FF0000"/>
                </a:solidFill>
              </a:rPr>
              <a:t>Site A</a:t>
            </a:r>
          </a:p>
        </p:txBody>
      </p:sp>
      <p:sp>
        <p:nvSpPr>
          <p:cNvPr id="152" name="Rechteck 151"/>
          <p:cNvSpPr/>
          <p:nvPr>
            <p:custDataLst>
              <p:tags r:id="rId20"/>
            </p:custDataLst>
          </p:nvPr>
        </p:nvSpPr>
        <p:spPr bwMode="gray">
          <a:xfrm flipH="1">
            <a:off x="1583668" y="3255714"/>
            <a:ext cx="972000" cy="1548060"/>
          </a:xfrm>
          <a:prstGeom prst="rect">
            <a:avLst/>
          </a:prstGeom>
          <a:solidFill>
            <a:schemeClr val="bg1">
              <a:alpha val="50000"/>
            </a:schemeClr>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46800" rIns="54000" rtlCol="0" anchor="t" anchorCtr="0"/>
          <a:lstStyle/>
          <a:p>
            <a:pPr>
              <a:buClr>
                <a:srgbClr val="A30B1A"/>
              </a:buClr>
            </a:pPr>
            <a:r>
              <a:rPr lang="en-US" sz="1200" dirty="0">
                <a:solidFill>
                  <a:srgbClr val="FF0000"/>
                </a:solidFill>
              </a:rPr>
              <a:t>Site B</a:t>
            </a:r>
          </a:p>
        </p:txBody>
      </p:sp>
      <p:sp>
        <p:nvSpPr>
          <p:cNvPr id="153" name="Rechteck 152"/>
          <p:cNvSpPr/>
          <p:nvPr>
            <p:custDataLst>
              <p:tags r:id="rId21"/>
            </p:custDataLst>
          </p:nvPr>
        </p:nvSpPr>
        <p:spPr bwMode="gray">
          <a:xfrm flipH="1">
            <a:off x="611560" y="1995686"/>
            <a:ext cx="828000" cy="576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108000" rIns="0" bIns="0" rtlCol="0" anchor="t" anchorCtr="0"/>
          <a:lstStyle/>
          <a:p>
            <a:pPr algn="ctr"/>
            <a:r>
              <a:rPr lang="en-US" sz="1200" dirty="0" smtClean="0">
                <a:solidFill>
                  <a:srgbClr val="FFFFFF"/>
                </a:solidFill>
              </a:rPr>
              <a:t>ETERNUS</a:t>
            </a:r>
            <a:br>
              <a:rPr lang="en-US" sz="1200" dirty="0" smtClean="0">
                <a:solidFill>
                  <a:srgbClr val="FFFFFF"/>
                </a:solidFill>
              </a:rPr>
            </a:br>
            <a:r>
              <a:rPr lang="en-US" sz="1200" dirty="0" smtClean="0">
                <a:solidFill>
                  <a:srgbClr val="FFFFFF"/>
                </a:solidFill>
              </a:rPr>
              <a:t>CS8000</a:t>
            </a:r>
            <a:endParaRPr lang="en-US" sz="1200" dirty="0">
              <a:solidFill>
                <a:srgbClr val="FFFFFF"/>
              </a:solidFill>
            </a:endParaRPr>
          </a:p>
        </p:txBody>
      </p:sp>
      <p:sp>
        <p:nvSpPr>
          <p:cNvPr id="154" name="Rechteck 153"/>
          <p:cNvSpPr/>
          <p:nvPr>
            <p:custDataLst>
              <p:tags r:id="rId22"/>
            </p:custDataLst>
          </p:nvPr>
        </p:nvSpPr>
        <p:spPr bwMode="gray">
          <a:xfrm flipH="1">
            <a:off x="3563888" y="1995686"/>
            <a:ext cx="1188132" cy="86409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chorCtr="0"/>
          <a:lstStyle/>
          <a:p>
            <a:r>
              <a:rPr lang="en-US" sz="1200" dirty="0" smtClean="0">
                <a:solidFill>
                  <a:srgbClr val="FFFFFF"/>
                </a:solidFill>
              </a:rPr>
              <a:t>ETERNUS</a:t>
            </a:r>
            <a:br>
              <a:rPr lang="en-US" sz="1200" dirty="0" smtClean="0">
                <a:solidFill>
                  <a:srgbClr val="FFFFFF"/>
                </a:solidFill>
              </a:rPr>
            </a:br>
            <a:r>
              <a:rPr lang="en-US" sz="1200" dirty="0" smtClean="0">
                <a:solidFill>
                  <a:srgbClr val="FFFFFF"/>
                </a:solidFill>
              </a:rPr>
              <a:t>CS8000</a:t>
            </a:r>
            <a:endParaRPr lang="en-US" sz="1200" dirty="0">
              <a:solidFill>
                <a:srgbClr val="FFFFFF"/>
              </a:solidFill>
            </a:endParaRPr>
          </a:p>
        </p:txBody>
      </p:sp>
      <p:sp>
        <p:nvSpPr>
          <p:cNvPr id="155" name="Flussdiagramm: Datenträger mit sequenziellem Zugriff 154"/>
          <p:cNvSpPr/>
          <p:nvPr>
            <p:custDataLst>
              <p:tags r:id="rId23"/>
            </p:custDataLst>
          </p:nvPr>
        </p:nvSpPr>
        <p:spPr bwMode="gray">
          <a:xfrm>
            <a:off x="5112092" y="2319738"/>
            <a:ext cx="288000" cy="288000"/>
          </a:xfrm>
          <a:prstGeom prst="flowChartMagneticTap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rgbClr val="000000"/>
              </a:solidFill>
            </a:endParaRPr>
          </a:p>
        </p:txBody>
      </p:sp>
      <p:grpSp>
        <p:nvGrpSpPr>
          <p:cNvPr id="156" name="Gruppieren 613"/>
          <p:cNvGrpSpPr>
            <a:grpSpLocks/>
          </p:cNvGrpSpPr>
          <p:nvPr>
            <p:custDataLst>
              <p:tags r:id="rId24"/>
            </p:custDataLst>
          </p:nvPr>
        </p:nvGrpSpPr>
        <p:grpSpPr bwMode="gray">
          <a:xfrm>
            <a:off x="3635896" y="2463738"/>
            <a:ext cx="291597" cy="323996"/>
            <a:chOff x="676031" y="3122487"/>
            <a:chExt cx="352800" cy="428107"/>
          </a:xfrm>
          <a:solidFill>
            <a:schemeClr val="bg1"/>
          </a:solidFill>
        </p:grpSpPr>
        <p:sp>
          <p:nvSpPr>
            <p:cNvPr id="157" name="Freeform 128"/>
            <p:cNvSpPr>
              <a:spLocks/>
            </p:cNvSpPr>
            <p:nvPr/>
          </p:nvSpPr>
          <p:spPr bwMode="gray">
            <a:xfrm>
              <a:off x="676031" y="3122487"/>
              <a:ext cx="352800" cy="128514"/>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endParaRPr>
            </a:p>
          </p:txBody>
        </p:sp>
        <p:sp>
          <p:nvSpPr>
            <p:cNvPr id="158" name="Freeform 138"/>
            <p:cNvSpPr>
              <a:spLocks/>
            </p:cNvSpPr>
            <p:nvPr/>
          </p:nvSpPr>
          <p:spPr bwMode="gray">
            <a:xfrm>
              <a:off x="678487" y="3239541"/>
              <a:ext cx="347070" cy="113780"/>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endParaRPr>
            </a:p>
          </p:txBody>
        </p:sp>
        <p:sp>
          <p:nvSpPr>
            <p:cNvPr id="159" name="Freeform 143"/>
            <p:cNvSpPr>
              <a:spLocks/>
            </p:cNvSpPr>
            <p:nvPr/>
          </p:nvSpPr>
          <p:spPr bwMode="gray">
            <a:xfrm>
              <a:off x="679305" y="3339405"/>
              <a:ext cx="347070" cy="110506"/>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endParaRPr>
            </a:p>
          </p:txBody>
        </p:sp>
        <p:sp>
          <p:nvSpPr>
            <p:cNvPr id="160" name="Freeform 147"/>
            <p:cNvSpPr>
              <a:spLocks/>
            </p:cNvSpPr>
            <p:nvPr/>
          </p:nvSpPr>
          <p:spPr bwMode="gray">
            <a:xfrm>
              <a:off x="678487" y="3440088"/>
              <a:ext cx="347888" cy="110506"/>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endParaRPr>
            </a:p>
          </p:txBody>
        </p:sp>
      </p:grpSp>
      <p:cxnSp>
        <p:nvCxnSpPr>
          <p:cNvPr id="161" name="Gerade Verbindung 160"/>
          <p:cNvCxnSpPr/>
          <p:nvPr>
            <p:custDataLst>
              <p:tags r:id="rId25"/>
            </p:custDataLst>
          </p:nvPr>
        </p:nvCxnSpPr>
        <p:spPr bwMode="gray">
          <a:xfrm>
            <a:off x="4824056" y="2463738"/>
            <a:ext cx="216000" cy="0"/>
          </a:xfrm>
          <a:prstGeom prst="line">
            <a:avLst/>
          </a:prstGeom>
          <a:noFill/>
          <a:ln w="12700">
            <a:solidFill>
              <a:schemeClr val="tx1"/>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162" name="Rechteck 161"/>
          <p:cNvSpPr/>
          <p:nvPr>
            <p:custDataLst>
              <p:tags r:id="rId26"/>
            </p:custDataLst>
          </p:nvPr>
        </p:nvSpPr>
        <p:spPr bwMode="gray">
          <a:xfrm flipH="1">
            <a:off x="3995936" y="2463738"/>
            <a:ext cx="576064" cy="32403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900" dirty="0" smtClean="0">
                <a:solidFill>
                  <a:srgbClr val="FFFFFF"/>
                </a:solidFill>
              </a:rPr>
              <a:t>VTL/</a:t>
            </a:r>
            <a:br>
              <a:rPr lang="en-US" sz="900" dirty="0" smtClean="0">
                <a:solidFill>
                  <a:srgbClr val="FFFFFF"/>
                </a:solidFill>
              </a:rPr>
            </a:br>
            <a:r>
              <a:rPr lang="en-US" sz="900" dirty="0" smtClean="0">
                <a:solidFill>
                  <a:srgbClr val="FFFFFF"/>
                </a:solidFill>
              </a:rPr>
              <a:t>NAS Disk</a:t>
            </a:r>
          </a:p>
        </p:txBody>
      </p:sp>
      <p:sp>
        <p:nvSpPr>
          <p:cNvPr id="163" name="Rechteck 162"/>
          <p:cNvSpPr/>
          <p:nvPr>
            <p:custDataLst>
              <p:tags r:id="rId27"/>
            </p:custDataLst>
          </p:nvPr>
        </p:nvSpPr>
        <p:spPr bwMode="gray">
          <a:xfrm flipH="1">
            <a:off x="6515744" y="1995686"/>
            <a:ext cx="1872208" cy="111612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chorCtr="0"/>
          <a:lstStyle/>
          <a:p>
            <a:r>
              <a:rPr lang="en-US" sz="1200" dirty="0" smtClean="0">
                <a:solidFill>
                  <a:srgbClr val="FFFFFF"/>
                </a:solidFill>
              </a:rPr>
              <a:t>ETERNUS CS8000</a:t>
            </a:r>
            <a:endParaRPr lang="en-US" sz="1200" dirty="0">
              <a:solidFill>
                <a:srgbClr val="FFFFFF"/>
              </a:solidFill>
            </a:endParaRPr>
          </a:p>
        </p:txBody>
      </p:sp>
      <p:sp>
        <p:nvSpPr>
          <p:cNvPr id="164" name="Rechteck 163"/>
          <p:cNvSpPr/>
          <p:nvPr>
            <p:custDataLst>
              <p:tags r:id="rId28"/>
            </p:custDataLst>
          </p:nvPr>
        </p:nvSpPr>
        <p:spPr bwMode="gray">
          <a:xfrm flipH="1">
            <a:off x="6515744" y="2283718"/>
            <a:ext cx="1872208" cy="32403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b="1" dirty="0">
                <a:solidFill>
                  <a:srgbClr val="FFFFFF"/>
                </a:solidFill>
              </a:rPr>
              <a:t>Cache Mirror</a:t>
            </a:r>
          </a:p>
        </p:txBody>
      </p:sp>
      <p:grpSp>
        <p:nvGrpSpPr>
          <p:cNvPr id="168" name="Gruppieren 167"/>
          <p:cNvGrpSpPr/>
          <p:nvPr>
            <p:custDataLst>
              <p:tags r:id="rId29"/>
            </p:custDataLst>
          </p:nvPr>
        </p:nvGrpSpPr>
        <p:grpSpPr bwMode="gray">
          <a:xfrm>
            <a:off x="7812124" y="2679762"/>
            <a:ext cx="324036" cy="324036"/>
            <a:chOff x="6192180" y="2679762"/>
            <a:chExt cx="324036" cy="324036"/>
          </a:xfrm>
        </p:grpSpPr>
        <p:sp>
          <p:nvSpPr>
            <p:cNvPr id="169" name="Ellipse 168"/>
            <p:cNvSpPr/>
            <p:nvPr>
              <p:custDataLst>
                <p:tags r:id="rId47"/>
              </p:custDataLst>
            </p:nvPr>
          </p:nvSpPr>
          <p:spPr bwMode="gray">
            <a:xfrm>
              <a:off x="6192180" y="2679762"/>
              <a:ext cx="324036" cy="324036"/>
            </a:xfrm>
            <a:prstGeom prst="ellipse">
              <a:avLst/>
            </a:prstGeom>
            <a:noFill/>
            <a:ln w="127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rgbClr val="000000"/>
                </a:solidFill>
              </a:endParaRPr>
            </a:p>
          </p:txBody>
        </p:sp>
        <p:sp>
          <p:nvSpPr>
            <p:cNvPr id="170" name="Pfeil nach rechts 169"/>
            <p:cNvSpPr/>
            <p:nvPr>
              <p:custDataLst>
                <p:tags r:id="rId48"/>
              </p:custDataLst>
            </p:nvPr>
          </p:nvSpPr>
          <p:spPr bwMode="gray">
            <a:xfrm>
              <a:off x="6264188" y="2769772"/>
              <a:ext cx="180020" cy="144016"/>
            </a:xfrm>
            <a:prstGeom prst="rightArrow">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rgbClr val="000000"/>
                </a:solidFill>
              </a:endParaRPr>
            </a:p>
          </p:txBody>
        </p:sp>
      </p:grpSp>
      <p:grpSp>
        <p:nvGrpSpPr>
          <p:cNvPr id="171" name="Gruppieren 170"/>
          <p:cNvGrpSpPr/>
          <p:nvPr>
            <p:custDataLst>
              <p:tags r:id="rId30"/>
            </p:custDataLst>
          </p:nvPr>
        </p:nvGrpSpPr>
        <p:grpSpPr bwMode="gray">
          <a:xfrm>
            <a:off x="6767536" y="2679762"/>
            <a:ext cx="324036" cy="324036"/>
            <a:chOff x="4860032" y="2679762"/>
            <a:chExt cx="324036" cy="324036"/>
          </a:xfrm>
        </p:grpSpPr>
        <p:sp>
          <p:nvSpPr>
            <p:cNvPr id="172" name="Ellipse 171"/>
            <p:cNvSpPr/>
            <p:nvPr>
              <p:custDataLst>
                <p:tags r:id="rId45"/>
              </p:custDataLst>
            </p:nvPr>
          </p:nvSpPr>
          <p:spPr bwMode="gray">
            <a:xfrm>
              <a:off x="4860032" y="2679762"/>
              <a:ext cx="324036" cy="324036"/>
            </a:xfrm>
            <a:prstGeom prst="ellipse">
              <a:avLst/>
            </a:prstGeom>
            <a:noFill/>
            <a:ln w="127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rgbClr val="000000"/>
                </a:solidFill>
              </a:endParaRPr>
            </a:p>
          </p:txBody>
        </p:sp>
        <p:sp>
          <p:nvSpPr>
            <p:cNvPr id="174" name="Pfeil nach rechts 173"/>
            <p:cNvSpPr/>
            <p:nvPr>
              <p:custDataLst>
                <p:tags r:id="rId46"/>
              </p:custDataLst>
            </p:nvPr>
          </p:nvSpPr>
          <p:spPr bwMode="gray">
            <a:xfrm flipH="1">
              <a:off x="4932040" y="2769772"/>
              <a:ext cx="180020" cy="144016"/>
            </a:xfrm>
            <a:prstGeom prst="rightArrow">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rgbClr val="000000"/>
                </a:solidFill>
              </a:endParaRPr>
            </a:p>
          </p:txBody>
        </p:sp>
      </p:grpSp>
      <p:sp>
        <p:nvSpPr>
          <p:cNvPr id="175" name="Flussdiagramm: Datenträger mit sequenziellem Zugriff 174"/>
          <p:cNvSpPr/>
          <p:nvPr>
            <p:custDataLst>
              <p:tags r:id="rId31"/>
            </p:custDataLst>
          </p:nvPr>
        </p:nvSpPr>
        <p:spPr bwMode="gray">
          <a:xfrm>
            <a:off x="6785554" y="4155942"/>
            <a:ext cx="288000" cy="288000"/>
          </a:xfrm>
          <a:prstGeom prst="flowChartMagneticTap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rgbClr val="000000"/>
              </a:solidFill>
            </a:endParaRPr>
          </a:p>
        </p:txBody>
      </p:sp>
      <p:sp>
        <p:nvSpPr>
          <p:cNvPr id="178" name="Flussdiagramm: Datenträger mit sequenziellem Zugriff 177"/>
          <p:cNvSpPr/>
          <p:nvPr>
            <p:custDataLst>
              <p:tags r:id="rId32"/>
            </p:custDataLst>
          </p:nvPr>
        </p:nvSpPr>
        <p:spPr bwMode="gray">
          <a:xfrm>
            <a:off x="7830142" y="4155942"/>
            <a:ext cx="288000" cy="288000"/>
          </a:xfrm>
          <a:prstGeom prst="flowChartMagneticTap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rgbClr val="000000"/>
              </a:solidFill>
            </a:endParaRPr>
          </a:p>
        </p:txBody>
      </p:sp>
      <p:cxnSp>
        <p:nvCxnSpPr>
          <p:cNvPr id="179" name="Gerade Verbindung 178"/>
          <p:cNvCxnSpPr/>
          <p:nvPr>
            <p:custDataLst>
              <p:tags r:id="rId33"/>
            </p:custDataLst>
          </p:nvPr>
        </p:nvCxnSpPr>
        <p:spPr bwMode="gray">
          <a:xfrm>
            <a:off x="6929554" y="3183818"/>
            <a:ext cx="0" cy="900000"/>
          </a:xfrm>
          <a:prstGeom prst="line">
            <a:avLst/>
          </a:prstGeom>
          <a:noFill/>
          <a:ln w="12700">
            <a:solidFill>
              <a:schemeClr val="tx1"/>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cxnSp>
      <p:cxnSp>
        <p:nvCxnSpPr>
          <p:cNvPr id="180" name="Gerade Verbindung 179"/>
          <p:cNvCxnSpPr/>
          <p:nvPr>
            <p:custDataLst>
              <p:tags r:id="rId34"/>
            </p:custDataLst>
          </p:nvPr>
        </p:nvCxnSpPr>
        <p:spPr bwMode="gray">
          <a:xfrm>
            <a:off x="7974142" y="3183818"/>
            <a:ext cx="0" cy="900000"/>
          </a:xfrm>
          <a:prstGeom prst="line">
            <a:avLst/>
          </a:prstGeom>
          <a:noFill/>
          <a:ln w="12700">
            <a:solidFill>
              <a:schemeClr val="tx1"/>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181" name="Rechteck 180"/>
          <p:cNvSpPr/>
          <p:nvPr>
            <p:custDataLst>
              <p:tags r:id="rId35"/>
            </p:custDataLst>
          </p:nvPr>
        </p:nvSpPr>
        <p:spPr bwMode="gray">
          <a:xfrm flipH="1">
            <a:off x="4283968" y="3867894"/>
            <a:ext cx="1188132" cy="864096"/>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t" anchorCtr="0"/>
          <a:lstStyle/>
          <a:p>
            <a:pPr algn="r"/>
            <a:r>
              <a:rPr lang="en-US" sz="1200" dirty="0" smtClean="0">
                <a:solidFill>
                  <a:srgbClr val="FFFFFF"/>
                </a:solidFill>
              </a:rPr>
              <a:t>ETERNUS</a:t>
            </a:r>
            <a:br>
              <a:rPr lang="en-US" sz="1200" dirty="0" smtClean="0">
                <a:solidFill>
                  <a:srgbClr val="FFFFFF"/>
                </a:solidFill>
              </a:rPr>
            </a:br>
            <a:r>
              <a:rPr lang="en-US" sz="1200" dirty="0" smtClean="0">
                <a:solidFill>
                  <a:srgbClr val="FFFFFF"/>
                </a:solidFill>
              </a:rPr>
              <a:t>CS8000</a:t>
            </a:r>
            <a:endParaRPr lang="en-US" sz="1200" dirty="0">
              <a:solidFill>
                <a:srgbClr val="FFFFFF"/>
              </a:solidFill>
            </a:endParaRPr>
          </a:p>
        </p:txBody>
      </p:sp>
      <p:grpSp>
        <p:nvGrpSpPr>
          <p:cNvPr id="185" name="Gruppieren 613"/>
          <p:cNvGrpSpPr>
            <a:grpSpLocks/>
          </p:cNvGrpSpPr>
          <p:nvPr>
            <p:custDataLst>
              <p:tags r:id="rId36"/>
            </p:custDataLst>
          </p:nvPr>
        </p:nvGrpSpPr>
        <p:grpSpPr bwMode="gray">
          <a:xfrm>
            <a:off x="5112060" y="4335946"/>
            <a:ext cx="291597" cy="323996"/>
            <a:chOff x="676031" y="3122487"/>
            <a:chExt cx="352800" cy="428107"/>
          </a:xfrm>
          <a:solidFill>
            <a:schemeClr val="bg1"/>
          </a:solidFill>
        </p:grpSpPr>
        <p:sp>
          <p:nvSpPr>
            <p:cNvPr id="186" name="Freeform 128"/>
            <p:cNvSpPr>
              <a:spLocks/>
            </p:cNvSpPr>
            <p:nvPr/>
          </p:nvSpPr>
          <p:spPr bwMode="gray">
            <a:xfrm>
              <a:off x="676031" y="3122487"/>
              <a:ext cx="352800" cy="128514"/>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endParaRPr>
            </a:p>
          </p:txBody>
        </p:sp>
        <p:sp>
          <p:nvSpPr>
            <p:cNvPr id="187" name="Freeform 138"/>
            <p:cNvSpPr>
              <a:spLocks/>
            </p:cNvSpPr>
            <p:nvPr/>
          </p:nvSpPr>
          <p:spPr bwMode="gray">
            <a:xfrm>
              <a:off x="678487" y="3239541"/>
              <a:ext cx="347070" cy="113780"/>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endParaRPr>
            </a:p>
          </p:txBody>
        </p:sp>
        <p:sp>
          <p:nvSpPr>
            <p:cNvPr id="188" name="Freeform 143"/>
            <p:cNvSpPr>
              <a:spLocks/>
            </p:cNvSpPr>
            <p:nvPr/>
          </p:nvSpPr>
          <p:spPr bwMode="gray">
            <a:xfrm>
              <a:off x="679305" y="3339405"/>
              <a:ext cx="347070" cy="110506"/>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endParaRPr>
            </a:p>
          </p:txBody>
        </p:sp>
        <p:sp>
          <p:nvSpPr>
            <p:cNvPr id="189" name="Freeform 147"/>
            <p:cNvSpPr>
              <a:spLocks/>
            </p:cNvSpPr>
            <p:nvPr/>
          </p:nvSpPr>
          <p:spPr bwMode="gray">
            <a:xfrm>
              <a:off x="678487" y="3440088"/>
              <a:ext cx="347888" cy="110506"/>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endParaRPr>
            </a:p>
          </p:txBody>
        </p:sp>
      </p:grpSp>
      <p:sp>
        <p:nvSpPr>
          <p:cNvPr id="190" name="Rechteck 189"/>
          <p:cNvSpPr/>
          <p:nvPr>
            <p:custDataLst>
              <p:tags r:id="rId37"/>
            </p:custDataLst>
          </p:nvPr>
        </p:nvSpPr>
        <p:spPr bwMode="gray">
          <a:xfrm flipH="1">
            <a:off x="4463988" y="4335946"/>
            <a:ext cx="576064" cy="32403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900" dirty="0" smtClean="0">
                <a:solidFill>
                  <a:srgbClr val="FFFFFF"/>
                </a:solidFill>
              </a:rPr>
              <a:t>VTL/</a:t>
            </a:r>
            <a:br>
              <a:rPr lang="en-US" sz="900" dirty="0" smtClean="0">
                <a:solidFill>
                  <a:srgbClr val="FFFFFF"/>
                </a:solidFill>
              </a:rPr>
            </a:br>
            <a:r>
              <a:rPr lang="en-US" sz="900" dirty="0" smtClean="0">
                <a:solidFill>
                  <a:srgbClr val="FFFFFF"/>
                </a:solidFill>
              </a:rPr>
              <a:t>NAS Disk</a:t>
            </a:r>
          </a:p>
        </p:txBody>
      </p:sp>
      <p:sp>
        <p:nvSpPr>
          <p:cNvPr id="191" name="Flussdiagramm: Datenträger mit sequenziellem Zugriff 190"/>
          <p:cNvSpPr/>
          <p:nvPr>
            <p:custDataLst>
              <p:tags r:id="rId38"/>
            </p:custDataLst>
          </p:nvPr>
        </p:nvSpPr>
        <p:spPr bwMode="gray">
          <a:xfrm>
            <a:off x="3635924" y="4155942"/>
            <a:ext cx="288000" cy="288000"/>
          </a:xfrm>
          <a:prstGeom prst="flowChartMagneticTap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rgbClr val="000000"/>
              </a:solidFill>
            </a:endParaRPr>
          </a:p>
        </p:txBody>
      </p:sp>
      <p:cxnSp>
        <p:nvCxnSpPr>
          <p:cNvPr id="192" name="Gerade Verbindung 191"/>
          <p:cNvCxnSpPr/>
          <p:nvPr>
            <p:custDataLst>
              <p:tags r:id="rId39"/>
            </p:custDataLst>
          </p:nvPr>
        </p:nvCxnSpPr>
        <p:spPr bwMode="gray">
          <a:xfrm flipH="1">
            <a:off x="3995960" y="4299942"/>
            <a:ext cx="216000" cy="0"/>
          </a:xfrm>
          <a:prstGeom prst="line">
            <a:avLst/>
          </a:prstGeom>
          <a:noFill/>
          <a:ln w="12700">
            <a:solidFill>
              <a:schemeClr val="tx1"/>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193" name="Flussdiagramm: Datenträger mit sequenziellem Zugriff 192"/>
          <p:cNvSpPr/>
          <p:nvPr>
            <p:custDataLst>
              <p:tags r:id="rId40"/>
            </p:custDataLst>
          </p:nvPr>
        </p:nvSpPr>
        <p:spPr bwMode="gray">
          <a:xfrm>
            <a:off x="1925668" y="4155942"/>
            <a:ext cx="288000" cy="288000"/>
          </a:xfrm>
          <a:prstGeom prst="flowChartMagneticTap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rgbClr val="000000"/>
              </a:solidFill>
            </a:endParaRPr>
          </a:p>
        </p:txBody>
      </p:sp>
      <p:sp>
        <p:nvSpPr>
          <p:cNvPr id="194" name="Flussdiagramm: Datenträger mit sequenziellem Zugriff 193"/>
          <p:cNvSpPr/>
          <p:nvPr>
            <p:custDataLst>
              <p:tags r:id="rId41"/>
            </p:custDataLst>
          </p:nvPr>
        </p:nvSpPr>
        <p:spPr bwMode="gray">
          <a:xfrm>
            <a:off x="881552" y="4155942"/>
            <a:ext cx="288000" cy="288000"/>
          </a:xfrm>
          <a:prstGeom prst="flowChartMagneticTap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rgbClr val="000000"/>
              </a:solidFill>
            </a:endParaRPr>
          </a:p>
        </p:txBody>
      </p:sp>
      <p:cxnSp>
        <p:nvCxnSpPr>
          <p:cNvPr id="195" name="Gerade Verbindung 194"/>
          <p:cNvCxnSpPr/>
          <p:nvPr>
            <p:custDataLst>
              <p:tags r:id="rId42"/>
            </p:custDataLst>
          </p:nvPr>
        </p:nvCxnSpPr>
        <p:spPr bwMode="gray">
          <a:xfrm>
            <a:off x="1025552" y="2643758"/>
            <a:ext cx="0" cy="1440060"/>
          </a:xfrm>
          <a:prstGeom prst="line">
            <a:avLst/>
          </a:prstGeom>
          <a:noFill/>
          <a:ln w="12700">
            <a:solidFill>
              <a:schemeClr val="tx1"/>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196" name="Freihandform 195"/>
          <p:cNvSpPr/>
          <p:nvPr>
            <p:custDataLst>
              <p:tags r:id="rId43"/>
            </p:custDataLst>
          </p:nvPr>
        </p:nvSpPr>
        <p:spPr bwMode="gray">
          <a:xfrm>
            <a:off x="1151620" y="2643758"/>
            <a:ext cx="936104" cy="1440160"/>
          </a:xfrm>
          <a:custGeom>
            <a:avLst/>
            <a:gdLst>
              <a:gd name="connsiteX0" fmla="*/ 0 w 777240"/>
              <a:gd name="connsiteY0" fmla="*/ 0 h 1363980"/>
              <a:gd name="connsiteX1" fmla="*/ 0 w 777240"/>
              <a:gd name="connsiteY1" fmla="*/ 952500 h 1363980"/>
              <a:gd name="connsiteX2" fmla="*/ 777240 w 777240"/>
              <a:gd name="connsiteY2" fmla="*/ 952500 h 1363980"/>
              <a:gd name="connsiteX3" fmla="*/ 777240 w 777240"/>
              <a:gd name="connsiteY3" fmla="*/ 1363980 h 1363980"/>
            </a:gdLst>
            <a:ahLst/>
            <a:cxnLst>
              <a:cxn ang="0">
                <a:pos x="connsiteX0" y="connsiteY0"/>
              </a:cxn>
              <a:cxn ang="0">
                <a:pos x="connsiteX1" y="connsiteY1"/>
              </a:cxn>
              <a:cxn ang="0">
                <a:pos x="connsiteX2" y="connsiteY2"/>
              </a:cxn>
              <a:cxn ang="0">
                <a:pos x="connsiteX3" y="connsiteY3"/>
              </a:cxn>
            </a:cxnLst>
            <a:rect l="l" t="t" r="r" b="b"/>
            <a:pathLst>
              <a:path w="777240" h="1363980">
                <a:moveTo>
                  <a:pt x="0" y="0"/>
                </a:moveTo>
                <a:lnTo>
                  <a:pt x="0" y="952500"/>
                </a:lnTo>
                <a:lnTo>
                  <a:pt x="777240" y="952500"/>
                </a:lnTo>
                <a:lnTo>
                  <a:pt x="777240" y="1363980"/>
                </a:lnTo>
              </a:path>
            </a:pathLst>
          </a:custGeom>
          <a:noFill/>
          <a:ln w="12700">
            <a:solidFill>
              <a:schemeClr val="tx1"/>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cxnSp>
        <p:nvCxnSpPr>
          <p:cNvPr id="197" name="Gerade Verbindung 196"/>
          <p:cNvCxnSpPr/>
          <p:nvPr>
            <p:custDataLst>
              <p:tags r:id="rId44"/>
            </p:custDataLst>
          </p:nvPr>
        </p:nvCxnSpPr>
        <p:spPr bwMode="gray">
          <a:xfrm>
            <a:off x="4535996" y="2931790"/>
            <a:ext cx="0" cy="864000"/>
          </a:xfrm>
          <a:prstGeom prst="line">
            <a:avLst/>
          </a:prstGeom>
          <a:noFill/>
          <a:ln w="12700">
            <a:solidFill>
              <a:schemeClr val="tx1"/>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198" name="Fußzeilenplatzhalter 3"/>
          <p:cNvSpPr>
            <a:spLocks noGrp="1"/>
          </p:cNvSpPr>
          <p:nvPr>
            <p:ph type="ftr" sz="quarter" idx="4294967295"/>
          </p:nvPr>
        </p:nvSpPr>
        <p:spPr>
          <a:xfrm>
            <a:off x="4929575" y="4937125"/>
            <a:ext cx="3963600" cy="201600"/>
          </a:xfrm>
          <a:prstGeom prst="rect">
            <a:avLst/>
          </a:prstGeom>
        </p:spPr>
        <p:txBody>
          <a:bodyPr/>
          <a:lstStyle/>
          <a:p>
            <a:pPr algn="r" fontAlgn="base"/>
            <a:endParaRPr lang="de-DE" dirty="0">
              <a:solidFill>
                <a:srgbClr val="000000"/>
              </a:solidFill>
            </a:endParaRPr>
          </a:p>
        </p:txBody>
      </p:sp>
    </p:spTree>
    <p:extLst>
      <p:ext uri="{BB962C8B-B14F-4D97-AF65-F5344CB8AC3E}">
        <p14:creationId xmlns:p14="http://schemas.microsoft.com/office/powerpoint/2010/main" val="8935832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2"/>
                                        </p:tgtEl>
                                        <p:attrNameLst>
                                          <p:attrName>style.visibility</p:attrName>
                                        </p:attrNameLst>
                                      </p:cBhvr>
                                      <p:to>
                                        <p:strVal val="visible"/>
                                      </p:to>
                                    </p:set>
                                    <p:animEffect transition="in" filter="fade">
                                      <p:cBhvr>
                                        <p:cTn id="7" dur="500"/>
                                        <p:tgtEl>
                                          <p:spTgt spid="1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1"/>
                                        </p:tgtEl>
                                        <p:attrNameLst>
                                          <p:attrName>style.visibility</p:attrName>
                                        </p:attrNameLst>
                                      </p:cBhvr>
                                      <p:to>
                                        <p:strVal val="visible"/>
                                      </p:to>
                                    </p:set>
                                    <p:animEffect transition="in" filter="fade">
                                      <p:cBhvr>
                                        <p:cTn id="10" dur="500"/>
                                        <p:tgtEl>
                                          <p:spTgt spid="141"/>
                                        </p:tgtEl>
                                      </p:cBhvr>
                                    </p:animEffect>
                                  </p:childTnLst>
                                </p:cTn>
                              </p:par>
                              <p:par>
                                <p:cTn id="11" presetID="10" presetClass="entr" presetSubtype="0" fill="hold" nodeType="withEffect">
                                  <p:stCondLst>
                                    <p:cond delay="0"/>
                                  </p:stCondLst>
                                  <p:childTnLst>
                                    <p:set>
                                      <p:cBhvr>
                                        <p:cTn id="12" dur="1" fill="hold">
                                          <p:stCondLst>
                                            <p:cond delay="0"/>
                                          </p:stCondLst>
                                        </p:cTn>
                                        <p:tgtEl>
                                          <p:spTgt spid="142"/>
                                        </p:tgtEl>
                                        <p:attrNameLst>
                                          <p:attrName>style.visibility</p:attrName>
                                        </p:attrNameLst>
                                      </p:cBhvr>
                                      <p:to>
                                        <p:strVal val="visible"/>
                                      </p:to>
                                    </p:set>
                                    <p:animEffect transition="in" filter="fade">
                                      <p:cBhvr>
                                        <p:cTn id="13" dur="500"/>
                                        <p:tgtEl>
                                          <p:spTgt spid="14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54"/>
                                        </p:tgtEl>
                                        <p:attrNameLst>
                                          <p:attrName>style.visibility</p:attrName>
                                        </p:attrNameLst>
                                      </p:cBhvr>
                                      <p:to>
                                        <p:strVal val="visible"/>
                                      </p:to>
                                    </p:set>
                                    <p:animEffect transition="in" filter="fade">
                                      <p:cBhvr>
                                        <p:cTn id="16" dur="500"/>
                                        <p:tgtEl>
                                          <p:spTgt spid="15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55"/>
                                        </p:tgtEl>
                                        <p:attrNameLst>
                                          <p:attrName>style.visibility</p:attrName>
                                        </p:attrNameLst>
                                      </p:cBhvr>
                                      <p:to>
                                        <p:strVal val="visible"/>
                                      </p:to>
                                    </p:set>
                                    <p:animEffect transition="in" filter="fade">
                                      <p:cBhvr>
                                        <p:cTn id="19" dur="500"/>
                                        <p:tgtEl>
                                          <p:spTgt spid="155"/>
                                        </p:tgtEl>
                                      </p:cBhvr>
                                    </p:animEffect>
                                  </p:childTnLst>
                                </p:cTn>
                              </p:par>
                              <p:par>
                                <p:cTn id="20" presetID="10" presetClass="entr" presetSubtype="0" fill="hold" nodeType="withEffect">
                                  <p:stCondLst>
                                    <p:cond delay="0"/>
                                  </p:stCondLst>
                                  <p:childTnLst>
                                    <p:set>
                                      <p:cBhvr>
                                        <p:cTn id="21" dur="1" fill="hold">
                                          <p:stCondLst>
                                            <p:cond delay="0"/>
                                          </p:stCondLst>
                                        </p:cTn>
                                        <p:tgtEl>
                                          <p:spTgt spid="156"/>
                                        </p:tgtEl>
                                        <p:attrNameLst>
                                          <p:attrName>style.visibility</p:attrName>
                                        </p:attrNameLst>
                                      </p:cBhvr>
                                      <p:to>
                                        <p:strVal val="visible"/>
                                      </p:to>
                                    </p:set>
                                    <p:animEffect transition="in" filter="fade">
                                      <p:cBhvr>
                                        <p:cTn id="22" dur="500"/>
                                        <p:tgtEl>
                                          <p:spTgt spid="156"/>
                                        </p:tgtEl>
                                      </p:cBhvr>
                                    </p:animEffect>
                                  </p:childTnLst>
                                </p:cTn>
                              </p:par>
                              <p:par>
                                <p:cTn id="23" presetID="10" presetClass="entr" presetSubtype="0" fill="hold" nodeType="withEffect">
                                  <p:stCondLst>
                                    <p:cond delay="0"/>
                                  </p:stCondLst>
                                  <p:childTnLst>
                                    <p:set>
                                      <p:cBhvr>
                                        <p:cTn id="24" dur="1" fill="hold">
                                          <p:stCondLst>
                                            <p:cond delay="0"/>
                                          </p:stCondLst>
                                        </p:cTn>
                                        <p:tgtEl>
                                          <p:spTgt spid="161"/>
                                        </p:tgtEl>
                                        <p:attrNameLst>
                                          <p:attrName>style.visibility</p:attrName>
                                        </p:attrNameLst>
                                      </p:cBhvr>
                                      <p:to>
                                        <p:strVal val="visible"/>
                                      </p:to>
                                    </p:set>
                                    <p:animEffect transition="in" filter="fade">
                                      <p:cBhvr>
                                        <p:cTn id="25" dur="500"/>
                                        <p:tgtEl>
                                          <p:spTgt spid="16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62"/>
                                        </p:tgtEl>
                                        <p:attrNameLst>
                                          <p:attrName>style.visibility</p:attrName>
                                        </p:attrNameLst>
                                      </p:cBhvr>
                                      <p:to>
                                        <p:strVal val="visible"/>
                                      </p:to>
                                    </p:set>
                                    <p:animEffect transition="in" filter="fade">
                                      <p:cBhvr>
                                        <p:cTn id="28" dur="500"/>
                                        <p:tgtEl>
                                          <p:spTgt spid="16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81"/>
                                        </p:tgtEl>
                                        <p:attrNameLst>
                                          <p:attrName>style.visibility</p:attrName>
                                        </p:attrNameLst>
                                      </p:cBhvr>
                                      <p:to>
                                        <p:strVal val="visible"/>
                                      </p:to>
                                    </p:set>
                                    <p:animEffect transition="in" filter="fade">
                                      <p:cBhvr>
                                        <p:cTn id="31" dur="500"/>
                                        <p:tgtEl>
                                          <p:spTgt spid="181"/>
                                        </p:tgtEl>
                                      </p:cBhvr>
                                    </p:animEffect>
                                  </p:childTnLst>
                                </p:cTn>
                              </p:par>
                              <p:par>
                                <p:cTn id="32" presetID="10" presetClass="entr" presetSubtype="0" fill="hold" nodeType="withEffect">
                                  <p:stCondLst>
                                    <p:cond delay="0"/>
                                  </p:stCondLst>
                                  <p:childTnLst>
                                    <p:set>
                                      <p:cBhvr>
                                        <p:cTn id="33" dur="1" fill="hold">
                                          <p:stCondLst>
                                            <p:cond delay="0"/>
                                          </p:stCondLst>
                                        </p:cTn>
                                        <p:tgtEl>
                                          <p:spTgt spid="185"/>
                                        </p:tgtEl>
                                        <p:attrNameLst>
                                          <p:attrName>style.visibility</p:attrName>
                                        </p:attrNameLst>
                                      </p:cBhvr>
                                      <p:to>
                                        <p:strVal val="visible"/>
                                      </p:to>
                                    </p:set>
                                    <p:animEffect transition="in" filter="fade">
                                      <p:cBhvr>
                                        <p:cTn id="34" dur="500"/>
                                        <p:tgtEl>
                                          <p:spTgt spid="18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90"/>
                                        </p:tgtEl>
                                        <p:attrNameLst>
                                          <p:attrName>style.visibility</p:attrName>
                                        </p:attrNameLst>
                                      </p:cBhvr>
                                      <p:to>
                                        <p:strVal val="visible"/>
                                      </p:to>
                                    </p:set>
                                    <p:animEffect transition="in" filter="fade">
                                      <p:cBhvr>
                                        <p:cTn id="37" dur="500"/>
                                        <p:tgtEl>
                                          <p:spTgt spid="19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91"/>
                                        </p:tgtEl>
                                        <p:attrNameLst>
                                          <p:attrName>style.visibility</p:attrName>
                                        </p:attrNameLst>
                                      </p:cBhvr>
                                      <p:to>
                                        <p:strVal val="visible"/>
                                      </p:to>
                                    </p:set>
                                    <p:animEffect transition="in" filter="fade">
                                      <p:cBhvr>
                                        <p:cTn id="40" dur="500"/>
                                        <p:tgtEl>
                                          <p:spTgt spid="191"/>
                                        </p:tgtEl>
                                      </p:cBhvr>
                                    </p:animEffect>
                                  </p:childTnLst>
                                </p:cTn>
                              </p:par>
                              <p:par>
                                <p:cTn id="41" presetID="10" presetClass="entr" presetSubtype="0" fill="hold" nodeType="withEffect">
                                  <p:stCondLst>
                                    <p:cond delay="0"/>
                                  </p:stCondLst>
                                  <p:childTnLst>
                                    <p:set>
                                      <p:cBhvr>
                                        <p:cTn id="42" dur="1" fill="hold">
                                          <p:stCondLst>
                                            <p:cond delay="0"/>
                                          </p:stCondLst>
                                        </p:cTn>
                                        <p:tgtEl>
                                          <p:spTgt spid="192"/>
                                        </p:tgtEl>
                                        <p:attrNameLst>
                                          <p:attrName>style.visibility</p:attrName>
                                        </p:attrNameLst>
                                      </p:cBhvr>
                                      <p:to>
                                        <p:strVal val="visible"/>
                                      </p:to>
                                    </p:set>
                                    <p:animEffect transition="in" filter="fade">
                                      <p:cBhvr>
                                        <p:cTn id="43" dur="500"/>
                                        <p:tgtEl>
                                          <p:spTgt spid="192"/>
                                        </p:tgtEl>
                                      </p:cBhvr>
                                    </p:animEffect>
                                  </p:childTnLst>
                                </p:cTn>
                              </p:par>
                              <p:par>
                                <p:cTn id="44" presetID="10" presetClass="entr" presetSubtype="0" fill="hold" nodeType="withEffect">
                                  <p:stCondLst>
                                    <p:cond delay="0"/>
                                  </p:stCondLst>
                                  <p:childTnLst>
                                    <p:set>
                                      <p:cBhvr>
                                        <p:cTn id="45" dur="1" fill="hold">
                                          <p:stCondLst>
                                            <p:cond delay="0"/>
                                          </p:stCondLst>
                                        </p:cTn>
                                        <p:tgtEl>
                                          <p:spTgt spid="133"/>
                                        </p:tgtEl>
                                        <p:attrNameLst>
                                          <p:attrName>style.visibility</p:attrName>
                                        </p:attrNameLst>
                                      </p:cBhvr>
                                      <p:to>
                                        <p:strVal val="visible"/>
                                      </p:to>
                                    </p:set>
                                    <p:animEffect transition="in" filter="fade">
                                      <p:cBhvr>
                                        <p:cTn id="46" dur="500"/>
                                        <p:tgtEl>
                                          <p:spTgt spid="133"/>
                                        </p:tgtEl>
                                      </p:cBhvr>
                                    </p:animEffect>
                                  </p:childTnLst>
                                </p:cTn>
                              </p:par>
                              <p:par>
                                <p:cTn id="47" presetID="10" presetClass="entr" presetSubtype="0" fill="hold" nodeType="withEffect">
                                  <p:stCondLst>
                                    <p:cond delay="0"/>
                                  </p:stCondLst>
                                  <p:childTnLst>
                                    <p:set>
                                      <p:cBhvr>
                                        <p:cTn id="48" dur="1" fill="hold">
                                          <p:stCondLst>
                                            <p:cond delay="0"/>
                                          </p:stCondLst>
                                        </p:cTn>
                                        <p:tgtEl>
                                          <p:spTgt spid="136"/>
                                        </p:tgtEl>
                                        <p:attrNameLst>
                                          <p:attrName>style.visibility</p:attrName>
                                        </p:attrNameLst>
                                      </p:cBhvr>
                                      <p:to>
                                        <p:strVal val="visible"/>
                                      </p:to>
                                    </p:set>
                                    <p:animEffect transition="in" filter="fade">
                                      <p:cBhvr>
                                        <p:cTn id="49" dur="500"/>
                                        <p:tgtEl>
                                          <p:spTgt spid="136"/>
                                        </p:tgtEl>
                                      </p:cBhvr>
                                    </p:animEffect>
                                  </p:childTnLst>
                                </p:cTn>
                              </p:par>
                              <p:par>
                                <p:cTn id="50" presetID="10" presetClass="entr" presetSubtype="0" fill="hold" nodeType="withEffect">
                                  <p:stCondLst>
                                    <p:cond delay="0"/>
                                  </p:stCondLst>
                                  <p:childTnLst>
                                    <p:set>
                                      <p:cBhvr>
                                        <p:cTn id="51" dur="1" fill="hold">
                                          <p:stCondLst>
                                            <p:cond delay="0"/>
                                          </p:stCondLst>
                                        </p:cTn>
                                        <p:tgtEl>
                                          <p:spTgt spid="197"/>
                                        </p:tgtEl>
                                        <p:attrNameLst>
                                          <p:attrName>style.visibility</p:attrName>
                                        </p:attrNameLst>
                                      </p:cBhvr>
                                      <p:to>
                                        <p:strVal val="visible"/>
                                      </p:to>
                                    </p:set>
                                    <p:animEffect transition="in" filter="fade">
                                      <p:cBhvr>
                                        <p:cTn id="52" dur="500"/>
                                        <p:tgtEl>
                                          <p:spTgt spid="197"/>
                                        </p:tgtEl>
                                      </p:cBhvr>
                                    </p:animEffec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144"/>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4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49"/>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50"/>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63"/>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64"/>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68"/>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71"/>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75"/>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78"/>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79"/>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animBg="1"/>
      <p:bldP spid="141" grpId="0"/>
      <p:bldP spid="144" grpId="0"/>
      <p:bldP spid="149" grpId="0" animBg="1"/>
      <p:bldP spid="150" grpId="0" animBg="1"/>
      <p:bldP spid="154" grpId="0" animBg="1"/>
      <p:bldP spid="155" grpId="0" animBg="1"/>
      <p:bldP spid="162" grpId="0"/>
      <p:bldP spid="163" grpId="0" animBg="1"/>
      <p:bldP spid="164" grpId="0"/>
      <p:bldP spid="175" grpId="0" animBg="1"/>
      <p:bldP spid="178" grpId="0" animBg="1"/>
      <p:bldP spid="181" grpId="0" animBg="1"/>
      <p:bldP spid="190" grpId="0"/>
      <p:bldP spid="19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ru-RU" dirty="0" smtClean="0">
                <a:latin typeface="+mj-lt"/>
              </a:rPr>
              <a:t>Уникальная архитектура</a:t>
            </a:r>
            <a:r>
              <a:rPr lang="en-US" dirty="0" smtClean="0">
                <a:latin typeface="+mj-lt"/>
              </a:rPr>
              <a:t> ETERNUS CS8000</a:t>
            </a:r>
            <a:endParaRPr lang="en-US" dirty="0">
              <a:latin typeface="+mj-lt"/>
            </a:endParaRPr>
          </a:p>
        </p:txBody>
      </p:sp>
      <p:sp>
        <p:nvSpPr>
          <p:cNvPr id="309" name="Rechteck 308"/>
          <p:cNvSpPr/>
          <p:nvPr>
            <p:custDataLst>
              <p:tags r:id="rId1"/>
            </p:custDataLst>
          </p:nvPr>
        </p:nvSpPr>
        <p:spPr bwMode="gray">
          <a:xfrm>
            <a:off x="3095834" y="1599642"/>
            <a:ext cx="2736305" cy="2629012"/>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46800" rIns="54000" rtlCol="0" anchor="t" anchorCtr="0"/>
          <a:lstStyle/>
          <a:p>
            <a:pPr>
              <a:buClr>
                <a:srgbClr val="A30B1A"/>
              </a:buClr>
            </a:pPr>
            <a:endParaRPr lang="en-GB" sz="1200" dirty="0">
              <a:solidFill>
                <a:srgbClr val="FF0000"/>
              </a:solidFill>
            </a:endParaRPr>
          </a:p>
        </p:txBody>
      </p:sp>
      <p:sp>
        <p:nvSpPr>
          <p:cNvPr id="311" name="Rechteck 310"/>
          <p:cNvSpPr/>
          <p:nvPr>
            <p:custDataLst>
              <p:tags r:id="rId2"/>
            </p:custDataLst>
          </p:nvPr>
        </p:nvSpPr>
        <p:spPr bwMode="gray">
          <a:xfrm>
            <a:off x="3456348" y="2247714"/>
            <a:ext cx="2268000" cy="1260000"/>
          </a:xfrm>
          <a:prstGeom prst="rect">
            <a:avLst/>
          </a:prstGeom>
          <a:solidFill>
            <a:schemeClr val="bg1"/>
          </a:solidFill>
          <a:ln w="9525" cap="rnd">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72000" rIns="36000" rtlCol="0" anchor="b" anchorCtr="0"/>
          <a:lstStyle/>
          <a:p>
            <a:pPr algn="ctr">
              <a:spcAft>
                <a:spcPts val="600"/>
              </a:spcAft>
            </a:pPr>
            <a:r>
              <a:rPr lang="ru-RU" sz="1200" dirty="0" smtClean="0">
                <a:solidFill>
                  <a:srgbClr val="FF0000"/>
                </a:solidFill>
              </a:rPr>
              <a:t>внутренние</a:t>
            </a:r>
            <a:r>
              <a:rPr lang="de-DE" sz="1200" dirty="0" smtClean="0">
                <a:solidFill>
                  <a:srgbClr val="FF0000"/>
                </a:solidFill>
              </a:rPr>
              <a:t> RAID</a:t>
            </a:r>
            <a:r>
              <a:rPr lang="ru-RU" sz="1200" dirty="0" smtClean="0">
                <a:solidFill>
                  <a:srgbClr val="FF0000"/>
                </a:solidFill>
              </a:rPr>
              <a:t>-системы</a:t>
            </a:r>
            <a:endParaRPr lang="de-DE" sz="1200" dirty="0">
              <a:solidFill>
                <a:srgbClr val="FF0000"/>
              </a:solidFill>
            </a:endParaRPr>
          </a:p>
        </p:txBody>
      </p:sp>
      <p:sp>
        <p:nvSpPr>
          <p:cNvPr id="312" name="Rechteck 311"/>
          <p:cNvSpPr/>
          <p:nvPr>
            <p:custDataLst>
              <p:tags r:id="rId3"/>
            </p:custDataLst>
          </p:nvPr>
        </p:nvSpPr>
        <p:spPr bwMode="gray">
          <a:xfrm>
            <a:off x="3456348" y="1635646"/>
            <a:ext cx="216000" cy="216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200" b="1" dirty="0" smtClean="0">
              <a:solidFill>
                <a:srgbClr val="FF0000"/>
              </a:solidFill>
            </a:endParaRPr>
          </a:p>
        </p:txBody>
      </p:sp>
      <p:sp>
        <p:nvSpPr>
          <p:cNvPr id="313" name="Rechteck 312"/>
          <p:cNvSpPr/>
          <p:nvPr>
            <p:custDataLst>
              <p:tags r:id="rId4"/>
            </p:custDataLst>
          </p:nvPr>
        </p:nvSpPr>
        <p:spPr bwMode="gray">
          <a:xfrm>
            <a:off x="3712880" y="1635646"/>
            <a:ext cx="216000" cy="216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200" b="1" dirty="0" smtClean="0">
              <a:solidFill>
                <a:srgbClr val="FF0000"/>
              </a:solidFill>
            </a:endParaRPr>
          </a:p>
        </p:txBody>
      </p:sp>
      <p:sp>
        <p:nvSpPr>
          <p:cNvPr id="314" name="Rechteck 313"/>
          <p:cNvSpPr/>
          <p:nvPr>
            <p:custDataLst>
              <p:tags r:id="rId5"/>
            </p:custDataLst>
          </p:nvPr>
        </p:nvSpPr>
        <p:spPr bwMode="gray">
          <a:xfrm>
            <a:off x="3969412" y="1635646"/>
            <a:ext cx="216000" cy="216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200" b="1" dirty="0" smtClean="0">
              <a:solidFill>
                <a:srgbClr val="FF0000"/>
              </a:solidFill>
            </a:endParaRPr>
          </a:p>
        </p:txBody>
      </p:sp>
      <p:sp>
        <p:nvSpPr>
          <p:cNvPr id="315" name="Rechteck 314"/>
          <p:cNvSpPr/>
          <p:nvPr>
            <p:custDataLst>
              <p:tags r:id="rId6"/>
            </p:custDataLst>
          </p:nvPr>
        </p:nvSpPr>
        <p:spPr bwMode="gray">
          <a:xfrm>
            <a:off x="4225944" y="1635646"/>
            <a:ext cx="216000" cy="216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200" b="1" dirty="0" smtClean="0">
              <a:solidFill>
                <a:srgbClr val="FF0000"/>
              </a:solidFill>
            </a:endParaRPr>
          </a:p>
        </p:txBody>
      </p:sp>
      <p:sp>
        <p:nvSpPr>
          <p:cNvPr id="316" name="Rechteck 315"/>
          <p:cNvSpPr/>
          <p:nvPr>
            <p:custDataLst>
              <p:tags r:id="rId7"/>
            </p:custDataLst>
          </p:nvPr>
        </p:nvSpPr>
        <p:spPr bwMode="gray">
          <a:xfrm>
            <a:off x="4482476" y="1635646"/>
            <a:ext cx="216000" cy="216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200" b="1" dirty="0" smtClean="0">
              <a:solidFill>
                <a:srgbClr val="FF0000"/>
              </a:solidFill>
            </a:endParaRPr>
          </a:p>
        </p:txBody>
      </p:sp>
      <p:sp>
        <p:nvSpPr>
          <p:cNvPr id="317" name="Rechteck 316"/>
          <p:cNvSpPr/>
          <p:nvPr>
            <p:custDataLst>
              <p:tags r:id="rId8"/>
            </p:custDataLst>
          </p:nvPr>
        </p:nvSpPr>
        <p:spPr bwMode="gray">
          <a:xfrm>
            <a:off x="4739008" y="1635646"/>
            <a:ext cx="216000" cy="216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200" b="1" dirty="0" smtClean="0">
              <a:solidFill>
                <a:srgbClr val="FF0000"/>
              </a:solidFill>
            </a:endParaRPr>
          </a:p>
        </p:txBody>
      </p:sp>
      <p:sp>
        <p:nvSpPr>
          <p:cNvPr id="319" name="Rechteck 318"/>
          <p:cNvSpPr/>
          <p:nvPr>
            <p:custDataLst>
              <p:tags r:id="rId9"/>
            </p:custDataLst>
          </p:nvPr>
        </p:nvSpPr>
        <p:spPr bwMode="gray">
          <a:xfrm>
            <a:off x="4995540" y="1635646"/>
            <a:ext cx="216000" cy="216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200" b="1" dirty="0" smtClean="0">
              <a:solidFill>
                <a:srgbClr val="FF0000"/>
              </a:solidFill>
            </a:endParaRPr>
          </a:p>
        </p:txBody>
      </p:sp>
      <p:sp>
        <p:nvSpPr>
          <p:cNvPr id="320" name="Rechteck 319"/>
          <p:cNvSpPr/>
          <p:nvPr>
            <p:custDataLst>
              <p:tags r:id="rId10"/>
            </p:custDataLst>
          </p:nvPr>
        </p:nvSpPr>
        <p:spPr bwMode="gray">
          <a:xfrm>
            <a:off x="5252072" y="1635646"/>
            <a:ext cx="216000" cy="216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200" b="1" dirty="0" smtClean="0">
              <a:solidFill>
                <a:srgbClr val="FF0000"/>
              </a:solidFill>
            </a:endParaRPr>
          </a:p>
        </p:txBody>
      </p:sp>
      <p:sp>
        <p:nvSpPr>
          <p:cNvPr id="321" name="Rechteck 320"/>
          <p:cNvSpPr/>
          <p:nvPr>
            <p:custDataLst>
              <p:tags r:id="rId11"/>
            </p:custDataLst>
          </p:nvPr>
        </p:nvSpPr>
        <p:spPr bwMode="gray">
          <a:xfrm>
            <a:off x="5508600" y="1635646"/>
            <a:ext cx="216000" cy="216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200" b="1" dirty="0" smtClean="0">
              <a:solidFill>
                <a:srgbClr val="FF0000"/>
              </a:solidFill>
            </a:endParaRPr>
          </a:p>
        </p:txBody>
      </p:sp>
      <p:sp>
        <p:nvSpPr>
          <p:cNvPr id="322" name="Rechteck 321"/>
          <p:cNvSpPr/>
          <p:nvPr>
            <p:custDataLst>
              <p:tags r:id="rId12"/>
            </p:custDataLst>
          </p:nvPr>
        </p:nvSpPr>
        <p:spPr bwMode="gray">
          <a:xfrm>
            <a:off x="3420345" y="1887674"/>
            <a:ext cx="2340000" cy="288000"/>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lstStyle/>
          <a:p>
            <a:pPr algn="ctr">
              <a:spcAft>
                <a:spcPts val="100"/>
              </a:spcAft>
            </a:pPr>
            <a:r>
              <a:rPr lang="en-US" sz="1200" dirty="0">
                <a:solidFill>
                  <a:srgbClr val="000000"/>
                </a:solidFill>
              </a:rPr>
              <a:t>Front-end processor nodes </a:t>
            </a:r>
          </a:p>
        </p:txBody>
      </p:sp>
      <p:sp>
        <p:nvSpPr>
          <p:cNvPr id="323" name="Rechteck 322"/>
          <p:cNvSpPr/>
          <p:nvPr>
            <p:custDataLst>
              <p:tags r:id="rId13"/>
            </p:custDataLst>
          </p:nvPr>
        </p:nvSpPr>
        <p:spPr bwMode="gray">
          <a:xfrm>
            <a:off x="3456347" y="3687874"/>
            <a:ext cx="216000" cy="216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200" b="1" dirty="0" smtClean="0">
              <a:solidFill>
                <a:srgbClr val="FF0000"/>
              </a:solidFill>
            </a:endParaRPr>
          </a:p>
        </p:txBody>
      </p:sp>
      <p:sp>
        <p:nvSpPr>
          <p:cNvPr id="324" name="Rechteck 323"/>
          <p:cNvSpPr/>
          <p:nvPr>
            <p:custDataLst>
              <p:tags r:id="rId14"/>
            </p:custDataLst>
          </p:nvPr>
        </p:nvSpPr>
        <p:spPr bwMode="gray">
          <a:xfrm>
            <a:off x="3712879" y="3687874"/>
            <a:ext cx="216000" cy="216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200" b="1" dirty="0" smtClean="0">
              <a:solidFill>
                <a:srgbClr val="FF0000"/>
              </a:solidFill>
            </a:endParaRPr>
          </a:p>
        </p:txBody>
      </p:sp>
      <p:sp>
        <p:nvSpPr>
          <p:cNvPr id="325" name="Rechteck 324"/>
          <p:cNvSpPr/>
          <p:nvPr>
            <p:custDataLst>
              <p:tags r:id="rId15"/>
            </p:custDataLst>
          </p:nvPr>
        </p:nvSpPr>
        <p:spPr bwMode="gray">
          <a:xfrm>
            <a:off x="3969411" y="3687874"/>
            <a:ext cx="216000" cy="216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200" b="1" dirty="0" smtClean="0">
              <a:solidFill>
                <a:srgbClr val="FF0000"/>
              </a:solidFill>
            </a:endParaRPr>
          </a:p>
        </p:txBody>
      </p:sp>
      <p:sp>
        <p:nvSpPr>
          <p:cNvPr id="326" name="Rechteck 325"/>
          <p:cNvSpPr/>
          <p:nvPr>
            <p:custDataLst>
              <p:tags r:id="rId16"/>
            </p:custDataLst>
          </p:nvPr>
        </p:nvSpPr>
        <p:spPr bwMode="gray">
          <a:xfrm>
            <a:off x="4225943" y="3687874"/>
            <a:ext cx="216000" cy="216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200" b="1" dirty="0" smtClean="0">
              <a:solidFill>
                <a:srgbClr val="FF0000"/>
              </a:solidFill>
            </a:endParaRPr>
          </a:p>
        </p:txBody>
      </p:sp>
      <p:sp>
        <p:nvSpPr>
          <p:cNvPr id="327" name="Rechteck 326"/>
          <p:cNvSpPr/>
          <p:nvPr>
            <p:custDataLst>
              <p:tags r:id="rId17"/>
            </p:custDataLst>
          </p:nvPr>
        </p:nvSpPr>
        <p:spPr bwMode="gray">
          <a:xfrm>
            <a:off x="4482475" y="3687874"/>
            <a:ext cx="216000" cy="216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200" b="1" dirty="0" smtClean="0">
              <a:solidFill>
                <a:srgbClr val="FF0000"/>
              </a:solidFill>
            </a:endParaRPr>
          </a:p>
        </p:txBody>
      </p:sp>
      <p:sp>
        <p:nvSpPr>
          <p:cNvPr id="328" name="Rechteck 327"/>
          <p:cNvSpPr/>
          <p:nvPr>
            <p:custDataLst>
              <p:tags r:id="rId18"/>
            </p:custDataLst>
          </p:nvPr>
        </p:nvSpPr>
        <p:spPr bwMode="gray">
          <a:xfrm>
            <a:off x="4739007" y="3687874"/>
            <a:ext cx="216000" cy="216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200" b="1" dirty="0" smtClean="0">
              <a:solidFill>
                <a:srgbClr val="FF0000"/>
              </a:solidFill>
            </a:endParaRPr>
          </a:p>
        </p:txBody>
      </p:sp>
      <p:sp>
        <p:nvSpPr>
          <p:cNvPr id="329" name="Rechteck 328"/>
          <p:cNvSpPr/>
          <p:nvPr>
            <p:custDataLst>
              <p:tags r:id="rId19"/>
            </p:custDataLst>
          </p:nvPr>
        </p:nvSpPr>
        <p:spPr bwMode="gray">
          <a:xfrm>
            <a:off x="4995539" y="3687874"/>
            <a:ext cx="216000" cy="216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200" b="1" dirty="0" smtClean="0">
              <a:solidFill>
                <a:srgbClr val="FF0000"/>
              </a:solidFill>
            </a:endParaRPr>
          </a:p>
        </p:txBody>
      </p:sp>
      <p:sp>
        <p:nvSpPr>
          <p:cNvPr id="330" name="Rechteck 329"/>
          <p:cNvSpPr/>
          <p:nvPr>
            <p:custDataLst>
              <p:tags r:id="rId20"/>
            </p:custDataLst>
          </p:nvPr>
        </p:nvSpPr>
        <p:spPr bwMode="gray">
          <a:xfrm>
            <a:off x="5252071" y="3687874"/>
            <a:ext cx="216000" cy="216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200" b="1" dirty="0" smtClean="0">
              <a:solidFill>
                <a:srgbClr val="FF0000"/>
              </a:solidFill>
            </a:endParaRPr>
          </a:p>
        </p:txBody>
      </p:sp>
      <p:sp>
        <p:nvSpPr>
          <p:cNvPr id="332" name="Rechteck 331"/>
          <p:cNvSpPr/>
          <p:nvPr>
            <p:custDataLst>
              <p:tags r:id="rId21"/>
            </p:custDataLst>
          </p:nvPr>
        </p:nvSpPr>
        <p:spPr bwMode="gray">
          <a:xfrm>
            <a:off x="5508600" y="3687874"/>
            <a:ext cx="216000" cy="216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de-DE" sz="1200" b="1" dirty="0" smtClean="0">
              <a:solidFill>
                <a:srgbClr val="FF0000"/>
              </a:solidFill>
            </a:endParaRPr>
          </a:p>
        </p:txBody>
      </p:sp>
      <p:sp>
        <p:nvSpPr>
          <p:cNvPr id="336" name="Rechteck 335"/>
          <p:cNvSpPr/>
          <p:nvPr>
            <p:custDataLst>
              <p:tags r:id="rId22"/>
            </p:custDataLst>
          </p:nvPr>
        </p:nvSpPr>
        <p:spPr bwMode="gray">
          <a:xfrm>
            <a:off x="3420343" y="3939934"/>
            <a:ext cx="2375793" cy="288000"/>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lstStyle/>
          <a:p>
            <a:pPr algn="ctr">
              <a:spcAft>
                <a:spcPts val="100"/>
              </a:spcAft>
            </a:pPr>
            <a:r>
              <a:rPr lang="en-US" sz="1200" dirty="0" smtClean="0">
                <a:solidFill>
                  <a:srgbClr val="000000"/>
                </a:solidFill>
              </a:rPr>
              <a:t>Back-end processor nodes</a:t>
            </a:r>
            <a:endParaRPr lang="en-US" sz="1200" dirty="0">
              <a:solidFill>
                <a:srgbClr val="000000"/>
              </a:solidFill>
            </a:endParaRPr>
          </a:p>
        </p:txBody>
      </p:sp>
      <p:grpSp>
        <p:nvGrpSpPr>
          <p:cNvPr id="337" name="Gruppieren 336"/>
          <p:cNvGrpSpPr/>
          <p:nvPr>
            <p:custDataLst>
              <p:tags r:id="rId23"/>
            </p:custDataLst>
          </p:nvPr>
        </p:nvGrpSpPr>
        <p:grpSpPr bwMode="gray">
          <a:xfrm>
            <a:off x="3514103" y="2384384"/>
            <a:ext cx="2080191" cy="763430"/>
            <a:chOff x="429987" y="2499742"/>
            <a:chExt cx="2080191" cy="763430"/>
          </a:xfrm>
        </p:grpSpPr>
        <p:grpSp>
          <p:nvGrpSpPr>
            <p:cNvPr id="338" name="Gruppieren 337"/>
            <p:cNvGrpSpPr/>
            <p:nvPr>
              <p:custDataLst>
                <p:tags r:id="rId55"/>
              </p:custDataLst>
            </p:nvPr>
          </p:nvGrpSpPr>
          <p:grpSpPr bwMode="gray">
            <a:xfrm>
              <a:off x="431540" y="2499742"/>
              <a:ext cx="2078638" cy="367386"/>
              <a:chOff x="429987" y="2895786"/>
              <a:chExt cx="2078638" cy="367386"/>
            </a:xfrm>
          </p:grpSpPr>
          <p:grpSp>
            <p:nvGrpSpPr>
              <p:cNvPr id="457" name="Gruppieren 456"/>
              <p:cNvGrpSpPr/>
              <p:nvPr>
                <p:custDataLst>
                  <p:tags r:id="rId80"/>
                </p:custDataLst>
              </p:nvPr>
            </p:nvGrpSpPr>
            <p:grpSpPr bwMode="gray">
              <a:xfrm>
                <a:off x="791580" y="2895786"/>
                <a:ext cx="276885" cy="367386"/>
                <a:chOff x="6174437" y="1444896"/>
                <a:chExt cx="352646" cy="467910"/>
              </a:xfrm>
              <a:solidFill>
                <a:schemeClr val="bg1"/>
              </a:solidFill>
            </p:grpSpPr>
            <p:sp>
              <p:nvSpPr>
                <p:cNvPr id="513"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w="38100">
                  <a:solidFill>
                    <a:schemeClr val="bg1"/>
                  </a:solidFill>
                </a:ln>
                <a:extLst/>
              </p:spPr>
              <p:txBody>
                <a:bodyPr/>
                <a:lstStyle/>
                <a:p>
                  <a:endParaRPr lang="en-CA" dirty="0">
                    <a:solidFill>
                      <a:srgbClr val="000000"/>
                    </a:solidFill>
                  </a:endParaRPr>
                </a:p>
              </p:txBody>
            </p:sp>
            <p:sp>
              <p:nvSpPr>
                <p:cNvPr id="514"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w="38100">
                  <a:solidFill>
                    <a:schemeClr val="bg1"/>
                  </a:solidFill>
                </a:ln>
                <a:extLst/>
              </p:spPr>
              <p:txBody>
                <a:bodyPr/>
                <a:lstStyle/>
                <a:p>
                  <a:endParaRPr lang="en-CA" dirty="0">
                    <a:solidFill>
                      <a:srgbClr val="000000"/>
                    </a:solidFill>
                  </a:endParaRPr>
                </a:p>
              </p:txBody>
            </p:sp>
            <p:sp>
              <p:nvSpPr>
                <p:cNvPr id="515"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w="38100">
                  <a:solidFill>
                    <a:schemeClr val="bg1"/>
                  </a:solidFill>
                </a:ln>
                <a:extLst/>
              </p:spPr>
              <p:txBody>
                <a:bodyPr/>
                <a:lstStyle/>
                <a:p>
                  <a:endParaRPr lang="en-CA" dirty="0">
                    <a:solidFill>
                      <a:srgbClr val="000000"/>
                    </a:solidFill>
                  </a:endParaRPr>
                </a:p>
              </p:txBody>
            </p:sp>
            <p:sp>
              <p:nvSpPr>
                <p:cNvPr id="516"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w="38100">
                  <a:solidFill>
                    <a:schemeClr val="bg1"/>
                  </a:solidFill>
                </a:ln>
                <a:extLst/>
              </p:spPr>
              <p:txBody>
                <a:bodyPr/>
                <a:lstStyle/>
                <a:p>
                  <a:endParaRPr lang="en-CA" dirty="0">
                    <a:solidFill>
                      <a:srgbClr val="000000"/>
                    </a:solidFill>
                  </a:endParaRPr>
                </a:p>
              </p:txBody>
            </p:sp>
          </p:grpSp>
          <p:grpSp>
            <p:nvGrpSpPr>
              <p:cNvPr id="458" name="Gruppieren 457"/>
              <p:cNvGrpSpPr/>
              <p:nvPr>
                <p:custDataLst>
                  <p:tags r:id="rId81"/>
                </p:custDataLst>
              </p:nvPr>
            </p:nvGrpSpPr>
            <p:grpSpPr bwMode="gray">
              <a:xfrm>
                <a:off x="1151620" y="2895786"/>
                <a:ext cx="276885" cy="367386"/>
                <a:chOff x="6174437" y="1444896"/>
                <a:chExt cx="352646" cy="467910"/>
              </a:xfrm>
              <a:solidFill>
                <a:schemeClr val="bg1"/>
              </a:solidFill>
            </p:grpSpPr>
            <p:sp>
              <p:nvSpPr>
                <p:cNvPr id="509"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w="38100">
                  <a:solidFill>
                    <a:schemeClr val="bg1"/>
                  </a:solidFill>
                </a:ln>
                <a:extLst/>
              </p:spPr>
              <p:txBody>
                <a:bodyPr/>
                <a:lstStyle/>
                <a:p>
                  <a:endParaRPr lang="en-CA" dirty="0">
                    <a:solidFill>
                      <a:srgbClr val="000000"/>
                    </a:solidFill>
                  </a:endParaRPr>
                </a:p>
              </p:txBody>
            </p:sp>
            <p:sp>
              <p:nvSpPr>
                <p:cNvPr id="510"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w="38100">
                  <a:solidFill>
                    <a:schemeClr val="bg1"/>
                  </a:solidFill>
                </a:ln>
                <a:extLst/>
              </p:spPr>
              <p:txBody>
                <a:bodyPr/>
                <a:lstStyle/>
                <a:p>
                  <a:endParaRPr lang="en-CA" dirty="0">
                    <a:solidFill>
                      <a:srgbClr val="000000"/>
                    </a:solidFill>
                  </a:endParaRPr>
                </a:p>
              </p:txBody>
            </p:sp>
            <p:sp>
              <p:nvSpPr>
                <p:cNvPr id="511"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w="38100">
                  <a:solidFill>
                    <a:schemeClr val="bg1"/>
                  </a:solidFill>
                </a:ln>
                <a:extLst/>
              </p:spPr>
              <p:txBody>
                <a:bodyPr/>
                <a:lstStyle/>
                <a:p>
                  <a:endParaRPr lang="en-CA" dirty="0">
                    <a:solidFill>
                      <a:srgbClr val="000000"/>
                    </a:solidFill>
                  </a:endParaRPr>
                </a:p>
              </p:txBody>
            </p:sp>
            <p:sp>
              <p:nvSpPr>
                <p:cNvPr id="512"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w="38100">
                  <a:solidFill>
                    <a:schemeClr val="bg1"/>
                  </a:solidFill>
                </a:ln>
                <a:extLst/>
              </p:spPr>
              <p:txBody>
                <a:bodyPr/>
                <a:lstStyle/>
                <a:p>
                  <a:endParaRPr lang="en-CA" dirty="0">
                    <a:solidFill>
                      <a:srgbClr val="000000"/>
                    </a:solidFill>
                  </a:endParaRPr>
                </a:p>
              </p:txBody>
            </p:sp>
          </p:grpSp>
          <p:grpSp>
            <p:nvGrpSpPr>
              <p:cNvPr id="459" name="Gruppieren 458"/>
              <p:cNvGrpSpPr/>
              <p:nvPr>
                <p:custDataLst>
                  <p:tags r:id="rId82"/>
                </p:custDataLst>
              </p:nvPr>
            </p:nvGrpSpPr>
            <p:grpSpPr bwMode="gray">
              <a:xfrm>
                <a:off x="1511660" y="2895786"/>
                <a:ext cx="276885" cy="367386"/>
                <a:chOff x="6174437" y="1444896"/>
                <a:chExt cx="352646" cy="467910"/>
              </a:xfrm>
              <a:solidFill>
                <a:schemeClr val="bg1"/>
              </a:solidFill>
            </p:grpSpPr>
            <p:sp>
              <p:nvSpPr>
                <p:cNvPr id="505"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w="38100">
                  <a:solidFill>
                    <a:schemeClr val="bg1"/>
                  </a:solidFill>
                </a:ln>
                <a:extLst/>
              </p:spPr>
              <p:txBody>
                <a:bodyPr/>
                <a:lstStyle/>
                <a:p>
                  <a:endParaRPr lang="en-CA" dirty="0">
                    <a:solidFill>
                      <a:srgbClr val="000000"/>
                    </a:solidFill>
                  </a:endParaRPr>
                </a:p>
              </p:txBody>
            </p:sp>
            <p:sp>
              <p:nvSpPr>
                <p:cNvPr id="506"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w="38100">
                  <a:solidFill>
                    <a:schemeClr val="bg1"/>
                  </a:solidFill>
                </a:ln>
                <a:extLst/>
              </p:spPr>
              <p:txBody>
                <a:bodyPr/>
                <a:lstStyle/>
                <a:p>
                  <a:endParaRPr lang="en-CA" dirty="0">
                    <a:solidFill>
                      <a:srgbClr val="000000"/>
                    </a:solidFill>
                  </a:endParaRPr>
                </a:p>
              </p:txBody>
            </p:sp>
            <p:sp>
              <p:nvSpPr>
                <p:cNvPr id="507"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w="38100">
                  <a:solidFill>
                    <a:schemeClr val="bg1"/>
                  </a:solidFill>
                </a:ln>
                <a:extLst/>
              </p:spPr>
              <p:txBody>
                <a:bodyPr/>
                <a:lstStyle/>
                <a:p>
                  <a:endParaRPr lang="en-CA" dirty="0">
                    <a:solidFill>
                      <a:srgbClr val="000000"/>
                    </a:solidFill>
                  </a:endParaRPr>
                </a:p>
              </p:txBody>
            </p:sp>
            <p:sp>
              <p:nvSpPr>
                <p:cNvPr id="508"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w="38100">
                  <a:solidFill>
                    <a:schemeClr val="bg1"/>
                  </a:solidFill>
                </a:ln>
                <a:extLst/>
              </p:spPr>
              <p:txBody>
                <a:bodyPr/>
                <a:lstStyle/>
                <a:p>
                  <a:endParaRPr lang="en-CA" dirty="0">
                    <a:solidFill>
                      <a:srgbClr val="000000"/>
                    </a:solidFill>
                  </a:endParaRPr>
                </a:p>
              </p:txBody>
            </p:sp>
          </p:grpSp>
          <p:grpSp>
            <p:nvGrpSpPr>
              <p:cNvPr id="460" name="Gruppieren 459"/>
              <p:cNvGrpSpPr/>
              <p:nvPr>
                <p:custDataLst>
                  <p:tags r:id="rId83"/>
                </p:custDataLst>
              </p:nvPr>
            </p:nvGrpSpPr>
            <p:grpSpPr bwMode="gray">
              <a:xfrm>
                <a:off x="1871700" y="2895786"/>
                <a:ext cx="276885" cy="367386"/>
                <a:chOff x="6174437" y="1444896"/>
                <a:chExt cx="352646" cy="467910"/>
              </a:xfrm>
              <a:solidFill>
                <a:schemeClr val="bg1"/>
              </a:solidFill>
            </p:grpSpPr>
            <p:sp>
              <p:nvSpPr>
                <p:cNvPr id="501"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w="38100">
                  <a:solidFill>
                    <a:schemeClr val="bg1"/>
                  </a:solidFill>
                </a:ln>
                <a:extLst/>
              </p:spPr>
              <p:txBody>
                <a:bodyPr/>
                <a:lstStyle/>
                <a:p>
                  <a:endParaRPr lang="en-CA" dirty="0">
                    <a:solidFill>
                      <a:srgbClr val="000000"/>
                    </a:solidFill>
                  </a:endParaRPr>
                </a:p>
              </p:txBody>
            </p:sp>
            <p:sp>
              <p:nvSpPr>
                <p:cNvPr id="502"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w="38100">
                  <a:solidFill>
                    <a:schemeClr val="bg1"/>
                  </a:solidFill>
                </a:ln>
                <a:extLst/>
              </p:spPr>
              <p:txBody>
                <a:bodyPr/>
                <a:lstStyle/>
                <a:p>
                  <a:endParaRPr lang="en-CA" dirty="0">
                    <a:solidFill>
                      <a:srgbClr val="000000"/>
                    </a:solidFill>
                  </a:endParaRPr>
                </a:p>
              </p:txBody>
            </p:sp>
            <p:sp>
              <p:nvSpPr>
                <p:cNvPr id="503"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w="38100">
                  <a:solidFill>
                    <a:schemeClr val="bg1"/>
                  </a:solidFill>
                </a:ln>
                <a:extLst/>
              </p:spPr>
              <p:txBody>
                <a:bodyPr/>
                <a:lstStyle/>
                <a:p>
                  <a:endParaRPr lang="en-CA" dirty="0">
                    <a:solidFill>
                      <a:srgbClr val="000000"/>
                    </a:solidFill>
                  </a:endParaRPr>
                </a:p>
              </p:txBody>
            </p:sp>
            <p:sp>
              <p:nvSpPr>
                <p:cNvPr id="504"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w="38100">
                  <a:solidFill>
                    <a:schemeClr val="bg1"/>
                  </a:solidFill>
                </a:ln>
                <a:extLst/>
              </p:spPr>
              <p:txBody>
                <a:bodyPr/>
                <a:lstStyle/>
                <a:p>
                  <a:endParaRPr lang="en-CA" dirty="0">
                    <a:solidFill>
                      <a:srgbClr val="000000"/>
                    </a:solidFill>
                  </a:endParaRPr>
                </a:p>
              </p:txBody>
            </p:sp>
          </p:grpSp>
          <p:grpSp>
            <p:nvGrpSpPr>
              <p:cNvPr id="461" name="Gruppieren 460"/>
              <p:cNvGrpSpPr/>
              <p:nvPr>
                <p:custDataLst>
                  <p:tags r:id="rId84"/>
                </p:custDataLst>
              </p:nvPr>
            </p:nvGrpSpPr>
            <p:grpSpPr bwMode="gray">
              <a:xfrm>
                <a:off x="2231740" y="2895786"/>
                <a:ext cx="276885" cy="367386"/>
                <a:chOff x="6174437" y="1444896"/>
                <a:chExt cx="352646" cy="467910"/>
              </a:xfrm>
              <a:solidFill>
                <a:schemeClr val="bg1"/>
              </a:solidFill>
            </p:grpSpPr>
            <p:sp>
              <p:nvSpPr>
                <p:cNvPr id="497"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w="38100">
                  <a:solidFill>
                    <a:schemeClr val="bg1"/>
                  </a:solidFill>
                </a:ln>
                <a:extLst/>
              </p:spPr>
              <p:txBody>
                <a:bodyPr/>
                <a:lstStyle/>
                <a:p>
                  <a:endParaRPr lang="en-CA" dirty="0">
                    <a:solidFill>
                      <a:srgbClr val="000000"/>
                    </a:solidFill>
                  </a:endParaRPr>
                </a:p>
              </p:txBody>
            </p:sp>
            <p:sp>
              <p:nvSpPr>
                <p:cNvPr id="498"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w="38100">
                  <a:solidFill>
                    <a:schemeClr val="bg1"/>
                  </a:solidFill>
                </a:ln>
                <a:extLst/>
              </p:spPr>
              <p:txBody>
                <a:bodyPr/>
                <a:lstStyle/>
                <a:p>
                  <a:endParaRPr lang="en-CA" dirty="0">
                    <a:solidFill>
                      <a:srgbClr val="000000"/>
                    </a:solidFill>
                  </a:endParaRPr>
                </a:p>
              </p:txBody>
            </p:sp>
            <p:sp>
              <p:nvSpPr>
                <p:cNvPr id="499"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w="38100">
                  <a:solidFill>
                    <a:schemeClr val="bg1"/>
                  </a:solidFill>
                </a:ln>
                <a:extLst/>
              </p:spPr>
              <p:txBody>
                <a:bodyPr/>
                <a:lstStyle/>
                <a:p>
                  <a:endParaRPr lang="en-CA" dirty="0">
                    <a:solidFill>
                      <a:srgbClr val="000000"/>
                    </a:solidFill>
                  </a:endParaRPr>
                </a:p>
              </p:txBody>
            </p:sp>
            <p:sp>
              <p:nvSpPr>
                <p:cNvPr id="500"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w="38100">
                  <a:solidFill>
                    <a:schemeClr val="bg1"/>
                  </a:solidFill>
                </a:ln>
                <a:extLst/>
              </p:spPr>
              <p:txBody>
                <a:bodyPr/>
                <a:lstStyle/>
                <a:p>
                  <a:endParaRPr lang="en-CA" dirty="0">
                    <a:solidFill>
                      <a:srgbClr val="000000"/>
                    </a:solidFill>
                  </a:endParaRPr>
                </a:p>
              </p:txBody>
            </p:sp>
          </p:grpSp>
          <p:grpSp>
            <p:nvGrpSpPr>
              <p:cNvPr id="462" name="Gruppieren 461"/>
              <p:cNvGrpSpPr/>
              <p:nvPr>
                <p:custDataLst>
                  <p:tags r:id="rId85"/>
                </p:custDataLst>
              </p:nvPr>
            </p:nvGrpSpPr>
            <p:grpSpPr bwMode="gray">
              <a:xfrm>
                <a:off x="431540" y="2895786"/>
                <a:ext cx="276885" cy="367386"/>
                <a:chOff x="6174437" y="1444896"/>
                <a:chExt cx="352646" cy="467910"/>
              </a:xfrm>
              <a:solidFill>
                <a:schemeClr val="bg1"/>
              </a:solidFill>
            </p:grpSpPr>
            <p:sp>
              <p:nvSpPr>
                <p:cNvPr id="493"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w="38100">
                  <a:solidFill>
                    <a:schemeClr val="bg1"/>
                  </a:solidFill>
                </a:ln>
                <a:extLst/>
              </p:spPr>
              <p:txBody>
                <a:bodyPr/>
                <a:lstStyle/>
                <a:p>
                  <a:endParaRPr lang="en-CA" dirty="0">
                    <a:solidFill>
                      <a:srgbClr val="000000"/>
                    </a:solidFill>
                  </a:endParaRPr>
                </a:p>
              </p:txBody>
            </p:sp>
            <p:sp>
              <p:nvSpPr>
                <p:cNvPr id="494"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w="38100">
                  <a:solidFill>
                    <a:schemeClr val="bg1"/>
                  </a:solidFill>
                </a:ln>
                <a:extLst/>
              </p:spPr>
              <p:txBody>
                <a:bodyPr/>
                <a:lstStyle/>
                <a:p>
                  <a:endParaRPr lang="en-CA" dirty="0">
                    <a:solidFill>
                      <a:srgbClr val="000000"/>
                    </a:solidFill>
                  </a:endParaRPr>
                </a:p>
              </p:txBody>
            </p:sp>
            <p:sp>
              <p:nvSpPr>
                <p:cNvPr id="495"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w="38100">
                  <a:solidFill>
                    <a:schemeClr val="bg1"/>
                  </a:solidFill>
                </a:ln>
                <a:extLst/>
              </p:spPr>
              <p:txBody>
                <a:bodyPr/>
                <a:lstStyle/>
                <a:p>
                  <a:endParaRPr lang="en-CA" dirty="0">
                    <a:solidFill>
                      <a:srgbClr val="000000"/>
                    </a:solidFill>
                  </a:endParaRPr>
                </a:p>
              </p:txBody>
            </p:sp>
            <p:sp>
              <p:nvSpPr>
                <p:cNvPr id="496"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w="38100">
                  <a:solidFill>
                    <a:schemeClr val="bg1"/>
                  </a:solidFill>
                </a:ln>
                <a:extLst/>
              </p:spPr>
              <p:txBody>
                <a:bodyPr/>
                <a:lstStyle/>
                <a:p>
                  <a:endParaRPr lang="en-CA" dirty="0">
                    <a:solidFill>
                      <a:srgbClr val="000000"/>
                    </a:solidFill>
                  </a:endParaRPr>
                </a:p>
              </p:txBody>
            </p:sp>
          </p:grpSp>
          <p:grpSp>
            <p:nvGrpSpPr>
              <p:cNvPr id="463" name="Gruppieren 462"/>
              <p:cNvGrpSpPr/>
              <p:nvPr>
                <p:custDataLst>
                  <p:tags r:id="rId86"/>
                </p:custDataLst>
              </p:nvPr>
            </p:nvGrpSpPr>
            <p:grpSpPr bwMode="gray">
              <a:xfrm>
                <a:off x="790027" y="2895786"/>
                <a:ext cx="276885" cy="367386"/>
                <a:chOff x="6174437" y="1444896"/>
                <a:chExt cx="352646" cy="467910"/>
              </a:xfrm>
              <a:solidFill>
                <a:schemeClr val="accent1"/>
              </a:solidFill>
            </p:grpSpPr>
            <p:sp>
              <p:nvSpPr>
                <p:cNvPr id="489"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a:noFill/>
                </a:ln>
                <a:extLst/>
              </p:spPr>
              <p:txBody>
                <a:bodyPr/>
                <a:lstStyle/>
                <a:p>
                  <a:endParaRPr lang="en-CA" dirty="0">
                    <a:solidFill>
                      <a:srgbClr val="000000"/>
                    </a:solidFill>
                  </a:endParaRPr>
                </a:p>
              </p:txBody>
            </p:sp>
            <p:sp>
              <p:nvSpPr>
                <p:cNvPr id="490"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a:noFill/>
                </a:ln>
                <a:extLst/>
              </p:spPr>
              <p:txBody>
                <a:bodyPr/>
                <a:lstStyle/>
                <a:p>
                  <a:endParaRPr lang="en-CA" dirty="0">
                    <a:solidFill>
                      <a:srgbClr val="000000"/>
                    </a:solidFill>
                  </a:endParaRPr>
                </a:p>
              </p:txBody>
            </p:sp>
            <p:sp>
              <p:nvSpPr>
                <p:cNvPr id="491"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a:noFill/>
                </a:ln>
                <a:extLst/>
              </p:spPr>
              <p:txBody>
                <a:bodyPr/>
                <a:lstStyle/>
                <a:p>
                  <a:endParaRPr lang="en-CA" dirty="0">
                    <a:solidFill>
                      <a:srgbClr val="000000"/>
                    </a:solidFill>
                  </a:endParaRPr>
                </a:p>
              </p:txBody>
            </p:sp>
            <p:sp>
              <p:nvSpPr>
                <p:cNvPr id="492"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a:noFill/>
                </a:ln>
                <a:extLst/>
              </p:spPr>
              <p:txBody>
                <a:bodyPr/>
                <a:lstStyle/>
                <a:p>
                  <a:endParaRPr lang="en-CA" dirty="0">
                    <a:solidFill>
                      <a:srgbClr val="000000"/>
                    </a:solidFill>
                  </a:endParaRPr>
                </a:p>
              </p:txBody>
            </p:sp>
          </p:grpSp>
          <p:grpSp>
            <p:nvGrpSpPr>
              <p:cNvPr id="464" name="Gruppieren 463"/>
              <p:cNvGrpSpPr/>
              <p:nvPr>
                <p:custDataLst>
                  <p:tags r:id="rId87"/>
                </p:custDataLst>
              </p:nvPr>
            </p:nvGrpSpPr>
            <p:grpSpPr bwMode="gray">
              <a:xfrm>
                <a:off x="1150067" y="2895786"/>
                <a:ext cx="276885" cy="367386"/>
                <a:chOff x="6174437" y="1444896"/>
                <a:chExt cx="352646" cy="467910"/>
              </a:xfrm>
              <a:solidFill>
                <a:schemeClr val="accent1"/>
              </a:solidFill>
            </p:grpSpPr>
            <p:sp>
              <p:nvSpPr>
                <p:cNvPr id="485"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a:noFill/>
                </a:ln>
                <a:extLst/>
              </p:spPr>
              <p:txBody>
                <a:bodyPr/>
                <a:lstStyle/>
                <a:p>
                  <a:endParaRPr lang="en-CA" dirty="0">
                    <a:solidFill>
                      <a:srgbClr val="000000"/>
                    </a:solidFill>
                  </a:endParaRPr>
                </a:p>
              </p:txBody>
            </p:sp>
            <p:sp>
              <p:nvSpPr>
                <p:cNvPr id="486"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a:noFill/>
                </a:ln>
                <a:extLst/>
              </p:spPr>
              <p:txBody>
                <a:bodyPr/>
                <a:lstStyle/>
                <a:p>
                  <a:endParaRPr lang="en-CA" dirty="0">
                    <a:solidFill>
                      <a:srgbClr val="000000"/>
                    </a:solidFill>
                  </a:endParaRPr>
                </a:p>
              </p:txBody>
            </p:sp>
            <p:sp>
              <p:nvSpPr>
                <p:cNvPr id="487"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a:noFill/>
                </a:ln>
                <a:extLst/>
              </p:spPr>
              <p:txBody>
                <a:bodyPr/>
                <a:lstStyle/>
                <a:p>
                  <a:endParaRPr lang="en-CA" dirty="0">
                    <a:solidFill>
                      <a:srgbClr val="000000"/>
                    </a:solidFill>
                  </a:endParaRPr>
                </a:p>
              </p:txBody>
            </p:sp>
            <p:sp>
              <p:nvSpPr>
                <p:cNvPr id="488"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a:noFill/>
                </a:ln>
                <a:extLst/>
              </p:spPr>
              <p:txBody>
                <a:bodyPr/>
                <a:lstStyle/>
                <a:p>
                  <a:endParaRPr lang="en-CA" dirty="0">
                    <a:solidFill>
                      <a:srgbClr val="000000"/>
                    </a:solidFill>
                  </a:endParaRPr>
                </a:p>
              </p:txBody>
            </p:sp>
          </p:grpSp>
          <p:grpSp>
            <p:nvGrpSpPr>
              <p:cNvPr id="465" name="Gruppieren 464"/>
              <p:cNvGrpSpPr/>
              <p:nvPr>
                <p:custDataLst>
                  <p:tags r:id="rId88"/>
                </p:custDataLst>
              </p:nvPr>
            </p:nvGrpSpPr>
            <p:grpSpPr bwMode="gray">
              <a:xfrm>
                <a:off x="1510107" y="2895786"/>
                <a:ext cx="276885" cy="367386"/>
                <a:chOff x="6174437" y="1444896"/>
                <a:chExt cx="352646" cy="467910"/>
              </a:xfrm>
              <a:solidFill>
                <a:schemeClr val="accent1"/>
              </a:solidFill>
            </p:grpSpPr>
            <p:sp>
              <p:nvSpPr>
                <p:cNvPr id="481"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a:noFill/>
                </a:ln>
                <a:extLst/>
              </p:spPr>
              <p:txBody>
                <a:bodyPr/>
                <a:lstStyle/>
                <a:p>
                  <a:endParaRPr lang="en-CA" dirty="0">
                    <a:solidFill>
                      <a:srgbClr val="000000"/>
                    </a:solidFill>
                  </a:endParaRPr>
                </a:p>
              </p:txBody>
            </p:sp>
            <p:sp>
              <p:nvSpPr>
                <p:cNvPr id="482"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a:noFill/>
                </a:ln>
                <a:extLst/>
              </p:spPr>
              <p:txBody>
                <a:bodyPr/>
                <a:lstStyle/>
                <a:p>
                  <a:endParaRPr lang="en-CA" dirty="0">
                    <a:solidFill>
                      <a:srgbClr val="000000"/>
                    </a:solidFill>
                  </a:endParaRPr>
                </a:p>
              </p:txBody>
            </p:sp>
            <p:sp>
              <p:nvSpPr>
                <p:cNvPr id="483"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a:noFill/>
                </a:ln>
                <a:extLst/>
              </p:spPr>
              <p:txBody>
                <a:bodyPr/>
                <a:lstStyle/>
                <a:p>
                  <a:endParaRPr lang="en-CA" dirty="0">
                    <a:solidFill>
                      <a:srgbClr val="000000"/>
                    </a:solidFill>
                  </a:endParaRPr>
                </a:p>
              </p:txBody>
            </p:sp>
            <p:sp>
              <p:nvSpPr>
                <p:cNvPr id="484"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a:noFill/>
                </a:ln>
                <a:extLst/>
              </p:spPr>
              <p:txBody>
                <a:bodyPr/>
                <a:lstStyle/>
                <a:p>
                  <a:endParaRPr lang="en-CA" dirty="0">
                    <a:solidFill>
                      <a:srgbClr val="000000"/>
                    </a:solidFill>
                  </a:endParaRPr>
                </a:p>
              </p:txBody>
            </p:sp>
          </p:grpSp>
          <p:grpSp>
            <p:nvGrpSpPr>
              <p:cNvPr id="466" name="Gruppieren 465"/>
              <p:cNvGrpSpPr/>
              <p:nvPr>
                <p:custDataLst>
                  <p:tags r:id="rId89"/>
                </p:custDataLst>
              </p:nvPr>
            </p:nvGrpSpPr>
            <p:grpSpPr bwMode="gray">
              <a:xfrm>
                <a:off x="1870147" y="2895786"/>
                <a:ext cx="276885" cy="367386"/>
                <a:chOff x="6174437" y="1444896"/>
                <a:chExt cx="352646" cy="467910"/>
              </a:xfrm>
              <a:solidFill>
                <a:schemeClr val="accent1"/>
              </a:solidFill>
            </p:grpSpPr>
            <p:sp>
              <p:nvSpPr>
                <p:cNvPr id="477"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a:noFill/>
                </a:ln>
                <a:extLst/>
              </p:spPr>
              <p:txBody>
                <a:bodyPr/>
                <a:lstStyle/>
                <a:p>
                  <a:endParaRPr lang="en-CA" dirty="0">
                    <a:solidFill>
                      <a:srgbClr val="000000"/>
                    </a:solidFill>
                  </a:endParaRPr>
                </a:p>
              </p:txBody>
            </p:sp>
            <p:sp>
              <p:nvSpPr>
                <p:cNvPr id="478"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a:noFill/>
                </a:ln>
                <a:extLst/>
              </p:spPr>
              <p:txBody>
                <a:bodyPr/>
                <a:lstStyle/>
                <a:p>
                  <a:endParaRPr lang="en-CA" dirty="0">
                    <a:solidFill>
                      <a:srgbClr val="000000"/>
                    </a:solidFill>
                  </a:endParaRPr>
                </a:p>
              </p:txBody>
            </p:sp>
            <p:sp>
              <p:nvSpPr>
                <p:cNvPr id="479"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a:noFill/>
                </a:ln>
                <a:extLst/>
              </p:spPr>
              <p:txBody>
                <a:bodyPr/>
                <a:lstStyle/>
                <a:p>
                  <a:endParaRPr lang="en-CA" dirty="0">
                    <a:solidFill>
                      <a:srgbClr val="000000"/>
                    </a:solidFill>
                  </a:endParaRPr>
                </a:p>
              </p:txBody>
            </p:sp>
            <p:sp>
              <p:nvSpPr>
                <p:cNvPr id="480"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a:noFill/>
                </a:ln>
                <a:extLst/>
              </p:spPr>
              <p:txBody>
                <a:bodyPr/>
                <a:lstStyle/>
                <a:p>
                  <a:endParaRPr lang="en-CA" dirty="0">
                    <a:solidFill>
                      <a:srgbClr val="000000"/>
                    </a:solidFill>
                  </a:endParaRPr>
                </a:p>
              </p:txBody>
            </p:sp>
          </p:grpSp>
          <p:grpSp>
            <p:nvGrpSpPr>
              <p:cNvPr id="467" name="Gruppieren 466"/>
              <p:cNvGrpSpPr/>
              <p:nvPr>
                <p:custDataLst>
                  <p:tags r:id="rId90"/>
                </p:custDataLst>
              </p:nvPr>
            </p:nvGrpSpPr>
            <p:grpSpPr bwMode="gray">
              <a:xfrm>
                <a:off x="2230187" y="2895786"/>
                <a:ext cx="276885" cy="367386"/>
                <a:chOff x="6174437" y="1444896"/>
                <a:chExt cx="352646" cy="467910"/>
              </a:xfrm>
              <a:solidFill>
                <a:schemeClr val="accent1"/>
              </a:solidFill>
            </p:grpSpPr>
            <p:sp>
              <p:nvSpPr>
                <p:cNvPr id="473"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a:noFill/>
                </a:ln>
                <a:extLst/>
              </p:spPr>
              <p:txBody>
                <a:bodyPr/>
                <a:lstStyle/>
                <a:p>
                  <a:endParaRPr lang="en-CA" dirty="0">
                    <a:solidFill>
                      <a:srgbClr val="000000"/>
                    </a:solidFill>
                  </a:endParaRPr>
                </a:p>
              </p:txBody>
            </p:sp>
            <p:sp>
              <p:nvSpPr>
                <p:cNvPr id="474"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a:noFill/>
                </a:ln>
                <a:extLst/>
              </p:spPr>
              <p:txBody>
                <a:bodyPr/>
                <a:lstStyle/>
                <a:p>
                  <a:endParaRPr lang="en-CA" dirty="0">
                    <a:solidFill>
                      <a:srgbClr val="000000"/>
                    </a:solidFill>
                  </a:endParaRPr>
                </a:p>
              </p:txBody>
            </p:sp>
            <p:sp>
              <p:nvSpPr>
                <p:cNvPr id="475"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a:noFill/>
                </a:ln>
                <a:extLst/>
              </p:spPr>
              <p:txBody>
                <a:bodyPr/>
                <a:lstStyle/>
                <a:p>
                  <a:endParaRPr lang="en-CA" dirty="0">
                    <a:solidFill>
                      <a:srgbClr val="000000"/>
                    </a:solidFill>
                  </a:endParaRPr>
                </a:p>
              </p:txBody>
            </p:sp>
            <p:sp>
              <p:nvSpPr>
                <p:cNvPr id="476"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a:noFill/>
                </a:ln>
                <a:extLst/>
              </p:spPr>
              <p:txBody>
                <a:bodyPr/>
                <a:lstStyle/>
                <a:p>
                  <a:endParaRPr lang="en-CA" dirty="0">
                    <a:solidFill>
                      <a:srgbClr val="000000"/>
                    </a:solidFill>
                  </a:endParaRPr>
                </a:p>
              </p:txBody>
            </p:sp>
          </p:grpSp>
          <p:grpSp>
            <p:nvGrpSpPr>
              <p:cNvPr id="468" name="Gruppieren 467"/>
              <p:cNvGrpSpPr/>
              <p:nvPr>
                <p:custDataLst>
                  <p:tags r:id="rId91"/>
                </p:custDataLst>
              </p:nvPr>
            </p:nvGrpSpPr>
            <p:grpSpPr bwMode="gray">
              <a:xfrm>
                <a:off x="429987" y="2895786"/>
                <a:ext cx="276885" cy="367386"/>
                <a:chOff x="6174437" y="1444896"/>
                <a:chExt cx="352646" cy="467910"/>
              </a:xfrm>
              <a:solidFill>
                <a:schemeClr val="accent1"/>
              </a:solidFill>
            </p:grpSpPr>
            <p:sp>
              <p:nvSpPr>
                <p:cNvPr id="469"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a:noFill/>
                </a:ln>
                <a:extLst/>
              </p:spPr>
              <p:txBody>
                <a:bodyPr/>
                <a:lstStyle/>
                <a:p>
                  <a:endParaRPr lang="en-CA" dirty="0">
                    <a:solidFill>
                      <a:srgbClr val="000000"/>
                    </a:solidFill>
                  </a:endParaRPr>
                </a:p>
              </p:txBody>
            </p:sp>
            <p:sp>
              <p:nvSpPr>
                <p:cNvPr id="470"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a:noFill/>
                </a:ln>
                <a:extLst/>
              </p:spPr>
              <p:txBody>
                <a:bodyPr/>
                <a:lstStyle/>
                <a:p>
                  <a:endParaRPr lang="en-CA" dirty="0">
                    <a:solidFill>
                      <a:srgbClr val="000000"/>
                    </a:solidFill>
                  </a:endParaRPr>
                </a:p>
              </p:txBody>
            </p:sp>
            <p:sp>
              <p:nvSpPr>
                <p:cNvPr id="471"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a:noFill/>
                </a:ln>
                <a:extLst/>
              </p:spPr>
              <p:txBody>
                <a:bodyPr/>
                <a:lstStyle/>
                <a:p>
                  <a:endParaRPr lang="en-CA" dirty="0">
                    <a:solidFill>
                      <a:srgbClr val="000000"/>
                    </a:solidFill>
                  </a:endParaRPr>
                </a:p>
              </p:txBody>
            </p:sp>
            <p:sp>
              <p:nvSpPr>
                <p:cNvPr id="472"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a:noFill/>
                </a:ln>
                <a:extLst/>
              </p:spPr>
              <p:txBody>
                <a:bodyPr/>
                <a:lstStyle/>
                <a:p>
                  <a:endParaRPr lang="en-CA" dirty="0">
                    <a:solidFill>
                      <a:srgbClr val="000000"/>
                    </a:solidFill>
                  </a:endParaRPr>
                </a:p>
              </p:txBody>
            </p:sp>
          </p:grpSp>
        </p:grpSp>
        <p:grpSp>
          <p:nvGrpSpPr>
            <p:cNvPr id="339" name="Gruppieren 338"/>
            <p:cNvGrpSpPr/>
            <p:nvPr>
              <p:custDataLst>
                <p:tags r:id="rId56"/>
              </p:custDataLst>
            </p:nvPr>
          </p:nvGrpSpPr>
          <p:grpSpPr bwMode="gray">
            <a:xfrm>
              <a:off x="575556" y="2713666"/>
              <a:ext cx="1718666" cy="367386"/>
              <a:chOff x="575556" y="2751770"/>
              <a:chExt cx="1718666" cy="367386"/>
            </a:xfrm>
          </p:grpSpPr>
          <p:grpSp>
            <p:nvGrpSpPr>
              <p:cNvPr id="407" name="Gruppieren 406"/>
              <p:cNvGrpSpPr/>
              <p:nvPr>
                <p:custDataLst>
                  <p:tags r:id="rId70"/>
                </p:custDataLst>
              </p:nvPr>
            </p:nvGrpSpPr>
            <p:grpSpPr bwMode="gray">
              <a:xfrm>
                <a:off x="937217" y="2751770"/>
                <a:ext cx="276885" cy="367386"/>
                <a:chOff x="6174437" y="1444896"/>
                <a:chExt cx="352646" cy="467910"/>
              </a:xfrm>
              <a:solidFill>
                <a:schemeClr val="bg1"/>
              </a:solidFill>
            </p:grpSpPr>
            <p:sp>
              <p:nvSpPr>
                <p:cNvPr id="453"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w="38100">
                  <a:solidFill>
                    <a:schemeClr val="bg1"/>
                  </a:solidFill>
                </a:ln>
                <a:extLst/>
              </p:spPr>
              <p:txBody>
                <a:bodyPr/>
                <a:lstStyle/>
                <a:p>
                  <a:endParaRPr lang="en-CA" dirty="0">
                    <a:solidFill>
                      <a:srgbClr val="000000"/>
                    </a:solidFill>
                  </a:endParaRPr>
                </a:p>
              </p:txBody>
            </p:sp>
            <p:sp>
              <p:nvSpPr>
                <p:cNvPr id="454"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w="38100">
                  <a:solidFill>
                    <a:schemeClr val="bg1"/>
                  </a:solidFill>
                </a:ln>
                <a:extLst/>
              </p:spPr>
              <p:txBody>
                <a:bodyPr/>
                <a:lstStyle/>
                <a:p>
                  <a:endParaRPr lang="en-CA" dirty="0">
                    <a:solidFill>
                      <a:srgbClr val="000000"/>
                    </a:solidFill>
                  </a:endParaRPr>
                </a:p>
              </p:txBody>
            </p:sp>
            <p:sp>
              <p:nvSpPr>
                <p:cNvPr id="455"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w="38100">
                  <a:solidFill>
                    <a:schemeClr val="bg1"/>
                  </a:solidFill>
                </a:ln>
                <a:extLst/>
              </p:spPr>
              <p:txBody>
                <a:bodyPr/>
                <a:lstStyle/>
                <a:p>
                  <a:endParaRPr lang="en-CA" dirty="0">
                    <a:solidFill>
                      <a:srgbClr val="000000"/>
                    </a:solidFill>
                  </a:endParaRPr>
                </a:p>
              </p:txBody>
            </p:sp>
            <p:sp>
              <p:nvSpPr>
                <p:cNvPr id="456"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w="38100">
                  <a:solidFill>
                    <a:schemeClr val="bg1"/>
                  </a:solidFill>
                </a:ln>
                <a:extLst/>
              </p:spPr>
              <p:txBody>
                <a:bodyPr/>
                <a:lstStyle/>
                <a:p>
                  <a:endParaRPr lang="en-CA" dirty="0">
                    <a:solidFill>
                      <a:srgbClr val="000000"/>
                    </a:solidFill>
                  </a:endParaRPr>
                </a:p>
              </p:txBody>
            </p:sp>
          </p:grpSp>
          <p:grpSp>
            <p:nvGrpSpPr>
              <p:cNvPr id="408" name="Gruppieren 407"/>
              <p:cNvGrpSpPr/>
              <p:nvPr>
                <p:custDataLst>
                  <p:tags r:id="rId71"/>
                </p:custDataLst>
              </p:nvPr>
            </p:nvGrpSpPr>
            <p:grpSpPr bwMode="gray">
              <a:xfrm>
                <a:off x="1297257" y="2751770"/>
                <a:ext cx="276885" cy="367386"/>
                <a:chOff x="6174437" y="1444896"/>
                <a:chExt cx="352646" cy="467910"/>
              </a:xfrm>
              <a:solidFill>
                <a:schemeClr val="bg1"/>
              </a:solidFill>
            </p:grpSpPr>
            <p:sp>
              <p:nvSpPr>
                <p:cNvPr id="449"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w="38100">
                  <a:solidFill>
                    <a:schemeClr val="bg1"/>
                  </a:solidFill>
                </a:ln>
                <a:extLst/>
              </p:spPr>
              <p:txBody>
                <a:bodyPr/>
                <a:lstStyle/>
                <a:p>
                  <a:endParaRPr lang="en-CA" dirty="0">
                    <a:solidFill>
                      <a:srgbClr val="000000"/>
                    </a:solidFill>
                  </a:endParaRPr>
                </a:p>
              </p:txBody>
            </p:sp>
            <p:sp>
              <p:nvSpPr>
                <p:cNvPr id="450"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w="38100">
                  <a:solidFill>
                    <a:schemeClr val="bg1"/>
                  </a:solidFill>
                </a:ln>
                <a:extLst/>
              </p:spPr>
              <p:txBody>
                <a:bodyPr/>
                <a:lstStyle/>
                <a:p>
                  <a:endParaRPr lang="en-CA" dirty="0">
                    <a:solidFill>
                      <a:srgbClr val="000000"/>
                    </a:solidFill>
                  </a:endParaRPr>
                </a:p>
              </p:txBody>
            </p:sp>
            <p:sp>
              <p:nvSpPr>
                <p:cNvPr id="451"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w="38100">
                  <a:solidFill>
                    <a:schemeClr val="bg1"/>
                  </a:solidFill>
                </a:ln>
                <a:extLst/>
              </p:spPr>
              <p:txBody>
                <a:bodyPr/>
                <a:lstStyle/>
                <a:p>
                  <a:endParaRPr lang="en-CA" dirty="0">
                    <a:solidFill>
                      <a:srgbClr val="000000"/>
                    </a:solidFill>
                  </a:endParaRPr>
                </a:p>
              </p:txBody>
            </p:sp>
            <p:sp>
              <p:nvSpPr>
                <p:cNvPr id="452"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w="38100">
                  <a:solidFill>
                    <a:schemeClr val="bg1"/>
                  </a:solidFill>
                </a:ln>
                <a:extLst/>
              </p:spPr>
              <p:txBody>
                <a:bodyPr/>
                <a:lstStyle/>
                <a:p>
                  <a:endParaRPr lang="en-CA" dirty="0">
                    <a:solidFill>
                      <a:srgbClr val="000000"/>
                    </a:solidFill>
                  </a:endParaRPr>
                </a:p>
              </p:txBody>
            </p:sp>
          </p:grpSp>
          <p:grpSp>
            <p:nvGrpSpPr>
              <p:cNvPr id="409" name="Gruppieren 408"/>
              <p:cNvGrpSpPr/>
              <p:nvPr>
                <p:custDataLst>
                  <p:tags r:id="rId72"/>
                </p:custDataLst>
              </p:nvPr>
            </p:nvGrpSpPr>
            <p:grpSpPr bwMode="gray">
              <a:xfrm>
                <a:off x="1657297" y="2751770"/>
                <a:ext cx="276885" cy="367386"/>
                <a:chOff x="6174437" y="1444896"/>
                <a:chExt cx="352646" cy="467910"/>
              </a:xfrm>
              <a:solidFill>
                <a:schemeClr val="bg1"/>
              </a:solidFill>
            </p:grpSpPr>
            <p:sp>
              <p:nvSpPr>
                <p:cNvPr id="445"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w="38100">
                  <a:solidFill>
                    <a:schemeClr val="bg1"/>
                  </a:solidFill>
                </a:ln>
                <a:extLst/>
              </p:spPr>
              <p:txBody>
                <a:bodyPr/>
                <a:lstStyle/>
                <a:p>
                  <a:endParaRPr lang="en-CA" dirty="0">
                    <a:solidFill>
                      <a:srgbClr val="000000"/>
                    </a:solidFill>
                  </a:endParaRPr>
                </a:p>
              </p:txBody>
            </p:sp>
            <p:sp>
              <p:nvSpPr>
                <p:cNvPr id="446"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w="38100">
                  <a:solidFill>
                    <a:schemeClr val="bg1"/>
                  </a:solidFill>
                </a:ln>
                <a:extLst/>
              </p:spPr>
              <p:txBody>
                <a:bodyPr/>
                <a:lstStyle/>
                <a:p>
                  <a:endParaRPr lang="en-CA" dirty="0">
                    <a:solidFill>
                      <a:srgbClr val="000000"/>
                    </a:solidFill>
                  </a:endParaRPr>
                </a:p>
              </p:txBody>
            </p:sp>
            <p:sp>
              <p:nvSpPr>
                <p:cNvPr id="447"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w="38100">
                  <a:solidFill>
                    <a:schemeClr val="bg1"/>
                  </a:solidFill>
                </a:ln>
                <a:extLst/>
              </p:spPr>
              <p:txBody>
                <a:bodyPr/>
                <a:lstStyle/>
                <a:p>
                  <a:endParaRPr lang="en-CA" dirty="0">
                    <a:solidFill>
                      <a:srgbClr val="000000"/>
                    </a:solidFill>
                  </a:endParaRPr>
                </a:p>
              </p:txBody>
            </p:sp>
            <p:sp>
              <p:nvSpPr>
                <p:cNvPr id="448"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w="38100">
                  <a:solidFill>
                    <a:schemeClr val="bg1"/>
                  </a:solidFill>
                </a:ln>
                <a:extLst/>
              </p:spPr>
              <p:txBody>
                <a:bodyPr/>
                <a:lstStyle/>
                <a:p>
                  <a:endParaRPr lang="en-CA" dirty="0">
                    <a:solidFill>
                      <a:srgbClr val="000000"/>
                    </a:solidFill>
                  </a:endParaRPr>
                </a:p>
              </p:txBody>
            </p:sp>
          </p:grpSp>
          <p:grpSp>
            <p:nvGrpSpPr>
              <p:cNvPr id="410" name="Gruppieren 409"/>
              <p:cNvGrpSpPr/>
              <p:nvPr>
                <p:custDataLst>
                  <p:tags r:id="rId73"/>
                </p:custDataLst>
              </p:nvPr>
            </p:nvGrpSpPr>
            <p:grpSpPr bwMode="gray">
              <a:xfrm>
                <a:off x="2017337" y="2751770"/>
                <a:ext cx="276885" cy="367386"/>
                <a:chOff x="6174437" y="1444896"/>
                <a:chExt cx="352646" cy="467910"/>
              </a:xfrm>
              <a:solidFill>
                <a:schemeClr val="bg1"/>
              </a:solidFill>
            </p:grpSpPr>
            <p:sp>
              <p:nvSpPr>
                <p:cNvPr id="441"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w="38100">
                  <a:solidFill>
                    <a:schemeClr val="bg1"/>
                  </a:solidFill>
                </a:ln>
                <a:extLst/>
              </p:spPr>
              <p:txBody>
                <a:bodyPr/>
                <a:lstStyle/>
                <a:p>
                  <a:endParaRPr lang="en-CA" dirty="0">
                    <a:solidFill>
                      <a:srgbClr val="000000"/>
                    </a:solidFill>
                  </a:endParaRPr>
                </a:p>
              </p:txBody>
            </p:sp>
            <p:sp>
              <p:nvSpPr>
                <p:cNvPr id="442"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w="38100">
                  <a:solidFill>
                    <a:schemeClr val="bg1"/>
                  </a:solidFill>
                </a:ln>
                <a:extLst/>
              </p:spPr>
              <p:txBody>
                <a:bodyPr/>
                <a:lstStyle/>
                <a:p>
                  <a:endParaRPr lang="en-CA" dirty="0">
                    <a:solidFill>
                      <a:srgbClr val="000000"/>
                    </a:solidFill>
                  </a:endParaRPr>
                </a:p>
              </p:txBody>
            </p:sp>
            <p:sp>
              <p:nvSpPr>
                <p:cNvPr id="443"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w="38100">
                  <a:solidFill>
                    <a:schemeClr val="bg1"/>
                  </a:solidFill>
                </a:ln>
                <a:extLst/>
              </p:spPr>
              <p:txBody>
                <a:bodyPr/>
                <a:lstStyle/>
                <a:p>
                  <a:endParaRPr lang="en-CA" dirty="0">
                    <a:solidFill>
                      <a:srgbClr val="000000"/>
                    </a:solidFill>
                  </a:endParaRPr>
                </a:p>
              </p:txBody>
            </p:sp>
            <p:sp>
              <p:nvSpPr>
                <p:cNvPr id="444"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w="38100">
                  <a:solidFill>
                    <a:schemeClr val="bg1"/>
                  </a:solidFill>
                </a:ln>
                <a:extLst/>
              </p:spPr>
              <p:txBody>
                <a:bodyPr/>
                <a:lstStyle/>
                <a:p>
                  <a:endParaRPr lang="en-CA" dirty="0">
                    <a:solidFill>
                      <a:srgbClr val="000000"/>
                    </a:solidFill>
                  </a:endParaRPr>
                </a:p>
              </p:txBody>
            </p:sp>
          </p:grpSp>
          <p:grpSp>
            <p:nvGrpSpPr>
              <p:cNvPr id="411" name="Gruppieren 410"/>
              <p:cNvGrpSpPr/>
              <p:nvPr>
                <p:custDataLst>
                  <p:tags r:id="rId74"/>
                </p:custDataLst>
              </p:nvPr>
            </p:nvGrpSpPr>
            <p:grpSpPr bwMode="gray">
              <a:xfrm>
                <a:off x="577177" y="2751770"/>
                <a:ext cx="276885" cy="367386"/>
                <a:chOff x="6174437" y="1444896"/>
                <a:chExt cx="352646" cy="467910"/>
              </a:xfrm>
              <a:solidFill>
                <a:schemeClr val="bg1"/>
              </a:solidFill>
            </p:grpSpPr>
            <p:sp>
              <p:nvSpPr>
                <p:cNvPr id="437"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w="38100">
                  <a:solidFill>
                    <a:schemeClr val="bg1"/>
                  </a:solidFill>
                </a:ln>
                <a:extLst/>
              </p:spPr>
              <p:txBody>
                <a:bodyPr/>
                <a:lstStyle/>
                <a:p>
                  <a:endParaRPr lang="en-CA" dirty="0">
                    <a:solidFill>
                      <a:srgbClr val="000000"/>
                    </a:solidFill>
                  </a:endParaRPr>
                </a:p>
              </p:txBody>
            </p:sp>
            <p:sp>
              <p:nvSpPr>
                <p:cNvPr id="438"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w="38100">
                  <a:solidFill>
                    <a:schemeClr val="bg1"/>
                  </a:solidFill>
                </a:ln>
                <a:extLst/>
              </p:spPr>
              <p:txBody>
                <a:bodyPr/>
                <a:lstStyle/>
                <a:p>
                  <a:endParaRPr lang="en-CA" dirty="0">
                    <a:solidFill>
                      <a:srgbClr val="000000"/>
                    </a:solidFill>
                  </a:endParaRPr>
                </a:p>
              </p:txBody>
            </p:sp>
            <p:sp>
              <p:nvSpPr>
                <p:cNvPr id="439"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w="38100">
                  <a:solidFill>
                    <a:schemeClr val="bg1"/>
                  </a:solidFill>
                </a:ln>
                <a:extLst/>
              </p:spPr>
              <p:txBody>
                <a:bodyPr/>
                <a:lstStyle/>
                <a:p>
                  <a:endParaRPr lang="en-CA" dirty="0">
                    <a:solidFill>
                      <a:srgbClr val="000000"/>
                    </a:solidFill>
                  </a:endParaRPr>
                </a:p>
              </p:txBody>
            </p:sp>
            <p:sp>
              <p:nvSpPr>
                <p:cNvPr id="440"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w="38100">
                  <a:solidFill>
                    <a:schemeClr val="bg1"/>
                  </a:solidFill>
                </a:ln>
                <a:extLst/>
              </p:spPr>
              <p:txBody>
                <a:bodyPr/>
                <a:lstStyle/>
                <a:p>
                  <a:endParaRPr lang="en-CA" dirty="0">
                    <a:solidFill>
                      <a:srgbClr val="000000"/>
                    </a:solidFill>
                  </a:endParaRPr>
                </a:p>
              </p:txBody>
            </p:sp>
          </p:grpSp>
          <p:grpSp>
            <p:nvGrpSpPr>
              <p:cNvPr id="412" name="Gruppieren 411"/>
              <p:cNvGrpSpPr/>
              <p:nvPr>
                <p:custDataLst>
                  <p:tags r:id="rId75"/>
                </p:custDataLst>
              </p:nvPr>
            </p:nvGrpSpPr>
            <p:grpSpPr bwMode="gray">
              <a:xfrm>
                <a:off x="935596" y="2751770"/>
                <a:ext cx="276885" cy="367386"/>
                <a:chOff x="6174437" y="1444896"/>
                <a:chExt cx="352646" cy="467910"/>
              </a:xfrm>
              <a:solidFill>
                <a:schemeClr val="accent1"/>
              </a:solidFill>
            </p:grpSpPr>
            <p:sp>
              <p:nvSpPr>
                <p:cNvPr id="433"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a:noFill/>
                </a:ln>
                <a:extLst/>
              </p:spPr>
              <p:txBody>
                <a:bodyPr/>
                <a:lstStyle/>
                <a:p>
                  <a:endParaRPr lang="en-CA" dirty="0">
                    <a:solidFill>
                      <a:srgbClr val="000000"/>
                    </a:solidFill>
                  </a:endParaRPr>
                </a:p>
              </p:txBody>
            </p:sp>
            <p:sp>
              <p:nvSpPr>
                <p:cNvPr id="434"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a:noFill/>
                </a:ln>
                <a:extLst/>
              </p:spPr>
              <p:txBody>
                <a:bodyPr/>
                <a:lstStyle/>
                <a:p>
                  <a:endParaRPr lang="en-CA" dirty="0">
                    <a:solidFill>
                      <a:srgbClr val="000000"/>
                    </a:solidFill>
                  </a:endParaRPr>
                </a:p>
              </p:txBody>
            </p:sp>
            <p:sp>
              <p:nvSpPr>
                <p:cNvPr id="435"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a:noFill/>
                </a:ln>
                <a:extLst/>
              </p:spPr>
              <p:txBody>
                <a:bodyPr/>
                <a:lstStyle/>
                <a:p>
                  <a:endParaRPr lang="en-CA" dirty="0">
                    <a:solidFill>
                      <a:srgbClr val="000000"/>
                    </a:solidFill>
                  </a:endParaRPr>
                </a:p>
              </p:txBody>
            </p:sp>
            <p:sp>
              <p:nvSpPr>
                <p:cNvPr id="436"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a:noFill/>
                </a:ln>
                <a:extLst/>
              </p:spPr>
              <p:txBody>
                <a:bodyPr/>
                <a:lstStyle/>
                <a:p>
                  <a:endParaRPr lang="en-CA" dirty="0">
                    <a:solidFill>
                      <a:srgbClr val="000000"/>
                    </a:solidFill>
                  </a:endParaRPr>
                </a:p>
              </p:txBody>
            </p:sp>
          </p:grpSp>
          <p:grpSp>
            <p:nvGrpSpPr>
              <p:cNvPr id="413" name="Gruppieren 412"/>
              <p:cNvGrpSpPr/>
              <p:nvPr>
                <p:custDataLst>
                  <p:tags r:id="rId76"/>
                </p:custDataLst>
              </p:nvPr>
            </p:nvGrpSpPr>
            <p:grpSpPr bwMode="gray">
              <a:xfrm>
                <a:off x="1295636" y="2751770"/>
                <a:ext cx="276885" cy="367386"/>
                <a:chOff x="6174437" y="1444896"/>
                <a:chExt cx="352646" cy="467910"/>
              </a:xfrm>
              <a:solidFill>
                <a:schemeClr val="accent1"/>
              </a:solidFill>
            </p:grpSpPr>
            <p:sp>
              <p:nvSpPr>
                <p:cNvPr id="429"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a:noFill/>
                </a:ln>
                <a:extLst/>
              </p:spPr>
              <p:txBody>
                <a:bodyPr/>
                <a:lstStyle/>
                <a:p>
                  <a:endParaRPr lang="en-CA" dirty="0">
                    <a:solidFill>
                      <a:srgbClr val="000000"/>
                    </a:solidFill>
                  </a:endParaRPr>
                </a:p>
              </p:txBody>
            </p:sp>
            <p:sp>
              <p:nvSpPr>
                <p:cNvPr id="430"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a:noFill/>
                </a:ln>
                <a:extLst/>
              </p:spPr>
              <p:txBody>
                <a:bodyPr/>
                <a:lstStyle/>
                <a:p>
                  <a:endParaRPr lang="en-CA" dirty="0">
                    <a:solidFill>
                      <a:srgbClr val="000000"/>
                    </a:solidFill>
                  </a:endParaRPr>
                </a:p>
              </p:txBody>
            </p:sp>
            <p:sp>
              <p:nvSpPr>
                <p:cNvPr id="431"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a:noFill/>
                </a:ln>
                <a:extLst/>
              </p:spPr>
              <p:txBody>
                <a:bodyPr/>
                <a:lstStyle/>
                <a:p>
                  <a:endParaRPr lang="en-CA" dirty="0">
                    <a:solidFill>
                      <a:srgbClr val="000000"/>
                    </a:solidFill>
                  </a:endParaRPr>
                </a:p>
              </p:txBody>
            </p:sp>
            <p:sp>
              <p:nvSpPr>
                <p:cNvPr id="432"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a:noFill/>
                </a:ln>
                <a:extLst/>
              </p:spPr>
              <p:txBody>
                <a:bodyPr/>
                <a:lstStyle/>
                <a:p>
                  <a:endParaRPr lang="en-CA" dirty="0">
                    <a:solidFill>
                      <a:srgbClr val="000000"/>
                    </a:solidFill>
                  </a:endParaRPr>
                </a:p>
              </p:txBody>
            </p:sp>
          </p:grpSp>
          <p:grpSp>
            <p:nvGrpSpPr>
              <p:cNvPr id="414" name="Gruppieren 413"/>
              <p:cNvGrpSpPr/>
              <p:nvPr>
                <p:custDataLst>
                  <p:tags r:id="rId77"/>
                </p:custDataLst>
              </p:nvPr>
            </p:nvGrpSpPr>
            <p:grpSpPr bwMode="gray">
              <a:xfrm>
                <a:off x="1655676" y="2751770"/>
                <a:ext cx="276885" cy="367386"/>
                <a:chOff x="6174437" y="1444896"/>
                <a:chExt cx="352646" cy="467910"/>
              </a:xfrm>
              <a:solidFill>
                <a:schemeClr val="accent1"/>
              </a:solidFill>
            </p:grpSpPr>
            <p:sp>
              <p:nvSpPr>
                <p:cNvPr id="425"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a:noFill/>
                </a:ln>
                <a:extLst/>
              </p:spPr>
              <p:txBody>
                <a:bodyPr/>
                <a:lstStyle/>
                <a:p>
                  <a:endParaRPr lang="en-CA" dirty="0">
                    <a:solidFill>
                      <a:srgbClr val="000000"/>
                    </a:solidFill>
                  </a:endParaRPr>
                </a:p>
              </p:txBody>
            </p:sp>
            <p:sp>
              <p:nvSpPr>
                <p:cNvPr id="426"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a:noFill/>
                </a:ln>
                <a:extLst/>
              </p:spPr>
              <p:txBody>
                <a:bodyPr/>
                <a:lstStyle/>
                <a:p>
                  <a:endParaRPr lang="en-CA" dirty="0">
                    <a:solidFill>
                      <a:srgbClr val="000000"/>
                    </a:solidFill>
                  </a:endParaRPr>
                </a:p>
              </p:txBody>
            </p:sp>
            <p:sp>
              <p:nvSpPr>
                <p:cNvPr id="427"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a:noFill/>
                </a:ln>
                <a:extLst/>
              </p:spPr>
              <p:txBody>
                <a:bodyPr/>
                <a:lstStyle/>
                <a:p>
                  <a:endParaRPr lang="en-CA" dirty="0">
                    <a:solidFill>
                      <a:srgbClr val="000000"/>
                    </a:solidFill>
                  </a:endParaRPr>
                </a:p>
              </p:txBody>
            </p:sp>
            <p:sp>
              <p:nvSpPr>
                <p:cNvPr id="428"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a:noFill/>
                </a:ln>
                <a:extLst/>
              </p:spPr>
              <p:txBody>
                <a:bodyPr/>
                <a:lstStyle/>
                <a:p>
                  <a:endParaRPr lang="en-CA" dirty="0">
                    <a:solidFill>
                      <a:srgbClr val="000000"/>
                    </a:solidFill>
                  </a:endParaRPr>
                </a:p>
              </p:txBody>
            </p:sp>
          </p:grpSp>
          <p:grpSp>
            <p:nvGrpSpPr>
              <p:cNvPr id="415" name="Gruppieren 414"/>
              <p:cNvGrpSpPr/>
              <p:nvPr>
                <p:custDataLst>
                  <p:tags r:id="rId78"/>
                </p:custDataLst>
              </p:nvPr>
            </p:nvGrpSpPr>
            <p:grpSpPr bwMode="gray">
              <a:xfrm>
                <a:off x="2015716" y="2751770"/>
                <a:ext cx="276885" cy="367386"/>
                <a:chOff x="6174437" y="1444896"/>
                <a:chExt cx="352646" cy="467910"/>
              </a:xfrm>
              <a:solidFill>
                <a:schemeClr val="accent1"/>
              </a:solidFill>
            </p:grpSpPr>
            <p:sp>
              <p:nvSpPr>
                <p:cNvPr id="421"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a:noFill/>
                </a:ln>
                <a:extLst/>
              </p:spPr>
              <p:txBody>
                <a:bodyPr/>
                <a:lstStyle/>
                <a:p>
                  <a:endParaRPr lang="en-CA" dirty="0">
                    <a:solidFill>
                      <a:srgbClr val="000000"/>
                    </a:solidFill>
                  </a:endParaRPr>
                </a:p>
              </p:txBody>
            </p:sp>
            <p:sp>
              <p:nvSpPr>
                <p:cNvPr id="422"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a:noFill/>
                </a:ln>
                <a:extLst/>
              </p:spPr>
              <p:txBody>
                <a:bodyPr/>
                <a:lstStyle/>
                <a:p>
                  <a:endParaRPr lang="en-CA" dirty="0">
                    <a:solidFill>
                      <a:srgbClr val="000000"/>
                    </a:solidFill>
                  </a:endParaRPr>
                </a:p>
              </p:txBody>
            </p:sp>
            <p:sp>
              <p:nvSpPr>
                <p:cNvPr id="423"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a:noFill/>
                </a:ln>
                <a:extLst/>
              </p:spPr>
              <p:txBody>
                <a:bodyPr/>
                <a:lstStyle/>
                <a:p>
                  <a:endParaRPr lang="en-CA" dirty="0">
                    <a:solidFill>
                      <a:srgbClr val="000000"/>
                    </a:solidFill>
                  </a:endParaRPr>
                </a:p>
              </p:txBody>
            </p:sp>
            <p:sp>
              <p:nvSpPr>
                <p:cNvPr id="424"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a:noFill/>
                </a:ln>
                <a:extLst/>
              </p:spPr>
              <p:txBody>
                <a:bodyPr/>
                <a:lstStyle/>
                <a:p>
                  <a:endParaRPr lang="en-CA" dirty="0">
                    <a:solidFill>
                      <a:srgbClr val="000000"/>
                    </a:solidFill>
                  </a:endParaRPr>
                </a:p>
              </p:txBody>
            </p:sp>
          </p:grpSp>
          <p:grpSp>
            <p:nvGrpSpPr>
              <p:cNvPr id="416" name="Gruppieren 415"/>
              <p:cNvGrpSpPr/>
              <p:nvPr>
                <p:custDataLst>
                  <p:tags r:id="rId79"/>
                </p:custDataLst>
              </p:nvPr>
            </p:nvGrpSpPr>
            <p:grpSpPr bwMode="gray">
              <a:xfrm>
                <a:off x="575556" y="2751770"/>
                <a:ext cx="276885" cy="367386"/>
                <a:chOff x="6174437" y="1444896"/>
                <a:chExt cx="352646" cy="467910"/>
              </a:xfrm>
              <a:solidFill>
                <a:schemeClr val="accent1"/>
              </a:solidFill>
            </p:grpSpPr>
            <p:sp>
              <p:nvSpPr>
                <p:cNvPr id="417"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a:noFill/>
                </a:ln>
                <a:extLst/>
              </p:spPr>
              <p:txBody>
                <a:bodyPr/>
                <a:lstStyle/>
                <a:p>
                  <a:endParaRPr lang="en-CA" dirty="0">
                    <a:solidFill>
                      <a:srgbClr val="000000"/>
                    </a:solidFill>
                  </a:endParaRPr>
                </a:p>
              </p:txBody>
            </p:sp>
            <p:sp>
              <p:nvSpPr>
                <p:cNvPr id="418"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a:noFill/>
                </a:ln>
                <a:extLst/>
              </p:spPr>
              <p:txBody>
                <a:bodyPr/>
                <a:lstStyle/>
                <a:p>
                  <a:endParaRPr lang="en-CA" dirty="0">
                    <a:solidFill>
                      <a:srgbClr val="000000"/>
                    </a:solidFill>
                  </a:endParaRPr>
                </a:p>
              </p:txBody>
            </p:sp>
            <p:sp>
              <p:nvSpPr>
                <p:cNvPr id="419"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a:noFill/>
                </a:ln>
                <a:extLst/>
              </p:spPr>
              <p:txBody>
                <a:bodyPr/>
                <a:lstStyle/>
                <a:p>
                  <a:endParaRPr lang="en-CA" dirty="0">
                    <a:solidFill>
                      <a:srgbClr val="000000"/>
                    </a:solidFill>
                  </a:endParaRPr>
                </a:p>
              </p:txBody>
            </p:sp>
            <p:sp>
              <p:nvSpPr>
                <p:cNvPr id="420"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a:noFill/>
                </a:ln>
                <a:extLst/>
              </p:spPr>
              <p:txBody>
                <a:bodyPr/>
                <a:lstStyle/>
                <a:p>
                  <a:endParaRPr lang="en-CA" dirty="0">
                    <a:solidFill>
                      <a:srgbClr val="000000"/>
                    </a:solidFill>
                  </a:endParaRPr>
                </a:p>
              </p:txBody>
            </p:sp>
          </p:grpSp>
        </p:grpSp>
        <p:grpSp>
          <p:nvGrpSpPr>
            <p:cNvPr id="342" name="Gruppieren 341"/>
            <p:cNvGrpSpPr/>
            <p:nvPr>
              <p:custDataLst>
                <p:tags r:id="rId57"/>
              </p:custDataLst>
            </p:nvPr>
          </p:nvGrpSpPr>
          <p:grpSpPr bwMode="gray">
            <a:xfrm>
              <a:off x="429987" y="2895786"/>
              <a:ext cx="2078638" cy="367386"/>
              <a:chOff x="429987" y="2895786"/>
              <a:chExt cx="2078638" cy="367386"/>
            </a:xfrm>
          </p:grpSpPr>
          <p:grpSp>
            <p:nvGrpSpPr>
              <p:cNvPr id="343" name="Gruppieren 342"/>
              <p:cNvGrpSpPr/>
              <p:nvPr>
                <p:custDataLst>
                  <p:tags r:id="rId58"/>
                </p:custDataLst>
              </p:nvPr>
            </p:nvGrpSpPr>
            <p:grpSpPr bwMode="gray">
              <a:xfrm>
                <a:off x="791580" y="2895786"/>
                <a:ext cx="276885" cy="367386"/>
                <a:chOff x="6174437" y="1444896"/>
                <a:chExt cx="352646" cy="467910"/>
              </a:xfrm>
              <a:solidFill>
                <a:schemeClr val="bg1"/>
              </a:solidFill>
            </p:grpSpPr>
            <p:sp>
              <p:nvSpPr>
                <p:cNvPr id="403"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w="38100">
                  <a:solidFill>
                    <a:schemeClr val="bg1"/>
                  </a:solidFill>
                </a:ln>
                <a:extLst/>
              </p:spPr>
              <p:txBody>
                <a:bodyPr/>
                <a:lstStyle/>
                <a:p>
                  <a:endParaRPr lang="en-CA" dirty="0">
                    <a:solidFill>
                      <a:srgbClr val="000000"/>
                    </a:solidFill>
                  </a:endParaRPr>
                </a:p>
              </p:txBody>
            </p:sp>
            <p:sp>
              <p:nvSpPr>
                <p:cNvPr id="404"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w="38100">
                  <a:solidFill>
                    <a:schemeClr val="bg1"/>
                  </a:solidFill>
                </a:ln>
                <a:extLst/>
              </p:spPr>
              <p:txBody>
                <a:bodyPr/>
                <a:lstStyle/>
                <a:p>
                  <a:endParaRPr lang="en-CA" dirty="0">
                    <a:solidFill>
                      <a:srgbClr val="000000"/>
                    </a:solidFill>
                  </a:endParaRPr>
                </a:p>
              </p:txBody>
            </p:sp>
            <p:sp>
              <p:nvSpPr>
                <p:cNvPr id="405"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w="38100">
                  <a:solidFill>
                    <a:schemeClr val="bg1"/>
                  </a:solidFill>
                </a:ln>
                <a:extLst/>
              </p:spPr>
              <p:txBody>
                <a:bodyPr/>
                <a:lstStyle/>
                <a:p>
                  <a:endParaRPr lang="en-CA" dirty="0">
                    <a:solidFill>
                      <a:srgbClr val="000000"/>
                    </a:solidFill>
                  </a:endParaRPr>
                </a:p>
              </p:txBody>
            </p:sp>
            <p:sp>
              <p:nvSpPr>
                <p:cNvPr id="406"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w="38100">
                  <a:solidFill>
                    <a:schemeClr val="bg1"/>
                  </a:solidFill>
                </a:ln>
                <a:extLst/>
              </p:spPr>
              <p:txBody>
                <a:bodyPr/>
                <a:lstStyle/>
                <a:p>
                  <a:endParaRPr lang="en-CA" dirty="0">
                    <a:solidFill>
                      <a:srgbClr val="000000"/>
                    </a:solidFill>
                  </a:endParaRPr>
                </a:p>
              </p:txBody>
            </p:sp>
          </p:grpSp>
          <p:grpSp>
            <p:nvGrpSpPr>
              <p:cNvPr id="344" name="Gruppieren 343"/>
              <p:cNvGrpSpPr/>
              <p:nvPr>
                <p:custDataLst>
                  <p:tags r:id="rId59"/>
                </p:custDataLst>
              </p:nvPr>
            </p:nvGrpSpPr>
            <p:grpSpPr bwMode="gray">
              <a:xfrm>
                <a:off x="1151620" y="2895786"/>
                <a:ext cx="276885" cy="367386"/>
                <a:chOff x="6174437" y="1444896"/>
                <a:chExt cx="352646" cy="467910"/>
              </a:xfrm>
              <a:solidFill>
                <a:schemeClr val="bg1"/>
              </a:solidFill>
            </p:grpSpPr>
            <p:sp>
              <p:nvSpPr>
                <p:cNvPr id="399"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w="38100">
                  <a:solidFill>
                    <a:schemeClr val="bg1"/>
                  </a:solidFill>
                </a:ln>
                <a:extLst/>
              </p:spPr>
              <p:txBody>
                <a:bodyPr/>
                <a:lstStyle/>
                <a:p>
                  <a:endParaRPr lang="en-CA" dirty="0">
                    <a:solidFill>
                      <a:srgbClr val="000000"/>
                    </a:solidFill>
                  </a:endParaRPr>
                </a:p>
              </p:txBody>
            </p:sp>
            <p:sp>
              <p:nvSpPr>
                <p:cNvPr id="400"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w="38100">
                  <a:solidFill>
                    <a:schemeClr val="bg1"/>
                  </a:solidFill>
                </a:ln>
                <a:extLst/>
              </p:spPr>
              <p:txBody>
                <a:bodyPr/>
                <a:lstStyle/>
                <a:p>
                  <a:endParaRPr lang="en-CA" dirty="0">
                    <a:solidFill>
                      <a:srgbClr val="000000"/>
                    </a:solidFill>
                  </a:endParaRPr>
                </a:p>
              </p:txBody>
            </p:sp>
            <p:sp>
              <p:nvSpPr>
                <p:cNvPr id="401"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w="38100">
                  <a:solidFill>
                    <a:schemeClr val="bg1"/>
                  </a:solidFill>
                </a:ln>
                <a:extLst/>
              </p:spPr>
              <p:txBody>
                <a:bodyPr/>
                <a:lstStyle/>
                <a:p>
                  <a:endParaRPr lang="en-CA" dirty="0">
                    <a:solidFill>
                      <a:srgbClr val="000000"/>
                    </a:solidFill>
                  </a:endParaRPr>
                </a:p>
              </p:txBody>
            </p:sp>
            <p:sp>
              <p:nvSpPr>
                <p:cNvPr id="402"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w="38100">
                  <a:solidFill>
                    <a:schemeClr val="bg1"/>
                  </a:solidFill>
                </a:ln>
                <a:extLst/>
              </p:spPr>
              <p:txBody>
                <a:bodyPr/>
                <a:lstStyle/>
                <a:p>
                  <a:endParaRPr lang="en-CA" dirty="0">
                    <a:solidFill>
                      <a:srgbClr val="000000"/>
                    </a:solidFill>
                  </a:endParaRPr>
                </a:p>
              </p:txBody>
            </p:sp>
          </p:grpSp>
          <p:grpSp>
            <p:nvGrpSpPr>
              <p:cNvPr id="345" name="Gruppieren 344"/>
              <p:cNvGrpSpPr/>
              <p:nvPr>
                <p:custDataLst>
                  <p:tags r:id="rId60"/>
                </p:custDataLst>
              </p:nvPr>
            </p:nvGrpSpPr>
            <p:grpSpPr bwMode="gray">
              <a:xfrm>
                <a:off x="1511660" y="2895786"/>
                <a:ext cx="276885" cy="367386"/>
                <a:chOff x="6174437" y="1444896"/>
                <a:chExt cx="352646" cy="467910"/>
              </a:xfrm>
              <a:solidFill>
                <a:schemeClr val="bg1"/>
              </a:solidFill>
            </p:grpSpPr>
            <p:sp>
              <p:nvSpPr>
                <p:cNvPr id="395"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w="38100">
                  <a:solidFill>
                    <a:schemeClr val="bg1"/>
                  </a:solidFill>
                </a:ln>
                <a:extLst/>
              </p:spPr>
              <p:txBody>
                <a:bodyPr/>
                <a:lstStyle/>
                <a:p>
                  <a:endParaRPr lang="en-CA" dirty="0">
                    <a:solidFill>
                      <a:srgbClr val="000000"/>
                    </a:solidFill>
                  </a:endParaRPr>
                </a:p>
              </p:txBody>
            </p:sp>
            <p:sp>
              <p:nvSpPr>
                <p:cNvPr id="396"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w="38100">
                  <a:solidFill>
                    <a:schemeClr val="bg1"/>
                  </a:solidFill>
                </a:ln>
                <a:extLst/>
              </p:spPr>
              <p:txBody>
                <a:bodyPr/>
                <a:lstStyle/>
                <a:p>
                  <a:endParaRPr lang="en-CA" dirty="0">
                    <a:solidFill>
                      <a:srgbClr val="000000"/>
                    </a:solidFill>
                  </a:endParaRPr>
                </a:p>
              </p:txBody>
            </p:sp>
            <p:sp>
              <p:nvSpPr>
                <p:cNvPr id="397"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w="38100">
                  <a:solidFill>
                    <a:schemeClr val="bg1"/>
                  </a:solidFill>
                </a:ln>
                <a:extLst/>
              </p:spPr>
              <p:txBody>
                <a:bodyPr/>
                <a:lstStyle/>
                <a:p>
                  <a:endParaRPr lang="en-CA" dirty="0">
                    <a:solidFill>
                      <a:srgbClr val="000000"/>
                    </a:solidFill>
                  </a:endParaRPr>
                </a:p>
              </p:txBody>
            </p:sp>
            <p:sp>
              <p:nvSpPr>
                <p:cNvPr id="398"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w="38100">
                  <a:solidFill>
                    <a:schemeClr val="bg1"/>
                  </a:solidFill>
                </a:ln>
                <a:extLst/>
              </p:spPr>
              <p:txBody>
                <a:bodyPr/>
                <a:lstStyle/>
                <a:p>
                  <a:endParaRPr lang="en-CA" dirty="0">
                    <a:solidFill>
                      <a:srgbClr val="000000"/>
                    </a:solidFill>
                  </a:endParaRPr>
                </a:p>
              </p:txBody>
            </p:sp>
          </p:grpSp>
          <p:grpSp>
            <p:nvGrpSpPr>
              <p:cNvPr id="346" name="Gruppieren 345"/>
              <p:cNvGrpSpPr/>
              <p:nvPr>
                <p:custDataLst>
                  <p:tags r:id="rId61"/>
                </p:custDataLst>
              </p:nvPr>
            </p:nvGrpSpPr>
            <p:grpSpPr bwMode="gray">
              <a:xfrm>
                <a:off x="1871700" y="2895786"/>
                <a:ext cx="276885" cy="367386"/>
                <a:chOff x="6174437" y="1444896"/>
                <a:chExt cx="352646" cy="467910"/>
              </a:xfrm>
              <a:solidFill>
                <a:schemeClr val="bg1"/>
              </a:solidFill>
            </p:grpSpPr>
            <p:sp>
              <p:nvSpPr>
                <p:cNvPr id="391"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w="38100">
                  <a:solidFill>
                    <a:schemeClr val="bg1"/>
                  </a:solidFill>
                </a:ln>
                <a:extLst/>
              </p:spPr>
              <p:txBody>
                <a:bodyPr/>
                <a:lstStyle/>
                <a:p>
                  <a:endParaRPr lang="en-CA" dirty="0">
                    <a:solidFill>
                      <a:srgbClr val="000000"/>
                    </a:solidFill>
                  </a:endParaRPr>
                </a:p>
              </p:txBody>
            </p:sp>
            <p:sp>
              <p:nvSpPr>
                <p:cNvPr id="392"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w="38100">
                  <a:solidFill>
                    <a:schemeClr val="bg1"/>
                  </a:solidFill>
                </a:ln>
                <a:extLst/>
              </p:spPr>
              <p:txBody>
                <a:bodyPr/>
                <a:lstStyle/>
                <a:p>
                  <a:endParaRPr lang="en-CA" dirty="0">
                    <a:solidFill>
                      <a:srgbClr val="000000"/>
                    </a:solidFill>
                  </a:endParaRPr>
                </a:p>
              </p:txBody>
            </p:sp>
            <p:sp>
              <p:nvSpPr>
                <p:cNvPr id="393"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w="38100">
                  <a:solidFill>
                    <a:schemeClr val="bg1"/>
                  </a:solidFill>
                </a:ln>
                <a:extLst/>
              </p:spPr>
              <p:txBody>
                <a:bodyPr/>
                <a:lstStyle/>
                <a:p>
                  <a:endParaRPr lang="en-CA" dirty="0">
                    <a:solidFill>
                      <a:srgbClr val="000000"/>
                    </a:solidFill>
                  </a:endParaRPr>
                </a:p>
              </p:txBody>
            </p:sp>
            <p:sp>
              <p:nvSpPr>
                <p:cNvPr id="394"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w="38100">
                  <a:solidFill>
                    <a:schemeClr val="bg1"/>
                  </a:solidFill>
                </a:ln>
                <a:extLst/>
              </p:spPr>
              <p:txBody>
                <a:bodyPr/>
                <a:lstStyle/>
                <a:p>
                  <a:endParaRPr lang="en-CA" dirty="0">
                    <a:solidFill>
                      <a:srgbClr val="000000"/>
                    </a:solidFill>
                  </a:endParaRPr>
                </a:p>
              </p:txBody>
            </p:sp>
          </p:grpSp>
          <p:grpSp>
            <p:nvGrpSpPr>
              <p:cNvPr id="347" name="Gruppieren 346"/>
              <p:cNvGrpSpPr/>
              <p:nvPr>
                <p:custDataLst>
                  <p:tags r:id="rId62"/>
                </p:custDataLst>
              </p:nvPr>
            </p:nvGrpSpPr>
            <p:grpSpPr bwMode="gray">
              <a:xfrm>
                <a:off x="2231740" y="2895786"/>
                <a:ext cx="276885" cy="367386"/>
                <a:chOff x="6174437" y="1444896"/>
                <a:chExt cx="352646" cy="467910"/>
              </a:xfrm>
              <a:solidFill>
                <a:schemeClr val="bg1"/>
              </a:solidFill>
            </p:grpSpPr>
            <p:sp>
              <p:nvSpPr>
                <p:cNvPr id="387"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w="38100">
                  <a:solidFill>
                    <a:schemeClr val="bg1"/>
                  </a:solidFill>
                </a:ln>
                <a:extLst/>
              </p:spPr>
              <p:txBody>
                <a:bodyPr/>
                <a:lstStyle/>
                <a:p>
                  <a:endParaRPr lang="en-CA" dirty="0">
                    <a:solidFill>
                      <a:srgbClr val="000000"/>
                    </a:solidFill>
                  </a:endParaRPr>
                </a:p>
              </p:txBody>
            </p:sp>
            <p:sp>
              <p:nvSpPr>
                <p:cNvPr id="388"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w="38100">
                  <a:solidFill>
                    <a:schemeClr val="bg1"/>
                  </a:solidFill>
                </a:ln>
                <a:extLst/>
              </p:spPr>
              <p:txBody>
                <a:bodyPr/>
                <a:lstStyle/>
                <a:p>
                  <a:endParaRPr lang="en-CA" dirty="0">
                    <a:solidFill>
                      <a:srgbClr val="000000"/>
                    </a:solidFill>
                  </a:endParaRPr>
                </a:p>
              </p:txBody>
            </p:sp>
            <p:sp>
              <p:nvSpPr>
                <p:cNvPr id="389"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w="38100">
                  <a:solidFill>
                    <a:schemeClr val="bg1"/>
                  </a:solidFill>
                </a:ln>
                <a:extLst/>
              </p:spPr>
              <p:txBody>
                <a:bodyPr/>
                <a:lstStyle/>
                <a:p>
                  <a:endParaRPr lang="en-CA" dirty="0">
                    <a:solidFill>
                      <a:srgbClr val="000000"/>
                    </a:solidFill>
                  </a:endParaRPr>
                </a:p>
              </p:txBody>
            </p:sp>
            <p:sp>
              <p:nvSpPr>
                <p:cNvPr id="390"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w="38100">
                  <a:solidFill>
                    <a:schemeClr val="bg1"/>
                  </a:solidFill>
                </a:ln>
                <a:extLst/>
              </p:spPr>
              <p:txBody>
                <a:bodyPr/>
                <a:lstStyle/>
                <a:p>
                  <a:endParaRPr lang="en-CA" dirty="0">
                    <a:solidFill>
                      <a:srgbClr val="000000"/>
                    </a:solidFill>
                  </a:endParaRPr>
                </a:p>
              </p:txBody>
            </p:sp>
          </p:grpSp>
          <p:grpSp>
            <p:nvGrpSpPr>
              <p:cNvPr id="348" name="Gruppieren 347"/>
              <p:cNvGrpSpPr/>
              <p:nvPr>
                <p:custDataLst>
                  <p:tags r:id="rId63"/>
                </p:custDataLst>
              </p:nvPr>
            </p:nvGrpSpPr>
            <p:grpSpPr bwMode="gray">
              <a:xfrm>
                <a:off x="431540" y="2895786"/>
                <a:ext cx="276885" cy="367386"/>
                <a:chOff x="6174437" y="1444896"/>
                <a:chExt cx="352646" cy="467910"/>
              </a:xfrm>
              <a:solidFill>
                <a:schemeClr val="bg1"/>
              </a:solidFill>
            </p:grpSpPr>
            <p:sp>
              <p:nvSpPr>
                <p:cNvPr id="383"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w="38100">
                  <a:solidFill>
                    <a:schemeClr val="bg1"/>
                  </a:solidFill>
                </a:ln>
                <a:extLst/>
              </p:spPr>
              <p:txBody>
                <a:bodyPr/>
                <a:lstStyle/>
                <a:p>
                  <a:endParaRPr lang="en-CA" dirty="0">
                    <a:solidFill>
                      <a:srgbClr val="000000"/>
                    </a:solidFill>
                  </a:endParaRPr>
                </a:p>
              </p:txBody>
            </p:sp>
            <p:sp>
              <p:nvSpPr>
                <p:cNvPr id="384"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w="38100">
                  <a:solidFill>
                    <a:schemeClr val="bg1"/>
                  </a:solidFill>
                </a:ln>
                <a:extLst/>
              </p:spPr>
              <p:txBody>
                <a:bodyPr/>
                <a:lstStyle/>
                <a:p>
                  <a:endParaRPr lang="en-CA" dirty="0">
                    <a:solidFill>
                      <a:srgbClr val="000000"/>
                    </a:solidFill>
                  </a:endParaRPr>
                </a:p>
              </p:txBody>
            </p:sp>
            <p:sp>
              <p:nvSpPr>
                <p:cNvPr id="385"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w="38100">
                  <a:solidFill>
                    <a:schemeClr val="bg1"/>
                  </a:solidFill>
                </a:ln>
                <a:extLst/>
              </p:spPr>
              <p:txBody>
                <a:bodyPr/>
                <a:lstStyle/>
                <a:p>
                  <a:endParaRPr lang="en-CA" dirty="0">
                    <a:solidFill>
                      <a:srgbClr val="000000"/>
                    </a:solidFill>
                  </a:endParaRPr>
                </a:p>
              </p:txBody>
            </p:sp>
            <p:sp>
              <p:nvSpPr>
                <p:cNvPr id="386"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w="38100">
                  <a:solidFill>
                    <a:schemeClr val="bg1"/>
                  </a:solidFill>
                </a:ln>
                <a:extLst/>
              </p:spPr>
              <p:txBody>
                <a:bodyPr/>
                <a:lstStyle/>
                <a:p>
                  <a:endParaRPr lang="en-CA" dirty="0">
                    <a:solidFill>
                      <a:srgbClr val="000000"/>
                    </a:solidFill>
                  </a:endParaRPr>
                </a:p>
              </p:txBody>
            </p:sp>
          </p:grpSp>
          <p:grpSp>
            <p:nvGrpSpPr>
              <p:cNvPr id="349" name="Gruppieren 348"/>
              <p:cNvGrpSpPr/>
              <p:nvPr>
                <p:custDataLst>
                  <p:tags r:id="rId64"/>
                </p:custDataLst>
              </p:nvPr>
            </p:nvGrpSpPr>
            <p:grpSpPr bwMode="gray">
              <a:xfrm>
                <a:off x="790027" y="2895786"/>
                <a:ext cx="276885" cy="367386"/>
                <a:chOff x="6174437" y="1444896"/>
                <a:chExt cx="352646" cy="467910"/>
              </a:xfrm>
              <a:solidFill>
                <a:schemeClr val="accent1"/>
              </a:solidFill>
            </p:grpSpPr>
            <p:sp>
              <p:nvSpPr>
                <p:cNvPr id="379"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a:noFill/>
                </a:ln>
                <a:extLst/>
              </p:spPr>
              <p:txBody>
                <a:bodyPr/>
                <a:lstStyle/>
                <a:p>
                  <a:endParaRPr lang="en-CA" dirty="0">
                    <a:solidFill>
                      <a:srgbClr val="000000"/>
                    </a:solidFill>
                  </a:endParaRPr>
                </a:p>
              </p:txBody>
            </p:sp>
            <p:sp>
              <p:nvSpPr>
                <p:cNvPr id="380"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a:noFill/>
                </a:ln>
                <a:extLst/>
              </p:spPr>
              <p:txBody>
                <a:bodyPr/>
                <a:lstStyle/>
                <a:p>
                  <a:endParaRPr lang="en-CA" dirty="0">
                    <a:solidFill>
                      <a:srgbClr val="000000"/>
                    </a:solidFill>
                  </a:endParaRPr>
                </a:p>
              </p:txBody>
            </p:sp>
            <p:sp>
              <p:nvSpPr>
                <p:cNvPr id="381"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a:noFill/>
                </a:ln>
                <a:extLst/>
              </p:spPr>
              <p:txBody>
                <a:bodyPr/>
                <a:lstStyle/>
                <a:p>
                  <a:endParaRPr lang="en-CA" dirty="0">
                    <a:solidFill>
                      <a:srgbClr val="000000"/>
                    </a:solidFill>
                  </a:endParaRPr>
                </a:p>
              </p:txBody>
            </p:sp>
            <p:sp>
              <p:nvSpPr>
                <p:cNvPr id="382"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a:noFill/>
                </a:ln>
                <a:extLst/>
              </p:spPr>
              <p:txBody>
                <a:bodyPr/>
                <a:lstStyle/>
                <a:p>
                  <a:endParaRPr lang="en-CA" dirty="0">
                    <a:solidFill>
                      <a:srgbClr val="000000"/>
                    </a:solidFill>
                  </a:endParaRPr>
                </a:p>
              </p:txBody>
            </p:sp>
          </p:grpSp>
          <p:grpSp>
            <p:nvGrpSpPr>
              <p:cNvPr id="350" name="Gruppieren 349"/>
              <p:cNvGrpSpPr/>
              <p:nvPr>
                <p:custDataLst>
                  <p:tags r:id="rId65"/>
                </p:custDataLst>
              </p:nvPr>
            </p:nvGrpSpPr>
            <p:grpSpPr bwMode="gray">
              <a:xfrm>
                <a:off x="1150067" y="2895786"/>
                <a:ext cx="276885" cy="367386"/>
                <a:chOff x="6174437" y="1444896"/>
                <a:chExt cx="352646" cy="467910"/>
              </a:xfrm>
              <a:solidFill>
                <a:schemeClr val="accent1"/>
              </a:solidFill>
            </p:grpSpPr>
            <p:sp>
              <p:nvSpPr>
                <p:cNvPr id="375"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a:noFill/>
                </a:ln>
                <a:extLst/>
              </p:spPr>
              <p:txBody>
                <a:bodyPr/>
                <a:lstStyle/>
                <a:p>
                  <a:endParaRPr lang="en-CA" dirty="0">
                    <a:solidFill>
                      <a:srgbClr val="000000"/>
                    </a:solidFill>
                  </a:endParaRPr>
                </a:p>
              </p:txBody>
            </p:sp>
            <p:sp>
              <p:nvSpPr>
                <p:cNvPr id="376"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a:noFill/>
                </a:ln>
                <a:extLst/>
              </p:spPr>
              <p:txBody>
                <a:bodyPr/>
                <a:lstStyle/>
                <a:p>
                  <a:endParaRPr lang="en-CA" dirty="0">
                    <a:solidFill>
                      <a:srgbClr val="000000"/>
                    </a:solidFill>
                  </a:endParaRPr>
                </a:p>
              </p:txBody>
            </p:sp>
            <p:sp>
              <p:nvSpPr>
                <p:cNvPr id="377"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a:noFill/>
                </a:ln>
                <a:extLst/>
              </p:spPr>
              <p:txBody>
                <a:bodyPr/>
                <a:lstStyle/>
                <a:p>
                  <a:endParaRPr lang="en-CA" dirty="0">
                    <a:solidFill>
                      <a:srgbClr val="000000"/>
                    </a:solidFill>
                  </a:endParaRPr>
                </a:p>
              </p:txBody>
            </p:sp>
            <p:sp>
              <p:nvSpPr>
                <p:cNvPr id="378"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a:noFill/>
                </a:ln>
                <a:extLst/>
              </p:spPr>
              <p:txBody>
                <a:bodyPr/>
                <a:lstStyle/>
                <a:p>
                  <a:endParaRPr lang="en-CA" dirty="0">
                    <a:solidFill>
                      <a:srgbClr val="000000"/>
                    </a:solidFill>
                  </a:endParaRPr>
                </a:p>
              </p:txBody>
            </p:sp>
          </p:grpSp>
          <p:grpSp>
            <p:nvGrpSpPr>
              <p:cNvPr id="351" name="Gruppieren 350"/>
              <p:cNvGrpSpPr/>
              <p:nvPr>
                <p:custDataLst>
                  <p:tags r:id="rId66"/>
                </p:custDataLst>
              </p:nvPr>
            </p:nvGrpSpPr>
            <p:grpSpPr bwMode="gray">
              <a:xfrm>
                <a:off x="1510107" y="2895786"/>
                <a:ext cx="276885" cy="367386"/>
                <a:chOff x="6174437" y="1444896"/>
                <a:chExt cx="352646" cy="467910"/>
              </a:xfrm>
              <a:solidFill>
                <a:schemeClr val="accent1"/>
              </a:solidFill>
            </p:grpSpPr>
            <p:sp>
              <p:nvSpPr>
                <p:cNvPr id="371"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a:noFill/>
                </a:ln>
                <a:extLst/>
              </p:spPr>
              <p:txBody>
                <a:bodyPr/>
                <a:lstStyle/>
                <a:p>
                  <a:endParaRPr lang="en-CA" dirty="0">
                    <a:solidFill>
                      <a:srgbClr val="000000"/>
                    </a:solidFill>
                  </a:endParaRPr>
                </a:p>
              </p:txBody>
            </p:sp>
            <p:sp>
              <p:nvSpPr>
                <p:cNvPr id="372"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a:noFill/>
                </a:ln>
                <a:extLst/>
              </p:spPr>
              <p:txBody>
                <a:bodyPr/>
                <a:lstStyle/>
                <a:p>
                  <a:endParaRPr lang="en-CA" dirty="0">
                    <a:solidFill>
                      <a:srgbClr val="000000"/>
                    </a:solidFill>
                  </a:endParaRPr>
                </a:p>
              </p:txBody>
            </p:sp>
            <p:sp>
              <p:nvSpPr>
                <p:cNvPr id="373"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a:noFill/>
                </a:ln>
                <a:extLst/>
              </p:spPr>
              <p:txBody>
                <a:bodyPr/>
                <a:lstStyle/>
                <a:p>
                  <a:endParaRPr lang="en-CA" dirty="0">
                    <a:solidFill>
                      <a:srgbClr val="000000"/>
                    </a:solidFill>
                  </a:endParaRPr>
                </a:p>
              </p:txBody>
            </p:sp>
            <p:sp>
              <p:nvSpPr>
                <p:cNvPr id="374"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a:noFill/>
                </a:ln>
                <a:extLst/>
              </p:spPr>
              <p:txBody>
                <a:bodyPr/>
                <a:lstStyle/>
                <a:p>
                  <a:endParaRPr lang="en-CA" dirty="0">
                    <a:solidFill>
                      <a:srgbClr val="000000"/>
                    </a:solidFill>
                  </a:endParaRPr>
                </a:p>
              </p:txBody>
            </p:sp>
          </p:grpSp>
          <p:grpSp>
            <p:nvGrpSpPr>
              <p:cNvPr id="356" name="Gruppieren 355"/>
              <p:cNvGrpSpPr/>
              <p:nvPr>
                <p:custDataLst>
                  <p:tags r:id="rId67"/>
                </p:custDataLst>
              </p:nvPr>
            </p:nvGrpSpPr>
            <p:grpSpPr bwMode="gray">
              <a:xfrm>
                <a:off x="1870147" y="2895786"/>
                <a:ext cx="276885" cy="367386"/>
                <a:chOff x="6174437" y="1444896"/>
                <a:chExt cx="352646" cy="467910"/>
              </a:xfrm>
              <a:solidFill>
                <a:schemeClr val="accent1"/>
              </a:solidFill>
            </p:grpSpPr>
            <p:sp>
              <p:nvSpPr>
                <p:cNvPr id="367"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a:noFill/>
                </a:ln>
                <a:extLst/>
              </p:spPr>
              <p:txBody>
                <a:bodyPr/>
                <a:lstStyle/>
                <a:p>
                  <a:endParaRPr lang="en-CA" dirty="0">
                    <a:solidFill>
                      <a:srgbClr val="000000"/>
                    </a:solidFill>
                  </a:endParaRPr>
                </a:p>
              </p:txBody>
            </p:sp>
            <p:sp>
              <p:nvSpPr>
                <p:cNvPr id="368"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a:noFill/>
                </a:ln>
                <a:extLst/>
              </p:spPr>
              <p:txBody>
                <a:bodyPr/>
                <a:lstStyle/>
                <a:p>
                  <a:endParaRPr lang="en-CA" dirty="0">
                    <a:solidFill>
                      <a:srgbClr val="000000"/>
                    </a:solidFill>
                  </a:endParaRPr>
                </a:p>
              </p:txBody>
            </p:sp>
            <p:sp>
              <p:nvSpPr>
                <p:cNvPr id="369"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a:noFill/>
                </a:ln>
                <a:extLst/>
              </p:spPr>
              <p:txBody>
                <a:bodyPr/>
                <a:lstStyle/>
                <a:p>
                  <a:endParaRPr lang="en-CA" dirty="0">
                    <a:solidFill>
                      <a:srgbClr val="000000"/>
                    </a:solidFill>
                  </a:endParaRPr>
                </a:p>
              </p:txBody>
            </p:sp>
            <p:sp>
              <p:nvSpPr>
                <p:cNvPr id="370"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a:noFill/>
                </a:ln>
                <a:extLst/>
              </p:spPr>
              <p:txBody>
                <a:bodyPr/>
                <a:lstStyle/>
                <a:p>
                  <a:endParaRPr lang="en-CA" dirty="0">
                    <a:solidFill>
                      <a:srgbClr val="000000"/>
                    </a:solidFill>
                  </a:endParaRPr>
                </a:p>
              </p:txBody>
            </p:sp>
          </p:grpSp>
          <p:grpSp>
            <p:nvGrpSpPr>
              <p:cNvPr id="357" name="Gruppieren 356"/>
              <p:cNvGrpSpPr/>
              <p:nvPr>
                <p:custDataLst>
                  <p:tags r:id="rId68"/>
                </p:custDataLst>
              </p:nvPr>
            </p:nvGrpSpPr>
            <p:grpSpPr bwMode="gray">
              <a:xfrm>
                <a:off x="2230187" y="2895786"/>
                <a:ext cx="276885" cy="367386"/>
                <a:chOff x="6174437" y="1444896"/>
                <a:chExt cx="352646" cy="467910"/>
              </a:xfrm>
              <a:solidFill>
                <a:schemeClr val="accent1"/>
              </a:solidFill>
            </p:grpSpPr>
            <p:sp>
              <p:nvSpPr>
                <p:cNvPr id="363"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a:noFill/>
                </a:ln>
                <a:extLst/>
              </p:spPr>
              <p:txBody>
                <a:bodyPr/>
                <a:lstStyle/>
                <a:p>
                  <a:endParaRPr lang="en-CA" dirty="0">
                    <a:solidFill>
                      <a:srgbClr val="000000"/>
                    </a:solidFill>
                  </a:endParaRPr>
                </a:p>
              </p:txBody>
            </p:sp>
            <p:sp>
              <p:nvSpPr>
                <p:cNvPr id="364"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a:noFill/>
                </a:ln>
                <a:extLst/>
              </p:spPr>
              <p:txBody>
                <a:bodyPr/>
                <a:lstStyle/>
                <a:p>
                  <a:endParaRPr lang="en-CA" dirty="0">
                    <a:solidFill>
                      <a:srgbClr val="000000"/>
                    </a:solidFill>
                  </a:endParaRPr>
                </a:p>
              </p:txBody>
            </p:sp>
            <p:sp>
              <p:nvSpPr>
                <p:cNvPr id="365"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a:noFill/>
                </a:ln>
                <a:extLst/>
              </p:spPr>
              <p:txBody>
                <a:bodyPr/>
                <a:lstStyle/>
                <a:p>
                  <a:endParaRPr lang="en-CA" dirty="0">
                    <a:solidFill>
                      <a:srgbClr val="000000"/>
                    </a:solidFill>
                  </a:endParaRPr>
                </a:p>
              </p:txBody>
            </p:sp>
            <p:sp>
              <p:nvSpPr>
                <p:cNvPr id="366"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a:noFill/>
                </a:ln>
                <a:extLst/>
              </p:spPr>
              <p:txBody>
                <a:bodyPr/>
                <a:lstStyle/>
                <a:p>
                  <a:endParaRPr lang="en-CA" dirty="0">
                    <a:solidFill>
                      <a:srgbClr val="000000"/>
                    </a:solidFill>
                  </a:endParaRPr>
                </a:p>
              </p:txBody>
            </p:sp>
          </p:grpSp>
          <p:grpSp>
            <p:nvGrpSpPr>
              <p:cNvPr id="358" name="Gruppieren 357"/>
              <p:cNvGrpSpPr/>
              <p:nvPr>
                <p:custDataLst>
                  <p:tags r:id="rId69"/>
                </p:custDataLst>
              </p:nvPr>
            </p:nvGrpSpPr>
            <p:grpSpPr bwMode="gray">
              <a:xfrm>
                <a:off x="429987" y="2895786"/>
                <a:ext cx="276885" cy="367386"/>
                <a:chOff x="6174437" y="1444896"/>
                <a:chExt cx="352646" cy="467910"/>
              </a:xfrm>
              <a:solidFill>
                <a:schemeClr val="accent1"/>
              </a:solidFill>
            </p:grpSpPr>
            <p:sp>
              <p:nvSpPr>
                <p:cNvPr id="359" name="Freeform 128"/>
                <p:cNvSpPr>
                  <a:spLocks/>
                </p:cNvSpPr>
                <p:nvPr/>
              </p:nvSpPr>
              <p:spPr bwMode="gray">
                <a:xfrm>
                  <a:off x="6174437" y="1444896"/>
                  <a:ext cx="352646" cy="140463"/>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a:noFill/>
                </a:ln>
                <a:extLst/>
              </p:spPr>
              <p:txBody>
                <a:bodyPr/>
                <a:lstStyle/>
                <a:p>
                  <a:endParaRPr lang="en-CA" dirty="0">
                    <a:solidFill>
                      <a:srgbClr val="000000"/>
                    </a:solidFill>
                  </a:endParaRPr>
                </a:p>
              </p:txBody>
            </p:sp>
            <p:sp>
              <p:nvSpPr>
                <p:cNvPr id="360" name="Freeform 138"/>
                <p:cNvSpPr>
                  <a:spLocks/>
                </p:cNvSpPr>
                <p:nvPr/>
              </p:nvSpPr>
              <p:spPr bwMode="gray">
                <a:xfrm>
                  <a:off x="6176892" y="1572833"/>
                  <a:ext cx="346919" cy="124359"/>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a:noFill/>
                </a:ln>
                <a:extLst/>
              </p:spPr>
              <p:txBody>
                <a:bodyPr/>
                <a:lstStyle/>
                <a:p>
                  <a:endParaRPr lang="en-CA" dirty="0">
                    <a:solidFill>
                      <a:srgbClr val="000000"/>
                    </a:solidFill>
                  </a:endParaRPr>
                </a:p>
              </p:txBody>
            </p:sp>
            <p:sp>
              <p:nvSpPr>
                <p:cNvPr id="361" name="Freeform 143"/>
                <p:cNvSpPr>
                  <a:spLocks/>
                </p:cNvSpPr>
                <p:nvPr/>
              </p:nvSpPr>
              <p:spPr bwMode="gray">
                <a:xfrm>
                  <a:off x="6177710" y="1681982"/>
                  <a:ext cx="346919" cy="120780"/>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a:noFill/>
                </a:ln>
                <a:extLst/>
              </p:spPr>
              <p:txBody>
                <a:bodyPr/>
                <a:lstStyle/>
                <a:p>
                  <a:endParaRPr lang="en-CA" dirty="0">
                    <a:solidFill>
                      <a:srgbClr val="000000"/>
                    </a:solidFill>
                  </a:endParaRPr>
                </a:p>
              </p:txBody>
            </p:sp>
            <p:sp>
              <p:nvSpPr>
                <p:cNvPr id="362" name="Freeform 147"/>
                <p:cNvSpPr>
                  <a:spLocks/>
                </p:cNvSpPr>
                <p:nvPr/>
              </p:nvSpPr>
              <p:spPr bwMode="gray">
                <a:xfrm>
                  <a:off x="6176892" y="1792026"/>
                  <a:ext cx="347736" cy="120780"/>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a:noFill/>
                </a:ln>
                <a:extLst/>
              </p:spPr>
              <p:txBody>
                <a:bodyPr/>
                <a:lstStyle/>
                <a:p>
                  <a:endParaRPr lang="en-CA" dirty="0">
                    <a:solidFill>
                      <a:srgbClr val="000000"/>
                    </a:solidFill>
                  </a:endParaRPr>
                </a:p>
              </p:txBody>
            </p:sp>
          </p:grpSp>
        </p:grpSp>
      </p:grpSp>
      <p:sp>
        <p:nvSpPr>
          <p:cNvPr id="517" name="Rechteck 516"/>
          <p:cNvSpPr/>
          <p:nvPr>
            <p:custDataLst>
              <p:tags r:id="rId24"/>
            </p:custDataLst>
          </p:nvPr>
        </p:nvSpPr>
        <p:spPr bwMode="gray">
          <a:xfrm rot="16200000">
            <a:off x="1997698" y="2769788"/>
            <a:ext cx="2556284" cy="288000"/>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chorCtr="0"/>
          <a:lstStyle/>
          <a:p>
            <a:pPr algn="ctr">
              <a:spcAft>
                <a:spcPts val="100"/>
              </a:spcAft>
            </a:pPr>
            <a:r>
              <a:rPr lang="en-US" sz="1200" b="1" dirty="0">
                <a:solidFill>
                  <a:srgbClr val="000000"/>
                </a:solidFill>
              </a:rPr>
              <a:t>ETERNUS CS8000</a:t>
            </a:r>
          </a:p>
        </p:txBody>
      </p:sp>
      <p:sp>
        <p:nvSpPr>
          <p:cNvPr id="518" name="Rechteck 517"/>
          <p:cNvSpPr/>
          <p:nvPr>
            <p:custDataLst>
              <p:tags r:id="rId25"/>
            </p:custDataLst>
          </p:nvPr>
        </p:nvSpPr>
        <p:spPr bwMode="gray">
          <a:xfrm flipH="1">
            <a:off x="3095836" y="1059582"/>
            <a:ext cx="864096"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r>
              <a:rPr lang="en-US" sz="1200" dirty="0" smtClean="0">
                <a:solidFill>
                  <a:srgbClr val="000000"/>
                </a:solidFill>
              </a:rPr>
              <a:t>Main-</a:t>
            </a:r>
            <a:br>
              <a:rPr lang="en-US" sz="1200" dirty="0" smtClean="0">
                <a:solidFill>
                  <a:srgbClr val="000000"/>
                </a:solidFill>
              </a:rPr>
            </a:br>
            <a:r>
              <a:rPr lang="en-US" sz="1200" dirty="0" smtClean="0">
                <a:solidFill>
                  <a:srgbClr val="000000"/>
                </a:solidFill>
              </a:rPr>
              <a:t>frames</a:t>
            </a:r>
            <a:endParaRPr lang="en-US" sz="1200" dirty="0">
              <a:solidFill>
                <a:srgbClr val="000000"/>
              </a:solidFill>
            </a:endParaRPr>
          </a:p>
        </p:txBody>
      </p:sp>
      <p:grpSp>
        <p:nvGrpSpPr>
          <p:cNvPr id="519" name="Group 258"/>
          <p:cNvGrpSpPr>
            <a:grpSpLocks noChangeAspect="1"/>
          </p:cNvGrpSpPr>
          <p:nvPr>
            <p:custDataLst>
              <p:tags r:id="rId26"/>
            </p:custDataLst>
          </p:nvPr>
        </p:nvGrpSpPr>
        <p:grpSpPr bwMode="gray">
          <a:xfrm>
            <a:off x="3693099" y="1065729"/>
            <a:ext cx="194825" cy="360000"/>
            <a:chOff x="5516" y="-2790"/>
            <a:chExt cx="4350" cy="8038"/>
          </a:xfrm>
        </p:grpSpPr>
        <p:sp>
          <p:nvSpPr>
            <p:cNvPr id="520" name="Freeform 259"/>
            <p:cNvSpPr>
              <a:spLocks/>
            </p:cNvSpPr>
            <p:nvPr/>
          </p:nvSpPr>
          <p:spPr bwMode="gray">
            <a:xfrm>
              <a:off x="5516" y="-2790"/>
              <a:ext cx="4350" cy="8038"/>
            </a:xfrm>
            <a:prstGeom prst="rect">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solidFill>
                  <a:srgbClr val="000000"/>
                </a:solidFill>
              </a:endParaRPr>
            </a:p>
          </p:txBody>
        </p:sp>
        <p:sp>
          <p:nvSpPr>
            <p:cNvPr id="521" name="Freeform 260"/>
            <p:cNvSpPr>
              <a:spLocks/>
            </p:cNvSpPr>
            <p:nvPr/>
          </p:nvSpPr>
          <p:spPr bwMode="gray">
            <a:xfrm>
              <a:off x="5868" y="-1867"/>
              <a:ext cx="3646" cy="488"/>
            </a:xfrm>
            <a:custGeom>
              <a:avLst/>
              <a:gdLst>
                <a:gd name="T0" fmla="*/ 1823 w 1823"/>
                <a:gd name="T1" fmla="*/ 198 h 244"/>
                <a:gd name="T2" fmla="*/ 1779 w 1823"/>
                <a:gd name="T3" fmla="*/ 244 h 244"/>
                <a:gd name="T4" fmla="*/ 44 w 1823"/>
                <a:gd name="T5" fmla="*/ 244 h 244"/>
                <a:gd name="T6" fmla="*/ 0 w 1823"/>
                <a:gd name="T7" fmla="*/ 198 h 244"/>
                <a:gd name="T8" fmla="*/ 0 w 1823"/>
                <a:gd name="T9" fmla="*/ 47 h 244"/>
                <a:gd name="T10" fmla="*/ 44 w 1823"/>
                <a:gd name="T11" fmla="*/ 0 h 244"/>
                <a:gd name="T12" fmla="*/ 1779 w 1823"/>
                <a:gd name="T13" fmla="*/ 0 h 244"/>
                <a:gd name="T14" fmla="*/ 1823 w 1823"/>
                <a:gd name="T15" fmla="*/ 47 h 244"/>
                <a:gd name="T16" fmla="*/ 1823 w 1823"/>
                <a:gd name="T17" fmla="*/ 19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3" h="244">
                  <a:moveTo>
                    <a:pt x="1823" y="198"/>
                  </a:moveTo>
                  <a:cubicBezTo>
                    <a:pt x="1823" y="224"/>
                    <a:pt x="1803" y="244"/>
                    <a:pt x="1779" y="244"/>
                  </a:cubicBezTo>
                  <a:cubicBezTo>
                    <a:pt x="44" y="244"/>
                    <a:pt x="44" y="244"/>
                    <a:pt x="44" y="244"/>
                  </a:cubicBezTo>
                  <a:cubicBezTo>
                    <a:pt x="20" y="244"/>
                    <a:pt x="0" y="224"/>
                    <a:pt x="0" y="198"/>
                  </a:cubicBezTo>
                  <a:cubicBezTo>
                    <a:pt x="0" y="47"/>
                    <a:pt x="0" y="47"/>
                    <a:pt x="0" y="47"/>
                  </a:cubicBezTo>
                  <a:cubicBezTo>
                    <a:pt x="0" y="21"/>
                    <a:pt x="20" y="0"/>
                    <a:pt x="44" y="0"/>
                  </a:cubicBezTo>
                  <a:cubicBezTo>
                    <a:pt x="1779" y="0"/>
                    <a:pt x="1779" y="0"/>
                    <a:pt x="1779" y="0"/>
                  </a:cubicBezTo>
                  <a:cubicBezTo>
                    <a:pt x="1803" y="0"/>
                    <a:pt x="1823" y="21"/>
                    <a:pt x="1823" y="47"/>
                  </a:cubicBezTo>
                  <a:lnTo>
                    <a:pt x="1823" y="1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solidFill>
                  <a:srgbClr val="000000"/>
                </a:solidFill>
              </a:endParaRPr>
            </a:p>
          </p:txBody>
        </p:sp>
        <p:sp>
          <p:nvSpPr>
            <p:cNvPr id="522" name="Freeform 261"/>
            <p:cNvSpPr>
              <a:spLocks/>
            </p:cNvSpPr>
            <p:nvPr/>
          </p:nvSpPr>
          <p:spPr bwMode="gray">
            <a:xfrm>
              <a:off x="5868" y="-903"/>
              <a:ext cx="3646" cy="489"/>
            </a:xfrm>
            <a:custGeom>
              <a:avLst/>
              <a:gdLst>
                <a:gd name="T0" fmla="*/ 1823 w 1823"/>
                <a:gd name="T1" fmla="*/ 198 h 244"/>
                <a:gd name="T2" fmla="*/ 1779 w 1823"/>
                <a:gd name="T3" fmla="*/ 244 h 244"/>
                <a:gd name="T4" fmla="*/ 44 w 1823"/>
                <a:gd name="T5" fmla="*/ 244 h 244"/>
                <a:gd name="T6" fmla="*/ 0 w 1823"/>
                <a:gd name="T7" fmla="*/ 198 h 244"/>
                <a:gd name="T8" fmla="*/ 0 w 1823"/>
                <a:gd name="T9" fmla="*/ 47 h 244"/>
                <a:gd name="T10" fmla="*/ 44 w 1823"/>
                <a:gd name="T11" fmla="*/ 0 h 244"/>
                <a:gd name="T12" fmla="*/ 1779 w 1823"/>
                <a:gd name="T13" fmla="*/ 0 h 244"/>
                <a:gd name="T14" fmla="*/ 1823 w 1823"/>
                <a:gd name="T15" fmla="*/ 47 h 244"/>
                <a:gd name="T16" fmla="*/ 1823 w 1823"/>
                <a:gd name="T17" fmla="*/ 19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3" h="244">
                  <a:moveTo>
                    <a:pt x="1823" y="198"/>
                  </a:moveTo>
                  <a:cubicBezTo>
                    <a:pt x="1823" y="224"/>
                    <a:pt x="1803" y="244"/>
                    <a:pt x="1779" y="244"/>
                  </a:cubicBezTo>
                  <a:cubicBezTo>
                    <a:pt x="44" y="244"/>
                    <a:pt x="44" y="244"/>
                    <a:pt x="44" y="244"/>
                  </a:cubicBezTo>
                  <a:cubicBezTo>
                    <a:pt x="20" y="244"/>
                    <a:pt x="0" y="224"/>
                    <a:pt x="0" y="198"/>
                  </a:cubicBezTo>
                  <a:cubicBezTo>
                    <a:pt x="0" y="47"/>
                    <a:pt x="0" y="47"/>
                    <a:pt x="0" y="47"/>
                  </a:cubicBezTo>
                  <a:cubicBezTo>
                    <a:pt x="0" y="21"/>
                    <a:pt x="20" y="0"/>
                    <a:pt x="44" y="0"/>
                  </a:cubicBezTo>
                  <a:cubicBezTo>
                    <a:pt x="1779" y="0"/>
                    <a:pt x="1779" y="0"/>
                    <a:pt x="1779" y="0"/>
                  </a:cubicBezTo>
                  <a:cubicBezTo>
                    <a:pt x="1803" y="0"/>
                    <a:pt x="1823" y="21"/>
                    <a:pt x="1823" y="47"/>
                  </a:cubicBezTo>
                  <a:lnTo>
                    <a:pt x="1823" y="1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solidFill>
                  <a:srgbClr val="000000"/>
                </a:solidFill>
              </a:endParaRPr>
            </a:p>
          </p:txBody>
        </p:sp>
        <p:sp>
          <p:nvSpPr>
            <p:cNvPr id="523" name="Freeform 262"/>
            <p:cNvSpPr>
              <a:spLocks/>
            </p:cNvSpPr>
            <p:nvPr/>
          </p:nvSpPr>
          <p:spPr bwMode="gray">
            <a:xfrm>
              <a:off x="5868" y="62"/>
              <a:ext cx="3646" cy="488"/>
            </a:xfrm>
            <a:custGeom>
              <a:avLst/>
              <a:gdLst>
                <a:gd name="T0" fmla="*/ 1823 w 1823"/>
                <a:gd name="T1" fmla="*/ 198 h 244"/>
                <a:gd name="T2" fmla="*/ 1779 w 1823"/>
                <a:gd name="T3" fmla="*/ 244 h 244"/>
                <a:gd name="T4" fmla="*/ 44 w 1823"/>
                <a:gd name="T5" fmla="*/ 244 h 244"/>
                <a:gd name="T6" fmla="*/ 0 w 1823"/>
                <a:gd name="T7" fmla="*/ 198 h 244"/>
                <a:gd name="T8" fmla="*/ 0 w 1823"/>
                <a:gd name="T9" fmla="*/ 47 h 244"/>
                <a:gd name="T10" fmla="*/ 44 w 1823"/>
                <a:gd name="T11" fmla="*/ 0 h 244"/>
                <a:gd name="T12" fmla="*/ 1779 w 1823"/>
                <a:gd name="T13" fmla="*/ 0 h 244"/>
                <a:gd name="T14" fmla="*/ 1823 w 1823"/>
                <a:gd name="T15" fmla="*/ 47 h 244"/>
                <a:gd name="T16" fmla="*/ 1823 w 1823"/>
                <a:gd name="T17" fmla="*/ 19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3" h="244">
                  <a:moveTo>
                    <a:pt x="1823" y="198"/>
                  </a:moveTo>
                  <a:cubicBezTo>
                    <a:pt x="1823" y="224"/>
                    <a:pt x="1803" y="244"/>
                    <a:pt x="1779" y="244"/>
                  </a:cubicBezTo>
                  <a:cubicBezTo>
                    <a:pt x="44" y="244"/>
                    <a:pt x="44" y="244"/>
                    <a:pt x="44" y="244"/>
                  </a:cubicBezTo>
                  <a:cubicBezTo>
                    <a:pt x="20" y="244"/>
                    <a:pt x="0" y="224"/>
                    <a:pt x="0" y="198"/>
                  </a:cubicBezTo>
                  <a:cubicBezTo>
                    <a:pt x="0" y="47"/>
                    <a:pt x="0" y="47"/>
                    <a:pt x="0" y="47"/>
                  </a:cubicBezTo>
                  <a:cubicBezTo>
                    <a:pt x="0" y="21"/>
                    <a:pt x="20" y="0"/>
                    <a:pt x="44" y="0"/>
                  </a:cubicBezTo>
                  <a:cubicBezTo>
                    <a:pt x="1779" y="0"/>
                    <a:pt x="1779" y="0"/>
                    <a:pt x="1779" y="0"/>
                  </a:cubicBezTo>
                  <a:cubicBezTo>
                    <a:pt x="1803" y="0"/>
                    <a:pt x="1823" y="21"/>
                    <a:pt x="1823" y="47"/>
                  </a:cubicBezTo>
                  <a:lnTo>
                    <a:pt x="1823" y="1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solidFill>
                  <a:srgbClr val="000000"/>
                </a:solidFill>
              </a:endParaRPr>
            </a:p>
          </p:txBody>
        </p:sp>
        <p:sp>
          <p:nvSpPr>
            <p:cNvPr id="524" name="Freeform 263"/>
            <p:cNvSpPr>
              <a:spLocks/>
            </p:cNvSpPr>
            <p:nvPr/>
          </p:nvSpPr>
          <p:spPr bwMode="gray">
            <a:xfrm>
              <a:off x="5868" y="1029"/>
              <a:ext cx="3646" cy="486"/>
            </a:xfrm>
            <a:custGeom>
              <a:avLst/>
              <a:gdLst>
                <a:gd name="T0" fmla="*/ 1823 w 1823"/>
                <a:gd name="T1" fmla="*/ 197 h 243"/>
                <a:gd name="T2" fmla="*/ 1779 w 1823"/>
                <a:gd name="T3" fmla="*/ 243 h 243"/>
                <a:gd name="T4" fmla="*/ 44 w 1823"/>
                <a:gd name="T5" fmla="*/ 243 h 243"/>
                <a:gd name="T6" fmla="*/ 0 w 1823"/>
                <a:gd name="T7" fmla="*/ 197 h 243"/>
                <a:gd name="T8" fmla="*/ 0 w 1823"/>
                <a:gd name="T9" fmla="*/ 46 h 243"/>
                <a:gd name="T10" fmla="*/ 44 w 1823"/>
                <a:gd name="T11" fmla="*/ 0 h 243"/>
                <a:gd name="T12" fmla="*/ 1779 w 1823"/>
                <a:gd name="T13" fmla="*/ 0 h 243"/>
                <a:gd name="T14" fmla="*/ 1823 w 1823"/>
                <a:gd name="T15" fmla="*/ 46 h 243"/>
                <a:gd name="T16" fmla="*/ 1823 w 1823"/>
                <a:gd name="T17" fmla="*/ 19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3" h="243">
                  <a:moveTo>
                    <a:pt x="1823" y="197"/>
                  </a:moveTo>
                  <a:cubicBezTo>
                    <a:pt x="1823" y="223"/>
                    <a:pt x="1803" y="243"/>
                    <a:pt x="1779" y="243"/>
                  </a:cubicBezTo>
                  <a:cubicBezTo>
                    <a:pt x="44" y="243"/>
                    <a:pt x="44" y="243"/>
                    <a:pt x="44" y="243"/>
                  </a:cubicBezTo>
                  <a:cubicBezTo>
                    <a:pt x="20" y="243"/>
                    <a:pt x="0" y="223"/>
                    <a:pt x="0" y="197"/>
                  </a:cubicBezTo>
                  <a:cubicBezTo>
                    <a:pt x="0" y="46"/>
                    <a:pt x="0" y="46"/>
                    <a:pt x="0" y="46"/>
                  </a:cubicBezTo>
                  <a:cubicBezTo>
                    <a:pt x="0" y="20"/>
                    <a:pt x="20" y="0"/>
                    <a:pt x="44" y="0"/>
                  </a:cubicBezTo>
                  <a:cubicBezTo>
                    <a:pt x="1779" y="0"/>
                    <a:pt x="1779" y="0"/>
                    <a:pt x="1779" y="0"/>
                  </a:cubicBezTo>
                  <a:cubicBezTo>
                    <a:pt x="1803" y="0"/>
                    <a:pt x="1823" y="20"/>
                    <a:pt x="1823" y="46"/>
                  </a:cubicBezTo>
                  <a:lnTo>
                    <a:pt x="1823" y="1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solidFill>
                  <a:srgbClr val="000000"/>
                </a:solidFill>
              </a:endParaRPr>
            </a:p>
          </p:txBody>
        </p:sp>
        <p:sp>
          <p:nvSpPr>
            <p:cNvPr id="525" name="Freeform 264"/>
            <p:cNvSpPr>
              <a:spLocks/>
            </p:cNvSpPr>
            <p:nvPr/>
          </p:nvSpPr>
          <p:spPr bwMode="gray">
            <a:xfrm>
              <a:off x="5868" y="1994"/>
              <a:ext cx="3646" cy="486"/>
            </a:xfrm>
            <a:custGeom>
              <a:avLst/>
              <a:gdLst>
                <a:gd name="T0" fmla="*/ 1823 w 1823"/>
                <a:gd name="T1" fmla="*/ 197 h 243"/>
                <a:gd name="T2" fmla="*/ 1779 w 1823"/>
                <a:gd name="T3" fmla="*/ 243 h 243"/>
                <a:gd name="T4" fmla="*/ 44 w 1823"/>
                <a:gd name="T5" fmla="*/ 243 h 243"/>
                <a:gd name="T6" fmla="*/ 0 w 1823"/>
                <a:gd name="T7" fmla="*/ 197 h 243"/>
                <a:gd name="T8" fmla="*/ 0 w 1823"/>
                <a:gd name="T9" fmla="*/ 46 h 243"/>
                <a:gd name="T10" fmla="*/ 44 w 1823"/>
                <a:gd name="T11" fmla="*/ 0 h 243"/>
                <a:gd name="T12" fmla="*/ 1779 w 1823"/>
                <a:gd name="T13" fmla="*/ 0 h 243"/>
                <a:gd name="T14" fmla="*/ 1823 w 1823"/>
                <a:gd name="T15" fmla="*/ 46 h 243"/>
                <a:gd name="T16" fmla="*/ 1823 w 1823"/>
                <a:gd name="T17" fmla="*/ 19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3" h="243">
                  <a:moveTo>
                    <a:pt x="1823" y="197"/>
                  </a:moveTo>
                  <a:cubicBezTo>
                    <a:pt x="1823" y="223"/>
                    <a:pt x="1803" y="243"/>
                    <a:pt x="1779" y="243"/>
                  </a:cubicBezTo>
                  <a:cubicBezTo>
                    <a:pt x="44" y="243"/>
                    <a:pt x="44" y="243"/>
                    <a:pt x="44" y="243"/>
                  </a:cubicBezTo>
                  <a:cubicBezTo>
                    <a:pt x="20" y="243"/>
                    <a:pt x="0" y="223"/>
                    <a:pt x="0" y="197"/>
                  </a:cubicBezTo>
                  <a:cubicBezTo>
                    <a:pt x="0" y="46"/>
                    <a:pt x="0" y="46"/>
                    <a:pt x="0" y="46"/>
                  </a:cubicBezTo>
                  <a:cubicBezTo>
                    <a:pt x="0" y="20"/>
                    <a:pt x="20" y="0"/>
                    <a:pt x="44" y="0"/>
                  </a:cubicBezTo>
                  <a:cubicBezTo>
                    <a:pt x="1779" y="0"/>
                    <a:pt x="1779" y="0"/>
                    <a:pt x="1779" y="0"/>
                  </a:cubicBezTo>
                  <a:cubicBezTo>
                    <a:pt x="1803" y="0"/>
                    <a:pt x="1823" y="20"/>
                    <a:pt x="1823" y="46"/>
                  </a:cubicBezTo>
                  <a:lnTo>
                    <a:pt x="1823" y="1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solidFill>
                  <a:srgbClr val="000000"/>
                </a:solidFill>
              </a:endParaRPr>
            </a:p>
          </p:txBody>
        </p:sp>
        <p:sp>
          <p:nvSpPr>
            <p:cNvPr id="526" name="Oval 265"/>
            <p:cNvSpPr>
              <a:spLocks noChangeArrowheads="1"/>
            </p:cNvSpPr>
            <p:nvPr/>
          </p:nvSpPr>
          <p:spPr bwMode="gray">
            <a:xfrm>
              <a:off x="7338" y="3248"/>
              <a:ext cx="708" cy="70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solidFill>
                  <a:srgbClr val="000000"/>
                </a:solidFill>
              </a:endParaRPr>
            </a:p>
          </p:txBody>
        </p:sp>
      </p:grpSp>
      <p:sp>
        <p:nvSpPr>
          <p:cNvPr id="527" name="Rechteck 526"/>
          <p:cNvSpPr/>
          <p:nvPr>
            <p:custDataLst>
              <p:tags r:id="rId27"/>
            </p:custDataLst>
          </p:nvPr>
        </p:nvSpPr>
        <p:spPr bwMode="gray">
          <a:xfrm flipH="1">
            <a:off x="4031940" y="1059582"/>
            <a:ext cx="864096"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r>
              <a:rPr lang="en-US" sz="1200" dirty="0" smtClean="0">
                <a:solidFill>
                  <a:srgbClr val="000000"/>
                </a:solidFill>
              </a:rPr>
              <a:t>UNIX</a:t>
            </a:r>
            <a:br>
              <a:rPr lang="en-US" sz="1200" dirty="0" smtClean="0">
                <a:solidFill>
                  <a:srgbClr val="000000"/>
                </a:solidFill>
              </a:rPr>
            </a:br>
            <a:r>
              <a:rPr lang="en-US" sz="1200" dirty="0" smtClean="0">
                <a:solidFill>
                  <a:srgbClr val="000000"/>
                </a:solidFill>
              </a:rPr>
              <a:t>Servers</a:t>
            </a:r>
            <a:endParaRPr lang="en-US" sz="1200" dirty="0">
              <a:solidFill>
                <a:srgbClr val="000000"/>
              </a:solidFill>
            </a:endParaRPr>
          </a:p>
        </p:txBody>
      </p:sp>
      <p:sp>
        <p:nvSpPr>
          <p:cNvPr id="528" name="Rechteck 527"/>
          <p:cNvSpPr/>
          <p:nvPr>
            <p:custDataLst>
              <p:tags r:id="rId28"/>
            </p:custDataLst>
          </p:nvPr>
        </p:nvSpPr>
        <p:spPr bwMode="gray">
          <a:xfrm flipH="1">
            <a:off x="4968044" y="1059582"/>
            <a:ext cx="864096"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r>
              <a:rPr lang="en-US" sz="1200" dirty="0" smtClean="0">
                <a:solidFill>
                  <a:srgbClr val="000000"/>
                </a:solidFill>
              </a:rPr>
              <a:t>x86</a:t>
            </a:r>
            <a:br>
              <a:rPr lang="en-US" sz="1200" dirty="0" smtClean="0">
                <a:solidFill>
                  <a:srgbClr val="000000"/>
                </a:solidFill>
              </a:rPr>
            </a:br>
            <a:r>
              <a:rPr lang="en-US" sz="1200" dirty="0" smtClean="0">
                <a:solidFill>
                  <a:srgbClr val="000000"/>
                </a:solidFill>
              </a:rPr>
              <a:t>Servers</a:t>
            </a:r>
            <a:endParaRPr lang="en-US" sz="1200" dirty="0">
              <a:solidFill>
                <a:srgbClr val="000000"/>
              </a:solidFill>
            </a:endParaRPr>
          </a:p>
        </p:txBody>
      </p:sp>
      <p:grpSp>
        <p:nvGrpSpPr>
          <p:cNvPr id="529" name="Group 258"/>
          <p:cNvGrpSpPr>
            <a:grpSpLocks noChangeAspect="1"/>
          </p:cNvGrpSpPr>
          <p:nvPr>
            <p:custDataLst>
              <p:tags r:id="rId29"/>
            </p:custDataLst>
          </p:nvPr>
        </p:nvGrpSpPr>
        <p:grpSpPr bwMode="gray">
          <a:xfrm>
            <a:off x="4629203" y="1065729"/>
            <a:ext cx="194825" cy="360000"/>
            <a:chOff x="5516" y="-2790"/>
            <a:chExt cx="4350" cy="8038"/>
          </a:xfrm>
        </p:grpSpPr>
        <p:sp>
          <p:nvSpPr>
            <p:cNvPr id="530" name="Freeform 259"/>
            <p:cNvSpPr>
              <a:spLocks/>
            </p:cNvSpPr>
            <p:nvPr/>
          </p:nvSpPr>
          <p:spPr bwMode="gray">
            <a:xfrm>
              <a:off x="5516" y="-2790"/>
              <a:ext cx="4350" cy="8038"/>
            </a:xfrm>
            <a:prstGeom prst="rect">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solidFill>
                  <a:srgbClr val="000000"/>
                </a:solidFill>
              </a:endParaRPr>
            </a:p>
          </p:txBody>
        </p:sp>
        <p:sp>
          <p:nvSpPr>
            <p:cNvPr id="531" name="Freeform 260"/>
            <p:cNvSpPr>
              <a:spLocks/>
            </p:cNvSpPr>
            <p:nvPr/>
          </p:nvSpPr>
          <p:spPr bwMode="gray">
            <a:xfrm>
              <a:off x="5868" y="-1867"/>
              <a:ext cx="3646" cy="488"/>
            </a:xfrm>
            <a:custGeom>
              <a:avLst/>
              <a:gdLst>
                <a:gd name="T0" fmla="*/ 1823 w 1823"/>
                <a:gd name="T1" fmla="*/ 198 h 244"/>
                <a:gd name="T2" fmla="*/ 1779 w 1823"/>
                <a:gd name="T3" fmla="*/ 244 h 244"/>
                <a:gd name="T4" fmla="*/ 44 w 1823"/>
                <a:gd name="T5" fmla="*/ 244 h 244"/>
                <a:gd name="T6" fmla="*/ 0 w 1823"/>
                <a:gd name="T7" fmla="*/ 198 h 244"/>
                <a:gd name="T8" fmla="*/ 0 w 1823"/>
                <a:gd name="T9" fmla="*/ 47 h 244"/>
                <a:gd name="T10" fmla="*/ 44 w 1823"/>
                <a:gd name="T11" fmla="*/ 0 h 244"/>
                <a:gd name="T12" fmla="*/ 1779 w 1823"/>
                <a:gd name="T13" fmla="*/ 0 h 244"/>
                <a:gd name="T14" fmla="*/ 1823 w 1823"/>
                <a:gd name="T15" fmla="*/ 47 h 244"/>
                <a:gd name="T16" fmla="*/ 1823 w 1823"/>
                <a:gd name="T17" fmla="*/ 19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3" h="244">
                  <a:moveTo>
                    <a:pt x="1823" y="198"/>
                  </a:moveTo>
                  <a:cubicBezTo>
                    <a:pt x="1823" y="224"/>
                    <a:pt x="1803" y="244"/>
                    <a:pt x="1779" y="244"/>
                  </a:cubicBezTo>
                  <a:cubicBezTo>
                    <a:pt x="44" y="244"/>
                    <a:pt x="44" y="244"/>
                    <a:pt x="44" y="244"/>
                  </a:cubicBezTo>
                  <a:cubicBezTo>
                    <a:pt x="20" y="244"/>
                    <a:pt x="0" y="224"/>
                    <a:pt x="0" y="198"/>
                  </a:cubicBezTo>
                  <a:cubicBezTo>
                    <a:pt x="0" y="47"/>
                    <a:pt x="0" y="47"/>
                    <a:pt x="0" y="47"/>
                  </a:cubicBezTo>
                  <a:cubicBezTo>
                    <a:pt x="0" y="21"/>
                    <a:pt x="20" y="0"/>
                    <a:pt x="44" y="0"/>
                  </a:cubicBezTo>
                  <a:cubicBezTo>
                    <a:pt x="1779" y="0"/>
                    <a:pt x="1779" y="0"/>
                    <a:pt x="1779" y="0"/>
                  </a:cubicBezTo>
                  <a:cubicBezTo>
                    <a:pt x="1803" y="0"/>
                    <a:pt x="1823" y="21"/>
                    <a:pt x="1823" y="47"/>
                  </a:cubicBezTo>
                  <a:lnTo>
                    <a:pt x="1823" y="1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solidFill>
                  <a:srgbClr val="000000"/>
                </a:solidFill>
              </a:endParaRPr>
            </a:p>
          </p:txBody>
        </p:sp>
        <p:sp>
          <p:nvSpPr>
            <p:cNvPr id="532" name="Freeform 261"/>
            <p:cNvSpPr>
              <a:spLocks/>
            </p:cNvSpPr>
            <p:nvPr/>
          </p:nvSpPr>
          <p:spPr bwMode="gray">
            <a:xfrm>
              <a:off x="5868" y="-903"/>
              <a:ext cx="3646" cy="489"/>
            </a:xfrm>
            <a:custGeom>
              <a:avLst/>
              <a:gdLst>
                <a:gd name="T0" fmla="*/ 1823 w 1823"/>
                <a:gd name="T1" fmla="*/ 198 h 244"/>
                <a:gd name="T2" fmla="*/ 1779 w 1823"/>
                <a:gd name="T3" fmla="*/ 244 h 244"/>
                <a:gd name="T4" fmla="*/ 44 w 1823"/>
                <a:gd name="T5" fmla="*/ 244 h 244"/>
                <a:gd name="T6" fmla="*/ 0 w 1823"/>
                <a:gd name="T7" fmla="*/ 198 h 244"/>
                <a:gd name="T8" fmla="*/ 0 w 1823"/>
                <a:gd name="T9" fmla="*/ 47 h 244"/>
                <a:gd name="T10" fmla="*/ 44 w 1823"/>
                <a:gd name="T11" fmla="*/ 0 h 244"/>
                <a:gd name="T12" fmla="*/ 1779 w 1823"/>
                <a:gd name="T13" fmla="*/ 0 h 244"/>
                <a:gd name="T14" fmla="*/ 1823 w 1823"/>
                <a:gd name="T15" fmla="*/ 47 h 244"/>
                <a:gd name="T16" fmla="*/ 1823 w 1823"/>
                <a:gd name="T17" fmla="*/ 19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3" h="244">
                  <a:moveTo>
                    <a:pt x="1823" y="198"/>
                  </a:moveTo>
                  <a:cubicBezTo>
                    <a:pt x="1823" y="224"/>
                    <a:pt x="1803" y="244"/>
                    <a:pt x="1779" y="244"/>
                  </a:cubicBezTo>
                  <a:cubicBezTo>
                    <a:pt x="44" y="244"/>
                    <a:pt x="44" y="244"/>
                    <a:pt x="44" y="244"/>
                  </a:cubicBezTo>
                  <a:cubicBezTo>
                    <a:pt x="20" y="244"/>
                    <a:pt x="0" y="224"/>
                    <a:pt x="0" y="198"/>
                  </a:cubicBezTo>
                  <a:cubicBezTo>
                    <a:pt x="0" y="47"/>
                    <a:pt x="0" y="47"/>
                    <a:pt x="0" y="47"/>
                  </a:cubicBezTo>
                  <a:cubicBezTo>
                    <a:pt x="0" y="21"/>
                    <a:pt x="20" y="0"/>
                    <a:pt x="44" y="0"/>
                  </a:cubicBezTo>
                  <a:cubicBezTo>
                    <a:pt x="1779" y="0"/>
                    <a:pt x="1779" y="0"/>
                    <a:pt x="1779" y="0"/>
                  </a:cubicBezTo>
                  <a:cubicBezTo>
                    <a:pt x="1803" y="0"/>
                    <a:pt x="1823" y="21"/>
                    <a:pt x="1823" y="47"/>
                  </a:cubicBezTo>
                  <a:lnTo>
                    <a:pt x="1823" y="1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solidFill>
                  <a:srgbClr val="000000"/>
                </a:solidFill>
              </a:endParaRPr>
            </a:p>
          </p:txBody>
        </p:sp>
        <p:sp>
          <p:nvSpPr>
            <p:cNvPr id="533" name="Freeform 262"/>
            <p:cNvSpPr>
              <a:spLocks/>
            </p:cNvSpPr>
            <p:nvPr/>
          </p:nvSpPr>
          <p:spPr bwMode="gray">
            <a:xfrm>
              <a:off x="5868" y="62"/>
              <a:ext cx="3646" cy="488"/>
            </a:xfrm>
            <a:custGeom>
              <a:avLst/>
              <a:gdLst>
                <a:gd name="T0" fmla="*/ 1823 w 1823"/>
                <a:gd name="T1" fmla="*/ 198 h 244"/>
                <a:gd name="T2" fmla="*/ 1779 w 1823"/>
                <a:gd name="T3" fmla="*/ 244 h 244"/>
                <a:gd name="T4" fmla="*/ 44 w 1823"/>
                <a:gd name="T5" fmla="*/ 244 h 244"/>
                <a:gd name="T6" fmla="*/ 0 w 1823"/>
                <a:gd name="T7" fmla="*/ 198 h 244"/>
                <a:gd name="T8" fmla="*/ 0 w 1823"/>
                <a:gd name="T9" fmla="*/ 47 h 244"/>
                <a:gd name="T10" fmla="*/ 44 w 1823"/>
                <a:gd name="T11" fmla="*/ 0 h 244"/>
                <a:gd name="T12" fmla="*/ 1779 w 1823"/>
                <a:gd name="T13" fmla="*/ 0 h 244"/>
                <a:gd name="T14" fmla="*/ 1823 w 1823"/>
                <a:gd name="T15" fmla="*/ 47 h 244"/>
                <a:gd name="T16" fmla="*/ 1823 w 1823"/>
                <a:gd name="T17" fmla="*/ 19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3" h="244">
                  <a:moveTo>
                    <a:pt x="1823" y="198"/>
                  </a:moveTo>
                  <a:cubicBezTo>
                    <a:pt x="1823" y="224"/>
                    <a:pt x="1803" y="244"/>
                    <a:pt x="1779" y="244"/>
                  </a:cubicBezTo>
                  <a:cubicBezTo>
                    <a:pt x="44" y="244"/>
                    <a:pt x="44" y="244"/>
                    <a:pt x="44" y="244"/>
                  </a:cubicBezTo>
                  <a:cubicBezTo>
                    <a:pt x="20" y="244"/>
                    <a:pt x="0" y="224"/>
                    <a:pt x="0" y="198"/>
                  </a:cubicBezTo>
                  <a:cubicBezTo>
                    <a:pt x="0" y="47"/>
                    <a:pt x="0" y="47"/>
                    <a:pt x="0" y="47"/>
                  </a:cubicBezTo>
                  <a:cubicBezTo>
                    <a:pt x="0" y="21"/>
                    <a:pt x="20" y="0"/>
                    <a:pt x="44" y="0"/>
                  </a:cubicBezTo>
                  <a:cubicBezTo>
                    <a:pt x="1779" y="0"/>
                    <a:pt x="1779" y="0"/>
                    <a:pt x="1779" y="0"/>
                  </a:cubicBezTo>
                  <a:cubicBezTo>
                    <a:pt x="1803" y="0"/>
                    <a:pt x="1823" y="21"/>
                    <a:pt x="1823" y="47"/>
                  </a:cubicBezTo>
                  <a:lnTo>
                    <a:pt x="1823" y="1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solidFill>
                  <a:srgbClr val="000000"/>
                </a:solidFill>
              </a:endParaRPr>
            </a:p>
          </p:txBody>
        </p:sp>
        <p:sp>
          <p:nvSpPr>
            <p:cNvPr id="534" name="Freeform 263"/>
            <p:cNvSpPr>
              <a:spLocks/>
            </p:cNvSpPr>
            <p:nvPr/>
          </p:nvSpPr>
          <p:spPr bwMode="gray">
            <a:xfrm>
              <a:off x="5868" y="1029"/>
              <a:ext cx="3646" cy="486"/>
            </a:xfrm>
            <a:custGeom>
              <a:avLst/>
              <a:gdLst>
                <a:gd name="T0" fmla="*/ 1823 w 1823"/>
                <a:gd name="T1" fmla="*/ 197 h 243"/>
                <a:gd name="T2" fmla="*/ 1779 w 1823"/>
                <a:gd name="T3" fmla="*/ 243 h 243"/>
                <a:gd name="T4" fmla="*/ 44 w 1823"/>
                <a:gd name="T5" fmla="*/ 243 h 243"/>
                <a:gd name="T6" fmla="*/ 0 w 1823"/>
                <a:gd name="T7" fmla="*/ 197 h 243"/>
                <a:gd name="T8" fmla="*/ 0 w 1823"/>
                <a:gd name="T9" fmla="*/ 46 h 243"/>
                <a:gd name="T10" fmla="*/ 44 w 1823"/>
                <a:gd name="T11" fmla="*/ 0 h 243"/>
                <a:gd name="T12" fmla="*/ 1779 w 1823"/>
                <a:gd name="T13" fmla="*/ 0 h 243"/>
                <a:gd name="T14" fmla="*/ 1823 w 1823"/>
                <a:gd name="T15" fmla="*/ 46 h 243"/>
                <a:gd name="T16" fmla="*/ 1823 w 1823"/>
                <a:gd name="T17" fmla="*/ 19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3" h="243">
                  <a:moveTo>
                    <a:pt x="1823" y="197"/>
                  </a:moveTo>
                  <a:cubicBezTo>
                    <a:pt x="1823" y="223"/>
                    <a:pt x="1803" y="243"/>
                    <a:pt x="1779" y="243"/>
                  </a:cubicBezTo>
                  <a:cubicBezTo>
                    <a:pt x="44" y="243"/>
                    <a:pt x="44" y="243"/>
                    <a:pt x="44" y="243"/>
                  </a:cubicBezTo>
                  <a:cubicBezTo>
                    <a:pt x="20" y="243"/>
                    <a:pt x="0" y="223"/>
                    <a:pt x="0" y="197"/>
                  </a:cubicBezTo>
                  <a:cubicBezTo>
                    <a:pt x="0" y="46"/>
                    <a:pt x="0" y="46"/>
                    <a:pt x="0" y="46"/>
                  </a:cubicBezTo>
                  <a:cubicBezTo>
                    <a:pt x="0" y="20"/>
                    <a:pt x="20" y="0"/>
                    <a:pt x="44" y="0"/>
                  </a:cubicBezTo>
                  <a:cubicBezTo>
                    <a:pt x="1779" y="0"/>
                    <a:pt x="1779" y="0"/>
                    <a:pt x="1779" y="0"/>
                  </a:cubicBezTo>
                  <a:cubicBezTo>
                    <a:pt x="1803" y="0"/>
                    <a:pt x="1823" y="20"/>
                    <a:pt x="1823" y="46"/>
                  </a:cubicBezTo>
                  <a:lnTo>
                    <a:pt x="1823" y="1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solidFill>
                  <a:srgbClr val="000000"/>
                </a:solidFill>
              </a:endParaRPr>
            </a:p>
          </p:txBody>
        </p:sp>
        <p:sp>
          <p:nvSpPr>
            <p:cNvPr id="535" name="Freeform 264"/>
            <p:cNvSpPr>
              <a:spLocks/>
            </p:cNvSpPr>
            <p:nvPr/>
          </p:nvSpPr>
          <p:spPr bwMode="gray">
            <a:xfrm>
              <a:off x="5868" y="1994"/>
              <a:ext cx="3646" cy="486"/>
            </a:xfrm>
            <a:custGeom>
              <a:avLst/>
              <a:gdLst>
                <a:gd name="T0" fmla="*/ 1823 w 1823"/>
                <a:gd name="T1" fmla="*/ 197 h 243"/>
                <a:gd name="T2" fmla="*/ 1779 w 1823"/>
                <a:gd name="T3" fmla="*/ 243 h 243"/>
                <a:gd name="T4" fmla="*/ 44 w 1823"/>
                <a:gd name="T5" fmla="*/ 243 h 243"/>
                <a:gd name="T6" fmla="*/ 0 w 1823"/>
                <a:gd name="T7" fmla="*/ 197 h 243"/>
                <a:gd name="T8" fmla="*/ 0 w 1823"/>
                <a:gd name="T9" fmla="*/ 46 h 243"/>
                <a:gd name="T10" fmla="*/ 44 w 1823"/>
                <a:gd name="T11" fmla="*/ 0 h 243"/>
                <a:gd name="T12" fmla="*/ 1779 w 1823"/>
                <a:gd name="T13" fmla="*/ 0 h 243"/>
                <a:gd name="T14" fmla="*/ 1823 w 1823"/>
                <a:gd name="T15" fmla="*/ 46 h 243"/>
                <a:gd name="T16" fmla="*/ 1823 w 1823"/>
                <a:gd name="T17" fmla="*/ 19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3" h="243">
                  <a:moveTo>
                    <a:pt x="1823" y="197"/>
                  </a:moveTo>
                  <a:cubicBezTo>
                    <a:pt x="1823" y="223"/>
                    <a:pt x="1803" y="243"/>
                    <a:pt x="1779" y="243"/>
                  </a:cubicBezTo>
                  <a:cubicBezTo>
                    <a:pt x="44" y="243"/>
                    <a:pt x="44" y="243"/>
                    <a:pt x="44" y="243"/>
                  </a:cubicBezTo>
                  <a:cubicBezTo>
                    <a:pt x="20" y="243"/>
                    <a:pt x="0" y="223"/>
                    <a:pt x="0" y="197"/>
                  </a:cubicBezTo>
                  <a:cubicBezTo>
                    <a:pt x="0" y="46"/>
                    <a:pt x="0" y="46"/>
                    <a:pt x="0" y="46"/>
                  </a:cubicBezTo>
                  <a:cubicBezTo>
                    <a:pt x="0" y="20"/>
                    <a:pt x="20" y="0"/>
                    <a:pt x="44" y="0"/>
                  </a:cubicBezTo>
                  <a:cubicBezTo>
                    <a:pt x="1779" y="0"/>
                    <a:pt x="1779" y="0"/>
                    <a:pt x="1779" y="0"/>
                  </a:cubicBezTo>
                  <a:cubicBezTo>
                    <a:pt x="1803" y="0"/>
                    <a:pt x="1823" y="20"/>
                    <a:pt x="1823" y="46"/>
                  </a:cubicBezTo>
                  <a:lnTo>
                    <a:pt x="1823" y="1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solidFill>
                  <a:srgbClr val="000000"/>
                </a:solidFill>
              </a:endParaRPr>
            </a:p>
          </p:txBody>
        </p:sp>
        <p:sp>
          <p:nvSpPr>
            <p:cNvPr id="536" name="Oval 265"/>
            <p:cNvSpPr>
              <a:spLocks noChangeArrowheads="1"/>
            </p:cNvSpPr>
            <p:nvPr/>
          </p:nvSpPr>
          <p:spPr bwMode="gray">
            <a:xfrm>
              <a:off x="7338" y="3248"/>
              <a:ext cx="708" cy="70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solidFill>
                  <a:srgbClr val="000000"/>
                </a:solidFill>
              </a:endParaRPr>
            </a:p>
          </p:txBody>
        </p:sp>
      </p:grpSp>
      <p:grpSp>
        <p:nvGrpSpPr>
          <p:cNvPr id="537" name="Group 258"/>
          <p:cNvGrpSpPr>
            <a:grpSpLocks noChangeAspect="1"/>
          </p:cNvGrpSpPr>
          <p:nvPr>
            <p:custDataLst>
              <p:tags r:id="rId30"/>
            </p:custDataLst>
          </p:nvPr>
        </p:nvGrpSpPr>
        <p:grpSpPr bwMode="gray">
          <a:xfrm>
            <a:off x="5565307" y="1065729"/>
            <a:ext cx="194825" cy="360000"/>
            <a:chOff x="5516" y="-2790"/>
            <a:chExt cx="4350" cy="8038"/>
          </a:xfrm>
        </p:grpSpPr>
        <p:sp>
          <p:nvSpPr>
            <p:cNvPr id="538" name="Freeform 259"/>
            <p:cNvSpPr>
              <a:spLocks/>
            </p:cNvSpPr>
            <p:nvPr/>
          </p:nvSpPr>
          <p:spPr bwMode="gray">
            <a:xfrm>
              <a:off x="5516" y="-2790"/>
              <a:ext cx="4350" cy="8038"/>
            </a:xfrm>
            <a:prstGeom prst="rect">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solidFill>
                  <a:srgbClr val="000000"/>
                </a:solidFill>
              </a:endParaRPr>
            </a:p>
          </p:txBody>
        </p:sp>
        <p:sp>
          <p:nvSpPr>
            <p:cNvPr id="539" name="Freeform 260"/>
            <p:cNvSpPr>
              <a:spLocks/>
            </p:cNvSpPr>
            <p:nvPr/>
          </p:nvSpPr>
          <p:spPr bwMode="gray">
            <a:xfrm>
              <a:off x="5868" y="-1867"/>
              <a:ext cx="3646" cy="488"/>
            </a:xfrm>
            <a:custGeom>
              <a:avLst/>
              <a:gdLst>
                <a:gd name="T0" fmla="*/ 1823 w 1823"/>
                <a:gd name="T1" fmla="*/ 198 h 244"/>
                <a:gd name="T2" fmla="*/ 1779 w 1823"/>
                <a:gd name="T3" fmla="*/ 244 h 244"/>
                <a:gd name="T4" fmla="*/ 44 w 1823"/>
                <a:gd name="T5" fmla="*/ 244 h 244"/>
                <a:gd name="T6" fmla="*/ 0 w 1823"/>
                <a:gd name="T7" fmla="*/ 198 h 244"/>
                <a:gd name="T8" fmla="*/ 0 w 1823"/>
                <a:gd name="T9" fmla="*/ 47 h 244"/>
                <a:gd name="T10" fmla="*/ 44 w 1823"/>
                <a:gd name="T11" fmla="*/ 0 h 244"/>
                <a:gd name="T12" fmla="*/ 1779 w 1823"/>
                <a:gd name="T13" fmla="*/ 0 h 244"/>
                <a:gd name="T14" fmla="*/ 1823 w 1823"/>
                <a:gd name="T15" fmla="*/ 47 h 244"/>
                <a:gd name="T16" fmla="*/ 1823 w 1823"/>
                <a:gd name="T17" fmla="*/ 19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3" h="244">
                  <a:moveTo>
                    <a:pt x="1823" y="198"/>
                  </a:moveTo>
                  <a:cubicBezTo>
                    <a:pt x="1823" y="224"/>
                    <a:pt x="1803" y="244"/>
                    <a:pt x="1779" y="244"/>
                  </a:cubicBezTo>
                  <a:cubicBezTo>
                    <a:pt x="44" y="244"/>
                    <a:pt x="44" y="244"/>
                    <a:pt x="44" y="244"/>
                  </a:cubicBezTo>
                  <a:cubicBezTo>
                    <a:pt x="20" y="244"/>
                    <a:pt x="0" y="224"/>
                    <a:pt x="0" y="198"/>
                  </a:cubicBezTo>
                  <a:cubicBezTo>
                    <a:pt x="0" y="47"/>
                    <a:pt x="0" y="47"/>
                    <a:pt x="0" y="47"/>
                  </a:cubicBezTo>
                  <a:cubicBezTo>
                    <a:pt x="0" y="21"/>
                    <a:pt x="20" y="0"/>
                    <a:pt x="44" y="0"/>
                  </a:cubicBezTo>
                  <a:cubicBezTo>
                    <a:pt x="1779" y="0"/>
                    <a:pt x="1779" y="0"/>
                    <a:pt x="1779" y="0"/>
                  </a:cubicBezTo>
                  <a:cubicBezTo>
                    <a:pt x="1803" y="0"/>
                    <a:pt x="1823" y="21"/>
                    <a:pt x="1823" y="47"/>
                  </a:cubicBezTo>
                  <a:lnTo>
                    <a:pt x="1823" y="1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solidFill>
                  <a:srgbClr val="000000"/>
                </a:solidFill>
              </a:endParaRPr>
            </a:p>
          </p:txBody>
        </p:sp>
        <p:sp>
          <p:nvSpPr>
            <p:cNvPr id="540" name="Freeform 261"/>
            <p:cNvSpPr>
              <a:spLocks/>
            </p:cNvSpPr>
            <p:nvPr/>
          </p:nvSpPr>
          <p:spPr bwMode="gray">
            <a:xfrm>
              <a:off x="5868" y="-903"/>
              <a:ext cx="3646" cy="489"/>
            </a:xfrm>
            <a:custGeom>
              <a:avLst/>
              <a:gdLst>
                <a:gd name="T0" fmla="*/ 1823 w 1823"/>
                <a:gd name="T1" fmla="*/ 198 h 244"/>
                <a:gd name="T2" fmla="*/ 1779 w 1823"/>
                <a:gd name="T3" fmla="*/ 244 h 244"/>
                <a:gd name="T4" fmla="*/ 44 w 1823"/>
                <a:gd name="T5" fmla="*/ 244 h 244"/>
                <a:gd name="T6" fmla="*/ 0 w 1823"/>
                <a:gd name="T7" fmla="*/ 198 h 244"/>
                <a:gd name="T8" fmla="*/ 0 w 1823"/>
                <a:gd name="T9" fmla="*/ 47 h 244"/>
                <a:gd name="T10" fmla="*/ 44 w 1823"/>
                <a:gd name="T11" fmla="*/ 0 h 244"/>
                <a:gd name="T12" fmla="*/ 1779 w 1823"/>
                <a:gd name="T13" fmla="*/ 0 h 244"/>
                <a:gd name="T14" fmla="*/ 1823 w 1823"/>
                <a:gd name="T15" fmla="*/ 47 h 244"/>
                <a:gd name="T16" fmla="*/ 1823 w 1823"/>
                <a:gd name="T17" fmla="*/ 19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3" h="244">
                  <a:moveTo>
                    <a:pt x="1823" y="198"/>
                  </a:moveTo>
                  <a:cubicBezTo>
                    <a:pt x="1823" y="224"/>
                    <a:pt x="1803" y="244"/>
                    <a:pt x="1779" y="244"/>
                  </a:cubicBezTo>
                  <a:cubicBezTo>
                    <a:pt x="44" y="244"/>
                    <a:pt x="44" y="244"/>
                    <a:pt x="44" y="244"/>
                  </a:cubicBezTo>
                  <a:cubicBezTo>
                    <a:pt x="20" y="244"/>
                    <a:pt x="0" y="224"/>
                    <a:pt x="0" y="198"/>
                  </a:cubicBezTo>
                  <a:cubicBezTo>
                    <a:pt x="0" y="47"/>
                    <a:pt x="0" y="47"/>
                    <a:pt x="0" y="47"/>
                  </a:cubicBezTo>
                  <a:cubicBezTo>
                    <a:pt x="0" y="21"/>
                    <a:pt x="20" y="0"/>
                    <a:pt x="44" y="0"/>
                  </a:cubicBezTo>
                  <a:cubicBezTo>
                    <a:pt x="1779" y="0"/>
                    <a:pt x="1779" y="0"/>
                    <a:pt x="1779" y="0"/>
                  </a:cubicBezTo>
                  <a:cubicBezTo>
                    <a:pt x="1803" y="0"/>
                    <a:pt x="1823" y="21"/>
                    <a:pt x="1823" y="47"/>
                  </a:cubicBezTo>
                  <a:lnTo>
                    <a:pt x="1823" y="1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solidFill>
                  <a:srgbClr val="000000"/>
                </a:solidFill>
              </a:endParaRPr>
            </a:p>
          </p:txBody>
        </p:sp>
        <p:sp>
          <p:nvSpPr>
            <p:cNvPr id="541" name="Freeform 262"/>
            <p:cNvSpPr>
              <a:spLocks/>
            </p:cNvSpPr>
            <p:nvPr/>
          </p:nvSpPr>
          <p:spPr bwMode="gray">
            <a:xfrm>
              <a:off x="5868" y="62"/>
              <a:ext cx="3646" cy="488"/>
            </a:xfrm>
            <a:custGeom>
              <a:avLst/>
              <a:gdLst>
                <a:gd name="T0" fmla="*/ 1823 w 1823"/>
                <a:gd name="T1" fmla="*/ 198 h 244"/>
                <a:gd name="T2" fmla="*/ 1779 w 1823"/>
                <a:gd name="T3" fmla="*/ 244 h 244"/>
                <a:gd name="T4" fmla="*/ 44 w 1823"/>
                <a:gd name="T5" fmla="*/ 244 h 244"/>
                <a:gd name="T6" fmla="*/ 0 w 1823"/>
                <a:gd name="T7" fmla="*/ 198 h 244"/>
                <a:gd name="T8" fmla="*/ 0 w 1823"/>
                <a:gd name="T9" fmla="*/ 47 h 244"/>
                <a:gd name="T10" fmla="*/ 44 w 1823"/>
                <a:gd name="T11" fmla="*/ 0 h 244"/>
                <a:gd name="T12" fmla="*/ 1779 w 1823"/>
                <a:gd name="T13" fmla="*/ 0 h 244"/>
                <a:gd name="T14" fmla="*/ 1823 w 1823"/>
                <a:gd name="T15" fmla="*/ 47 h 244"/>
                <a:gd name="T16" fmla="*/ 1823 w 1823"/>
                <a:gd name="T17" fmla="*/ 19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3" h="244">
                  <a:moveTo>
                    <a:pt x="1823" y="198"/>
                  </a:moveTo>
                  <a:cubicBezTo>
                    <a:pt x="1823" y="224"/>
                    <a:pt x="1803" y="244"/>
                    <a:pt x="1779" y="244"/>
                  </a:cubicBezTo>
                  <a:cubicBezTo>
                    <a:pt x="44" y="244"/>
                    <a:pt x="44" y="244"/>
                    <a:pt x="44" y="244"/>
                  </a:cubicBezTo>
                  <a:cubicBezTo>
                    <a:pt x="20" y="244"/>
                    <a:pt x="0" y="224"/>
                    <a:pt x="0" y="198"/>
                  </a:cubicBezTo>
                  <a:cubicBezTo>
                    <a:pt x="0" y="47"/>
                    <a:pt x="0" y="47"/>
                    <a:pt x="0" y="47"/>
                  </a:cubicBezTo>
                  <a:cubicBezTo>
                    <a:pt x="0" y="21"/>
                    <a:pt x="20" y="0"/>
                    <a:pt x="44" y="0"/>
                  </a:cubicBezTo>
                  <a:cubicBezTo>
                    <a:pt x="1779" y="0"/>
                    <a:pt x="1779" y="0"/>
                    <a:pt x="1779" y="0"/>
                  </a:cubicBezTo>
                  <a:cubicBezTo>
                    <a:pt x="1803" y="0"/>
                    <a:pt x="1823" y="21"/>
                    <a:pt x="1823" y="47"/>
                  </a:cubicBezTo>
                  <a:lnTo>
                    <a:pt x="1823" y="1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solidFill>
                  <a:srgbClr val="000000"/>
                </a:solidFill>
              </a:endParaRPr>
            </a:p>
          </p:txBody>
        </p:sp>
        <p:sp>
          <p:nvSpPr>
            <p:cNvPr id="542" name="Freeform 263"/>
            <p:cNvSpPr>
              <a:spLocks/>
            </p:cNvSpPr>
            <p:nvPr/>
          </p:nvSpPr>
          <p:spPr bwMode="gray">
            <a:xfrm>
              <a:off x="5868" y="1029"/>
              <a:ext cx="3646" cy="486"/>
            </a:xfrm>
            <a:custGeom>
              <a:avLst/>
              <a:gdLst>
                <a:gd name="T0" fmla="*/ 1823 w 1823"/>
                <a:gd name="T1" fmla="*/ 197 h 243"/>
                <a:gd name="T2" fmla="*/ 1779 w 1823"/>
                <a:gd name="T3" fmla="*/ 243 h 243"/>
                <a:gd name="T4" fmla="*/ 44 w 1823"/>
                <a:gd name="T5" fmla="*/ 243 h 243"/>
                <a:gd name="T6" fmla="*/ 0 w 1823"/>
                <a:gd name="T7" fmla="*/ 197 h 243"/>
                <a:gd name="T8" fmla="*/ 0 w 1823"/>
                <a:gd name="T9" fmla="*/ 46 h 243"/>
                <a:gd name="T10" fmla="*/ 44 w 1823"/>
                <a:gd name="T11" fmla="*/ 0 h 243"/>
                <a:gd name="T12" fmla="*/ 1779 w 1823"/>
                <a:gd name="T13" fmla="*/ 0 h 243"/>
                <a:gd name="T14" fmla="*/ 1823 w 1823"/>
                <a:gd name="T15" fmla="*/ 46 h 243"/>
                <a:gd name="T16" fmla="*/ 1823 w 1823"/>
                <a:gd name="T17" fmla="*/ 19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3" h="243">
                  <a:moveTo>
                    <a:pt x="1823" y="197"/>
                  </a:moveTo>
                  <a:cubicBezTo>
                    <a:pt x="1823" y="223"/>
                    <a:pt x="1803" y="243"/>
                    <a:pt x="1779" y="243"/>
                  </a:cubicBezTo>
                  <a:cubicBezTo>
                    <a:pt x="44" y="243"/>
                    <a:pt x="44" y="243"/>
                    <a:pt x="44" y="243"/>
                  </a:cubicBezTo>
                  <a:cubicBezTo>
                    <a:pt x="20" y="243"/>
                    <a:pt x="0" y="223"/>
                    <a:pt x="0" y="197"/>
                  </a:cubicBezTo>
                  <a:cubicBezTo>
                    <a:pt x="0" y="46"/>
                    <a:pt x="0" y="46"/>
                    <a:pt x="0" y="46"/>
                  </a:cubicBezTo>
                  <a:cubicBezTo>
                    <a:pt x="0" y="20"/>
                    <a:pt x="20" y="0"/>
                    <a:pt x="44" y="0"/>
                  </a:cubicBezTo>
                  <a:cubicBezTo>
                    <a:pt x="1779" y="0"/>
                    <a:pt x="1779" y="0"/>
                    <a:pt x="1779" y="0"/>
                  </a:cubicBezTo>
                  <a:cubicBezTo>
                    <a:pt x="1803" y="0"/>
                    <a:pt x="1823" y="20"/>
                    <a:pt x="1823" y="46"/>
                  </a:cubicBezTo>
                  <a:lnTo>
                    <a:pt x="1823" y="1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solidFill>
                  <a:srgbClr val="000000"/>
                </a:solidFill>
              </a:endParaRPr>
            </a:p>
          </p:txBody>
        </p:sp>
        <p:sp>
          <p:nvSpPr>
            <p:cNvPr id="543" name="Freeform 264"/>
            <p:cNvSpPr>
              <a:spLocks/>
            </p:cNvSpPr>
            <p:nvPr/>
          </p:nvSpPr>
          <p:spPr bwMode="gray">
            <a:xfrm>
              <a:off x="5868" y="1994"/>
              <a:ext cx="3646" cy="486"/>
            </a:xfrm>
            <a:custGeom>
              <a:avLst/>
              <a:gdLst>
                <a:gd name="T0" fmla="*/ 1823 w 1823"/>
                <a:gd name="T1" fmla="*/ 197 h 243"/>
                <a:gd name="T2" fmla="*/ 1779 w 1823"/>
                <a:gd name="T3" fmla="*/ 243 h 243"/>
                <a:gd name="T4" fmla="*/ 44 w 1823"/>
                <a:gd name="T5" fmla="*/ 243 h 243"/>
                <a:gd name="T6" fmla="*/ 0 w 1823"/>
                <a:gd name="T7" fmla="*/ 197 h 243"/>
                <a:gd name="T8" fmla="*/ 0 w 1823"/>
                <a:gd name="T9" fmla="*/ 46 h 243"/>
                <a:gd name="T10" fmla="*/ 44 w 1823"/>
                <a:gd name="T11" fmla="*/ 0 h 243"/>
                <a:gd name="T12" fmla="*/ 1779 w 1823"/>
                <a:gd name="T13" fmla="*/ 0 h 243"/>
                <a:gd name="T14" fmla="*/ 1823 w 1823"/>
                <a:gd name="T15" fmla="*/ 46 h 243"/>
                <a:gd name="T16" fmla="*/ 1823 w 1823"/>
                <a:gd name="T17" fmla="*/ 197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3" h="243">
                  <a:moveTo>
                    <a:pt x="1823" y="197"/>
                  </a:moveTo>
                  <a:cubicBezTo>
                    <a:pt x="1823" y="223"/>
                    <a:pt x="1803" y="243"/>
                    <a:pt x="1779" y="243"/>
                  </a:cubicBezTo>
                  <a:cubicBezTo>
                    <a:pt x="44" y="243"/>
                    <a:pt x="44" y="243"/>
                    <a:pt x="44" y="243"/>
                  </a:cubicBezTo>
                  <a:cubicBezTo>
                    <a:pt x="20" y="243"/>
                    <a:pt x="0" y="223"/>
                    <a:pt x="0" y="197"/>
                  </a:cubicBezTo>
                  <a:cubicBezTo>
                    <a:pt x="0" y="46"/>
                    <a:pt x="0" y="46"/>
                    <a:pt x="0" y="46"/>
                  </a:cubicBezTo>
                  <a:cubicBezTo>
                    <a:pt x="0" y="20"/>
                    <a:pt x="20" y="0"/>
                    <a:pt x="44" y="0"/>
                  </a:cubicBezTo>
                  <a:cubicBezTo>
                    <a:pt x="1779" y="0"/>
                    <a:pt x="1779" y="0"/>
                    <a:pt x="1779" y="0"/>
                  </a:cubicBezTo>
                  <a:cubicBezTo>
                    <a:pt x="1803" y="0"/>
                    <a:pt x="1823" y="20"/>
                    <a:pt x="1823" y="46"/>
                  </a:cubicBezTo>
                  <a:lnTo>
                    <a:pt x="1823" y="1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solidFill>
                  <a:srgbClr val="000000"/>
                </a:solidFill>
              </a:endParaRPr>
            </a:p>
          </p:txBody>
        </p:sp>
        <p:sp>
          <p:nvSpPr>
            <p:cNvPr id="544" name="Oval 265"/>
            <p:cNvSpPr>
              <a:spLocks noChangeArrowheads="1"/>
            </p:cNvSpPr>
            <p:nvPr/>
          </p:nvSpPr>
          <p:spPr bwMode="gray">
            <a:xfrm>
              <a:off x="7338" y="3248"/>
              <a:ext cx="708" cy="70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solidFill>
                  <a:srgbClr val="000000"/>
                </a:solidFill>
              </a:endParaRPr>
            </a:p>
          </p:txBody>
        </p:sp>
      </p:grpSp>
      <p:sp>
        <p:nvSpPr>
          <p:cNvPr id="545" name="Rechteck 544"/>
          <p:cNvSpPr/>
          <p:nvPr>
            <p:custDataLst>
              <p:tags r:id="rId31"/>
            </p:custDataLst>
          </p:nvPr>
        </p:nvSpPr>
        <p:spPr bwMode="gray">
          <a:xfrm flipH="1">
            <a:off x="3995787" y="4515775"/>
            <a:ext cx="864096"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lstStyle/>
          <a:p>
            <a:pPr algn="ctr"/>
            <a:r>
              <a:rPr lang="en-US" sz="1200" dirty="0">
                <a:solidFill>
                  <a:srgbClr val="000000"/>
                </a:solidFill>
              </a:rPr>
              <a:t>Tape, WORM, disk, dedup, cloud targets</a:t>
            </a:r>
          </a:p>
        </p:txBody>
      </p:sp>
      <p:sp>
        <p:nvSpPr>
          <p:cNvPr id="546" name="Flussdiagramm: Datenträger mit sequenziellem Zugriff 545"/>
          <p:cNvSpPr/>
          <p:nvPr>
            <p:custDataLst>
              <p:tags r:id="rId32"/>
            </p:custDataLst>
          </p:nvPr>
        </p:nvSpPr>
        <p:spPr bwMode="gray">
          <a:xfrm>
            <a:off x="3239852" y="4299942"/>
            <a:ext cx="288000" cy="288000"/>
          </a:xfrm>
          <a:prstGeom prst="flowChartMagneticTap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rgbClr val="000000"/>
              </a:solidFill>
            </a:endParaRPr>
          </a:p>
        </p:txBody>
      </p:sp>
      <p:grpSp>
        <p:nvGrpSpPr>
          <p:cNvPr id="547" name="Gruppieren 613"/>
          <p:cNvGrpSpPr>
            <a:grpSpLocks/>
          </p:cNvGrpSpPr>
          <p:nvPr>
            <p:custDataLst>
              <p:tags r:id="rId33"/>
            </p:custDataLst>
          </p:nvPr>
        </p:nvGrpSpPr>
        <p:grpSpPr bwMode="gray">
          <a:xfrm>
            <a:off x="4271966" y="4299942"/>
            <a:ext cx="252000" cy="288000"/>
            <a:chOff x="676031" y="3122487"/>
            <a:chExt cx="352800" cy="428107"/>
          </a:xfrm>
          <a:solidFill>
            <a:schemeClr val="tx2"/>
          </a:solidFill>
        </p:grpSpPr>
        <p:sp>
          <p:nvSpPr>
            <p:cNvPr id="548" name="Freeform 128"/>
            <p:cNvSpPr>
              <a:spLocks/>
            </p:cNvSpPr>
            <p:nvPr/>
          </p:nvSpPr>
          <p:spPr bwMode="gray">
            <a:xfrm>
              <a:off x="676031" y="3122487"/>
              <a:ext cx="352800" cy="128514"/>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endParaRPr>
            </a:p>
          </p:txBody>
        </p:sp>
        <p:sp>
          <p:nvSpPr>
            <p:cNvPr id="549" name="Freeform 138"/>
            <p:cNvSpPr>
              <a:spLocks/>
            </p:cNvSpPr>
            <p:nvPr/>
          </p:nvSpPr>
          <p:spPr bwMode="gray">
            <a:xfrm>
              <a:off x="678487" y="3239541"/>
              <a:ext cx="347070" cy="113780"/>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endParaRPr>
            </a:p>
          </p:txBody>
        </p:sp>
        <p:sp>
          <p:nvSpPr>
            <p:cNvPr id="550" name="Freeform 143"/>
            <p:cNvSpPr>
              <a:spLocks/>
            </p:cNvSpPr>
            <p:nvPr/>
          </p:nvSpPr>
          <p:spPr bwMode="gray">
            <a:xfrm>
              <a:off x="679305" y="3339405"/>
              <a:ext cx="347070" cy="110506"/>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endParaRPr>
            </a:p>
          </p:txBody>
        </p:sp>
        <p:sp>
          <p:nvSpPr>
            <p:cNvPr id="551" name="Freeform 147"/>
            <p:cNvSpPr>
              <a:spLocks/>
            </p:cNvSpPr>
            <p:nvPr/>
          </p:nvSpPr>
          <p:spPr bwMode="gray">
            <a:xfrm>
              <a:off x="678487" y="3440088"/>
              <a:ext cx="347888" cy="110506"/>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endParaRPr>
            </a:p>
          </p:txBody>
        </p:sp>
      </p:grpSp>
      <p:grpSp>
        <p:nvGrpSpPr>
          <p:cNvPr id="552" name="Gruppieren 551"/>
          <p:cNvGrpSpPr>
            <a:grpSpLocks noChangeAspect="1"/>
          </p:cNvGrpSpPr>
          <p:nvPr>
            <p:custDataLst>
              <p:tags r:id="rId34"/>
            </p:custDataLst>
          </p:nvPr>
        </p:nvGrpSpPr>
        <p:grpSpPr bwMode="gray">
          <a:xfrm>
            <a:off x="4752023" y="4299942"/>
            <a:ext cx="384007" cy="288000"/>
            <a:chOff x="6228184" y="2787766"/>
            <a:chExt cx="576064" cy="432040"/>
          </a:xfrm>
        </p:grpSpPr>
        <p:grpSp>
          <p:nvGrpSpPr>
            <p:cNvPr id="553" name="Gruppieren 613"/>
            <p:cNvGrpSpPr>
              <a:grpSpLocks/>
            </p:cNvGrpSpPr>
            <p:nvPr>
              <p:custDataLst>
                <p:tags r:id="rId53"/>
              </p:custDataLst>
            </p:nvPr>
          </p:nvGrpSpPr>
          <p:grpSpPr bwMode="gray">
            <a:xfrm>
              <a:off x="6354248" y="2787766"/>
              <a:ext cx="324000" cy="275335"/>
              <a:chOff x="676031" y="3122487"/>
              <a:chExt cx="352800" cy="327424"/>
            </a:xfrm>
            <a:solidFill>
              <a:schemeClr val="tx2"/>
            </a:solidFill>
          </p:grpSpPr>
          <p:sp>
            <p:nvSpPr>
              <p:cNvPr id="555" name="Freeform 128"/>
              <p:cNvSpPr>
                <a:spLocks/>
              </p:cNvSpPr>
              <p:nvPr/>
            </p:nvSpPr>
            <p:spPr bwMode="gray">
              <a:xfrm>
                <a:off x="676031" y="3122487"/>
                <a:ext cx="352800" cy="128514"/>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endParaRPr>
              </a:p>
            </p:txBody>
          </p:sp>
          <p:sp>
            <p:nvSpPr>
              <p:cNvPr id="556" name="Freeform 138"/>
              <p:cNvSpPr>
                <a:spLocks/>
              </p:cNvSpPr>
              <p:nvPr/>
            </p:nvSpPr>
            <p:spPr bwMode="gray">
              <a:xfrm>
                <a:off x="678487" y="3239541"/>
                <a:ext cx="347070" cy="113780"/>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endParaRPr>
              </a:p>
            </p:txBody>
          </p:sp>
          <p:sp>
            <p:nvSpPr>
              <p:cNvPr id="557" name="Freeform 143"/>
              <p:cNvSpPr>
                <a:spLocks/>
              </p:cNvSpPr>
              <p:nvPr/>
            </p:nvSpPr>
            <p:spPr bwMode="gray">
              <a:xfrm>
                <a:off x="679305" y="3339405"/>
                <a:ext cx="347070" cy="110506"/>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srgbClr val="000000"/>
                  </a:solidFill>
                </a:endParaRPr>
              </a:p>
            </p:txBody>
          </p:sp>
        </p:grpSp>
        <p:sp>
          <p:nvSpPr>
            <p:cNvPr id="554" name="Rechteck 553"/>
            <p:cNvSpPr/>
            <p:nvPr>
              <p:custDataLst>
                <p:tags r:id="rId54"/>
              </p:custDataLst>
            </p:nvPr>
          </p:nvSpPr>
          <p:spPr bwMode="gray">
            <a:xfrm flipH="1">
              <a:off x="6228184" y="3075806"/>
              <a:ext cx="576064"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900" dirty="0" smtClean="0">
                  <a:solidFill>
                    <a:srgbClr val="FF0000"/>
                  </a:solidFill>
                </a:rPr>
                <a:t>Dedup</a:t>
              </a:r>
            </a:p>
          </p:txBody>
        </p:sp>
      </p:grpSp>
      <p:sp>
        <p:nvSpPr>
          <p:cNvPr id="558" name="Flussdiagramm: Datenträger mit sequenziellem Zugriff 557"/>
          <p:cNvSpPr/>
          <p:nvPr>
            <p:custDataLst>
              <p:tags r:id="rId35"/>
            </p:custDataLst>
          </p:nvPr>
        </p:nvSpPr>
        <p:spPr bwMode="gray">
          <a:xfrm>
            <a:off x="3755909" y="4299942"/>
            <a:ext cx="288000" cy="288000"/>
          </a:xfrm>
          <a:prstGeom prst="flowChartMagneticTap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rgbClr val="000000"/>
              </a:solidFill>
            </a:endParaRPr>
          </a:p>
        </p:txBody>
      </p:sp>
      <p:grpSp>
        <p:nvGrpSpPr>
          <p:cNvPr id="559" name="Gruppieren 558"/>
          <p:cNvGrpSpPr/>
          <p:nvPr>
            <p:custDataLst>
              <p:tags r:id="rId36"/>
            </p:custDataLst>
          </p:nvPr>
        </p:nvGrpSpPr>
        <p:grpSpPr bwMode="gray">
          <a:xfrm>
            <a:off x="3959932" y="4299942"/>
            <a:ext cx="108761" cy="164473"/>
            <a:chOff x="3995187" y="4299942"/>
            <a:chExt cx="108761" cy="164473"/>
          </a:xfrm>
        </p:grpSpPr>
        <p:grpSp>
          <p:nvGrpSpPr>
            <p:cNvPr id="560" name="Gruppieren 676"/>
            <p:cNvGrpSpPr>
              <a:grpSpLocks/>
            </p:cNvGrpSpPr>
            <p:nvPr>
              <p:custDataLst>
                <p:tags r:id="rId51"/>
              </p:custDataLst>
            </p:nvPr>
          </p:nvGrpSpPr>
          <p:grpSpPr bwMode="gray">
            <a:xfrm>
              <a:off x="3995187" y="4299942"/>
              <a:ext cx="108761" cy="164473"/>
              <a:chOff x="2296949" y="4307012"/>
              <a:chExt cx="320572" cy="444331"/>
            </a:xfrm>
            <a:solidFill>
              <a:schemeClr val="accent1"/>
            </a:solidFill>
          </p:grpSpPr>
          <p:sp>
            <p:nvSpPr>
              <p:cNvPr id="564" name="Freeform 63"/>
              <p:cNvSpPr>
                <a:spLocks/>
              </p:cNvSpPr>
              <p:nvPr/>
            </p:nvSpPr>
            <p:spPr bwMode="gray">
              <a:xfrm>
                <a:off x="2335624" y="4307012"/>
                <a:ext cx="246660" cy="187358"/>
              </a:xfrm>
              <a:custGeom>
                <a:avLst/>
                <a:gdLst>
                  <a:gd name="T0" fmla="*/ 88 w 275"/>
                  <a:gd name="T1" fmla="*/ 10 h 208"/>
                  <a:gd name="T2" fmla="*/ 159 w 275"/>
                  <a:gd name="T3" fmla="*/ 3 h 208"/>
                  <a:gd name="T4" fmla="*/ 259 w 275"/>
                  <a:gd name="T5" fmla="*/ 84 h 208"/>
                  <a:gd name="T6" fmla="*/ 269 w 275"/>
                  <a:gd name="T7" fmla="*/ 208 h 208"/>
                  <a:gd name="T8" fmla="*/ 208 w 275"/>
                  <a:gd name="T9" fmla="*/ 208 h 208"/>
                  <a:gd name="T10" fmla="*/ 208 w 275"/>
                  <a:gd name="T11" fmla="*/ 129 h 208"/>
                  <a:gd name="T12" fmla="*/ 135 w 275"/>
                  <a:gd name="T13" fmla="*/ 62 h 208"/>
                  <a:gd name="T14" fmla="*/ 63 w 275"/>
                  <a:gd name="T15" fmla="*/ 129 h 208"/>
                  <a:gd name="T16" fmla="*/ 63 w 275"/>
                  <a:gd name="T17" fmla="*/ 208 h 208"/>
                  <a:gd name="T18" fmla="*/ 2 w 275"/>
                  <a:gd name="T19" fmla="*/ 208 h 208"/>
                  <a:gd name="T20" fmla="*/ 4 w 275"/>
                  <a:gd name="T21" fmla="*/ 111 h 208"/>
                  <a:gd name="T22" fmla="*/ 88 w 275"/>
                  <a:gd name="T23" fmla="*/ 10 h 20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5" h="208">
                    <a:moveTo>
                      <a:pt x="88" y="10"/>
                    </a:moveTo>
                    <a:cubicBezTo>
                      <a:pt x="111" y="1"/>
                      <a:pt x="136" y="0"/>
                      <a:pt x="159" y="3"/>
                    </a:cubicBezTo>
                    <a:cubicBezTo>
                      <a:pt x="203" y="11"/>
                      <a:pt x="243" y="42"/>
                      <a:pt x="259" y="84"/>
                    </a:cubicBezTo>
                    <a:cubicBezTo>
                      <a:pt x="275" y="124"/>
                      <a:pt x="267" y="167"/>
                      <a:pt x="269" y="208"/>
                    </a:cubicBezTo>
                    <a:cubicBezTo>
                      <a:pt x="249" y="208"/>
                      <a:pt x="229" y="208"/>
                      <a:pt x="208" y="208"/>
                    </a:cubicBezTo>
                    <a:cubicBezTo>
                      <a:pt x="208" y="182"/>
                      <a:pt x="209" y="155"/>
                      <a:pt x="208" y="129"/>
                    </a:cubicBezTo>
                    <a:cubicBezTo>
                      <a:pt x="207" y="92"/>
                      <a:pt x="172" y="60"/>
                      <a:pt x="135" y="62"/>
                    </a:cubicBezTo>
                    <a:cubicBezTo>
                      <a:pt x="98" y="60"/>
                      <a:pt x="65" y="92"/>
                      <a:pt x="63" y="129"/>
                    </a:cubicBezTo>
                    <a:cubicBezTo>
                      <a:pt x="62" y="155"/>
                      <a:pt x="63" y="182"/>
                      <a:pt x="63" y="208"/>
                    </a:cubicBezTo>
                    <a:cubicBezTo>
                      <a:pt x="42" y="208"/>
                      <a:pt x="22" y="208"/>
                      <a:pt x="2" y="208"/>
                    </a:cubicBezTo>
                    <a:cubicBezTo>
                      <a:pt x="3" y="176"/>
                      <a:pt x="0" y="143"/>
                      <a:pt x="4" y="111"/>
                    </a:cubicBezTo>
                    <a:cubicBezTo>
                      <a:pt x="11" y="66"/>
                      <a:pt x="45" y="26"/>
                      <a:pt x="88" y="10"/>
                    </a:cubicBezTo>
                    <a:close/>
                  </a:path>
                </a:pathLst>
              </a:custGeom>
              <a:grpFill/>
              <a:ln w="28575">
                <a:solidFill>
                  <a:schemeClr val="bg1"/>
                </a:solidFill>
                <a:round/>
                <a:headEnd/>
                <a:tailEnd/>
              </a:ln>
              <a:extLst/>
            </p:spPr>
            <p:txBody>
              <a:bodyPr/>
              <a:lstStyle/>
              <a:p>
                <a:endParaRPr lang="en-CA" dirty="0">
                  <a:solidFill>
                    <a:srgbClr val="000000"/>
                  </a:solidFill>
                </a:endParaRPr>
              </a:p>
            </p:txBody>
          </p:sp>
          <p:sp>
            <p:nvSpPr>
              <p:cNvPr id="565" name="Freeform 72"/>
              <p:cNvSpPr>
                <a:spLocks noEditPoints="1"/>
              </p:cNvSpPr>
              <p:nvPr/>
            </p:nvSpPr>
            <p:spPr bwMode="gray">
              <a:xfrm>
                <a:off x="2296949" y="4526169"/>
                <a:ext cx="320572" cy="225174"/>
              </a:xfrm>
              <a:custGeom>
                <a:avLst/>
                <a:gdLst>
                  <a:gd name="T0" fmla="*/ 1 w 357"/>
                  <a:gd name="T1" fmla="*/ 0 h 250"/>
                  <a:gd name="T2" fmla="*/ 356 w 357"/>
                  <a:gd name="T3" fmla="*/ 0 h 250"/>
                  <a:gd name="T4" fmla="*/ 356 w 357"/>
                  <a:gd name="T5" fmla="*/ 250 h 250"/>
                  <a:gd name="T6" fmla="*/ 1 w 357"/>
                  <a:gd name="T7" fmla="*/ 250 h 250"/>
                  <a:gd name="T8" fmla="*/ 1 w 357"/>
                  <a:gd name="T9" fmla="*/ 0 h 250"/>
                  <a:gd name="T10" fmla="*/ 147 w 357"/>
                  <a:gd name="T11" fmla="*/ 109 h 250"/>
                  <a:gd name="T12" fmla="*/ 163 w 357"/>
                  <a:gd name="T13" fmla="*/ 139 h 250"/>
                  <a:gd name="T14" fmla="*/ 165 w 357"/>
                  <a:gd name="T15" fmla="*/ 175 h 250"/>
                  <a:gd name="T16" fmla="*/ 192 w 357"/>
                  <a:gd name="T17" fmla="*/ 175 h 250"/>
                  <a:gd name="T18" fmla="*/ 193 w 357"/>
                  <a:gd name="T19" fmla="*/ 140 h 250"/>
                  <a:gd name="T20" fmla="*/ 210 w 357"/>
                  <a:gd name="T21" fmla="*/ 113 h 250"/>
                  <a:gd name="T22" fmla="*/ 178 w 357"/>
                  <a:gd name="T23" fmla="*/ 74 h 250"/>
                  <a:gd name="T24" fmla="*/ 147 w 357"/>
                  <a:gd name="T25" fmla="*/ 109 h 2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7" h="250">
                    <a:moveTo>
                      <a:pt x="1" y="0"/>
                    </a:moveTo>
                    <a:cubicBezTo>
                      <a:pt x="119" y="0"/>
                      <a:pt x="238" y="1"/>
                      <a:pt x="356" y="0"/>
                    </a:cubicBezTo>
                    <a:cubicBezTo>
                      <a:pt x="357" y="83"/>
                      <a:pt x="357" y="167"/>
                      <a:pt x="356" y="250"/>
                    </a:cubicBezTo>
                    <a:cubicBezTo>
                      <a:pt x="238" y="249"/>
                      <a:pt x="119" y="250"/>
                      <a:pt x="1" y="250"/>
                    </a:cubicBezTo>
                    <a:cubicBezTo>
                      <a:pt x="0" y="167"/>
                      <a:pt x="0" y="83"/>
                      <a:pt x="1" y="0"/>
                    </a:cubicBezTo>
                    <a:close/>
                    <a:moveTo>
                      <a:pt x="147" y="109"/>
                    </a:moveTo>
                    <a:cubicBezTo>
                      <a:pt x="147" y="121"/>
                      <a:pt x="159" y="129"/>
                      <a:pt x="163" y="139"/>
                    </a:cubicBezTo>
                    <a:cubicBezTo>
                      <a:pt x="166" y="151"/>
                      <a:pt x="164" y="163"/>
                      <a:pt x="165" y="175"/>
                    </a:cubicBezTo>
                    <a:cubicBezTo>
                      <a:pt x="174" y="175"/>
                      <a:pt x="183" y="175"/>
                      <a:pt x="192" y="175"/>
                    </a:cubicBezTo>
                    <a:cubicBezTo>
                      <a:pt x="193" y="163"/>
                      <a:pt x="191" y="152"/>
                      <a:pt x="193" y="140"/>
                    </a:cubicBezTo>
                    <a:cubicBezTo>
                      <a:pt x="198" y="130"/>
                      <a:pt x="207" y="123"/>
                      <a:pt x="210" y="113"/>
                    </a:cubicBezTo>
                    <a:cubicBezTo>
                      <a:pt x="216" y="94"/>
                      <a:pt x="198" y="72"/>
                      <a:pt x="178" y="74"/>
                    </a:cubicBezTo>
                    <a:cubicBezTo>
                      <a:pt x="160" y="72"/>
                      <a:pt x="144" y="91"/>
                      <a:pt x="147" y="109"/>
                    </a:cubicBezTo>
                    <a:close/>
                  </a:path>
                </a:pathLst>
              </a:custGeom>
              <a:grpFill/>
              <a:ln w="28575">
                <a:solidFill>
                  <a:schemeClr val="bg1"/>
                </a:solidFill>
                <a:round/>
                <a:headEnd/>
                <a:tailEnd/>
              </a:ln>
              <a:extLst/>
            </p:spPr>
            <p:txBody>
              <a:bodyPr/>
              <a:lstStyle/>
              <a:p>
                <a:endParaRPr lang="en-CA" dirty="0">
                  <a:solidFill>
                    <a:srgbClr val="000000"/>
                  </a:solidFill>
                </a:endParaRPr>
              </a:p>
            </p:txBody>
          </p:sp>
        </p:grpSp>
        <p:grpSp>
          <p:nvGrpSpPr>
            <p:cNvPr id="561" name="Gruppieren 676"/>
            <p:cNvGrpSpPr>
              <a:grpSpLocks/>
            </p:cNvGrpSpPr>
            <p:nvPr>
              <p:custDataLst>
                <p:tags r:id="rId52"/>
              </p:custDataLst>
            </p:nvPr>
          </p:nvGrpSpPr>
          <p:grpSpPr bwMode="gray">
            <a:xfrm>
              <a:off x="3995187" y="4299942"/>
              <a:ext cx="108761" cy="164473"/>
              <a:chOff x="2296949" y="4307012"/>
              <a:chExt cx="320572" cy="444331"/>
            </a:xfrm>
            <a:solidFill>
              <a:schemeClr val="accent1"/>
            </a:solidFill>
          </p:grpSpPr>
          <p:sp>
            <p:nvSpPr>
              <p:cNvPr id="562" name="Freeform 63"/>
              <p:cNvSpPr>
                <a:spLocks/>
              </p:cNvSpPr>
              <p:nvPr/>
            </p:nvSpPr>
            <p:spPr bwMode="gray">
              <a:xfrm>
                <a:off x="2335624" y="4307012"/>
                <a:ext cx="246660" cy="187358"/>
              </a:xfrm>
              <a:custGeom>
                <a:avLst/>
                <a:gdLst>
                  <a:gd name="T0" fmla="*/ 88 w 275"/>
                  <a:gd name="T1" fmla="*/ 10 h 208"/>
                  <a:gd name="T2" fmla="*/ 159 w 275"/>
                  <a:gd name="T3" fmla="*/ 3 h 208"/>
                  <a:gd name="T4" fmla="*/ 259 w 275"/>
                  <a:gd name="T5" fmla="*/ 84 h 208"/>
                  <a:gd name="T6" fmla="*/ 269 w 275"/>
                  <a:gd name="T7" fmla="*/ 208 h 208"/>
                  <a:gd name="T8" fmla="*/ 208 w 275"/>
                  <a:gd name="T9" fmla="*/ 208 h 208"/>
                  <a:gd name="T10" fmla="*/ 208 w 275"/>
                  <a:gd name="T11" fmla="*/ 129 h 208"/>
                  <a:gd name="T12" fmla="*/ 135 w 275"/>
                  <a:gd name="T13" fmla="*/ 62 h 208"/>
                  <a:gd name="T14" fmla="*/ 63 w 275"/>
                  <a:gd name="T15" fmla="*/ 129 h 208"/>
                  <a:gd name="T16" fmla="*/ 63 w 275"/>
                  <a:gd name="T17" fmla="*/ 208 h 208"/>
                  <a:gd name="T18" fmla="*/ 2 w 275"/>
                  <a:gd name="T19" fmla="*/ 208 h 208"/>
                  <a:gd name="T20" fmla="*/ 4 w 275"/>
                  <a:gd name="T21" fmla="*/ 111 h 208"/>
                  <a:gd name="T22" fmla="*/ 88 w 275"/>
                  <a:gd name="T23" fmla="*/ 10 h 20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5" h="208">
                    <a:moveTo>
                      <a:pt x="88" y="10"/>
                    </a:moveTo>
                    <a:cubicBezTo>
                      <a:pt x="111" y="1"/>
                      <a:pt x="136" y="0"/>
                      <a:pt x="159" y="3"/>
                    </a:cubicBezTo>
                    <a:cubicBezTo>
                      <a:pt x="203" y="11"/>
                      <a:pt x="243" y="42"/>
                      <a:pt x="259" y="84"/>
                    </a:cubicBezTo>
                    <a:cubicBezTo>
                      <a:pt x="275" y="124"/>
                      <a:pt x="267" y="167"/>
                      <a:pt x="269" y="208"/>
                    </a:cubicBezTo>
                    <a:cubicBezTo>
                      <a:pt x="249" y="208"/>
                      <a:pt x="229" y="208"/>
                      <a:pt x="208" y="208"/>
                    </a:cubicBezTo>
                    <a:cubicBezTo>
                      <a:pt x="208" y="182"/>
                      <a:pt x="209" y="155"/>
                      <a:pt x="208" y="129"/>
                    </a:cubicBezTo>
                    <a:cubicBezTo>
                      <a:pt x="207" y="92"/>
                      <a:pt x="172" y="60"/>
                      <a:pt x="135" y="62"/>
                    </a:cubicBezTo>
                    <a:cubicBezTo>
                      <a:pt x="98" y="60"/>
                      <a:pt x="65" y="92"/>
                      <a:pt x="63" y="129"/>
                    </a:cubicBezTo>
                    <a:cubicBezTo>
                      <a:pt x="62" y="155"/>
                      <a:pt x="63" y="182"/>
                      <a:pt x="63" y="208"/>
                    </a:cubicBezTo>
                    <a:cubicBezTo>
                      <a:pt x="42" y="208"/>
                      <a:pt x="22" y="208"/>
                      <a:pt x="2" y="208"/>
                    </a:cubicBezTo>
                    <a:cubicBezTo>
                      <a:pt x="3" y="176"/>
                      <a:pt x="0" y="143"/>
                      <a:pt x="4" y="111"/>
                    </a:cubicBezTo>
                    <a:cubicBezTo>
                      <a:pt x="11" y="66"/>
                      <a:pt x="45" y="26"/>
                      <a:pt x="8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dirty="0">
                  <a:solidFill>
                    <a:srgbClr val="000000"/>
                  </a:solidFill>
                </a:endParaRPr>
              </a:p>
            </p:txBody>
          </p:sp>
          <p:sp>
            <p:nvSpPr>
              <p:cNvPr id="563" name="Freeform 72"/>
              <p:cNvSpPr>
                <a:spLocks noEditPoints="1"/>
              </p:cNvSpPr>
              <p:nvPr/>
            </p:nvSpPr>
            <p:spPr bwMode="gray">
              <a:xfrm>
                <a:off x="2296949" y="4526169"/>
                <a:ext cx="320572" cy="225174"/>
              </a:xfrm>
              <a:custGeom>
                <a:avLst/>
                <a:gdLst>
                  <a:gd name="T0" fmla="*/ 1 w 357"/>
                  <a:gd name="T1" fmla="*/ 0 h 250"/>
                  <a:gd name="T2" fmla="*/ 356 w 357"/>
                  <a:gd name="T3" fmla="*/ 0 h 250"/>
                  <a:gd name="T4" fmla="*/ 356 w 357"/>
                  <a:gd name="T5" fmla="*/ 250 h 250"/>
                  <a:gd name="T6" fmla="*/ 1 w 357"/>
                  <a:gd name="T7" fmla="*/ 250 h 250"/>
                  <a:gd name="T8" fmla="*/ 1 w 357"/>
                  <a:gd name="T9" fmla="*/ 0 h 250"/>
                  <a:gd name="T10" fmla="*/ 147 w 357"/>
                  <a:gd name="T11" fmla="*/ 109 h 250"/>
                  <a:gd name="T12" fmla="*/ 163 w 357"/>
                  <a:gd name="T13" fmla="*/ 139 h 250"/>
                  <a:gd name="T14" fmla="*/ 165 w 357"/>
                  <a:gd name="T15" fmla="*/ 175 h 250"/>
                  <a:gd name="T16" fmla="*/ 192 w 357"/>
                  <a:gd name="T17" fmla="*/ 175 h 250"/>
                  <a:gd name="T18" fmla="*/ 193 w 357"/>
                  <a:gd name="T19" fmla="*/ 140 h 250"/>
                  <a:gd name="T20" fmla="*/ 210 w 357"/>
                  <a:gd name="T21" fmla="*/ 113 h 250"/>
                  <a:gd name="T22" fmla="*/ 178 w 357"/>
                  <a:gd name="T23" fmla="*/ 74 h 250"/>
                  <a:gd name="T24" fmla="*/ 147 w 357"/>
                  <a:gd name="T25" fmla="*/ 109 h 2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57" h="250">
                    <a:moveTo>
                      <a:pt x="1" y="0"/>
                    </a:moveTo>
                    <a:cubicBezTo>
                      <a:pt x="119" y="0"/>
                      <a:pt x="238" y="1"/>
                      <a:pt x="356" y="0"/>
                    </a:cubicBezTo>
                    <a:cubicBezTo>
                      <a:pt x="357" y="83"/>
                      <a:pt x="357" y="167"/>
                      <a:pt x="356" y="250"/>
                    </a:cubicBezTo>
                    <a:cubicBezTo>
                      <a:pt x="238" y="249"/>
                      <a:pt x="119" y="250"/>
                      <a:pt x="1" y="250"/>
                    </a:cubicBezTo>
                    <a:cubicBezTo>
                      <a:pt x="0" y="167"/>
                      <a:pt x="0" y="83"/>
                      <a:pt x="1" y="0"/>
                    </a:cubicBezTo>
                    <a:close/>
                    <a:moveTo>
                      <a:pt x="147" y="109"/>
                    </a:moveTo>
                    <a:cubicBezTo>
                      <a:pt x="147" y="121"/>
                      <a:pt x="159" y="129"/>
                      <a:pt x="163" y="139"/>
                    </a:cubicBezTo>
                    <a:cubicBezTo>
                      <a:pt x="166" y="151"/>
                      <a:pt x="164" y="163"/>
                      <a:pt x="165" y="175"/>
                    </a:cubicBezTo>
                    <a:cubicBezTo>
                      <a:pt x="174" y="175"/>
                      <a:pt x="183" y="175"/>
                      <a:pt x="192" y="175"/>
                    </a:cubicBezTo>
                    <a:cubicBezTo>
                      <a:pt x="193" y="163"/>
                      <a:pt x="191" y="152"/>
                      <a:pt x="193" y="140"/>
                    </a:cubicBezTo>
                    <a:cubicBezTo>
                      <a:pt x="198" y="130"/>
                      <a:pt x="207" y="123"/>
                      <a:pt x="210" y="113"/>
                    </a:cubicBezTo>
                    <a:cubicBezTo>
                      <a:pt x="216" y="94"/>
                      <a:pt x="198" y="72"/>
                      <a:pt x="178" y="74"/>
                    </a:cubicBezTo>
                    <a:cubicBezTo>
                      <a:pt x="160" y="72"/>
                      <a:pt x="144" y="91"/>
                      <a:pt x="147"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dirty="0">
                  <a:solidFill>
                    <a:srgbClr val="000000"/>
                  </a:solidFill>
                </a:endParaRPr>
              </a:p>
            </p:txBody>
          </p:sp>
        </p:grpSp>
      </p:grpSp>
      <p:sp>
        <p:nvSpPr>
          <p:cNvPr id="566" name="Rechteck 565"/>
          <p:cNvSpPr/>
          <p:nvPr>
            <p:custDataLst>
              <p:tags r:id="rId37"/>
            </p:custDataLst>
          </p:nvPr>
        </p:nvSpPr>
        <p:spPr bwMode="gray">
          <a:xfrm flipH="1">
            <a:off x="5292079" y="4491951"/>
            <a:ext cx="384007" cy="959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900" dirty="0" smtClean="0">
                <a:solidFill>
                  <a:srgbClr val="FF0000"/>
                </a:solidFill>
              </a:rPr>
              <a:t>Cloud</a:t>
            </a:r>
          </a:p>
        </p:txBody>
      </p:sp>
      <p:sp>
        <p:nvSpPr>
          <p:cNvPr id="567" name="Rechteck 566"/>
          <p:cNvSpPr/>
          <p:nvPr>
            <p:custDataLst>
              <p:tags r:id="rId38"/>
            </p:custDataLst>
          </p:nvPr>
        </p:nvSpPr>
        <p:spPr bwMode="gray">
          <a:xfrm flipH="1">
            <a:off x="251519" y="1203598"/>
            <a:ext cx="252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b" anchorCtr="0"/>
          <a:lstStyle/>
          <a:p>
            <a:r>
              <a:rPr lang="en-US" sz="1400" dirty="0" smtClean="0">
                <a:solidFill>
                  <a:srgbClr val="FF0000"/>
                </a:solidFill>
              </a:rPr>
              <a:t>Front-end </a:t>
            </a:r>
            <a:r>
              <a:rPr lang="en-US" sz="1400" dirty="0">
                <a:solidFill>
                  <a:srgbClr val="FF0000"/>
                </a:solidFill>
              </a:rPr>
              <a:t>processor nodes</a:t>
            </a:r>
          </a:p>
        </p:txBody>
      </p:sp>
      <p:sp>
        <p:nvSpPr>
          <p:cNvPr id="568" name="Rechteck 567"/>
          <p:cNvSpPr/>
          <p:nvPr>
            <p:custDataLst>
              <p:tags r:id="rId39"/>
            </p:custDataLst>
          </p:nvPr>
        </p:nvSpPr>
        <p:spPr bwMode="gray">
          <a:xfrm>
            <a:off x="251520" y="1492349"/>
            <a:ext cx="2520000" cy="1116124"/>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64800" rIns="0" bIns="64800" rtlCol="0" anchor="t" anchorCtr="0"/>
          <a:lstStyle/>
          <a:p>
            <a:pPr>
              <a:spcBef>
                <a:spcPts val="400"/>
              </a:spcBef>
              <a:buClr>
                <a:srgbClr val="A30B1A"/>
              </a:buClr>
            </a:pPr>
            <a:r>
              <a:rPr lang="ru-RU" sz="1100" dirty="0" smtClean="0">
                <a:solidFill>
                  <a:srgbClr val="000000"/>
                </a:solidFill>
              </a:rPr>
              <a:t>До 10 независимых узлов</a:t>
            </a:r>
          </a:p>
          <a:p>
            <a:pPr>
              <a:spcBef>
                <a:spcPts val="400"/>
              </a:spcBef>
              <a:buClr>
                <a:srgbClr val="A30B1A"/>
              </a:buClr>
            </a:pPr>
            <a:r>
              <a:rPr lang="ru-RU" sz="1100" dirty="0" smtClean="0">
                <a:solidFill>
                  <a:srgbClr val="000000"/>
                </a:solidFill>
              </a:rPr>
              <a:t>Которые могут легко добавляться в конфигурацию</a:t>
            </a:r>
          </a:p>
          <a:p>
            <a:pPr>
              <a:spcBef>
                <a:spcPts val="400"/>
              </a:spcBef>
              <a:buClr>
                <a:srgbClr val="A30B1A"/>
              </a:buClr>
            </a:pPr>
            <a:r>
              <a:rPr lang="ru-RU" sz="1100" dirty="0" smtClean="0">
                <a:solidFill>
                  <a:srgbClr val="000000"/>
                </a:solidFill>
              </a:rPr>
              <a:t>Производительность масштабируется до 150 ТБ/час</a:t>
            </a:r>
            <a:endParaRPr lang="en-US" sz="1100" dirty="0">
              <a:solidFill>
                <a:srgbClr val="000000"/>
              </a:solidFill>
            </a:endParaRPr>
          </a:p>
        </p:txBody>
      </p:sp>
      <p:sp>
        <p:nvSpPr>
          <p:cNvPr id="569" name="Rechteck 568"/>
          <p:cNvSpPr/>
          <p:nvPr>
            <p:custDataLst>
              <p:tags r:id="rId40"/>
            </p:custDataLst>
          </p:nvPr>
        </p:nvSpPr>
        <p:spPr bwMode="gray">
          <a:xfrm flipH="1">
            <a:off x="251519" y="4335978"/>
            <a:ext cx="252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t" anchorCtr="0"/>
          <a:lstStyle/>
          <a:p>
            <a:r>
              <a:rPr lang="en-US" sz="1400" dirty="0">
                <a:solidFill>
                  <a:srgbClr val="FF0000"/>
                </a:solidFill>
              </a:rPr>
              <a:t>Back-end processor </a:t>
            </a:r>
            <a:r>
              <a:rPr lang="en-US" sz="1400" dirty="0" smtClean="0">
                <a:solidFill>
                  <a:srgbClr val="FF0000"/>
                </a:solidFill>
              </a:rPr>
              <a:t>nodes</a:t>
            </a:r>
            <a:endParaRPr lang="en-US" sz="1400" dirty="0">
              <a:solidFill>
                <a:srgbClr val="FF0000"/>
              </a:solidFill>
            </a:endParaRPr>
          </a:p>
        </p:txBody>
      </p:sp>
      <p:sp>
        <p:nvSpPr>
          <p:cNvPr id="570" name="Rechteck 569"/>
          <p:cNvSpPr/>
          <p:nvPr>
            <p:custDataLst>
              <p:tags r:id="rId41"/>
            </p:custDataLst>
          </p:nvPr>
        </p:nvSpPr>
        <p:spPr bwMode="gray">
          <a:xfrm>
            <a:off x="251520" y="3219854"/>
            <a:ext cx="2520000" cy="1116124"/>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64800" rIns="0" bIns="64800" rtlCol="0" anchor="b" anchorCtr="0"/>
          <a:lstStyle/>
          <a:p>
            <a:pPr>
              <a:spcBef>
                <a:spcPts val="400"/>
              </a:spcBef>
              <a:buClr>
                <a:srgbClr val="A30B1A"/>
              </a:buClr>
            </a:pPr>
            <a:r>
              <a:rPr lang="ru-RU" sz="1100" dirty="0" smtClean="0">
                <a:solidFill>
                  <a:srgbClr val="000000"/>
                </a:solidFill>
              </a:rPr>
              <a:t>До 10 независимых узлов </a:t>
            </a:r>
          </a:p>
          <a:p>
            <a:pPr>
              <a:spcBef>
                <a:spcPts val="400"/>
              </a:spcBef>
              <a:buClr>
                <a:srgbClr val="A30B1A"/>
              </a:buClr>
            </a:pPr>
            <a:r>
              <a:rPr lang="ru-RU" sz="1100" dirty="0" smtClean="0">
                <a:solidFill>
                  <a:srgbClr val="000000"/>
                </a:solidFill>
              </a:rPr>
              <a:t>Управляют передачей данных на целевые устройства второго уровня</a:t>
            </a:r>
            <a:endParaRPr lang="en-US" sz="1100" dirty="0">
              <a:solidFill>
                <a:srgbClr val="000000"/>
              </a:solidFill>
            </a:endParaRPr>
          </a:p>
        </p:txBody>
      </p:sp>
      <p:sp>
        <p:nvSpPr>
          <p:cNvPr id="571" name="Rechteck 570"/>
          <p:cNvSpPr/>
          <p:nvPr>
            <p:custDataLst>
              <p:tags r:id="rId42"/>
            </p:custDataLst>
          </p:nvPr>
        </p:nvSpPr>
        <p:spPr bwMode="gray">
          <a:xfrm flipH="1">
            <a:off x="6372200" y="1203598"/>
            <a:ext cx="252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b" anchorCtr="0"/>
          <a:lstStyle/>
          <a:p>
            <a:r>
              <a:rPr lang="ru-RU" sz="1400" dirty="0" smtClean="0">
                <a:solidFill>
                  <a:srgbClr val="FF0000"/>
                </a:solidFill>
              </a:rPr>
              <a:t>Внутренние </a:t>
            </a:r>
            <a:r>
              <a:rPr lang="en-US" sz="1400" dirty="0" smtClean="0">
                <a:solidFill>
                  <a:srgbClr val="FF0000"/>
                </a:solidFill>
              </a:rPr>
              <a:t>RAID-</a:t>
            </a:r>
            <a:r>
              <a:rPr lang="ru-RU" sz="1400" dirty="0" smtClean="0">
                <a:solidFill>
                  <a:srgbClr val="FF0000"/>
                </a:solidFill>
              </a:rPr>
              <a:t>системы</a:t>
            </a:r>
            <a:endParaRPr lang="en-US" sz="1400" dirty="0">
              <a:solidFill>
                <a:srgbClr val="FF0000"/>
              </a:solidFill>
            </a:endParaRPr>
          </a:p>
        </p:txBody>
      </p:sp>
      <p:sp>
        <p:nvSpPr>
          <p:cNvPr id="572" name="Rechteck 571"/>
          <p:cNvSpPr/>
          <p:nvPr>
            <p:custDataLst>
              <p:tags r:id="rId43"/>
            </p:custDataLst>
          </p:nvPr>
        </p:nvSpPr>
        <p:spPr bwMode="gray">
          <a:xfrm>
            <a:off x="6372200" y="1492349"/>
            <a:ext cx="2520000" cy="1116124"/>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64800" rIns="0" bIns="64800" rtlCol="0" anchor="t" anchorCtr="0"/>
          <a:lstStyle/>
          <a:p>
            <a:pPr>
              <a:spcBef>
                <a:spcPts val="400"/>
              </a:spcBef>
              <a:buClr>
                <a:srgbClr val="A30B1A"/>
              </a:buClr>
            </a:pPr>
            <a:r>
              <a:rPr lang="ru-RU" sz="1100" dirty="0" smtClean="0">
                <a:solidFill>
                  <a:srgbClr val="000000"/>
                </a:solidFill>
              </a:rPr>
              <a:t>Внутренний </a:t>
            </a:r>
            <a:r>
              <a:rPr lang="ru-RU" sz="1100" dirty="0" err="1" smtClean="0">
                <a:solidFill>
                  <a:srgbClr val="000000"/>
                </a:solidFill>
              </a:rPr>
              <a:t>репозиторий</a:t>
            </a:r>
            <a:r>
              <a:rPr lang="ru-RU" sz="1100" dirty="0" smtClean="0">
                <a:solidFill>
                  <a:srgbClr val="000000"/>
                </a:solidFill>
              </a:rPr>
              <a:t> хранения</a:t>
            </a:r>
          </a:p>
          <a:p>
            <a:pPr>
              <a:spcBef>
                <a:spcPts val="400"/>
              </a:spcBef>
              <a:buClr>
                <a:srgbClr val="A30B1A"/>
              </a:buClr>
            </a:pPr>
            <a:r>
              <a:rPr lang="ru-RU" sz="1100" dirty="0" smtClean="0">
                <a:solidFill>
                  <a:srgbClr val="000000"/>
                </a:solidFill>
              </a:rPr>
              <a:t>Используются как дисковый </a:t>
            </a:r>
            <a:r>
              <a:rPr lang="ru-RU" sz="1100" dirty="0" err="1" smtClean="0">
                <a:solidFill>
                  <a:srgbClr val="000000"/>
                </a:solidFill>
              </a:rPr>
              <a:t>кеш</a:t>
            </a:r>
            <a:r>
              <a:rPr lang="ru-RU" sz="1100" dirty="0" smtClean="0">
                <a:solidFill>
                  <a:srgbClr val="000000"/>
                </a:solidFill>
              </a:rPr>
              <a:t> и/или первый уровень хранения</a:t>
            </a:r>
          </a:p>
          <a:p>
            <a:pPr>
              <a:spcBef>
                <a:spcPts val="400"/>
              </a:spcBef>
              <a:buClr>
                <a:srgbClr val="A30B1A"/>
              </a:buClr>
            </a:pPr>
            <a:r>
              <a:rPr lang="ru-RU" sz="1100" dirty="0" smtClean="0">
                <a:solidFill>
                  <a:srgbClr val="000000"/>
                </a:solidFill>
              </a:rPr>
              <a:t>До </a:t>
            </a:r>
            <a:r>
              <a:rPr lang="en-US" sz="1100" dirty="0" smtClean="0">
                <a:solidFill>
                  <a:srgbClr val="000000"/>
                </a:solidFill>
              </a:rPr>
              <a:t> </a:t>
            </a:r>
            <a:r>
              <a:rPr lang="ru-RU" sz="1100" dirty="0" smtClean="0">
                <a:solidFill>
                  <a:srgbClr val="000000"/>
                </a:solidFill>
              </a:rPr>
              <a:t>16 </a:t>
            </a:r>
            <a:r>
              <a:rPr lang="en-US" sz="1100" dirty="0" smtClean="0">
                <a:solidFill>
                  <a:srgbClr val="000000"/>
                </a:solidFill>
              </a:rPr>
              <a:t>RAID</a:t>
            </a:r>
            <a:r>
              <a:rPr lang="ru-RU" sz="1100" dirty="0" smtClean="0">
                <a:solidFill>
                  <a:srgbClr val="000000"/>
                </a:solidFill>
              </a:rPr>
              <a:t>-систем с возможностью масштабирования</a:t>
            </a:r>
            <a:endParaRPr lang="en-US" sz="1100" dirty="0">
              <a:solidFill>
                <a:srgbClr val="000000"/>
              </a:solidFill>
            </a:endParaRPr>
          </a:p>
        </p:txBody>
      </p:sp>
      <p:sp>
        <p:nvSpPr>
          <p:cNvPr id="573" name="Rechteck 572"/>
          <p:cNvSpPr/>
          <p:nvPr>
            <p:custDataLst>
              <p:tags r:id="rId44"/>
            </p:custDataLst>
          </p:nvPr>
        </p:nvSpPr>
        <p:spPr bwMode="gray">
          <a:xfrm flipH="1">
            <a:off x="6372200" y="4335978"/>
            <a:ext cx="252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t" anchorCtr="0"/>
          <a:lstStyle/>
          <a:p>
            <a:r>
              <a:rPr lang="ru-RU" sz="1400" dirty="0" smtClean="0">
                <a:solidFill>
                  <a:srgbClr val="FF0000"/>
                </a:solidFill>
              </a:rPr>
              <a:t>Внутренняя </a:t>
            </a:r>
            <a:r>
              <a:rPr lang="en-US" sz="1400" dirty="0" smtClean="0">
                <a:solidFill>
                  <a:srgbClr val="FF0000"/>
                </a:solidFill>
              </a:rPr>
              <a:t>SAN</a:t>
            </a:r>
            <a:r>
              <a:rPr lang="ru-RU" sz="1400" dirty="0" smtClean="0">
                <a:solidFill>
                  <a:srgbClr val="FF0000"/>
                </a:solidFill>
              </a:rPr>
              <a:t>-сеть</a:t>
            </a:r>
            <a:endParaRPr lang="en-US" sz="1400" dirty="0">
              <a:solidFill>
                <a:srgbClr val="FF0000"/>
              </a:solidFill>
            </a:endParaRPr>
          </a:p>
        </p:txBody>
      </p:sp>
      <p:sp>
        <p:nvSpPr>
          <p:cNvPr id="574" name="Rechteck 573"/>
          <p:cNvSpPr/>
          <p:nvPr>
            <p:custDataLst>
              <p:tags r:id="rId45"/>
            </p:custDataLst>
          </p:nvPr>
        </p:nvSpPr>
        <p:spPr bwMode="gray">
          <a:xfrm>
            <a:off x="6372200" y="3219854"/>
            <a:ext cx="2520000" cy="1116124"/>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64800" rIns="0" bIns="64800" rtlCol="0" anchor="b" anchorCtr="0"/>
          <a:lstStyle/>
          <a:p>
            <a:pPr>
              <a:spcBef>
                <a:spcPts val="400"/>
              </a:spcBef>
              <a:buClr>
                <a:srgbClr val="A30B1A"/>
              </a:buClr>
            </a:pPr>
            <a:r>
              <a:rPr lang="ru-RU" sz="1100" dirty="0" smtClean="0">
                <a:solidFill>
                  <a:srgbClr val="000000"/>
                </a:solidFill>
              </a:rPr>
              <a:t>Все подключения продублированы с гарантированным запасом по производительности</a:t>
            </a:r>
            <a:endParaRPr lang="en-US" sz="1100" dirty="0">
              <a:solidFill>
                <a:srgbClr val="000000"/>
              </a:solidFill>
            </a:endParaRPr>
          </a:p>
        </p:txBody>
      </p:sp>
      <p:sp>
        <p:nvSpPr>
          <p:cNvPr id="575" name="Freihandform 574"/>
          <p:cNvSpPr/>
          <p:nvPr>
            <p:custDataLst>
              <p:tags r:id="rId46"/>
            </p:custDataLst>
          </p:nvPr>
        </p:nvSpPr>
        <p:spPr bwMode="gray">
          <a:xfrm>
            <a:off x="251520" y="1491630"/>
            <a:ext cx="3312368" cy="216024"/>
          </a:xfrm>
          <a:custGeom>
            <a:avLst/>
            <a:gdLst>
              <a:gd name="connsiteX0" fmla="*/ 0 w 3337560"/>
              <a:gd name="connsiteY0" fmla="*/ 0 h 163285"/>
              <a:gd name="connsiteX1" fmla="*/ 3337560 w 3337560"/>
              <a:gd name="connsiteY1" fmla="*/ 0 h 163285"/>
              <a:gd name="connsiteX2" fmla="*/ 3337560 w 3337560"/>
              <a:gd name="connsiteY2" fmla="*/ 163285 h 163285"/>
            </a:gdLst>
            <a:ahLst/>
            <a:cxnLst>
              <a:cxn ang="0">
                <a:pos x="connsiteX0" y="connsiteY0"/>
              </a:cxn>
              <a:cxn ang="0">
                <a:pos x="connsiteX1" y="connsiteY1"/>
              </a:cxn>
              <a:cxn ang="0">
                <a:pos x="connsiteX2" y="connsiteY2"/>
              </a:cxn>
            </a:cxnLst>
            <a:rect l="l" t="t" r="r" b="b"/>
            <a:pathLst>
              <a:path w="3337560" h="163285">
                <a:moveTo>
                  <a:pt x="0" y="0"/>
                </a:moveTo>
                <a:lnTo>
                  <a:pt x="3337560" y="0"/>
                </a:lnTo>
                <a:lnTo>
                  <a:pt x="3337560" y="163285"/>
                </a:lnTo>
              </a:path>
            </a:pathLst>
          </a:custGeom>
          <a:ln cap="rnd">
            <a:solidFill>
              <a:schemeClr val="accent1"/>
            </a:solidFill>
            <a:prstDash val="sysDot"/>
            <a:tailEnd type="oval"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576" name="Freihandform 575"/>
          <p:cNvSpPr/>
          <p:nvPr>
            <p:custDataLst>
              <p:tags r:id="rId47"/>
            </p:custDataLst>
          </p:nvPr>
        </p:nvSpPr>
        <p:spPr bwMode="gray">
          <a:xfrm>
            <a:off x="251520" y="3795886"/>
            <a:ext cx="3312368" cy="540060"/>
          </a:xfrm>
          <a:custGeom>
            <a:avLst/>
            <a:gdLst>
              <a:gd name="connsiteX0" fmla="*/ 0 w 3337560"/>
              <a:gd name="connsiteY0" fmla="*/ 535578 h 535578"/>
              <a:gd name="connsiteX1" fmla="*/ 2945674 w 3337560"/>
              <a:gd name="connsiteY1" fmla="*/ 535578 h 535578"/>
              <a:gd name="connsiteX2" fmla="*/ 2945674 w 3337560"/>
              <a:gd name="connsiteY2" fmla="*/ 0 h 535578"/>
              <a:gd name="connsiteX3" fmla="*/ 3337560 w 3337560"/>
              <a:gd name="connsiteY3" fmla="*/ 0 h 535578"/>
            </a:gdLst>
            <a:ahLst/>
            <a:cxnLst>
              <a:cxn ang="0">
                <a:pos x="connsiteX0" y="connsiteY0"/>
              </a:cxn>
              <a:cxn ang="0">
                <a:pos x="connsiteX1" y="connsiteY1"/>
              </a:cxn>
              <a:cxn ang="0">
                <a:pos x="connsiteX2" y="connsiteY2"/>
              </a:cxn>
              <a:cxn ang="0">
                <a:pos x="connsiteX3" y="connsiteY3"/>
              </a:cxn>
            </a:cxnLst>
            <a:rect l="l" t="t" r="r" b="b"/>
            <a:pathLst>
              <a:path w="3337560" h="535578">
                <a:moveTo>
                  <a:pt x="0" y="535578"/>
                </a:moveTo>
                <a:lnTo>
                  <a:pt x="2945674" y="535578"/>
                </a:lnTo>
                <a:lnTo>
                  <a:pt x="2945674" y="0"/>
                </a:lnTo>
                <a:lnTo>
                  <a:pt x="3337560" y="0"/>
                </a:lnTo>
              </a:path>
            </a:pathLst>
          </a:custGeom>
          <a:ln cap="rnd">
            <a:solidFill>
              <a:schemeClr val="accent1"/>
            </a:solidFill>
            <a:prstDash val="sysDot"/>
            <a:tailEnd type="oval"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577" name="Freihandform 576"/>
          <p:cNvSpPr/>
          <p:nvPr>
            <p:custDataLst>
              <p:tags r:id="rId48"/>
            </p:custDataLst>
          </p:nvPr>
        </p:nvSpPr>
        <p:spPr bwMode="gray">
          <a:xfrm flipH="1" flipV="1">
            <a:off x="5652120" y="1491630"/>
            <a:ext cx="3240360" cy="864096"/>
          </a:xfrm>
          <a:custGeom>
            <a:avLst/>
            <a:gdLst>
              <a:gd name="connsiteX0" fmla="*/ 0 w 3337560"/>
              <a:gd name="connsiteY0" fmla="*/ 535578 h 535578"/>
              <a:gd name="connsiteX1" fmla="*/ 2945674 w 3337560"/>
              <a:gd name="connsiteY1" fmla="*/ 535578 h 535578"/>
              <a:gd name="connsiteX2" fmla="*/ 2945674 w 3337560"/>
              <a:gd name="connsiteY2" fmla="*/ 0 h 535578"/>
              <a:gd name="connsiteX3" fmla="*/ 3337560 w 3337560"/>
              <a:gd name="connsiteY3" fmla="*/ 0 h 535578"/>
            </a:gdLst>
            <a:ahLst/>
            <a:cxnLst>
              <a:cxn ang="0">
                <a:pos x="connsiteX0" y="connsiteY0"/>
              </a:cxn>
              <a:cxn ang="0">
                <a:pos x="connsiteX1" y="connsiteY1"/>
              </a:cxn>
              <a:cxn ang="0">
                <a:pos x="connsiteX2" y="connsiteY2"/>
              </a:cxn>
              <a:cxn ang="0">
                <a:pos x="connsiteX3" y="connsiteY3"/>
              </a:cxn>
            </a:cxnLst>
            <a:rect l="l" t="t" r="r" b="b"/>
            <a:pathLst>
              <a:path w="3337560" h="535578">
                <a:moveTo>
                  <a:pt x="0" y="535578"/>
                </a:moveTo>
                <a:lnTo>
                  <a:pt x="2945674" y="535578"/>
                </a:lnTo>
                <a:lnTo>
                  <a:pt x="2945674" y="0"/>
                </a:lnTo>
                <a:lnTo>
                  <a:pt x="3337560" y="0"/>
                </a:lnTo>
              </a:path>
            </a:pathLst>
          </a:custGeom>
          <a:ln cap="rnd">
            <a:solidFill>
              <a:schemeClr val="accent1"/>
            </a:solidFill>
            <a:prstDash val="sysDot"/>
            <a:tailEnd type="oval"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578" name="Freihandform 577"/>
          <p:cNvSpPr/>
          <p:nvPr>
            <p:custDataLst>
              <p:tags r:id="rId49"/>
            </p:custDataLst>
          </p:nvPr>
        </p:nvSpPr>
        <p:spPr bwMode="gray">
          <a:xfrm flipH="1" flipV="1">
            <a:off x="5760132" y="4047914"/>
            <a:ext cx="3132348" cy="288032"/>
          </a:xfrm>
          <a:custGeom>
            <a:avLst/>
            <a:gdLst>
              <a:gd name="connsiteX0" fmla="*/ 0 w 3337560"/>
              <a:gd name="connsiteY0" fmla="*/ 0 h 163285"/>
              <a:gd name="connsiteX1" fmla="*/ 3337560 w 3337560"/>
              <a:gd name="connsiteY1" fmla="*/ 0 h 163285"/>
              <a:gd name="connsiteX2" fmla="*/ 3337560 w 3337560"/>
              <a:gd name="connsiteY2" fmla="*/ 163285 h 163285"/>
            </a:gdLst>
            <a:ahLst/>
            <a:cxnLst>
              <a:cxn ang="0">
                <a:pos x="connsiteX0" y="connsiteY0"/>
              </a:cxn>
              <a:cxn ang="0">
                <a:pos x="connsiteX1" y="connsiteY1"/>
              </a:cxn>
              <a:cxn ang="0">
                <a:pos x="connsiteX2" y="connsiteY2"/>
              </a:cxn>
            </a:cxnLst>
            <a:rect l="l" t="t" r="r" b="b"/>
            <a:pathLst>
              <a:path w="3337560" h="163285">
                <a:moveTo>
                  <a:pt x="0" y="0"/>
                </a:moveTo>
                <a:lnTo>
                  <a:pt x="3337560" y="0"/>
                </a:lnTo>
                <a:lnTo>
                  <a:pt x="3337560" y="163285"/>
                </a:lnTo>
              </a:path>
            </a:pathLst>
          </a:custGeom>
          <a:ln cap="rnd">
            <a:solidFill>
              <a:schemeClr val="accent1"/>
            </a:solidFill>
            <a:prstDash val="sysDot"/>
            <a:tailEnd type="oval"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579" name="Ellipse 180"/>
          <p:cNvSpPr/>
          <p:nvPr>
            <p:custDataLst>
              <p:tags r:id="rId50"/>
            </p:custDataLst>
          </p:nvPr>
        </p:nvSpPr>
        <p:spPr bwMode="gray">
          <a:xfrm>
            <a:off x="5387409" y="4292799"/>
            <a:ext cx="241390" cy="175880"/>
          </a:xfrm>
          <a:custGeom>
            <a:avLst/>
            <a:gdLst/>
            <a:ahLst/>
            <a:cxnLst/>
            <a:rect l="l" t="t" r="r" b="b"/>
            <a:pathLst>
              <a:path w="494095" h="360000">
                <a:moveTo>
                  <a:pt x="213206" y="0"/>
                </a:moveTo>
                <a:cubicBezTo>
                  <a:pt x="271705" y="0"/>
                  <a:pt x="322803" y="31684"/>
                  <a:pt x="350091" y="78919"/>
                </a:cubicBezTo>
                <a:cubicBezTo>
                  <a:pt x="357756" y="77342"/>
                  <a:pt x="365696" y="76536"/>
                  <a:pt x="373825" y="76536"/>
                </a:cubicBezTo>
                <a:cubicBezTo>
                  <a:pt x="440248" y="76536"/>
                  <a:pt x="494095" y="130383"/>
                  <a:pt x="494095" y="196806"/>
                </a:cubicBezTo>
                <a:cubicBezTo>
                  <a:pt x="494095" y="263229"/>
                  <a:pt x="440248" y="317076"/>
                  <a:pt x="373825" y="317076"/>
                </a:cubicBezTo>
                <a:lnTo>
                  <a:pt x="373812" y="317075"/>
                </a:lnTo>
                <a:lnTo>
                  <a:pt x="373812" y="317076"/>
                </a:lnTo>
                <a:lnTo>
                  <a:pt x="179695" y="317076"/>
                </a:lnTo>
                <a:cubicBezTo>
                  <a:pt x="162851" y="343281"/>
                  <a:pt x="133100" y="360000"/>
                  <a:pt x="99443" y="360000"/>
                </a:cubicBezTo>
                <a:cubicBezTo>
                  <a:pt x="44522" y="360000"/>
                  <a:pt x="0" y="315478"/>
                  <a:pt x="0" y="260557"/>
                </a:cubicBezTo>
                <a:cubicBezTo>
                  <a:pt x="0" y="221124"/>
                  <a:pt x="22951" y="187052"/>
                  <a:pt x="56382" y="171364"/>
                </a:cubicBezTo>
                <a:cubicBezTo>
                  <a:pt x="56226" y="171374"/>
                  <a:pt x="56101" y="171442"/>
                  <a:pt x="55977" y="171511"/>
                </a:cubicBezTo>
                <a:cubicBezTo>
                  <a:pt x="54847" y="167275"/>
                  <a:pt x="54669" y="162927"/>
                  <a:pt x="54669" y="158538"/>
                </a:cubicBezTo>
                <a:cubicBezTo>
                  <a:pt x="54669" y="70980"/>
                  <a:pt x="125648" y="0"/>
                  <a:pt x="213206" y="0"/>
                </a:cubicBez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rgbClr val="000000"/>
              </a:solidFill>
            </a:endParaRPr>
          </a:p>
        </p:txBody>
      </p:sp>
    </p:spTree>
    <p:extLst>
      <p:ext uri="{BB962C8B-B14F-4D97-AF65-F5344CB8AC3E}">
        <p14:creationId xmlns:p14="http://schemas.microsoft.com/office/powerpoint/2010/main" val="1691712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75"/>
                                        </p:tgtEl>
                                        <p:attrNameLst>
                                          <p:attrName>style.visibility</p:attrName>
                                        </p:attrNameLst>
                                      </p:cBhvr>
                                      <p:to>
                                        <p:strVal val="visible"/>
                                      </p:to>
                                    </p:set>
                                    <p:animEffect transition="in" filter="wipe(left)">
                                      <p:cBhvr>
                                        <p:cTn id="7" dur="1000"/>
                                        <p:tgtEl>
                                          <p:spTgt spid="575"/>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67"/>
                                        </p:tgtEl>
                                        <p:attrNameLst>
                                          <p:attrName>style.visibility</p:attrName>
                                        </p:attrNameLst>
                                      </p:cBhvr>
                                      <p:to>
                                        <p:strVal val="visible"/>
                                      </p:to>
                                    </p:set>
                                    <p:animEffect transition="in" filter="fade">
                                      <p:cBhvr>
                                        <p:cTn id="11" dur="500"/>
                                        <p:tgtEl>
                                          <p:spTgt spid="567"/>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568"/>
                                        </p:tgtEl>
                                        <p:attrNameLst>
                                          <p:attrName>style.visibility</p:attrName>
                                        </p:attrNameLst>
                                      </p:cBhvr>
                                      <p:to>
                                        <p:strVal val="visible"/>
                                      </p:to>
                                    </p:set>
                                    <p:animEffect transition="in" filter="fade">
                                      <p:cBhvr>
                                        <p:cTn id="14" dur="500"/>
                                        <p:tgtEl>
                                          <p:spTgt spid="568"/>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2" fill="hold" grpId="0" nodeType="clickEffect">
                                  <p:stCondLst>
                                    <p:cond delay="0"/>
                                  </p:stCondLst>
                                  <p:childTnLst>
                                    <p:set>
                                      <p:cBhvr>
                                        <p:cTn id="18" dur="1" fill="hold">
                                          <p:stCondLst>
                                            <p:cond delay="0"/>
                                          </p:stCondLst>
                                        </p:cTn>
                                        <p:tgtEl>
                                          <p:spTgt spid="577"/>
                                        </p:tgtEl>
                                        <p:attrNameLst>
                                          <p:attrName>style.visibility</p:attrName>
                                        </p:attrNameLst>
                                      </p:cBhvr>
                                      <p:to>
                                        <p:strVal val="visible"/>
                                      </p:to>
                                    </p:set>
                                    <p:animEffect transition="in" filter="wipe(right)">
                                      <p:cBhvr>
                                        <p:cTn id="19" dur="1000"/>
                                        <p:tgtEl>
                                          <p:spTgt spid="577"/>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571"/>
                                        </p:tgtEl>
                                        <p:attrNameLst>
                                          <p:attrName>style.visibility</p:attrName>
                                        </p:attrNameLst>
                                      </p:cBhvr>
                                      <p:to>
                                        <p:strVal val="visible"/>
                                      </p:to>
                                    </p:set>
                                    <p:animEffect transition="in" filter="fade">
                                      <p:cBhvr>
                                        <p:cTn id="23" dur="500"/>
                                        <p:tgtEl>
                                          <p:spTgt spid="57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72"/>
                                        </p:tgtEl>
                                        <p:attrNameLst>
                                          <p:attrName>style.visibility</p:attrName>
                                        </p:attrNameLst>
                                      </p:cBhvr>
                                      <p:to>
                                        <p:strVal val="visible"/>
                                      </p:to>
                                    </p:set>
                                    <p:animEffect transition="in" filter="fade">
                                      <p:cBhvr>
                                        <p:cTn id="26" dur="500"/>
                                        <p:tgtEl>
                                          <p:spTgt spid="572"/>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grpId="0" nodeType="clickEffect">
                                  <p:stCondLst>
                                    <p:cond delay="0"/>
                                  </p:stCondLst>
                                  <p:childTnLst>
                                    <p:set>
                                      <p:cBhvr>
                                        <p:cTn id="30" dur="1" fill="hold">
                                          <p:stCondLst>
                                            <p:cond delay="0"/>
                                          </p:stCondLst>
                                        </p:cTn>
                                        <p:tgtEl>
                                          <p:spTgt spid="576"/>
                                        </p:tgtEl>
                                        <p:attrNameLst>
                                          <p:attrName>style.visibility</p:attrName>
                                        </p:attrNameLst>
                                      </p:cBhvr>
                                      <p:to>
                                        <p:strVal val="visible"/>
                                      </p:to>
                                    </p:set>
                                    <p:animEffect transition="in" filter="wipe(left)">
                                      <p:cBhvr>
                                        <p:cTn id="31" dur="1000"/>
                                        <p:tgtEl>
                                          <p:spTgt spid="576"/>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569"/>
                                        </p:tgtEl>
                                        <p:attrNameLst>
                                          <p:attrName>style.visibility</p:attrName>
                                        </p:attrNameLst>
                                      </p:cBhvr>
                                      <p:to>
                                        <p:strVal val="visible"/>
                                      </p:to>
                                    </p:set>
                                    <p:animEffect transition="in" filter="fade">
                                      <p:cBhvr>
                                        <p:cTn id="35" dur="500"/>
                                        <p:tgtEl>
                                          <p:spTgt spid="569"/>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70"/>
                                        </p:tgtEl>
                                        <p:attrNameLst>
                                          <p:attrName>style.visibility</p:attrName>
                                        </p:attrNameLst>
                                      </p:cBhvr>
                                      <p:to>
                                        <p:strVal val="visible"/>
                                      </p:to>
                                    </p:set>
                                    <p:animEffect transition="in" filter="fade">
                                      <p:cBhvr>
                                        <p:cTn id="38" dur="500"/>
                                        <p:tgtEl>
                                          <p:spTgt spid="570"/>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2" fill="hold" grpId="0" nodeType="clickEffect">
                                  <p:stCondLst>
                                    <p:cond delay="0"/>
                                  </p:stCondLst>
                                  <p:childTnLst>
                                    <p:set>
                                      <p:cBhvr>
                                        <p:cTn id="42" dur="1" fill="hold">
                                          <p:stCondLst>
                                            <p:cond delay="0"/>
                                          </p:stCondLst>
                                        </p:cTn>
                                        <p:tgtEl>
                                          <p:spTgt spid="578"/>
                                        </p:tgtEl>
                                        <p:attrNameLst>
                                          <p:attrName>style.visibility</p:attrName>
                                        </p:attrNameLst>
                                      </p:cBhvr>
                                      <p:to>
                                        <p:strVal val="visible"/>
                                      </p:to>
                                    </p:set>
                                    <p:animEffect transition="in" filter="wipe(right)">
                                      <p:cBhvr>
                                        <p:cTn id="43" dur="1000"/>
                                        <p:tgtEl>
                                          <p:spTgt spid="578"/>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573"/>
                                        </p:tgtEl>
                                        <p:attrNameLst>
                                          <p:attrName>style.visibility</p:attrName>
                                        </p:attrNameLst>
                                      </p:cBhvr>
                                      <p:to>
                                        <p:strVal val="visible"/>
                                      </p:to>
                                    </p:set>
                                    <p:animEffect transition="in" filter="fade">
                                      <p:cBhvr>
                                        <p:cTn id="47" dur="500"/>
                                        <p:tgtEl>
                                          <p:spTgt spid="573"/>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74"/>
                                        </p:tgtEl>
                                        <p:attrNameLst>
                                          <p:attrName>style.visibility</p:attrName>
                                        </p:attrNameLst>
                                      </p:cBhvr>
                                      <p:to>
                                        <p:strVal val="visible"/>
                                      </p:to>
                                    </p:set>
                                    <p:animEffect transition="in" filter="fade">
                                      <p:cBhvr>
                                        <p:cTn id="50" dur="500"/>
                                        <p:tgtEl>
                                          <p:spTgt spid="5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7" grpId="0"/>
      <p:bldP spid="568" grpId="0"/>
      <p:bldP spid="569" grpId="0"/>
      <p:bldP spid="570" grpId="0"/>
      <p:bldP spid="571" grpId="0"/>
      <p:bldP spid="572" grpId="0"/>
      <p:bldP spid="573" grpId="0"/>
      <p:bldP spid="574" grpId="0"/>
      <p:bldP spid="575" grpId="0" animBg="1"/>
      <p:bldP spid="576" grpId="0" animBg="1"/>
      <p:bldP spid="577" grpId="0" animBg="1"/>
      <p:bldP spid="57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6"/>
          <p:cNvPicPr>
            <a:picLocks noChangeAspect="1" noChangeArrowheads="1"/>
          </p:cNvPicPr>
          <p:nvPr/>
        </p:nvPicPr>
        <p:blipFill>
          <a:blip r:embed="rId3">
            <a:extLst>
              <a:ext uri="{28A0092B-C50C-407E-A947-70E740481C1C}">
                <a14:useLocalDpi xmlns:a14="http://schemas.microsoft.com/office/drawing/2010/main" val="0"/>
              </a:ext>
            </a:extLst>
          </a:blip>
          <a:srcRect t="60184" b="476"/>
          <a:stretch>
            <a:fillRect/>
          </a:stretch>
        </p:blipFill>
        <p:spPr bwMode="auto">
          <a:xfrm>
            <a:off x="458788" y="1157288"/>
            <a:ext cx="376237"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 name="Picture 6"/>
          <p:cNvPicPr>
            <a:picLocks noChangeAspect="1" noChangeArrowheads="1"/>
          </p:cNvPicPr>
          <p:nvPr/>
        </p:nvPicPr>
        <p:blipFill>
          <a:blip r:embed="rId3">
            <a:extLst>
              <a:ext uri="{28A0092B-C50C-407E-A947-70E740481C1C}">
                <a14:useLocalDpi xmlns:a14="http://schemas.microsoft.com/office/drawing/2010/main" val="0"/>
              </a:ext>
            </a:extLst>
          </a:blip>
          <a:srcRect t="60184" b="476"/>
          <a:stretch>
            <a:fillRect/>
          </a:stretch>
        </p:blipFill>
        <p:spPr bwMode="auto">
          <a:xfrm>
            <a:off x="460375" y="1512888"/>
            <a:ext cx="376238"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8" name="Picture 6"/>
          <p:cNvPicPr>
            <a:picLocks noChangeAspect="1" noChangeArrowheads="1"/>
          </p:cNvPicPr>
          <p:nvPr/>
        </p:nvPicPr>
        <p:blipFill>
          <a:blip r:embed="rId3">
            <a:extLst>
              <a:ext uri="{28A0092B-C50C-407E-A947-70E740481C1C}">
                <a14:useLocalDpi xmlns:a14="http://schemas.microsoft.com/office/drawing/2010/main" val="0"/>
              </a:ext>
            </a:extLst>
          </a:blip>
          <a:srcRect t="60184" b="476"/>
          <a:stretch>
            <a:fillRect/>
          </a:stretch>
        </p:blipFill>
        <p:spPr bwMode="auto">
          <a:xfrm>
            <a:off x="460375" y="1897063"/>
            <a:ext cx="376238"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9" name="Picture 6"/>
          <p:cNvPicPr>
            <a:picLocks noChangeAspect="1" noChangeArrowheads="1"/>
          </p:cNvPicPr>
          <p:nvPr/>
        </p:nvPicPr>
        <p:blipFill>
          <a:blip r:embed="rId3">
            <a:extLst>
              <a:ext uri="{28A0092B-C50C-407E-A947-70E740481C1C}">
                <a14:useLocalDpi xmlns:a14="http://schemas.microsoft.com/office/drawing/2010/main" val="0"/>
              </a:ext>
            </a:extLst>
          </a:blip>
          <a:srcRect t="60184" b="476"/>
          <a:stretch>
            <a:fillRect/>
          </a:stretch>
        </p:blipFill>
        <p:spPr bwMode="auto">
          <a:xfrm>
            <a:off x="460375" y="2286000"/>
            <a:ext cx="376238"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0" name="Picture 6"/>
          <p:cNvPicPr>
            <a:picLocks noChangeAspect="1" noChangeArrowheads="1"/>
          </p:cNvPicPr>
          <p:nvPr/>
        </p:nvPicPr>
        <p:blipFill>
          <a:blip r:embed="rId3">
            <a:extLst>
              <a:ext uri="{28A0092B-C50C-407E-A947-70E740481C1C}">
                <a14:useLocalDpi xmlns:a14="http://schemas.microsoft.com/office/drawing/2010/main" val="0"/>
              </a:ext>
            </a:extLst>
          </a:blip>
          <a:srcRect t="60184" b="476"/>
          <a:stretch>
            <a:fillRect/>
          </a:stretch>
        </p:blipFill>
        <p:spPr bwMode="auto">
          <a:xfrm>
            <a:off x="450850" y="2689225"/>
            <a:ext cx="376238"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1" name="Picture 6"/>
          <p:cNvPicPr>
            <a:picLocks noChangeAspect="1" noChangeArrowheads="1"/>
          </p:cNvPicPr>
          <p:nvPr/>
        </p:nvPicPr>
        <p:blipFill>
          <a:blip r:embed="rId3">
            <a:extLst>
              <a:ext uri="{28A0092B-C50C-407E-A947-70E740481C1C}">
                <a14:useLocalDpi xmlns:a14="http://schemas.microsoft.com/office/drawing/2010/main" val="0"/>
              </a:ext>
            </a:extLst>
          </a:blip>
          <a:srcRect t="60184" b="476"/>
          <a:stretch>
            <a:fillRect/>
          </a:stretch>
        </p:blipFill>
        <p:spPr bwMode="auto">
          <a:xfrm>
            <a:off x="450850" y="3127375"/>
            <a:ext cx="376238"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2" name="Picture 6"/>
          <p:cNvPicPr>
            <a:picLocks noChangeAspect="1" noChangeArrowheads="1"/>
          </p:cNvPicPr>
          <p:nvPr/>
        </p:nvPicPr>
        <p:blipFill>
          <a:blip r:embed="rId3">
            <a:extLst>
              <a:ext uri="{28A0092B-C50C-407E-A947-70E740481C1C}">
                <a14:useLocalDpi xmlns:a14="http://schemas.microsoft.com/office/drawing/2010/main" val="0"/>
              </a:ext>
            </a:extLst>
          </a:blip>
          <a:srcRect t="60184" b="476"/>
          <a:stretch>
            <a:fillRect/>
          </a:stretch>
        </p:blipFill>
        <p:spPr bwMode="auto">
          <a:xfrm>
            <a:off x="449263" y="3556000"/>
            <a:ext cx="376237"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3"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84438" y="915988"/>
            <a:ext cx="5826125" cy="343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ounded Rectangle 2"/>
          <p:cNvSpPr/>
          <p:nvPr/>
        </p:nvSpPr>
        <p:spPr>
          <a:xfrm>
            <a:off x="798772" y="1156778"/>
            <a:ext cx="1874092" cy="311575"/>
          </a:xfrm>
          <a:prstGeom prst="roundRect">
            <a:avLst/>
          </a:prstGeom>
          <a:ln/>
        </p:spPr>
        <p:style>
          <a:lnRef idx="0">
            <a:schemeClr val="accent2"/>
          </a:lnRef>
          <a:fillRef idx="3">
            <a:schemeClr val="accent2"/>
          </a:fillRef>
          <a:effectRef idx="3">
            <a:schemeClr val="accent2"/>
          </a:effectRef>
          <a:fontRef idx="minor">
            <a:schemeClr val="lt1"/>
          </a:fontRef>
        </p:style>
        <p:txBody>
          <a:bodyPr lIns="36000" tIns="36000" rIns="36000" bIns="36000" anchor="ctr"/>
          <a:lstStyle/>
          <a:p>
            <a:pPr algn="ctr" fontAlgn="ctr">
              <a:lnSpc>
                <a:spcPts val="650"/>
              </a:lnSpc>
              <a:spcBef>
                <a:spcPct val="0"/>
              </a:spcBef>
              <a:spcAft>
                <a:spcPct val="0"/>
              </a:spcAft>
              <a:defRPr/>
            </a:pPr>
            <a:endParaRPr kumimoji="1" lang="en-US" sz="600" dirty="0">
              <a:solidFill>
                <a:srgbClr val="FFFFFF"/>
              </a:solidFill>
              <a:latin typeface="Fujitsu Sans Medium" panose="020B0504060202020204" pitchFamily="34" charset="0"/>
            </a:endParaRPr>
          </a:p>
        </p:txBody>
      </p:sp>
      <p:sp>
        <p:nvSpPr>
          <p:cNvPr id="11277" name="TextBox 15"/>
          <p:cNvSpPr txBox="1">
            <a:spLocks noChangeArrowheads="1"/>
          </p:cNvSpPr>
          <p:nvPr/>
        </p:nvSpPr>
        <p:spPr bwMode="auto">
          <a:xfrm>
            <a:off x="307975" y="123825"/>
            <a:ext cx="269081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sz="1200">
                <a:solidFill>
                  <a:srgbClr val="000000"/>
                </a:solidFill>
                <a:latin typeface="Arial" panose="020B0604020202020204" pitchFamily="34" charset="0"/>
                <a:ea typeface="Arial Unicode MS" pitchFamily="34" charset="-128"/>
              </a:defRPr>
            </a:lvl1pPr>
            <a:lvl2pPr marL="742950" indent="-285750">
              <a:defRPr kumimoji="1" sz="1200">
                <a:solidFill>
                  <a:srgbClr val="000000"/>
                </a:solidFill>
                <a:latin typeface="Arial" panose="020B0604020202020204" pitchFamily="34" charset="0"/>
                <a:ea typeface="Arial Unicode MS" pitchFamily="34" charset="-128"/>
              </a:defRPr>
            </a:lvl2pPr>
            <a:lvl3pPr marL="1143000" indent="-228600">
              <a:defRPr kumimoji="1" sz="1200">
                <a:solidFill>
                  <a:srgbClr val="000000"/>
                </a:solidFill>
                <a:latin typeface="Arial" panose="020B0604020202020204" pitchFamily="34" charset="0"/>
                <a:ea typeface="Arial Unicode MS" pitchFamily="34" charset="-128"/>
              </a:defRPr>
            </a:lvl3pPr>
            <a:lvl4pPr marL="1600200" indent="-228600">
              <a:defRPr kumimoji="1" sz="1200">
                <a:solidFill>
                  <a:srgbClr val="000000"/>
                </a:solidFill>
                <a:latin typeface="Arial" panose="020B0604020202020204" pitchFamily="34" charset="0"/>
                <a:ea typeface="Arial Unicode MS" pitchFamily="34" charset="-128"/>
              </a:defRPr>
            </a:lvl4pPr>
            <a:lvl5pPr marL="2057400" indent="-228600">
              <a:defRPr kumimoji="1" sz="1200">
                <a:solidFill>
                  <a:srgbClr val="000000"/>
                </a:solidFill>
                <a:latin typeface="Arial" panose="020B0604020202020204" pitchFamily="34" charset="0"/>
                <a:ea typeface="Arial Unicode MS" pitchFamily="34" charset="-128"/>
              </a:defRPr>
            </a:lvl5pPr>
            <a:lvl6pPr marL="25146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6pPr>
            <a:lvl7pPr marL="29718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7pPr>
            <a:lvl8pPr marL="34290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8pPr>
            <a:lvl9pPr marL="38862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9pPr>
          </a:lstStyle>
          <a:p>
            <a:pPr algn="ctr" fontAlgn="ctr">
              <a:spcBef>
                <a:spcPct val="0"/>
              </a:spcBef>
              <a:spcAft>
                <a:spcPct val="0"/>
              </a:spcAft>
              <a:defRPr/>
            </a:pPr>
            <a:r>
              <a:rPr lang="ru-RU" altLang="en-US" sz="2800" b="1" smtClean="0">
                <a:solidFill>
                  <a:srgbClr val="FFFFFF"/>
                </a:solidFill>
                <a:latin typeface="Arial Narrow" panose="020B0606020202030204" pitchFamily="34" charset="0"/>
              </a:rPr>
              <a:t>ГРУППА </a:t>
            </a:r>
            <a:r>
              <a:rPr lang="en-US" altLang="en-US" sz="2800" b="1" smtClean="0">
                <a:solidFill>
                  <a:srgbClr val="FFFFFF"/>
                </a:solidFill>
                <a:latin typeface="Arial Narrow" panose="020B0606020202030204" pitchFamily="34" charset="0"/>
              </a:rPr>
              <a:t>FUJITSU</a:t>
            </a:r>
          </a:p>
        </p:txBody>
      </p:sp>
      <p:sp>
        <p:nvSpPr>
          <p:cNvPr id="11278" name="Rounded Rectangle 21"/>
          <p:cNvSpPr>
            <a:spLocks noChangeArrowheads="1"/>
          </p:cNvSpPr>
          <p:nvPr/>
        </p:nvSpPr>
        <p:spPr bwMode="auto">
          <a:xfrm>
            <a:off x="798513" y="1192213"/>
            <a:ext cx="1836737" cy="230187"/>
          </a:xfrm>
          <a:prstGeom prst="roundRect">
            <a:avLst>
              <a:gd name="adj" fmla="val 11023"/>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spAutoFit/>
          </a:bodyPr>
          <a:lstStyle>
            <a:lvl1pPr>
              <a:defRPr kumimoji="1" sz="1200">
                <a:solidFill>
                  <a:srgbClr val="000000"/>
                </a:solidFill>
                <a:latin typeface="Arial" panose="020B0604020202020204" pitchFamily="34" charset="0"/>
                <a:ea typeface="Arial Unicode MS" pitchFamily="34" charset="-128"/>
              </a:defRPr>
            </a:lvl1pPr>
            <a:lvl2pPr marL="742950" indent="-285750">
              <a:defRPr kumimoji="1" sz="1200">
                <a:solidFill>
                  <a:srgbClr val="000000"/>
                </a:solidFill>
                <a:latin typeface="Arial" panose="020B0604020202020204" pitchFamily="34" charset="0"/>
                <a:ea typeface="Arial Unicode MS" pitchFamily="34" charset="-128"/>
              </a:defRPr>
            </a:lvl2pPr>
            <a:lvl3pPr marL="1143000" indent="-228600">
              <a:defRPr kumimoji="1" sz="1200">
                <a:solidFill>
                  <a:srgbClr val="000000"/>
                </a:solidFill>
                <a:latin typeface="Arial" panose="020B0604020202020204" pitchFamily="34" charset="0"/>
                <a:ea typeface="Arial Unicode MS" pitchFamily="34" charset="-128"/>
              </a:defRPr>
            </a:lvl3pPr>
            <a:lvl4pPr marL="1600200" indent="-228600">
              <a:defRPr kumimoji="1" sz="1200">
                <a:solidFill>
                  <a:srgbClr val="000000"/>
                </a:solidFill>
                <a:latin typeface="Arial" panose="020B0604020202020204" pitchFamily="34" charset="0"/>
                <a:ea typeface="Arial Unicode MS" pitchFamily="34" charset="-128"/>
              </a:defRPr>
            </a:lvl4pPr>
            <a:lvl5pPr marL="2057400" indent="-228600">
              <a:defRPr kumimoji="1" sz="1200">
                <a:solidFill>
                  <a:srgbClr val="000000"/>
                </a:solidFill>
                <a:latin typeface="Arial" panose="020B0604020202020204" pitchFamily="34" charset="0"/>
                <a:ea typeface="Arial Unicode MS" pitchFamily="34" charset="-128"/>
              </a:defRPr>
            </a:lvl5pPr>
            <a:lvl6pPr marL="25146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6pPr>
            <a:lvl7pPr marL="29718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7pPr>
            <a:lvl8pPr marL="34290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8pPr>
            <a:lvl9pPr marL="38862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9pPr>
          </a:lstStyle>
          <a:p>
            <a:pPr algn="ctr" fontAlgn="ctr">
              <a:spcBef>
                <a:spcPct val="0"/>
              </a:spcBef>
              <a:spcAft>
                <a:spcPct val="0"/>
              </a:spcAft>
              <a:defRPr/>
            </a:pPr>
            <a:r>
              <a:rPr lang="fr-FR" altLang="en-US" sz="800" smtClean="0">
                <a:solidFill>
                  <a:srgbClr val="FFFFFF"/>
                </a:solidFill>
                <a:latin typeface="Arial Narrow" panose="020B0606020202030204" pitchFamily="34" charset="0"/>
              </a:rPr>
              <a:t>Штаб-квартир</a:t>
            </a:r>
            <a:r>
              <a:rPr lang="ru-RU" altLang="en-US" sz="800" smtClean="0">
                <a:solidFill>
                  <a:srgbClr val="FFFFFF"/>
                </a:solidFill>
                <a:latin typeface="Arial Narrow" panose="020B0606020202030204" pitchFamily="34" charset="0"/>
              </a:rPr>
              <a:t>а</a:t>
            </a:r>
            <a:r>
              <a:rPr lang="fr-FR" altLang="en-US" sz="800" smtClean="0">
                <a:solidFill>
                  <a:srgbClr val="FFFFFF"/>
                </a:solidFill>
                <a:latin typeface="Arial Narrow" panose="020B0606020202030204" pitchFamily="34" charset="0"/>
              </a:rPr>
              <a:t>:</a:t>
            </a:r>
            <a:r>
              <a:rPr lang="ru-RU" altLang="en-US" sz="800" smtClean="0">
                <a:solidFill>
                  <a:srgbClr val="FFFFFF"/>
                </a:solidFill>
                <a:latin typeface="Arial Narrow" panose="020B0606020202030204" pitchFamily="34" charset="0"/>
              </a:rPr>
              <a:t> </a:t>
            </a:r>
            <a:r>
              <a:rPr lang="fr-FR" altLang="en-US" sz="800" smtClean="0">
                <a:solidFill>
                  <a:srgbClr val="FFFFFF"/>
                </a:solidFill>
                <a:latin typeface="Arial Narrow" panose="020B0606020202030204" pitchFamily="34" charset="0"/>
              </a:rPr>
              <a:t>Токио, Япония</a:t>
            </a:r>
          </a:p>
        </p:txBody>
      </p:sp>
      <p:sp>
        <p:nvSpPr>
          <p:cNvPr id="34" name="Rounded Rectangle 33"/>
          <p:cNvSpPr/>
          <p:nvPr/>
        </p:nvSpPr>
        <p:spPr>
          <a:xfrm>
            <a:off x="798772" y="1546270"/>
            <a:ext cx="1874092" cy="311575"/>
          </a:xfrm>
          <a:prstGeom prst="roundRect">
            <a:avLst/>
          </a:prstGeom>
          <a:ln/>
        </p:spPr>
        <p:style>
          <a:lnRef idx="0">
            <a:schemeClr val="accent2"/>
          </a:lnRef>
          <a:fillRef idx="3">
            <a:schemeClr val="accent2"/>
          </a:fillRef>
          <a:effectRef idx="3">
            <a:schemeClr val="accent2"/>
          </a:effectRef>
          <a:fontRef idx="minor">
            <a:schemeClr val="lt1"/>
          </a:fontRef>
        </p:style>
        <p:txBody>
          <a:bodyPr lIns="36000" tIns="36000" rIns="36000" bIns="36000" anchor="ctr"/>
          <a:lstStyle/>
          <a:p>
            <a:pPr algn="ctr" fontAlgn="ctr">
              <a:lnSpc>
                <a:spcPts val="650"/>
              </a:lnSpc>
              <a:spcBef>
                <a:spcPct val="0"/>
              </a:spcBef>
              <a:spcAft>
                <a:spcPct val="0"/>
              </a:spcAft>
              <a:defRPr/>
            </a:pPr>
            <a:r>
              <a:rPr kumimoji="1" lang="ru-RU" altLang="en-US" sz="800" dirty="0">
                <a:solidFill>
                  <a:srgbClr val="FFFFFF"/>
                </a:solidFill>
                <a:latin typeface="Arial Narrow" panose="020B0606020202030204" pitchFamily="34" charset="0"/>
              </a:rPr>
              <a:t>Год основания</a:t>
            </a:r>
            <a:r>
              <a:rPr kumimoji="1" lang="en-US" altLang="en-US" sz="800" dirty="0">
                <a:solidFill>
                  <a:srgbClr val="FFFFFF"/>
                </a:solidFill>
                <a:latin typeface="Arial Narrow" panose="020B0606020202030204" pitchFamily="34" charset="0"/>
              </a:rPr>
              <a:t>: 1935</a:t>
            </a:r>
            <a:endParaRPr kumimoji="1" lang="fr-FR" altLang="en-US" sz="800" dirty="0">
              <a:solidFill>
                <a:srgbClr val="FFFFFF"/>
              </a:solidFill>
              <a:latin typeface="Arial Narrow" panose="020B0606020202030204" pitchFamily="34" charset="0"/>
            </a:endParaRPr>
          </a:p>
        </p:txBody>
      </p:sp>
      <p:sp>
        <p:nvSpPr>
          <p:cNvPr id="36" name="Rounded Rectangle 35"/>
          <p:cNvSpPr/>
          <p:nvPr/>
        </p:nvSpPr>
        <p:spPr>
          <a:xfrm>
            <a:off x="798772" y="1935762"/>
            <a:ext cx="1874092" cy="311575"/>
          </a:xfrm>
          <a:prstGeom prst="roundRect">
            <a:avLst/>
          </a:prstGeom>
          <a:ln/>
        </p:spPr>
        <p:style>
          <a:lnRef idx="0">
            <a:schemeClr val="accent2"/>
          </a:lnRef>
          <a:fillRef idx="3">
            <a:schemeClr val="accent2"/>
          </a:fillRef>
          <a:effectRef idx="3">
            <a:schemeClr val="accent2"/>
          </a:effectRef>
          <a:fontRef idx="minor">
            <a:schemeClr val="lt1"/>
          </a:fontRef>
        </p:style>
        <p:txBody>
          <a:bodyPr lIns="36000" tIns="36000" rIns="36000" bIns="36000" anchor="ctr"/>
          <a:lstStyle/>
          <a:p>
            <a:pPr algn="ctr" fontAlgn="ctr">
              <a:lnSpc>
                <a:spcPts val="650"/>
              </a:lnSpc>
              <a:spcBef>
                <a:spcPct val="0"/>
              </a:spcBef>
              <a:spcAft>
                <a:spcPct val="0"/>
              </a:spcAft>
              <a:defRPr/>
            </a:pPr>
            <a:r>
              <a:rPr kumimoji="1" lang="ru-RU" altLang="en-US" sz="800" dirty="0">
                <a:solidFill>
                  <a:srgbClr val="FFFFFF"/>
                </a:solidFill>
                <a:latin typeface="Arial Narrow" panose="020B0606020202030204" pitchFamily="34" charset="0"/>
              </a:rPr>
              <a:t>Группа объединяет </a:t>
            </a:r>
            <a:r>
              <a:rPr kumimoji="1" lang="en-US" altLang="en-US" sz="800" dirty="0">
                <a:solidFill>
                  <a:srgbClr val="FFFFFF"/>
                </a:solidFill>
                <a:latin typeface="Arial Narrow" panose="020B0606020202030204" pitchFamily="34" charset="0"/>
              </a:rPr>
              <a:t>510 </a:t>
            </a:r>
            <a:r>
              <a:rPr kumimoji="1" lang="ru-RU" altLang="en-US" sz="800" dirty="0">
                <a:solidFill>
                  <a:srgbClr val="FFFFFF"/>
                </a:solidFill>
                <a:latin typeface="Arial Narrow" panose="020B0606020202030204" pitchFamily="34" charset="0"/>
              </a:rPr>
              <a:t>компаний</a:t>
            </a:r>
            <a:endParaRPr kumimoji="1" lang="fr-FR" altLang="en-US" sz="800" dirty="0">
              <a:solidFill>
                <a:srgbClr val="FFFFFF"/>
              </a:solidFill>
              <a:latin typeface="Arial Narrow" panose="020B0606020202030204" pitchFamily="34" charset="0"/>
            </a:endParaRPr>
          </a:p>
        </p:txBody>
      </p:sp>
      <p:sp>
        <p:nvSpPr>
          <p:cNvPr id="38" name="Rounded Rectangle 37"/>
          <p:cNvSpPr/>
          <p:nvPr/>
        </p:nvSpPr>
        <p:spPr>
          <a:xfrm>
            <a:off x="798772" y="2325254"/>
            <a:ext cx="1874092" cy="311575"/>
          </a:xfrm>
          <a:prstGeom prst="roundRect">
            <a:avLst/>
          </a:prstGeom>
          <a:ln/>
        </p:spPr>
        <p:style>
          <a:lnRef idx="0">
            <a:schemeClr val="accent2"/>
          </a:lnRef>
          <a:fillRef idx="3">
            <a:schemeClr val="accent2"/>
          </a:fillRef>
          <a:effectRef idx="3">
            <a:schemeClr val="accent2"/>
          </a:effectRef>
          <a:fontRef idx="minor">
            <a:schemeClr val="lt1"/>
          </a:fontRef>
        </p:style>
        <p:txBody>
          <a:bodyPr lIns="36000" tIns="36000" rIns="36000" bIns="36000" anchor="ctr"/>
          <a:lstStyle/>
          <a:p>
            <a:pPr algn="ctr" fontAlgn="ctr">
              <a:spcBef>
                <a:spcPts val="600"/>
              </a:spcBef>
              <a:spcAft>
                <a:spcPts val="600"/>
              </a:spcAft>
              <a:defRPr/>
            </a:pPr>
            <a:r>
              <a:rPr kumimoji="1" lang="ru-RU" altLang="en-US" sz="800" dirty="0">
                <a:solidFill>
                  <a:srgbClr val="FFFFFF"/>
                </a:solidFill>
                <a:latin typeface="Arial Narrow" panose="020B0606020202030204" pitchFamily="34" charset="0"/>
              </a:rPr>
              <a:t>Фондовые биржи: Токио,</a:t>
            </a:r>
            <a:br>
              <a:rPr kumimoji="1" lang="ru-RU" altLang="en-US" sz="800" dirty="0">
                <a:solidFill>
                  <a:srgbClr val="FFFFFF"/>
                </a:solidFill>
                <a:latin typeface="Arial Narrow" panose="020B0606020202030204" pitchFamily="34" charset="0"/>
              </a:rPr>
            </a:br>
            <a:r>
              <a:rPr kumimoji="1" lang="ru-RU" altLang="en-US" sz="800" dirty="0">
                <a:solidFill>
                  <a:srgbClr val="FFFFFF"/>
                </a:solidFill>
                <a:latin typeface="Arial Narrow" panose="020B0606020202030204" pitchFamily="34" charset="0"/>
              </a:rPr>
              <a:t>Лондон, Франкфурт, Цюрих</a:t>
            </a:r>
            <a:endParaRPr kumimoji="1" lang="fr-FR" altLang="en-US" sz="800" dirty="0">
              <a:solidFill>
                <a:srgbClr val="FFFFFF"/>
              </a:solidFill>
              <a:latin typeface="Arial Narrow" panose="020B0606020202030204" pitchFamily="34" charset="0"/>
            </a:endParaRPr>
          </a:p>
        </p:txBody>
      </p:sp>
      <p:sp>
        <p:nvSpPr>
          <p:cNvPr id="40" name="Rounded Rectangle 39"/>
          <p:cNvSpPr/>
          <p:nvPr/>
        </p:nvSpPr>
        <p:spPr>
          <a:xfrm>
            <a:off x="798772" y="2724740"/>
            <a:ext cx="1874092" cy="311575"/>
          </a:xfrm>
          <a:prstGeom prst="roundRect">
            <a:avLst/>
          </a:prstGeom>
          <a:ln/>
        </p:spPr>
        <p:style>
          <a:lnRef idx="0">
            <a:schemeClr val="accent2"/>
          </a:lnRef>
          <a:fillRef idx="3">
            <a:schemeClr val="accent2"/>
          </a:fillRef>
          <a:effectRef idx="3">
            <a:schemeClr val="accent2"/>
          </a:effectRef>
          <a:fontRef idx="minor">
            <a:schemeClr val="lt1"/>
          </a:fontRef>
        </p:style>
        <p:txBody>
          <a:bodyPr lIns="36000" tIns="36000" rIns="36000" bIns="36000" anchor="ctr"/>
          <a:lstStyle/>
          <a:p>
            <a:pPr algn="ctr" fontAlgn="ctr">
              <a:spcBef>
                <a:spcPts val="600"/>
              </a:spcBef>
              <a:spcAft>
                <a:spcPts val="600"/>
              </a:spcAft>
              <a:defRPr/>
            </a:pPr>
            <a:r>
              <a:rPr kumimoji="1" lang="ru-RU" altLang="en-US" sz="800" dirty="0">
                <a:solidFill>
                  <a:srgbClr val="FFFFFF"/>
                </a:solidFill>
                <a:latin typeface="Arial Narrow" panose="020B0606020202030204" pitchFamily="34" charset="0"/>
              </a:rPr>
              <a:t>Научные центры: Япония, США, Великобритания, Германия, Китай</a:t>
            </a:r>
            <a:endParaRPr kumimoji="1" lang="en-US" altLang="en-US" sz="800" dirty="0">
              <a:solidFill>
                <a:srgbClr val="FFFFFF"/>
              </a:solidFill>
              <a:latin typeface="Arial Narrow" panose="020B0606020202030204" pitchFamily="34" charset="0"/>
            </a:endParaRPr>
          </a:p>
        </p:txBody>
      </p:sp>
      <p:sp>
        <p:nvSpPr>
          <p:cNvPr id="42" name="Rounded Rectangle 41"/>
          <p:cNvSpPr/>
          <p:nvPr/>
        </p:nvSpPr>
        <p:spPr>
          <a:xfrm>
            <a:off x="798772" y="3112171"/>
            <a:ext cx="1874092" cy="321592"/>
          </a:xfrm>
          <a:prstGeom prst="roundRect">
            <a:avLst/>
          </a:prstGeom>
          <a:ln/>
        </p:spPr>
        <p:style>
          <a:lnRef idx="0">
            <a:schemeClr val="accent2"/>
          </a:lnRef>
          <a:fillRef idx="3">
            <a:schemeClr val="accent2"/>
          </a:fillRef>
          <a:effectRef idx="3">
            <a:schemeClr val="accent2"/>
          </a:effectRef>
          <a:fontRef idx="minor">
            <a:schemeClr val="lt1"/>
          </a:fontRef>
        </p:style>
        <p:txBody>
          <a:bodyPr lIns="36000" tIns="36000" rIns="36000" bIns="36000" anchor="ctr"/>
          <a:lstStyle/>
          <a:p>
            <a:pPr algn="ctr" fontAlgn="ctr">
              <a:spcBef>
                <a:spcPts val="600"/>
              </a:spcBef>
              <a:spcAft>
                <a:spcPts val="600"/>
              </a:spcAft>
              <a:defRPr/>
            </a:pPr>
            <a:r>
              <a:rPr kumimoji="1" lang="ru-RU" altLang="en-US" sz="800" dirty="0">
                <a:solidFill>
                  <a:srgbClr val="FFFFFF"/>
                </a:solidFill>
                <a:latin typeface="Arial Narrow" panose="020B0606020202030204" pitchFamily="34" charset="0"/>
              </a:rPr>
              <a:t>Расходы на исследования и разработки: </a:t>
            </a:r>
            <a:r>
              <a:rPr kumimoji="1" lang="en-US" altLang="en-US" sz="800" dirty="0">
                <a:solidFill>
                  <a:srgbClr val="FFFFFF"/>
                </a:solidFill>
                <a:latin typeface="Arial Narrow" panose="020B0606020202030204" pitchFamily="34" charset="0"/>
              </a:rPr>
              <a:t>179.8</a:t>
            </a:r>
            <a:r>
              <a:rPr kumimoji="1" lang="ru-RU" altLang="en-US" sz="800" dirty="0">
                <a:solidFill>
                  <a:srgbClr val="FFFFFF"/>
                </a:solidFill>
                <a:latin typeface="Arial Narrow" panose="020B0606020202030204" pitchFamily="34" charset="0"/>
              </a:rPr>
              <a:t> млрд иен</a:t>
            </a:r>
            <a:r>
              <a:rPr kumimoji="1" lang="en-US" altLang="en-US" sz="800" dirty="0">
                <a:solidFill>
                  <a:srgbClr val="FFFFFF"/>
                </a:solidFill>
                <a:latin typeface="Arial Narrow" panose="020B0606020202030204" pitchFamily="34" charset="0"/>
              </a:rPr>
              <a:t>                   97000 </a:t>
            </a:r>
            <a:r>
              <a:rPr kumimoji="1" lang="ru-RU" altLang="en-US" sz="800" dirty="0">
                <a:solidFill>
                  <a:srgbClr val="FFFFFF"/>
                </a:solidFill>
                <a:latin typeface="Arial Narrow" panose="020B0606020202030204" pitchFamily="34" charset="0"/>
              </a:rPr>
              <a:t>патентов</a:t>
            </a:r>
            <a:endParaRPr kumimoji="1" lang="fr-FR" altLang="en-US" sz="800" dirty="0">
              <a:solidFill>
                <a:srgbClr val="FFFFFF"/>
              </a:solidFill>
              <a:latin typeface="Arial Narrow" panose="020B0606020202030204" pitchFamily="34" charset="0"/>
            </a:endParaRPr>
          </a:p>
        </p:txBody>
      </p:sp>
      <p:sp>
        <p:nvSpPr>
          <p:cNvPr id="44" name="Rounded Rectangle 43"/>
          <p:cNvSpPr/>
          <p:nvPr/>
        </p:nvSpPr>
        <p:spPr>
          <a:xfrm>
            <a:off x="798772" y="3538088"/>
            <a:ext cx="1874092" cy="300640"/>
          </a:xfrm>
          <a:prstGeom prst="roundRect">
            <a:avLst/>
          </a:prstGeom>
          <a:ln/>
        </p:spPr>
        <p:style>
          <a:lnRef idx="0">
            <a:schemeClr val="accent2"/>
          </a:lnRef>
          <a:fillRef idx="3">
            <a:schemeClr val="accent2"/>
          </a:fillRef>
          <a:effectRef idx="3">
            <a:schemeClr val="accent2"/>
          </a:effectRef>
          <a:fontRef idx="minor">
            <a:schemeClr val="lt1"/>
          </a:fontRef>
        </p:style>
        <p:txBody>
          <a:bodyPr lIns="36000" tIns="36000" rIns="36000" bIns="36000" anchor="ctr"/>
          <a:lstStyle/>
          <a:p>
            <a:pPr algn="ctr" fontAlgn="ctr">
              <a:spcBef>
                <a:spcPts val="600"/>
              </a:spcBef>
              <a:spcAft>
                <a:spcPts val="600"/>
              </a:spcAft>
              <a:defRPr/>
            </a:pPr>
            <a:r>
              <a:rPr kumimoji="1" lang="ru-RU" altLang="en-US" sz="800" dirty="0">
                <a:solidFill>
                  <a:srgbClr val="FFFFFF"/>
                </a:solidFill>
                <a:latin typeface="Arial Narrow" panose="020B0606020202030204" pitchFamily="34" charset="0"/>
              </a:rPr>
              <a:t>Производство: Япония, Азия, Европа, Северная Америка</a:t>
            </a:r>
            <a:endParaRPr kumimoji="1" lang="en-US" altLang="en-US" sz="800" dirty="0">
              <a:solidFill>
                <a:srgbClr val="FFFFFF"/>
              </a:solidFill>
              <a:latin typeface="Arial Narrow" panose="020B0606020202030204" pitchFamily="34" charset="0"/>
            </a:endParaRPr>
          </a:p>
        </p:txBody>
      </p:sp>
      <p:grpSp>
        <p:nvGrpSpPr>
          <p:cNvPr id="11297" name="Группа 3"/>
          <p:cNvGrpSpPr>
            <a:grpSpLocks noChangeAspect="1"/>
          </p:cNvGrpSpPr>
          <p:nvPr/>
        </p:nvGrpSpPr>
        <p:grpSpPr bwMode="auto">
          <a:xfrm>
            <a:off x="4675188" y="1466850"/>
            <a:ext cx="1273175" cy="1431925"/>
            <a:chOff x="6859538" y="3172516"/>
            <a:chExt cx="1398395" cy="1572831"/>
          </a:xfrm>
        </p:grpSpPr>
        <p:sp>
          <p:nvSpPr>
            <p:cNvPr id="54" name="Rectangle 53"/>
            <p:cNvSpPr/>
            <p:nvPr/>
          </p:nvSpPr>
          <p:spPr>
            <a:xfrm>
              <a:off x="6868256" y="3449767"/>
              <a:ext cx="1375728" cy="1295580"/>
            </a:xfrm>
            <a:prstGeom prst="rect">
              <a:avLst/>
            </a:prstGeom>
            <a:solidFill>
              <a:schemeClr val="bg1">
                <a:alpha val="9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36000" bIns="36000"/>
            <a:lstStyle/>
            <a:p>
              <a:pPr algn="ctr" fontAlgn="ctr">
                <a:spcBef>
                  <a:spcPct val="0"/>
                </a:spcBef>
                <a:spcAft>
                  <a:spcPct val="0"/>
                </a:spcAft>
                <a:defRPr/>
              </a:pPr>
              <a:endParaRPr kumimoji="1" lang="ru-RU" altLang="en-US" sz="800" dirty="0">
                <a:solidFill>
                  <a:srgbClr val="000000"/>
                </a:solidFill>
                <a:latin typeface="Arial Narrow" panose="020B0606020202030204" pitchFamily="34" charset="0"/>
              </a:endParaRPr>
            </a:p>
            <a:p>
              <a:pPr fontAlgn="ctr">
                <a:spcBef>
                  <a:spcPct val="0"/>
                </a:spcBef>
                <a:spcAft>
                  <a:spcPct val="0"/>
                </a:spcAft>
                <a:defRPr/>
              </a:pPr>
              <a:r>
                <a:rPr kumimoji="1" lang="en-US" altLang="en-US" sz="800" dirty="0">
                  <a:solidFill>
                    <a:srgbClr val="000000"/>
                  </a:solidFill>
                  <a:latin typeface="Arial Narrow" panose="020B0606020202030204" pitchFamily="34" charset="0"/>
                </a:rPr>
                <a:t>131 </a:t>
              </a:r>
              <a:r>
                <a:rPr kumimoji="1" lang="ru-RU" altLang="en-US" sz="800" dirty="0">
                  <a:solidFill>
                    <a:srgbClr val="000000"/>
                  </a:solidFill>
                  <a:latin typeface="Arial Narrow" panose="020B0606020202030204" pitchFamily="34" charset="0"/>
                </a:rPr>
                <a:t>компания</a:t>
              </a:r>
            </a:p>
            <a:p>
              <a:pPr fontAlgn="ctr">
                <a:spcBef>
                  <a:spcPct val="0"/>
                </a:spcBef>
                <a:spcAft>
                  <a:spcPct val="0"/>
                </a:spcAft>
                <a:defRPr/>
              </a:pPr>
              <a:endParaRPr kumimoji="1" lang="ru-RU" altLang="en-US" sz="800" dirty="0">
                <a:solidFill>
                  <a:srgbClr val="000000"/>
                </a:solidFill>
                <a:latin typeface="Arial Narrow" panose="020B0606020202030204" pitchFamily="34" charset="0"/>
              </a:endParaRPr>
            </a:p>
            <a:p>
              <a:pPr fontAlgn="ctr">
                <a:spcBef>
                  <a:spcPct val="0"/>
                </a:spcBef>
                <a:spcAft>
                  <a:spcPct val="0"/>
                </a:spcAft>
                <a:defRPr/>
              </a:pPr>
              <a:r>
                <a:rPr kumimoji="1" lang="en-US" altLang="en-US" sz="800" dirty="0">
                  <a:solidFill>
                    <a:srgbClr val="000000"/>
                  </a:solidFill>
                  <a:latin typeface="Arial Narrow" panose="020B0606020202030204" pitchFamily="34" charset="0"/>
                </a:rPr>
                <a:t>29000</a:t>
              </a:r>
              <a:endParaRPr kumimoji="1" lang="ru-RU" altLang="en-US" sz="800" dirty="0">
                <a:solidFill>
                  <a:srgbClr val="000000"/>
                </a:solidFill>
                <a:latin typeface="Arial Narrow" panose="020B0606020202030204" pitchFamily="34" charset="0"/>
              </a:endParaRPr>
            </a:p>
            <a:p>
              <a:pPr fontAlgn="ctr">
                <a:spcBef>
                  <a:spcPct val="0"/>
                </a:spcBef>
                <a:spcAft>
                  <a:spcPct val="0"/>
                </a:spcAft>
                <a:defRPr/>
              </a:pPr>
              <a:endParaRPr kumimoji="1" lang="en-US" altLang="en-US" sz="1000" dirty="0">
                <a:solidFill>
                  <a:srgbClr val="000000"/>
                </a:solidFill>
                <a:latin typeface="Arial Narrow" panose="020B0606020202030204" pitchFamily="34" charset="0"/>
              </a:endParaRPr>
            </a:p>
            <a:p>
              <a:pPr fontAlgn="ctr">
                <a:spcBef>
                  <a:spcPct val="0"/>
                </a:spcBef>
                <a:spcAft>
                  <a:spcPct val="0"/>
                </a:spcAft>
                <a:defRPr/>
              </a:pPr>
              <a:r>
                <a:rPr kumimoji="1" lang="en-US" altLang="en-US" sz="800" dirty="0">
                  <a:solidFill>
                    <a:srgbClr val="000000"/>
                  </a:solidFill>
                  <a:latin typeface="Arial Narrow" panose="020B0606020202030204" pitchFamily="34" charset="0"/>
                </a:rPr>
                <a:t>990.6</a:t>
              </a:r>
              <a:r>
                <a:rPr kumimoji="1" lang="ru-RU" altLang="en-US" sz="800" dirty="0">
                  <a:solidFill>
                    <a:srgbClr val="000000"/>
                  </a:solidFill>
                  <a:latin typeface="Arial Narrow" panose="020B0606020202030204" pitchFamily="34" charset="0"/>
                </a:rPr>
                <a:t> </a:t>
              </a:r>
            </a:p>
            <a:p>
              <a:pPr fontAlgn="ctr">
                <a:spcBef>
                  <a:spcPct val="0"/>
                </a:spcBef>
                <a:spcAft>
                  <a:spcPct val="0"/>
                </a:spcAft>
                <a:defRPr/>
              </a:pPr>
              <a:endParaRPr kumimoji="1" lang="en-US" altLang="en-US" sz="600" dirty="0">
                <a:solidFill>
                  <a:srgbClr val="000000"/>
                </a:solidFill>
                <a:latin typeface="Arial Narrow" panose="020B0606020202030204" pitchFamily="34" charset="0"/>
              </a:endParaRPr>
            </a:p>
            <a:p>
              <a:pPr fontAlgn="ctr">
                <a:spcBef>
                  <a:spcPct val="0"/>
                </a:spcBef>
                <a:spcAft>
                  <a:spcPct val="0"/>
                </a:spcAft>
                <a:defRPr/>
              </a:pPr>
              <a:r>
                <a:rPr kumimoji="1" lang="en-US" altLang="en-US" sz="800" dirty="0">
                  <a:solidFill>
                    <a:srgbClr val="000000"/>
                  </a:solidFill>
                  <a:latin typeface="Arial Narrow" panose="020B0606020202030204" pitchFamily="34" charset="0"/>
                </a:rPr>
                <a:t>24</a:t>
              </a:r>
              <a:endParaRPr kumimoji="1" lang="fr-FR" altLang="en-US" sz="800" dirty="0">
                <a:solidFill>
                  <a:srgbClr val="000000"/>
                </a:solidFill>
                <a:latin typeface="Arial Narrow" panose="020B0606020202030204" pitchFamily="34" charset="0"/>
              </a:endParaRPr>
            </a:p>
          </p:txBody>
        </p:sp>
        <p:sp>
          <p:nvSpPr>
            <p:cNvPr id="55" name="Rectangle 54"/>
            <p:cNvSpPr/>
            <p:nvPr/>
          </p:nvSpPr>
          <p:spPr>
            <a:xfrm>
              <a:off x="6859538" y="3172516"/>
              <a:ext cx="1398395" cy="313869"/>
            </a:xfrm>
            <a:prstGeom prst="rect">
              <a:avLst/>
            </a:prstGeom>
            <a:solidFill>
              <a:srgbClr val="C8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ctr">
                <a:spcBef>
                  <a:spcPct val="0"/>
                </a:spcBef>
                <a:spcAft>
                  <a:spcPct val="0"/>
                </a:spcAft>
                <a:defRPr/>
              </a:pPr>
              <a:r>
                <a:rPr kumimoji="1" lang="ru-RU" altLang="en-US" sz="700" dirty="0">
                  <a:solidFill>
                    <a:srgbClr val="FFFFFF"/>
                  </a:solidFill>
                  <a:latin typeface="Arial Narrow" panose="020B0606020202030204" pitchFamily="34" charset="0"/>
                </a:rPr>
                <a:t>ЕВРОПА</a:t>
              </a:r>
              <a:r>
                <a:rPr kumimoji="1" lang="en-US" altLang="en-US" sz="700" dirty="0">
                  <a:solidFill>
                    <a:srgbClr val="FFFFFF"/>
                  </a:solidFill>
                  <a:latin typeface="Arial Narrow" panose="020B0606020202030204" pitchFamily="34" charset="0"/>
                </a:rPr>
                <a:t>, </a:t>
              </a:r>
              <a:r>
                <a:rPr kumimoji="1" lang="ru-RU" altLang="en-US" sz="700" dirty="0">
                  <a:solidFill>
                    <a:srgbClr val="FFFFFF"/>
                  </a:solidFill>
                  <a:latin typeface="Arial Narrow" panose="020B0606020202030204" pitchFamily="34" charset="0"/>
                </a:rPr>
                <a:t> БЛИЖНИЙ ВОСТОК</a:t>
              </a:r>
              <a:r>
                <a:rPr kumimoji="1" lang="en-US" altLang="en-US" sz="700" dirty="0">
                  <a:solidFill>
                    <a:srgbClr val="FFFFFF"/>
                  </a:solidFill>
                  <a:latin typeface="Arial Narrow" panose="020B0606020202030204" pitchFamily="34" charset="0"/>
                </a:rPr>
                <a:t>, </a:t>
              </a:r>
              <a:r>
                <a:rPr kumimoji="1" lang="ru-RU" altLang="en-US" sz="700" dirty="0">
                  <a:solidFill>
                    <a:srgbClr val="FFFFFF"/>
                  </a:solidFill>
                  <a:latin typeface="Arial Narrow" panose="020B0606020202030204" pitchFamily="34" charset="0"/>
                </a:rPr>
                <a:t>ИНДИЯ</a:t>
              </a:r>
              <a:r>
                <a:rPr kumimoji="1" lang="en-US" altLang="en-US" sz="700" dirty="0">
                  <a:solidFill>
                    <a:srgbClr val="FFFFFF"/>
                  </a:solidFill>
                  <a:latin typeface="Arial Narrow" panose="020B0606020202030204" pitchFamily="34" charset="0"/>
                </a:rPr>
                <a:t>, </a:t>
              </a:r>
              <a:r>
                <a:rPr kumimoji="1" lang="ru-RU" altLang="en-US" sz="700" dirty="0">
                  <a:solidFill>
                    <a:srgbClr val="FFFFFF"/>
                  </a:solidFill>
                  <a:latin typeface="Arial Narrow" panose="020B0606020202030204" pitchFamily="34" charset="0"/>
                </a:rPr>
                <a:t> АФРИКА</a:t>
              </a:r>
              <a:endParaRPr kumimoji="1" lang="fr-FR" altLang="en-US" sz="700" dirty="0">
                <a:solidFill>
                  <a:srgbClr val="FFFFFF"/>
                </a:solidFill>
                <a:latin typeface="Arial Narrow" panose="020B0606020202030204" pitchFamily="34" charset="0"/>
              </a:endParaRPr>
            </a:p>
          </p:txBody>
        </p:sp>
        <p:grpSp>
          <p:nvGrpSpPr>
            <p:cNvPr id="11340" name="Группа 1"/>
            <p:cNvGrpSpPr>
              <a:grpSpLocks/>
            </p:cNvGrpSpPr>
            <p:nvPr/>
          </p:nvGrpSpPr>
          <p:grpSpPr bwMode="auto">
            <a:xfrm>
              <a:off x="6948264" y="3599406"/>
              <a:ext cx="217796" cy="988568"/>
              <a:chOff x="6923742" y="3571722"/>
              <a:chExt cx="245213" cy="1113011"/>
            </a:xfrm>
          </p:grpSpPr>
          <p:pic>
            <p:nvPicPr>
              <p:cNvPr id="11341"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28740" y="3571722"/>
                <a:ext cx="235216" cy="188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42"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31386" y="3858244"/>
                <a:ext cx="229924" cy="245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43"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923742" y="4201218"/>
                <a:ext cx="245213" cy="216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44"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923742" y="4515966"/>
                <a:ext cx="245213" cy="16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11298" name="Группа 60"/>
          <p:cNvGrpSpPr>
            <a:grpSpLocks noChangeAspect="1"/>
          </p:cNvGrpSpPr>
          <p:nvPr/>
        </p:nvGrpSpPr>
        <p:grpSpPr bwMode="auto">
          <a:xfrm>
            <a:off x="3132138" y="1743075"/>
            <a:ext cx="1271587" cy="1446213"/>
            <a:chOff x="6859538" y="3172516"/>
            <a:chExt cx="1398395" cy="1589165"/>
          </a:xfrm>
        </p:grpSpPr>
        <p:sp>
          <p:nvSpPr>
            <p:cNvPr id="62" name="Rectangle 53"/>
            <p:cNvSpPr/>
            <p:nvPr/>
          </p:nvSpPr>
          <p:spPr>
            <a:xfrm>
              <a:off x="6868267" y="3465578"/>
              <a:ext cx="1375700" cy="1296103"/>
            </a:xfrm>
            <a:prstGeom prst="rect">
              <a:avLst/>
            </a:prstGeom>
            <a:solidFill>
              <a:schemeClr val="bg1">
                <a:alpha val="9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36000" bIns="36000"/>
            <a:lstStyle/>
            <a:p>
              <a:pPr algn="ctr" fontAlgn="ctr">
                <a:spcBef>
                  <a:spcPct val="0"/>
                </a:spcBef>
                <a:spcAft>
                  <a:spcPct val="0"/>
                </a:spcAft>
                <a:defRPr/>
              </a:pPr>
              <a:endParaRPr kumimoji="1" lang="ru-RU" altLang="en-US" sz="800" dirty="0">
                <a:solidFill>
                  <a:srgbClr val="000000"/>
                </a:solidFill>
                <a:latin typeface="Arial Narrow" panose="020B0606020202030204" pitchFamily="34" charset="0"/>
              </a:endParaRPr>
            </a:p>
            <a:p>
              <a:pPr fontAlgn="ctr">
                <a:spcBef>
                  <a:spcPct val="0"/>
                </a:spcBef>
                <a:spcAft>
                  <a:spcPct val="0"/>
                </a:spcAft>
                <a:defRPr/>
              </a:pPr>
              <a:r>
                <a:rPr kumimoji="1" lang="en-US" altLang="en-US" sz="800" dirty="0">
                  <a:solidFill>
                    <a:srgbClr val="000000"/>
                  </a:solidFill>
                  <a:latin typeface="Arial Narrow" panose="020B0606020202030204" pitchFamily="34" charset="0"/>
                </a:rPr>
                <a:t>51 </a:t>
              </a:r>
              <a:r>
                <a:rPr kumimoji="1" lang="ru-RU" altLang="en-US" sz="800" dirty="0">
                  <a:solidFill>
                    <a:srgbClr val="000000"/>
                  </a:solidFill>
                  <a:latin typeface="Arial Narrow" panose="020B0606020202030204" pitchFamily="34" charset="0"/>
                </a:rPr>
                <a:t>компания</a:t>
              </a:r>
            </a:p>
            <a:p>
              <a:pPr fontAlgn="ctr">
                <a:spcBef>
                  <a:spcPct val="0"/>
                </a:spcBef>
                <a:spcAft>
                  <a:spcPct val="0"/>
                </a:spcAft>
                <a:defRPr/>
              </a:pPr>
              <a:endParaRPr kumimoji="1" lang="ru-RU" altLang="en-US" sz="800" dirty="0">
                <a:solidFill>
                  <a:srgbClr val="000000"/>
                </a:solidFill>
                <a:latin typeface="Arial Narrow" panose="020B0606020202030204" pitchFamily="34" charset="0"/>
              </a:endParaRPr>
            </a:p>
            <a:p>
              <a:pPr fontAlgn="ctr">
                <a:spcBef>
                  <a:spcPct val="0"/>
                </a:spcBef>
                <a:spcAft>
                  <a:spcPct val="0"/>
                </a:spcAft>
                <a:defRPr/>
              </a:pPr>
              <a:r>
                <a:rPr kumimoji="1" lang="en-US" altLang="en-US" sz="800" dirty="0">
                  <a:solidFill>
                    <a:srgbClr val="000000"/>
                  </a:solidFill>
                  <a:latin typeface="Arial Narrow" panose="020B0606020202030204" pitchFamily="34" charset="0"/>
                </a:rPr>
                <a:t>8000 </a:t>
              </a:r>
              <a:endParaRPr kumimoji="1" lang="ru-RU" altLang="en-US" sz="800" dirty="0">
                <a:solidFill>
                  <a:srgbClr val="000000"/>
                </a:solidFill>
                <a:latin typeface="Arial Narrow" panose="020B0606020202030204" pitchFamily="34" charset="0"/>
              </a:endParaRPr>
            </a:p>
            <a:p>
              <a:pPr fontAlgn="ctr">
                <a:spcBef>
                  <a:spcPct val="0"/>
                </a:spcBef>
                <a:spcAft>
                  <a:spcPct val="0"/>
                </a:spcAft>
                <a:defRPr/>
              </a:pPr>
              <a:endParaRPr kumimoji="1" lang="en-US" altLang="en-US" sz="800" dirty="0">
                <a:solidFill>
                  <a:srgbClr val="000000"/>
                </a:solidFill>
                <a:latin typeface="Arial Narrow" panose="020B0606020202030204" pitchFamily="34" charset="0"/>
              </a:endParaRPr>
            </a:p>
            <a:p>
              <a:pPr fontAlgn="ctr">
                <a:spcBef>
                  <a:spcPct val="0"/>
                </a:spcBef>
                <a:spcAft>
                  <a:spcPct val="0"/>
                </a:spcAft>
                <a:defRPr/>
              </a:pPr>
              <a:r>
                <a:rPr kumimoji="1" lang="en-US" altLang="en-US" sz="800" dirty="0">
                  <a:solidFill>
                    <a:srgbClr val="000000"/>
                  </a:solidFill>
                  <a:latin typeface="Arial Narrow" panose="020B0606020202030204" pitchFamily="34" charset="0"/>
                </a:rPr>
                <a:t>392.0</a:t>
              </a:r>
              <a:endParaRPr kumimoji="1" lang="ru-RU" altLang="en-US" sz="800" dirty="0">
                <a:solidFill>
                  <a:srgbClr val="000000"/>
                </a:solidFill>
                <a:latin typeface="Arial Narrow" panose="020B0606020202030204" pitchFamily="34" charset="0"/>
              </a:endParaRPr>
            </a:p>
            <a:p>
              <a:pPr fontAlgn="ctr">
                <a:spcBef>
                  <a:spcPct val="0"/>
                </a:spcBef>
                <a:spcAft>
                  <a:spcPct val="0"/>
                </a:spcAft>
                <a:defRPr/>
              </a:pPr>
              <a:endParaRPr kumimoji="1" lang="en-US" altLang="en-US" sz="800" dirty="0">
                <a:solidFill>
                  <a:srgbClr val="000000"/>
                </a:solidFill>
                <a:latin typeface="Arial Narrow" panose="020B0606020202030204" pitchFamily="34" charset="0"/>
              </a:endParaRPr>
            </a:p>
            <a:p>
              <a:pPr fontAlgn="ctr">
                <a:spcBef>
                  <a:spcPct val="0"/>
                </a:spcBef>
                <a:spcAft>
                  <a:spcPct val="0"/>
                </a:spcAft>
                <a:defRPr/>
              </a:pPr>
              <a:r>
                <a:rPr kumimoji="1" lang="en-US" altLang="en-US" sz="800" dirty="0">
                  <a:solidFill>
                    <a:srgbClr val="000000"/>
                  </a:solidFill>
                  <a:latin typeface="Arial Narrow" panose="020B0606020202030204" pitchFamily="34" charset="0"/>
                </a:rPr>
                <a:t>10</a:t>
              </a:r>
              <a:endParaRPr kumimoji="1" lang="fr-FR" altLang="en-US" sz="800" dirty="0">
                <a:solidFill>
                  <a:srgbClr val="000000"/>
                </a:solidFill>
                <a:latin typeface="Arial Narrow" panose="020B0606020202030204" pitchFamily="34" charset="0"/>
              </a:endParaRPr>
            </a:p>
          </p:txBody>
        </p:sp>
        <p:sp>
          <p:nvSpPr>
            <p:cNvPr id="63" name="Rectangle 54"/>
            <p:cNvSpPr/>
            <p:nvPr/>
          </p:nvSpPr>
          <p:spPr>
            <a:xfrm>
              <a:off x="6859538" y="3172516"/>
              <a:ext cx="1398395" cy="313995"/>
            </a:xfrm>
            <a:prstGeom prst="rect">
              <a:avLst/>
            </a:prstGeom>
            <a:solidFill>
              <a:srgbClr val="C8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ctr">
                <a:spcBef>
                  <a:spcPct val="0"/>
                </a:spcBef>
                <a:spcAft>
                  <a:spcPct val="0"/>
                </a:spcAft>
                <a:defRPr/>
              </a:pPr>
              <a:r>
                <a:rPr kumimoji="1" lang="ru-RU" altLang="en-US" sz="800" dirty="0">
                  <a:solidFill>
                    <a:srgbClr val="FFFFFF"/>
                  </a:solidFill>
                  <a:latin typeface="Arial Narrow" panose="020B0606020202030204" pitchFamily="34" charset="0"/>
                </a:rPr>
                <a:t>АМЕРИКА</a:t>
              </a:r>
              <a:endParaRPr kumimoji="1" lang="fr-FR" altLang="en-US" sz="800" b="1" dirty="0">
                <a:solidFill>
                  <a:srgbClr val="FFFFFF"/>
                </a:solidFill>
                <a:latin typeface="Arial Narrow" panose="020B0606020202030204" pitchFamily="34" charset="0"/>
              </a:endParaRPr>
            </a:p>
          </p:txBody>
        </p:sp>
        <p:grpSp>
          <p:nvGrpSpPr>
            <p:cNvPr id="11333" name="Группа 63"/>
            <p:cNvGrpSpPr>
              <a:grpSpLocks/>
            </p:cNvGrpSpPr>
            <p:nvPr/>
          </p:nvGrpSpPr>
          <p:grpSpPr bwMode="auto">
            <a:xfrm>
              <a:off x="6948264" y="3599406"/>
              <a:ext cx="217796" cy="988568"/>
              <a:chOff x="6923742" y="3571722"/>
              <a:chExt cx="245213" cy="1113011"/>
            </a:xfrm>
          </p:grpSpPr>
          <p:pic>
            <p:nvPicPr>
              <p:cNvPr id="11334"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28740" y="3571722"/>
                <a:ext cx="235216" cy="188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35"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31386" y="3858244"/>
                <a:ext cx="229924" cy="245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36"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923742" y="4201218"/>
                <a:ext cx="245213" cy="216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37"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923742" y="4515966"/>
                <a:ext cx="245213" cy="16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pic>
        <p:nvPicPr>
          <p:cNvPr id="11299" name="Picture 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882900" y="4475163"/>
            <a:ext cx="312738" cy="252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00" name="Picture 8"/>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117975" y="4475163"/>
            <a:ext cx="306388" cy="32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01" name="Picture 9"/>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346700" y="4475163"/>
            <a:ext cx="32702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02" name="Picture 10"/>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454775" y="4475163"/>
            <a:ext cx="325438"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03" name="TextBox 5"/>
          <p:cNvSpPr txBox="1">
            <a:spLocks noChangeArrowheads="1"/>
          </p:cNvSpPr>
          <p:nvPr/>
        </p:nvSpPr>
        <p:spPr bwMode="auto">
          <a:xfrm>
            <a:off x="3201988" y="4443413"/>
            <a:ext cx="823912" cy="47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200">
                <a:solidFill>
                  <a:srgbClr val="000000"/>
                </a:solidFill>
                <a:latin typeface="Arial" panose="020B0604020202020204" pitchFamily="34" charset="0"/>
                <a:ea typeface="Arial Unicode MS" pitchFamily="34" charset="-128"/>
              </a:defRPr>
            </a:lvl1pPr>
            <a:lvl2pPr marL="742950" indent="-285750">
              <a:defRPr kumimoji="1" sz="1200">
                <a:solidFill>
                  <a:srgbClr val="000000"/>
                </a:solidFill>
                <a:latin typeface="Arial" panose="020B0604020202020204" pitchFamily="34" charset="0"/>
                <a:ea typeface="Arial Unicode MS" pitchFamily="34" charset="-128"/>
              </a:defRPr>
            </a:lvl2pPr>
            <a:lvl3pPr marL="1143000" indent="-228600">
              <a:defRPr kumimoji="1" sz="1200">
                <a:solidFill>
                  <a:srgbClr val="000000"/>
                </a:solidFill>
                <a:latin typeface="Arial" panose="020B0604020202020204" pitchFamily="34" charset="0"/>
                <a:ea typeface="Arial Unicode MS" pitchFamily="34" charset="-128"/>
              </a:defRPr>
            </a:lvl3pPr>
            <a:lvl4pPr marL="1600200" indent="-228600">
              <a:defRPr kumimoji="1" sz="1200">
                <a:solidFill>
                  <a:srgbClr val="000000"/>
                </a:solidFill>
                <a:latin typeface="Arial" panose="020B0604020202020204" pitchFamily="34" charset="0"/>
                <a:ea typeface="Arial Unicode MS" pitchFamily="34" charset="-128"/>
              </a:defRPr>
            </a:lvl4pPr>
            <a:lvl5pPr marL="2057400" indent="-228600">
              <a:defRPr kumimoji="1" sz="1200">
                <a:solidFill>
                  <a:srgbClr val="000000"/>
                </a:solidFill>
                <a:latin typeface="Arial" panose="020B0604020202020204" pitchFamily="34" charset="0"/>
                <a:ea typeface="Arial Unicode MS" pitchFamily="34" charset="-128"/>
              </a:defRPr>
            </a:lvl5pPr>
            <a:lvl6pPr marL="25146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6pPr>
            <a:lvl7pPr marL="29718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7pPr>
            <a:lvl8pPr marL="34290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8pPr>
            <a:lvl9pPr marL="38862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9pPr>
          </a:lstStyle>
          <a:p>
            <a:pPr fontAlgn="ctr">
              <a:spcBef>
                <a:spcPct val="0"/>
              </a:spcBef>
              <a:spcAft>
                <a:spcPct val="0"/>
              </a:spcAft>
              <a:defRPr/>
            </a:pPr>
            <a:r>
              <a:rPr lang="ru-RU" altLang="en-US" sz="800" smtClean="0">
                <a:solidFill>
                  <a:srgbClr val="FFFFFF"/>
                </a:solidFill>
                <a:latin typeface="Arial Narrow" panose="020B0606020202030204" pitchFamily="34" charset="0"/>
              </a:rPr>
              <a:t>Количество дочерних предприятий</a:t>
            </a:r>
          </a:p>
        </p:txBody>
      </p:sp>
      <p:sp>
        <p:nvSpPr>
          <p:cNvPr id="11304" name="TextBox 72"/>
          <p:cNvSpPr txBox="1">
            <a:spLocks noChangeArrowheads="1"/>
          </p:cNvSpPr>
          <p:nvPr/>
        </p:nvSpPr>
        <p:spPr bwMode="auto">
          <a:xfrm>
            <a:off x="4456113" y="4443413"/>
            <a:ext cx="82550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200">
                <a:solidFill>
                  <a:srgbClr val="000000"/>
                </a:solidFill>
                <a:latin typeface="Arial" panose="020B0604020202020204" pitchFamily="34" charset="0"/>
                <a:ea typeface="Arial Unicode MS" pitchFamily="34" charset="-128"/>
              </a:defRPr>
            </a:lvl1pPr>
            <a:lvl2pPr marL="742950" indent="-285750">
              <a:defRPr kumimoji="1" sz="1200">
                <a:solidFill>
                  <a:srgbClr val="000000"/>
                </a:solidFill>
                <a:latin typeface="Arial" panose="020B0604020202020204" pitchFamily="34" charset="0"/>
                <a:ea typeface="Arial Unicode MS" pitchFamily="34" charset="-128"/>
              </a:defRPr>
            </a:lvl2pPr>
            <a:lvl3pPr marL="1143000" indent="-228600">
              <a:defRPr kumimoji="1" sz="1200">
                <a:solidFill>
                  <a:srgbClr val="000000"/>
                </a:solidFill>
                <a:latin typeface="Arial" panose="020B0604020202020204" pitchFamily="34" charset="0"/>
                <a:ea typeface="Arial Unicode MS" pitchFamily="34" charset="-128"/>
              </a:defRPr>
            </a:lvl3pPr>
            <a:lvl4pPr marL="1600200" indent="-228600">
              <a:defRPr kumimoji="1" sz="1200">
                <a:solidFill>
                  <a:srgbClr val="000000"/>
                </a:solidFill>
                <a:latin typeface="Arial" panose="020B0604020202020204" pitchFamily="34" charset="0"/>
                <a:ea typeface="Arial Unicode MS" pitchFamily="34" charset="-128"/>
              </a:defRPr>
            </a:lvl4pPr>
            <a:lvl5pPr marL="2057400" indent="-228600">
              <a:defRPr kumimoji="1" sz="1200">
                <a:solidFill>
                  <a:srgbClr val="000000"/>
                </a:solidFill>
                <a:latin typeface="Arial" panose="020B0604020202020204" pitchFamily="34" charset="0"/>
                <a:ea typeface="Arial Unicode MS" pitchFamily="34" charset="-128"/>
              </a:defRPr>
            </a:lvl5pPr>
            <a:lvl6pPr marL="25146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6pPr>
            <a:lvl7pPr marL="29718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7pPr>
            <a:lvl8pPr marL="34290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8pPr>
            <a:lvl9pPr marL="38862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9pPr>
          </a:lstStyle>
          <a:p>
            <a:pPr fontAlgn="ctr">
              <a:spcBef>
                <a:spcPct val="0"/>
              </a:spcBef>
              <a:spcAft>
                <a:spcPct val="0"/>
              </a:spcAft>
              <a:defRPr/>
            </a:pPr>
            <a:r>
              <a:rPr lang="ru-RU" altLang="en-US" sz="800" smtClean="0">
                <a:solidFill>
                  <a:srgbClr val="FFFFFF"/>
                </a:solidFill>
                <a:latin typeface="Arial Narrow" panose="020B0606020202030204" pitchFamily="34" charset="0"/>
              </a:rPr>
              <a:t>Количество сотрудников</a:t>
            </a:r>
          </a:p>
        </p:txBody>
      </p:sp>
      <p:sp>
        <p:nvSpPr>
          <p:cNvPr id="11305" name="TextBox 73"/>
          <p:cNvSpPr txBox="1">
            <a:spLocks noChangeArrowheads="1"/>
          </p:cNvSpPr>
          <p:nvPr/>
        </p:nvSpPr>
        <p:spPr bwMode="auto">
          <a:xfrm>
            <a:off x="5726113" y="4443413"/>
            <a:ext cx="657225"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200">
                <a:solidFill>
                  <a:srgbClr val="000000"/>
                </a:solidFill>
                <a:latin typeface="Arial" panose="020B0604020202020204" pitchFamily="34" charset="0"/>
                <a:ea typeface="Arial Unicode MS" pitchFamily="34" charset="-128"/>
              </a:defRPr>
            </a:lvl1pPr>
            <a:lvl2pPr marL="742950" indent="-285750">
              <a:defRPr kumimoji="1" sz="1200">
                <a:solidFill>
                  <a:srgbClr val="000000"/>
                </a:solidFill>
                <a:latin typeface="Arial" panose="020B0604020202020204" pitchFamily="34" charset="0"/>
                <a:ea typeface="Arial Unicode MS" pitchFamily="34" charset="-128"/>
              </a:defRPr>
            </a:lvl2pPr>
            <a:lvl3pPr marL="1143000" indent="-228600">
              <a:defRPr kumimoji="1" sz="1200">
                <a:solidFill>
                  <a:srgbClr val="000000"/>
                </a:solidFill>
                <a:latin typeface="Arial" panose="020B0604020202020204" pitchFamily="34" charset="0"/>
                <a:ea typeface="Arial Unicode MS" pitchFamily="34" charset="-128"/>
              </a:defRPr>
            </a:lvl3pPr>
            <a:lvl4pPr marL="1600200" indent="-228600">
              <a:defRPr kumimoji="1" sz="1200">
                <a:solidFill>
                  <a:srgbClr val="000000"/>
                </a:solidFill>
                <a:latin typeface="Arial" panose="020B0604020202020204" pitchFamily="34" charset="0"/>
                <a:ea typeface="Arial Unicode MS" pitchFamily="34" charset="-128"/>
              </a:defRPr>
            </a:lvl4pPr>
            <a:lvl5pPr marL="2057400" indent="-228600">
              <a:defRPr kumimoji="1" sz="1200">
                <a:solidFill>
                  <a:srgbClr val="000000"/>
                </a:solidFill>
                <a:latin typeface="Arial" panose="020B0604020202020204" pitchFamily="34" charset="0"/>
                <a:ea typeface="Arial Unicode MS" pitchFamily="34" charset="-128"/>
              </a:defRPr>
            </a:lvl5pPr>
            <a:lvl6pPr marL="25146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6pPr>
            <a:lvl7pPr marL="29718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7pPr>
            <a:lvl8pPr marL="34290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8pPr>
            <a:lvl9pPr marL="38862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9pPr>
          </a:lstStyle>
          <a:p>
            <a:pPr fontAlgn="ctr">
              <a:spcBef>
                <a:spcPct val="0"/>
              </a:spcBef>
              <a:spcAft>
                <a:spcPct val="0"/>
              </a:spcAft>
              <a:defRPr/>
            </a:pPr>
            <a:r>
              <a:rPr lang="ru-RU" altLang="en-US" sz="800" smtClean="0">
                <a:solidFill>
                  <a:srgbClr val="FFFFFF"/>
                </a:solidFill>
                <a:latin typeface="Arial Narrow" panose="020B0606020202030204" pitchFamily="34" charset="0"/>
              </a:rPr>
              <a:t>Доход в млрд</a:t>
            </a:r>
            <a:r>
              <a:rPr lang="en-US" altLang="en-US" sz="800" smtClean="0">
                <a:solidFill>
                  <a:srgbClr val="FFFFFF"/>
                </a:solidFill>
                <a:latin typeface="Arial Narrow" panose="020B0606020202030204" pitchFamily="34" charset="0"/>
              </a:rPr>
              <a:t>. </a:t>
            </a:r>
            <a:r>
              <a:rPr lang="ru-RU" altLang="en-US" sz="800" smtClean="0">
                <a:solidFill>
                  <a:srgbClr val="FFFFFF"/>
                </a:solidFill>
                <a:latin typeface="Arial Narrow" panose="020B0606020202030204" pitchFamily="34" charset="0"/>
              </a:rPr>
              <a:t>йен</a:t>
            </a:r>
          </a:p>
        </p:txBody>
      </p:sp>
      <p:sp>
        <p:nvSpPr>
          <p:cNvPr id="11306" name="TextBox 74"/>
          <p:cNvSpPr txBox="1">
            <a:spLocks noChangeArrowheads="1"/>
          </p:cNvSpPr>
          <p:nvPr/>
        </p:nvSpPr>
        <p:spPr bwMode="auto">
          <a:xfrm>
            <a:off x="6804025" y="4443413"/>
            <a:ext cx="823913"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sz="1200">
                <a:solidFill>
                  <a:srgbClr val="000000"/>
                </a:solidFill>
                <a:latin typeface="Arial" panose="020B0604020202020204" pitchFamily="34" charset="0"/>
                <a:ea typeface="Arial Unicode MS" pitchFamily="34" charset="-128"/>
              </a:defRPr>
            </a:lvl1pPr>
            <a:lvl2pPr marL="742950" indent="-285750">
              <a:defRPr kumimoji="1" sz="1200">
                <a:solidFill>
                  <a:srgbClr val="000000"/>
                </a:solidFill>
                <a:latin typeface="Arial" panose="020B0604020202020204" pitchFamily="34" charset="0"/>
                <a:ea typeface="Arial Unicode MS" pitchFamily="34" charset="-128"/>
              </a:defRPr>
            </a:lvl2pPr>
            <a:lvl3pPr marL="1143000" indent="-228600">
              <a:defRPr kumimoji="1" sz="1200">
                <a:solidFill>
                  <a:srgbClr val="000000"/>
                </a:solidFill>
                <a:latin typeface="Arial" panose="020B0604020202020204" pitchFamily="34" charset="0"/>
                <a:ea typeface="Arial Unicode MS" pitchFamily="34" charset="-128"/>
              </a:defRPr>
            </a:lvl3pPr>
            <a:lvl4pPr marL="1600200" indent="-228600">
              <a:defRPr kumimoji="1" sz="1200">
                <a:solidFill>
                  <a:srgbClr val="000000"/>
                </a:solidFill>
                <a:latin typeface="Arial" panose="020B0604020202020204" pitchFamily="34" charset="0"/>
                <a:ea typeface="Arial Unicode MS" pitchFamily="34" charset="-128"/>
              </a:defRPr>
            </a:lvl4pPr>
            <a:lvl5pPr marL="2057400" indent="-228600">
              <a:defRPr kumimoji="1" sz="1200">
                <a:solidFill>
                  <a:srgbClr val="000000"/>
                </a:solidFill>
                <a:latin typeface="Arial" panose="020B0604020202020204" pitchFamily="34" charset="0"/>
                <a:ea typeface="Arial Unicode MS" pitchFamily="34" charset="-128"/>
              </a:defRPr>
            </a:lvl5pPr>
            <a:lvl6pPr marL="25146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6pPr>
            <a:lvl7pPr marL="29718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7pPr>
            <a:lvl8pPr marL="34290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8pPr>
            <a:lvl9pPr marL="3886200" indent="-228600" eaLnBrk="0" fontAlgn="base" hangingPunct="0">
              <a:spcBef>
                <a:spcPct val="0"/>
              </a:spcBef>
              <a:spcAft>
                <a:spcPct val="0"/>
              </a:spcAft>
              <a:defRPr kumimoji="1" sz="1200">
                <a:solidFill>
                  <a:srgbClr val="000000"/>
                </a:solidFill>
                <a:latin typeface="Arial" panose="020B0604020202020204" pitchFamily="34" charset="0"/>
                <a:ea typeface="Arial Unicode MS" pitchFamily="34" charset="-128"/>
              </a:defRPr>
            </a:lvl9pPr>
          </a:lstStyle>
          <a:p>
            <a:pPr fontAlgn="ctr">
              <a:spcBef>
                <a:spcPct val="0"/>
              </a:spcBef>
              <a:spcAft>
                <a:spcPct val="0"/>
              </a:spcAft>
              <a:defRPr/>
            </a:pPr>
            <a:r>
              <a:rPr lang="ru-RU" altLang="en-US" sz="800" smtClean="0">
                <a:solidFill>
                  <a:srgbClr val="FFFFFF"/>
                </a:solidFill>
                <a:latin typeface="Arial Narrow" panose="020B0606020202030204" pitchFamily="34" charset="0"/>
              </a:rPr>
              <a:t>Количество ЦОД</a:t>
            </a:r>
          </a:p>
        </p:txBody>
      </p:sp>
      <p:grpSp>
        <p:nvGrpSpPr>
          <p:cNvPr id="11307" name="Группа 60"/>
          <p:cNvGrpSpPr>
            <a:grpSpLocks noChangeAspect="1"/>
          </p:cNvGrpSpPr>
          <p:nvPr/>
        </p:nvGrpSpPr>
        <p:grpSpPr bwMode="auto">
          <a:xfrm>
            <a:off x="6011863" y="2139950"/>
            <a:ext cx="1273175" cy="1408113"/>
            <a:chOff x="6859538" y="3172517"/>
            <a:chExt cx="1398395" cy="1547052"/>
          </a:xfrm>
        </p:grpSpPr>
        <p:sp>
          <p:nvSpPr>
            <p:cNvPr id="91" name="Rectangle 53"/>
            <p:cNvSpPr/>
            <p:nvPr/>
          </p:nvSpPr>
          <p:spPr>
            <a:xfrm>
              <a:off x="6868256" y="3423673"/>
              <a:ext cx="1375728" cy="1295896"/>
            </a:xfrm>
            <a:prstGeom prst="rect">
              <a:avLst/>
            </a:prstGeom>
            <a:solidFill>
              <a:schemeClr val="bg1">
                <a:alpha val="9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36000" bIns="36000"/>
            <a:lstStyle/>
            <a:p>
              <a:pPr algn="ctr" fontAlgn="ctr">
                <a:spcBef>
                  <a:spcPct val="0"/>
                </a:spcBef>
                <a:spcAft>
                  <a:spcPct val="0"/>
                </a:spcAft>
                <a:defRPr/>
              </a:pPr>
              <a:endParaRPr kumimoji="1" lang="ru-RU" altLang="en-US" sz="800" dirty="0">
                <a:solidFill>
                  <a:srgbClr val="000000"/>
                </a:solidFill>
                <a:latin typeface="Arial Narrow" panose="020B0606020202030204" pitchFamily="34" charset="0"/>
              </a:endParaRPr>
            </a:p>
            <a:p>
              <a:pPr fontAlgn="ctr">
                <a:spcBef>
                  <a:spcPct val="0"/>
                </a:spcBef>
                <a:spcAft>
                  <a:spcPct val="0"/>
                </a:spcAft>
                <a:defRPr/>
              </a:pPr>
              <a:r>
                <a:rPr kumimoji="1" lang="en-US" altLang="en-US" sz="800" dirty="0">
                  <a:solidFill>
                    <a:srgbClr val="000000"/>
                  </a:solidFill>
                  <a:latin typeface="Arial Narrow" panose="020B0606020202030204" pitchFamily="34" charset="0"/>
                </a:rPr>
                <a:t>92 </a:t>
              </a:r>
              <a:r>
                <a:rPr kumimoji="1" lang="ru-RU" altLang="en-US" sz="800" dirty="0">
                  <a:solidFill>
                    <a:srgbClr val="000000"/>
                  </a:solidFill>
                  <a:latin typeface="Arial Narrow" panose="020B0606020202030204" pitchFamily="34" charset="0"/>
                </a:rPr>
                <a:t>компании</a:t>
              </a:r>
            </a:p>
            <a:p>
              <a:pPr fontAlgn="ctr">
                <a:spcBef>
                  <a:spcPct val="0"/>
                </a:spcBef>
                <a:spcAft>
                  <a:spcPct val="0"/>
                </a:spcAft>
                <a:defRPr/>
              </a:pPr>
              <a:endParaRPr kumimoji="1" lang="ru-RU" altLang="en-US" sz="800" dirty="0">
                <a:solidFill>
                  <a:srgbClr val="000000"/>
                </a:solidFill>
                <a:latin typeface="Arial Narrow" panose="020B0606020202030204" pitchFamily="34" charset="0"/>
              </a:endParaRPr>
            </a:p>
            <a:p>
              <a:pPr fontAlgn="ctr">
                <a:spcBef>
                  <a:spcPct val="0"/>
                </a:spcBef>
                <a:spcAft>
                  <a:spcPct val="0"/>
                </a:spcAft>
                <a:defRPr/>
              </a:pPr>
              <a:r>
                <a:rPr kumimoji="1" lang="en-US" altLang="en-US" sz="800" dirty="0">
                  <a:solidFill>
                    <a:srgbClr val="000000"/>
                  </a:solidFill>
                  <a:latin typeface="Arial Narrow" panose="020B0606020202030204" pitchFamily="34" charset="0"/>
                </a:rPr>
                <a:t>18000</a:t>
              </a:r>
            </a:p>
            <a:p>
              <a:pPr fontAlgn="ctr">
                <a:spcBef>
                  <a:spcPct val="0"/>
                </a:spcBef>
                <a:spcAft>
                  <a:spcPct val="0"/>
                </a:spcAft>
                <a:defRPr/>
              </a:pPr>
              <a:endParaRPr kumimoji="1" lang="en-US" altLang="en-US" sz="800" dirty="0">
                <a:solidFill>
                  <a:srgbClr val="000000"/>
                </a:solidFill>
                <a:latin typeface="Arial Narrow" panose="020B0606020202030204" pitchFamily="34" charset="0"/>
              </a:endParaRPr>
            </a:p>
            <a:p>
              <a:pPr fontAlgn="ctr">
                <a:spcBef>
                  <a:spcPct val="0"/>
                </a:spcBef>
                <a:spcAft>
                  <a:spcPct val="0"/>
                </a:spcAft>
                <a:defRPr/>
              </a:pPr>
              <a:endParaRPr kumimoji="1" lang="en-US" altLang="en-US" sz="600" dirty="0">
                <a:solidFill>
                  <a:srgbClr val="000000"/>
                </a:solidFill>
                <a:latin typeface="Arial Narrow" panose="020B0606020202030204" pitchFamily="34" charset="0"/>
              </a:endParaRPr>
            </a:p>
            <a:p>
              <a:pPr fontAlgn="ctr">
                <a:spcBef>
                  <a:spcPct val="0"/>
                </a:spcBef>
                <a:spcAft>
                  <a:spcPct val="0"/>
                </a:spcAft>
                <a:defRPr/>
              </a:pPr>
              <a:r>
                <a:rPr kumimoji="1" lang="en-US" altLang="en-US" sz="800" dirty="0">
                  <a:solidFill>
                    <a:srgbClr val="000000"/>
                  </a:solidFill>
                  <a:latin typeface="Arial Narrow" panose="020B0606020202030204" pitchFamily="34" charset="0"/>
                </a:rPr>
                <a:t>387.1</a:t>
              </a:r>
              <a:endParaRPr kumimoji="1" lang="ru-RU" altLang="en-US" sz="800" dirty="0">
                <a:solidFill>
                  <a:srgbClr val="000000"/>
                </a:solidFill>
                <a:latin typeface="Arial Narrow" panose="020B0606020202030204" pitchFamily="34" charset="0"/>
              </a:endParaRPr>
            </a:p>
            <a:p>
              <a:pPr fontAlgn="ctr">
                <a:spcBef>
                  <a:spcPct val="0"/>
                </a:spcBef>
                <a:spcAft>
                  <a:spcPct val="0"/>
                </a:spcAft>
                <a:defRPr/>
              </a:pPr>
              <a:endParaRPr kumimoji="1" lang="en-US" altLang="en-US" sz="600" dirty="0">
                <a:solidFill>
                  <a:srgbClr val="000000"/>
                </a:solidFill>
                <a:latin typeface="Arial Narrow" panose="020B0606020202030204" pitchFamily="34" charset="0"/>
              </a:endParaRPr>
            </a:p>
            <a:p>
              <a:pPr fontAlgn="ctr">
                <a:spcBef>
                  <a:spcPct val="0"/>
                </a:spcBef>
                <a:spcAft>
                  <a:spcPct val="0"/>
                </a:spcAft>
                <a:defRPr/>
              </a:pPr>
              <a:r>
                <a:rPr kumimoji="1" lang="en-US" altLang="en-US" sz="800" dirty="0">
                  <a:solidFill>
                    <a:srgbClr val="000000"/>
                  </a:solidFill>
                  <a:latin typeface="Arial Narrow" panose="020B0606020202030204" pitchFamily="34" charset="0"/>
                </a:rPr>
                <a:t>10</a:t>
              </a:r>
              <a:endParaRPr kumimoji="1" lang="fr-FR" altLang="en-US" sz="800" dirty="0">
                <a:solidFill>
                  <a:srgbClr val="000000"/>
                </a:solidFill>
                <a:latin typeface="Arial Narrow" panose="020B0606020202030204" pitchFamily="34" charset="0"/>
              </a:endParaRPr>
            </a:p>
          </p:txBody>
        </p:sp>
        <p:sp>
          <p:nvSpPr>
            <p:cNvPr id="92" name="Rectangle 54"/>
            <p:cNvSpPr/>
            <p:nvPr/>
          </p:nvSpPr>
          <p:spPr>
            <a:xfrm>
              <a:off x="6859538" y="3172517"/>
              <a:ext cx="1398395" cy="313945"/>
            </a:xfrm>
            <a:prstGeom prst="rect">
              <a:avLst/>
            </a:prstGeom>
            <a:solidFill>
              <a:srgbClr val="C8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ctr">
                <a:spcBef>
                  <a:spcPct val="0"/>
                </a:spcBef>
                <a:spcAft>
                  <a:spcPct val="0"/>
                </a:spcAft>
                <a:defRPr/>
              </a:pPr>
              <a:r>
                <a:rPr kumimoji="1" lang="ru-RU" altLang="en-US" sz="800" dirty="0">
                  <a:solidFill>
                    <a:srgbClr val="FFFFFF"/>
                  </a:solidFill>
                  <a:latin typeface="Arial Narrow" panose="020B0606020202030204" pitchFamily="34" charset="0"/>
                </a:rPr>
                <a:t>АЗИЯ</a:t>
              </a:r>
              <a:endParaRPr kumimoji="1" lang="fr-FR" altLang="en-US" sz="800" b="1" dirty="0">
                <a:solidFill>
                  <a:srgbClr val="FFFFFF"/>
                </a:solidFill>
                <a:latin typeface="Arial Narrow" panose="020B0606020202030204" pitchFamily="34" charset="0"/>
              </a:endParaRPr>
            </a:p>
          </p:txBody>
        </p:sp>
        <p:grpSp>
          <p:nvGrpSpPr>
            <p:cNvPr id="11326" name="Группа 63"/>
            <p:cNvGrpSpPr>
              <a:grpSpLocks/>
            </p:cNvGrpSpPr>
            <p:nvPr/>
          </p:nvGrpSpPr>
          <p:grpSpPr bwMode="auto">
            <a:xfrm>
              <a:off x="6948264" y="3599406"/>
              <a:ext cx="217796" cy="988568"/>
              <a:chOff x="6923742" y="3571722"/>
              <a:chExt cx="245213" cy="1113011"/>
            </a:xfrm>
          </p:grpSpPr>
          <p:pic>
            <p:nvPicPr>
              <p:cNvPr id="11327"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28740" y="3571722"/>
                <a:ext cx="235216" cy="188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28"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31386" y="3858244"/>
                <a:ext cx="229924" cy="245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29"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923742" y="4201218"/>
                <a:ext cx="245213" cy="216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30"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923742" y="4515966"/>
                <a:ext cx="245213" cy="16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11308" name="Группа 60"/>
          <p:cNvGrpSpPr>
            <a:grpSpLocks noChangeAspect="1"/>
          </p:cNvGrpSpPr>
          <p:nvPr/>
        </p:nvGrpSpPr>
        <p:grpSpPr bwMode="auto">
          <a:xfrm>
            <a:off x="7524750" y="1689100"/>
            <a:ext cx="1271588" cy="1387475"/>
            <a:chOff x="6853600" y="3172516"/>
            <a:chExt cx="1398395" cy="1524076"/>
          </a:xfrm>
        </p:grpSpPr>
        <p:sp>
          <p:nvSpPr>
            <p:cNvPr id="99" name="Rectangle 53"/>
            <p:cNvSpPr/>
            <p:nvPr/>
          </p:nvSpPr>
          <p:spPr>
            <a:xfrm>
              <a:off x="6867566" y="3400954"/>
              <a:ext cx="1377445" cy="1295638"/>
            </a:xfrm>
            <a:prstGeom prst="rect">
              <a:avLst/>
            </a:prstGeom>
            <a:solidFill>
              <a:schemeClr val="bg1">
                <a:alpha val="9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36000" bIns="36000"/>
            <a:lstStyle/>
            <a:p>
              <a:pPr algn="ctr" fontAlgn="ctr">
                <a:spcBef>
                  <a:spcPct val="0"/>
                </a:spcBef>
                <a:spcAft>
                  <a:spcPct val="0"/>
                </a:spcAft>
                <a:defRPr/>
              </a:pPr>
              <a:endParaRPr kumimoji="1" lang="ru-RU" altLang="en-US" sz="800" dirty="0">
                <a:solidFill>
                  <a:srgbClr val="000000"/>
                </a:solidFill>
                <a:latin typeface="Arial Narrow" panose="020B0606020202030204" pitchFamily="34" charset="0"/>
              </a:endParaRPr>
            </a:p>
            <a:p>
              <a:pPr fontAlgn="ctr">
                <a:spcBef>
                  <a:spcPct val="0"/>
                </a:spcBef>
                <a:spcAft>
                  <a:spcPct val="0"/>
                </a:spcAft>
                <a:defRPr/>
              </a:pPr>
              <a:r>
                <a:rPr kumimoji="1" lang="en-US" altLang="en-US" sz="800" dirty="0">
                  <a:solidFill>
                    <a:srgbClr val="000000"/>
                  </a:solidFill>
                  <a:latin typeface="Arial Narrow" panose="020B0606020202030204" pitchFamily="34" charset="0"/>
                </a:rPr>
                <a:t>197 </a:t>
              </a:r>
              <a:r>
                <a:rPr kumimoji="1" lang="ru-RU" altLang="en-US" sz="800" dirty="0">
                  <a:solidFill>
                    <a:srgbClr val="000000"/>
                  </a:solidFill>
                  <a:latin typeface="Arial Narrow" panose="020B0606020202030204" pitchFamily="34" charset="0"/>
                </a:rPr>
                <a:t>компаний</a:t>
              </a:r>
            </a:p>
            <a:p>
              <a:pPr fontAlgn="ctr">
                <a:spcBef>
                  <a:spcPct val="0"/>
                </a:spcBef>
                <a:spcAft>
                  <a:spcPct val="0"/>
                </a:spcAft>
                <a:defRPr/>
              </a:pPr>
              <a:endParaRPr kumimoji="1" lang="ru-RU" altLang="en-US" sz="800" dirty="0">
                <a:solidFill>
                  <a:srgbClr val="000000"/>
                </a:solidFill>
                <a:latin typeface="Arial Narrow" panose="020B0606020202030204" pitchFamily="34" charset="0"/>
              </a:endParaRPr>
            </a:p>
            <a:p>
              <a:pPr fontAlgn="ctr">
                <a:spcBef>
                  <a:spcPct val="0"/>
                </a:spcBef>
                <a:spcAft>
                  <a:spcPct val="0"/>
                </a:spcAft>
                <a:defRPr/>
              </a:pPr>
              <a:r>
                <a:rPr kumimoji="1" lang="en-US" altLang="en-US" sz="800" dirty="0">
                  <a:solidFill>
                    <a:srgbClr val="000000"/>
                  </a:solidFill>
                  <a:latin typeface="Arial Narrow" panose="020B0606020202030204" pitchFamily="34" charset="0"/>
                </a:rPr>
                <a:t>99000</a:t>
              </a:r>
            </a:p>
            <a:p>
              <a:pPr fontAlgn="ctr">
                <a:spcBef>
                  <a:spcPct val="0"/>
                </a:spcBef>
                <a:spcAft>
                  <a:spcPct val="0"/>
                </a:spcAft>
                <a:defRPr/>
              </a:pPr>
              <a:endParaRPr kumimoji="1" lang="en-US" altLang="en-US" sz="800" dirty="0">
                <a:solidFill>
                  <a:srgbClr val="000000"/>
                </a:solidFill>
                <a:latin typeface="Arial Narrow" panose="020B0606020202030204" pitchFamily="34" charset="0"/>
              </a:endParaRPr>
            </a:p>
            <a:p>
              <a:pPr fontAlgn="ctr">
                <a:spcBef>
                  <a:spcPct val="0"/>
                </a:spcBef>
                <a:spcAft>
                  <a:spcPct val="0"/>
                </a:spcAft>
                <a:defRPr/>
              </a:pPr>
              <a:endParaRPr kumimoji="1" lang="en-US" altLang="en-US" sz="600" dirty="0">
                <a:solidFill>
                  <a:srgbClr val="000000"/>
                </a:solidFill>
                <a:latin typeface="Arial Narrow" panose="020B0606020202030204" pitchFamily="34" charset="0"/>
              </a:endParaRPr>
            </a:p>
            <a:p>
              <a:pPr fontAlgn="ctr">
                <a:spcBef>
                  <a:spcPct val="0"/>
                </a:spcBef>
                <a:spcAft>
                  <a:spcPct val="0"/>
                </a:spcAft>
                <a:defRPr/>
              </a:pPr>
              <a:r>
                <a:rPr kumimoji="1" lang="en-US" altLang="en-US" sz="800" dirty="0">
                  <a:solidFill>
                    <a:srgbClr val="000000"/>
                  </a:solidFill>
                  <a:latin typeface="Arial Narrow" panose="020B0606020202030204" pitchFamily="34" charset="0"/>
                </a:rPr>
                <a:t>2.873.2</a:t>
              </a:r>
              <a:endParaRPr kumimoji="1" lang="ru-RU" altLang="en-US" sz="800" dirty="0">
                <a:solidFill>
                  <a:srgbClr val="000000"/>
                </a:solidFill>
                <a:latin typeface="Arial Narrow" panose="020B0606020202030204" pitchFamily="34" charset="0"/>
              </a:endParaRPr>
            </a:p>
            <a:p>
              <a:pPr fontAlgn="ctr">
                <a:spcBef>
                  <a:spcPct val="0"/>
                </a:spcBef>
                <a:spcAft>
                  <a:spcPct val="0"/>
                </a:spcAft>
                <a:defRPr/>
              </a:pPr>
              <a:endParaRPr kumimoji="1" lang="en-US" altLang="en-US" sz="800" dirty="0">
                <a:solidFill>
                  <a:srgbClr val="000000"/>
                </a:solidFill>
                <a:latin typeface="Arial Narrow" panose="020B0606020202030204" pitchFamily="34" charset="0"/>
              </a:endParaRPr>
            </a:p>
            <a:p>
              <a:pPr fontAlgn="ctr">
                <a:spcBef>
                  <a:spcPct val="0"/>
                </a:spcBef>
                <a:spcAft>
                  <a:spcPct val="0"/>
                </a:spcAft>
                <a:defRPr/>
              </a:pPr>
              <a:r>
                <a:rPr kumimoji="1" lang="en-US" altLang="en-US" sz="800" dirty="0">
                  <a:solidFill>
                    <a:srgbClr val="000000"/>
                  </a:solidFill>
                  <a:latin typeface="Arial Narrow" panose="020B0606020202030204" pitchFamily="34" charset="0"/>
                </a:rPr>
                <a:t>71</a:t>
              </a:r>
              <a:endParaRPr kumimoji="1" lang="fr-FR" altLang="en-US" sz="800" dirty="0">
                <a:solidFill>
                  <a:srgbClr val="000000"/>
                </a:solidFill>
                <a:latin typeface="Arial Narrow" panose="020B0606020202030204" pitchFamily="34" charset="0"/>
              </a:endParaRPr>
            </a:p>
          </p:txBody>
        </p:sp>
        <p:sp>
          <p:nvSpPr>
            <p:cNvPr id="100" name="Rectangle 54"/>
            <p:cNvSpPr/>
            <p:nvPr/>
          </p:nvSpPr>
          <p:spPr>
            <a:xfrm>
              <a:off x="6853600" y="3172516"/>
              <a:ext cx="1398395" cy="313883"/>
            </a:xfrm>
            <a:prstGeom prst="rect">
              <a:avLst/>
            </a:prstGeom>
            <a:solidFill>
              <a:srgbClr val="C8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ctr">
                <a:spcBef>
                  <a:spcPct val="0"/>
                </a:spcBef>
                <a:spcAft>
                  <a:spcPct val="0"/>
                </a:spcAft>
                <a:defRPr/>
              </a:pPr>
              <a:r>
                <a:rPr kumimoji="1" lang="ru-RU" altLang="en-US" sz="800" dirty="0">
                  <a:solidFill>
                    <a:srgbClr val="FFFFFF"/>
                  </a:solidFill>
                  <a:latin typeface="Arial Narrow" panose="020B0606020202030204" pitchFamily="34" charset="0"/>
                </a:rPr>
                <a:t>ЯПОНИЯ</a:t>
              </a:r>
              <a:endParaRPr kumimoji="1" lang="fr-FR" altLang="en-US" sz="800" b="1" dirty="0">
                <a:solidFill>
                  <a:srgbClr val="FFFFFF"/>
                </a:solidFill>
                <a:latin typeface="Arial Narrow" panose="020B0606020202030204" pitchFamily="34" charset="0"/>
              </a:endParaRPr>
            </a:p>
          </p:txBody>
        </p:sp>
        <p:grpSp>
          <p:nvGrpSpPr>
            <p:cNvPr id="11319" name="Группа 63"/>
            <p:cNvGrpSpPr>
              <a:grpSpLocks/>
            </p:cNvGrpSpPr>
            <p:nvPr/>
          </p:nvGrpSpPr>
          <p:grpSpPr bwMode="auto">
            <a:xfrm>
              <a:off x="6948264" y="3599406"/>
              <a:ext cx="217796" cy="988568"/>
              <a:chOff x="6923742" y="3571722"/>
              <a:chExt cx="245213" cy="1113011"/>
            </a:xfrm>
          </p:grpSpPr>
          <p:pic>
            <p:nvPicPr>
              <p:cNvPr id="11320"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28740" y="3571722"/>
                <a:ext cx="235216" cy="188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21"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31386" y="3858244"/>
                <a:ext cx="229924" cy="245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22"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923742" y="4201218"/>
                <a:ext cx="245213" cy="216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23"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923742" y="4515966"/>
                <a:ext cx="245213" cy="168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11309" name="Группа 60"/>
          <p:cNvGrpSpPr>
            <a:grpSpLocks noChangeAspect="1"/>
          </p:cNvGrpSpPr>
          <p:nvPr/>
        </p:nvGrpSpPr>
        <p:grpSpPr bwMode="auto">
          <a:xfrm>
            <a:off x="7524750" y="3148013"/>
            <a:ext cx="1271588" cy="1441450"/>
            <a:chOff x="6859538" y="3032000"/>
            <a:chExt cx="1398395" cy="1584176"/>
          </a:xfrm>
        </p:grpSpPr>
        <p:sp>
          <p:nvSpPr>
            <p:cNvPr id="107" name="Rectangle 53"/>
            <p:cNvSpPr/>
            <p:nvPr/>
          </p:nvSpPr>
          <p:spPr>
            <a:xfrm>
              <a:off x="6864776" y="3319873"/>
              <a:ext cx="1375699" cy="1296303"/>
            </a:xfrm>
            <a:prstGeom prst="rect">
              <a:avLst/>
            </a:prstGeom>
            <a:solidFill>
              <a:schemeClr val="bg1">
                <a:alpha val="9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0" tIns="36000" rIns="36000" bIns="36000"/>
            <a:lstStyle/>
            <a:p>
              <a:pPr algn="ctr" fontAlgn="ctr">
                <a:spcBef>
                  <a:spcPct val="0"/>
                </a:spcBef>
                <a:spcAft>
                  <a:spcPct val="0"/>
                </a:spcAft>
                <a:defRPr/>
              </a:pPr>
              <a:endParaRPr kumimoji="1" lang="ru-RU" altLang="en-US" sz="800" dirty="0">
                <a:solidFill>
                  <a:srgbClr val="000000"/>
                </a:solidFill>
                <a:latin typeface="Arial Narrow" panose="020B0606020202030204" pitchFamily="34" charset="0"/>
              </a:endParaRPr>
            </a:p>
            <a:p>
              <a:pPr fontAlgn="ctr">
                <a:spcBef>
                  <a:spcPct val="0"/>
                </a:spcBef>
                <a:spcAft>
                  <a:spcPct val="0"/>
                </a:spcAft>
                <a:defRPr/>
              </a:pPr>
              <a:r>
                <a:rPr kumimoji="1" lang="en-US" altLang="en-US" sz="800" dirty="0">
                  <a:solidFill>
                    <a:srgbClr val="000000"/>
                  </a:solidFill>
                  <a:latin typeface="Arial Narrow" panose="020B0606020202030204" pitchFamily="34" charset="0"/>
                </a:rPr>
                <a:t>39 </a:t>
              </a:r>
              <a:r>
                <a:rPr kumimoji="1" lang="ru-RU" altLang="en-US" sz="800" dirty="0">
                  <a:solidFill>
                    <a:srgbClr val="000000"/>
                  </a:solidFill>
                  <a:latin typeface="Arial Narrow" panose="020B0606020202030204" pitchFamily="34" charset="0"/>
                </a:rPr>
                <a:t>компаний</a:t>
              </a:r>
            </a:p>
            <a:p>
              <a:pPr fontAlgn="ctr">
                <a:spcBef>
                  <a:spcPct val="0"/>
                </a:spcBef>
                <a:spcAft>
                  <a:spcPct val="0"/>
                </a:spcAft>
                <a:defRPr/>
              </a:pPr>
              <a:endParaRPr kumimoji="1" lang="ru-RU" altLang="en-US" sz="800" dirty="0">
                <a:solidFill>
                  <a:srgbClr val="000000"/>
                </a:solidFill>
                <a:latin typeface="Arial Narrow" panose="020B0606020202030204" pitchFamily="34" charset="0"/>
              </a:endParaRPr>
            </a:p>
            <a:p>
              <a:pPr fontAlgn="ctr">
                <a:spcBef>
                  <a:spcPct val="0"/>
                </a:spcBef>
                <a:spcAft>
                  <a:spcPct val="0"/>
                </a:spcAft>
                <a:defRPr/>
              </a:pPr>
              <a:r>
                <a:rPr kumimoji="1" lang="en-US" altLang="en-US" sz="800" dirty="0">
                  <a:solidFill>
                    <a:srgbClr val="000000"/>
                  </a:solidFill>
                  <a:latin typeface="Arial Narrow" panose="020B0606020202030204" pitchFamily="34" charset="0"/>
                </a:rPr>
                <a:t>4000</a:t>
              </a:r>
            </a:p>
            <a:p>
              <a:pPr fontAlgn="ctr">
                <a:spcBef>
                  <a:spcPct val="0"/>
                </a:spcBef>
                <a:spcAft>
                  <a:spcPct val="0"/>
                </a:spcAft>
                <a:defRPr/>
              </a:pPr>
              <a:endParaRPr kumimoji="1" lang="en-US" altLang="en-US" sz="800" dirty="0">
                <a:solidFill>
                  <a:srgbClr val="000000"/>
                </a:solidFill>
                <a:latin typeface="Arial Narrow" panose="020B0606020202030204" pitchFamily="34" charset="0"/>
              </a:endParaRPr>
            </a:p>
            <a:p>
              <a:pPr fontAlgn="ctr">
                <a:spcBef>
                  <a:spcPct val="0"/>
                </a:spcBef>
                <a:spcAft>
                  <a:spcPct val="0"/>
                </a:spcAft>
                <a:defRPr/>
              </a:pPr>
              <a:r>
                <a:rPr kumimoji="1" lang="en-US" altLang="en-US" sz="800" dirty="0">
                  <a:solidFill>
                    <a:srgbClr val="000000"/>
                  </a:solidFill>
                  <a:latin typeface="Arial Narrow" panose="020B0606020202030204" pitchFamily="34" charset="0"/>
                </a:rPr>
                <a:t>110.0</a:t>
              </a:r>
              <a:endParaRPr kumimoji="1" lang="ru-RU" altLang="en-US" sz="800" dirty="0">
                <a:solidFill>
                  <a:srgbClr val="000000"/>
                </a:solidFill>
                <a:latin typeface="Arial Narrow" panose="020B0606020202030204" pitchFamily="34" charset="0"/>
              </a:endParaRPr>
            </a:p>
            <a:p>
              <a:pPr fontAlgn="ctr">
                <a:spcBef>
                  <a:spcPct val="0"/>
                </a:spcBef>
                <a:spcAft>
                  <a:spcPct val="0"/>
                </a:spcAft>
                <a:defRPr/>
              </a:pPr>
              <a:endParaRPr kumimoji="1" lang="en-US" altLang="en-US" sz="800" dirty="0">
                <a:solidFill>
                  <a:srgbClr val="000000"/>
                </a:solidFill>
                <a:latin typeface="Arial Narrow" panose="020B0606020202030204" pitchFamily="34" charset="0"/>
              </a:endParaRPr>
            </a:p>
            <a:p>
              <a:pPr fontAlgn="ctr">
                <a:spcBef>
                  <a:spcPct val="0"/>
                </a:spcBef>
                <a:spcAft>
                  <a:spcPct val="0"/>
                </a:spcAft>
                <a:defRPr/>
              </a:pPr>
              <a:r>
                <a:rPr kumimoji="1" lang="en-US" altLang="en-US" sz="800" dirty="0">
                  <a:solidFill>
                    <a:srgbClr val="000000"/>
                  </a:solidFill>
                  <a:latin typeface="Arial Narrow" panose="020B0606020202030204" pitchFamily="34" charset="0"/>
                </a:rPr>
                <a:t>6</a:t>
              </a:r>
              <a:endParaRPr kumimoji="1" lang="ru-RU" altLang="en-US" sz="800" dirty="0">
                <a:solidFill>
                  <a:srgbClr val="000000"/>
                </a:solidFill>
                <a:latin typeface="Arial Narrow" panose="020B0606020202030204" pitchFamily="34" charset="0"/>
              </a:endParaRPr>
            </a:p>
            <a:p>
              <a:pPr fontAlgn="ctr">
                <a:spcBef>
                  <a:spcPct val="0"/>
                </a:spcBef>
                <a:spcAft>
                  <a:spcPct val="0"/>
                </a:spcAft>
                <a:defRPr/>
              </a:pPr>
              <a:endParaRPr kumimoji="1" lang="fr-FR" altLang="en-US" sz="800" dirty="0">
                <a:solidFill>
                  <a:srgbClr val="000000"/>
                </a:solidFill>
                <a:latin typeface="Arial Narrow" panose="020B0606020202030204" pitchFamily="34" charset="0"/>
              </a:endParaRPr>
            </a:p>
          </p:txBody>
        </p:sp>
        <p:sp>
          <p:nvSpPr>
            <p:cNvPr id="108" name="Rectangle 54"/>
            <p:cNvSpPr/>
            <p:nvPr/>
          </p:nvSpPr>
          <p:spPr>
            <a:xfrm>
              <a:off x="6859538" y="3032000"/>
              <a:ext cx="1398395" cy="314044"/>
            </a:xfrm>
            <a:prstGeom prst="rect">
              <a:avLst/>
            </a:prstGeom>
            <a:solidFill>
              <a:srgbClr val="C8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ctr">
                <a:spcBef>
                  <a:spcPct val="0"/>
                </a:spcBef>
                <a:spcAft>
                  <a:spcPct val="0"/>
                </a:spcAft>
                <a:defRPr/>
              </a:pPr>
              <a:r>
                <a:rPr kumimoji="1" lang="ru-RU" altLang="en-US" sz="800" dirty="0">
                  <a:solidFill>
                    <a:srgbClr val="FFFFFF"/>
                  </a:solidFill>
                  <a:latin typeface="Arial Narrow" panose="020B0606020202030204" pitchFamily="34" charset="0"/>
                </a:rPr>
                <a:t>ОКЕАНИЯ</a:t>
              </a:r>
              <a:endParaRPr kumimoji="1" lang="fr-FR" altLang="en-US" sz="800" b="1" dirty="0">
                <a:solidFill>
                  <a:srgbClr val="FFFFFF"/>
                </a:solidFill>
                <a:latin typeface="Arial Narrow" panose="020B0606020202030204" pitchFamily="34" charset="0"/>
              </a:endParaRPr>
            </a:p>
          </p:txBody>
        </p:sp>
        <p:grpSp>
          <p:nvGrpSpPr>
            <p:cNvPr id="11312" name="Группа 63"/>
            <p:cNvGrpSpPr>
              <a:grpSpLocks/>
            </p:cNvGrpSpPr>
            <p:nvPr/>
          </p:nvGrpSpPr>
          <p:grpSpPr bwMode="auto">
            <a:xfrm>
              <a:off x="6948264" y="3464045"/>
              <a:ext cx="217796" cy="988569"/>
              <a:chOff x="6923742" y="3419324"/>
              <a:chExt cx="245213" cy="1113013"/>
            </a:xfrm>
          </p:grpSpPr>
          <p:pic>
            <p:nvPicPr>
              <p:cNvPr id="11313"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28740" y="3419324"/>
                <a:ext cx="235216" cy="188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14"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31386" y="3705846"/>
                <a:ext cx="229923" cy="245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15" name="Picture 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923742" y="4048822"/>
                <a:ext cx="245213" cy="216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16"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923742" y="4363569"/>
                <a:ext cx="245213" cy="168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468189770"/>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0530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hteck 96"/>
          <p:cNvSpPr/>
          <p:nvPr>
            <p:custDataLst>
              <p:tags r:id="rId1"/>
            </p:custDataLst>
          </p:nvPr>
        </p:nvSpPr>
        <p:spPr bwMode="gray">
          <a:xfrm>
            <a:off x="0" y="2356150"/>
            <a:ext cx="9144000" cy="2088232"/>
          </a:xfrm>
          <a:prstGeom prst="rect">
            <a:avLst/>
          </a:prstGeom>
          <a:gradFill>
            <a:gsLst>
              <a:gs pos="0">
                <a:schemeClr val="bg1"/>
              </a:gs>
              <a:gs pos="50000">
                <a:schemeClr val="bg2"/>
              </a:gs>
              <a:gs pos="100000">
                <a:schemeClr val="bg1"/>
              </a:gs>
            </a:gsLst>
            <a:lin ang="162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tIns="108000"/>
          <a:lstStyle/>
          <a:p>
            <a:pPr indent="-266700">
              <a:spcBef>
                <a:spcPts val="400"/>
              </a:spcBef>
              <a:spcAft>
                <a:spcPts val="200"/>
              </a:spcAft>
              <a:buClr>
                <a:srgbClr val="A30B1A"/>
              </a:buClr>
              <a:defRPr/>
            </a:pPr>
            <a:endParaRPr lang="en-US" sz="1400" dirty="0">
              <a:solidFill>
                <a:srgbClr val="000000"/>
              </a:solidFill>
            </a:endParaRPr>
          </a:p>
        </p:txBody>
      </p:sp>
      <p:sp>
        <p:nvSpPr>
          <p:cNvPr id="2" name="Title 1"/>
          <p:cNvSpPr>
            <a:spLocks noGrp="1"/>
          </p:cNvSpPr>
          <p:nvPr>
            <p:ph type="title"/>
          </p:nvPr>
        </p:nvSpPr>
        <p:spPr/>
        <p:txBody>
          <a:bodyPr/>
          <a:lstStyle/>
          <a:p>
            <a:r>
              <a:rPr lang="ru-RU" dirty="0" smtClean="0"/>
              <a:t>Серверное оборудование </a:t>
            </a:r>
            <a:r>
              <a:rPr lang="en-US" dirty="0" smtClean="0"/>
              <a:t>Fujitsu</a:t>
            </a:r>
            <a:endParaRPr lang="de-DE" dirty="0"/>
          </a:p>
        </p:txBody>
      </p:sp>
      <p:grpSp>
        <p:nvGrpSpPr>
          <p:cNvPr id="3" name="组合 136"/>
          <p:cNvGrpSpPr/>
          <p:nvPr/>
        </p:nvGrpSpPr>
        <p:grpSpPr>
          <a:xfrm>
            <a:off x="251354" y="3908789"/>
            <a:ext cx="8641822" cy="423863"/>
            <a:chOff x="476082" y="4966908"/>
            <a:chExt cx="11309501" cy="565150"/>
          </a:xfrm>
        </p:grpSpPr>
        <p:grpSp>
          <p:nvGrpSpPr>
            <p:cNvPr id="4" name="组合 137"/>
            <p:cNvGrpSpPr/>
            <p:nvPr/>
          </p:nvGrpSpPr>
          <p:grpSpPr>
            <a:xfrm flipH="1">
              <a:off x="7673957" y="4966908"/>
              <a:ext cx="4111626" cy="565150"/>
              <a:chOff x="-550863" y="1997075"/>
              <a:chExt cx="4111626" cy="565150"/>
            </a:xfrm>
          </p:grpSpPr>
          <p:sp>
            <p:nvSpPr>
              <p:cNvPr id="9" name="Freeform 7"/>
              <p:cNvSpPr>
                <a:spLocks/>
              </p:cNvSpPr>
              <p:nvPr/>
            </p:nvSpPr>
            <p:spPr bwMode="auto">
              <a:xfrm>
                <a:off x="2039938" y="1997075"/>
                <a:ext cx="1520825" cy="565150"/>
              </a:xfrm>
              <a:custGeom>
                <a:avLst/>
                <a:gdLst>
                  <a:gd name="T0" fmla="*/ 0 w 958"/>
                  <a:gd name="T1" fmla="*/ 356 h 356"/>
                  <a:gd name="T2" fmla="*/ 958 w 958"/>
                  <a:gd name="T3" fmla="*/ 10 h 356"/>
                  <a:gd name="T4" fmla="*/ 958 w 958"/>
                  <a:gd name="T5" fmla="*/ 0 h 356"/>
                  <a:gd name="T6" fmla="*/ 0 w 958"/>
                  <a:gd name="T7" fmla="*/ 344 h 356"/>
                  <a:gd name="T8" fmla="*/ 0 w 958"/>
                  <a:gd name="T9" fmla="*/ 356 h 356"/>
                </a:gdLst>
                <a:ahLst/>
                <a:cxnLst>
                  <a:cxn ang="0">
                    <a:pos x="T0" y="T1"/>
                  </a:cxn>
                  <a:cxn ang="0">
                    <a:pos x="T2" y="T3"/>
                  </a:cxn>
                  <a:cxn ang="0">
                    <a:pos x="T4" y="T5"/>
                  </a:cxn>
                  <a:cxn ang="0">
                    <a:pos x="T6" y="T7"/>
                  </a:cxn>
                  <a:cxn ang="0">
                    <a:pos x="T8" y="T9"/>
                  </a:cxn>
                </a:cxnLst>
                <a:rect l="0" t="0" r="r" b="b"/>
                <a:pathLst>
                  <a:path w="958" h="356">
                    <a:moveTo>
                      <a:pt x="0" y="356"/>
                    </a:moveTo>
                    <a:lnTo>
                      <a:pt x="958" y="10"/>
                    </a:lnTo>
                    <a:lnTo>
                      <a:pt x="958" y="0"/>
                    </a:lnTo>
                    <a:lnTo>
                      <a:pt x="0" y="344"/>
                    </a:lnTo>
                    <a:lnTo>
                      <a:pt x="0" y="356"/>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zh-CN" altLang="en-US">
                  <a:solidFill>
                    <a:srgbClr val="000000"/>
                  </a:solidFill>
                </a:endParaRPr>
              </a:p>
            </p:txBody>
          </p:sp>
          <p:sp>
            <p:nvSpPr>
              <p:cNvPr id="10" name="Freeform 6"/>
              <p:cNvSpPr>
                <a:spLocks/>
              </p:cNvSpPr>
              <p:nvPr/>
            </p:nvSpPr>
            <p:spPr bwMode="auto">
              <a:xfrm>
                <a:off x="-550863" y="2543175"/>
                <a:ext cx="2590801" cy="19050"/>
              </a:xfrm>
              <a:custGeom>
                <a:avLst/>
                <a:gdLst>
                  <a:gd name="T0" fmla="*/ 0 w 1632"/>
                  <a:gd name="T1" fmla="*/ 0 h 12"/>
                  <a:gd name="T2" fmla="*/ 0 w 1632"/>
                  <a:gd name="T3" fmla="*/ 12 h 12"/>
                  <a:gd name="T4" fmla="*/ 1632 w 1632"/>
                  <a:gd name="T5" fmla="*/ 12 h 12"/>
                  <a:gd name="T6" fmla="*/ 1632 w 1632"/>
                  <a:gd name="T7" fmla="*/ 0 h 12"/>
                  <a:gd name="T8" fmla="*/ 0 w 1632"/>
                  <a:gd name="T9" fmla="*/ 0 h 12"/>
                  <a:gd name="T10" fmla="*/ 0 w 1632"/>
                  <a:gd name="T11" fmla="*/ 0 h 12"/>
                </a:gdLst>
                <a:ahLst/>
                <a:cxnLst>
                  <a:cxn ang="0">
                    <a:pos x="T0" y="T1"/>
                  </a:cxn>
                  <a:cxn ang="0">
                    <a:pos x="T2" y="T3"/>
                  </a:cxn>
                  <a:cxn ang="0">
                    <a:pos x="T4" y="T5"/>
                  </a:cxn>
                  <a:cxn ang="0">
                    <a:pos x="T6" y="T7"/>
                  </a:cxn>
                  <a:cxn ang="0">
                    <a:pos x="T8" y="T9"/>
                  </a:cxn>
                  <a:cxn ang="0">
                    <a:pos x="T10" y="T11"/>
                  </a:cxn>
                </a:cxnLst>
                <a:rect l="0" t="0" r="r" b="b"/>
                <a:pathLst>
                  <a:path w="1632" h="12">
                    <a:moveTo>
                      <a:pt x="0" y="0"/>
                    </a:moveTo>
                    <a:lnTo>
                      <a:pt x="0" y="12"/>
                    </a:lnTo>
                    <a:lnTo>
                      <a:pt x="1632" y="12"/>
                    </a:lnTo>
                    <a:lnTo>
                      <a:pt x="1632" y="0"/>
                    </a:lnTo>
                    <a:lnTo>
                      <a:pt x="0" y="0"/>
                    </a:lnTo>
                    <a:lnTo>
                      <a:pt x="0"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zh-CN" altLang="en-US">
                  <a:solidFill>
                    <a:srgbClr val="000000"/>
                  </a:solidFill>
                </a:endParaRPr>
              </a:p>
            </p:txBody>
          </p:sp>
          <p:sp>
            <p:nvSpPr>
              <p:cNvPr id="11" name="Freeform 5"/>
              <p:cNvSpPr>
                <a:spLocks/>
              </p:cNvSpPr>
              <p:nvPr/>
            </p:nvSpPr>
            <p:spPr bwMode="auto">
              <a:xfrm>
                <a:off x="-550863" y="1997075"/>
                <a:ext cx="4111626" cy="549275"/>
              </a:xfrm>
              <a:custGeom>
                <a:avLst/>
                <a:gdLst>
                  <a:gd name="T0" fmla="*/ 0 w 2590"/>
                  <a:gd name="T1" fmla="*/ 346 h 346"/>
                  <a:gd name="T2" fmla="*/ 2080 w 2590"/>
                  <a:gd name="T3" fmla="*/ 0 h 346"/>
                  <a:gd name="T4" fmla="*/ 2590 w 2590"/>
                  <a:gd name="T5" fmla="*/ 0 h 346"/>
                  <a:gd name="T6" fmla="*/ 1632 w 2590"/>
                  <a:gd name="T7" fmla="*/ 346 h 346"/>
                  <a:gd name="T8" fmla="*/ 0 w 2590"/>
                  <a:gd name="T9" fmla="*/ 346 h 346"/>
                </a:gdLst>
                <a:ahLst/>
                <a:cxnLst>
                  <a:cxn ang="0">
                    <a:pos x="T0" y="T1"/>
                  </a:cxn>
                  <a:cxn ang="0">
                    <a:pos x="T2" y="T3"/>
                  </a:cxn>
                  <a:cxn ang="0">
                    <a:pos x="T4" y="T5"/>
                  </a:cxn>
                  <a:cxn ang="0">
                    <a:pos x="T6" y="T7"/>
                  </a:cxn>
                  <a:cxn ang="0">
                    <a:pos x="T8" y="T9"/>
                  </a:cxn>
                </a:cxnLst>
                <a:rect l="0" t="0" r="r" b="b"/>
                <a:pathLst>
                  <a:path w="2590" h="346">
                    <a:moveTo>
                      <a:pt x="0" y="346"/>
                    </a:moveTo>
                    <a:lnTo>
                      <a:pt x="2080" y="0"/>
                    </a:lnTo>
                    <a:lnTo>
                      <a:pt x="2590" y="0"/>
                    </a:lnTo>
                    <a:lnTo>
                      <a:pt x="1632" y="346"/>
                    </a:lnTo>
                    <a:lnTo>
                      <a:pt x="0" y="346"/>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000000"/>
                  </a:solidFill>
                </a:endParaRPr>
              </a:p>
            </p:txBody>
          </p:sp>
        </p:grpSp>
        <p:grpSp>
          <p:nvGrpSpPr>
            <p:cNvPr id="5" name="组合 138"/>
            <p:cNvGrpSpPr/>
            <p:nvPr/>
          </p:nvGrpSpPr>
          <p:grpSpPr>
            <a:xfrm>
              <a:off x="476082" y="4966908"/>
              <a:ext cx="4111626" cy="565150"/>
              <a:chOff x="-550863" y="1997075"/>
              <a:chExt cx="4111626" cy="565150"/>
            </a:xfrm>
          </p:grpSpPr>
          <p:sp>
            <p:nvSpPr>
              <p:cNvPr id="6" name="Freeform 7"/>
              <p:cNvSpPr>
                <a:spLocks/>
              </p:cNvSpPr>
              <p:nvPr/>
            </p:nvSpPr>
            <p:spPr bwMode="auto">
              <a:xfrm>
                <a:off x="2039938" y="1997075"/>
                <a:ext cx="1520825" cy="565150"/>
              </a:xfrm>
              <a:custGeom>
                <a:avLst/>
                <a:gdLst>
                  <a:gd name="T0" fmla="*/ 0 w 958"/>
                  <a:gd name="T1" fmla="*/ 356 h 356"/>
                  <a:gd name="T2" fmla="*/ 958 w 958"/>
                  <a:gd name="T3" fmla="*/ 10 h 356"/>
                  <a:gd name="T4" fmla="*/ 958 w 958"/>
                  <a:gd name="T5" fmla="*/ 0 h 356"/>
                  <a:gd name="T6" fmla="*/ 0 w 958"/>
                  <a:gd name="T7" fmla="*/ 344 h 356"/>
                  <a:gd name="T8" fmla="*/ 0 w 958"/>
                  <a:gd name="T9" fmla="*/ 356 h 356"/>
                </a:gdLst>
                <a:ahLst/>
                <a:cxnLst>
                  <a:cxn ang="0">
                    <a:pos x="T0" y="T1"/>
                  </a:cxn>
                  <a:cxn ang="0">
                    <a:pos x="T2" y="T3"/>
                  </a:cxn>
                  <a:cxn ang="0">
                    <a:pos x="T4" y="T5"/>
                  </a:cxn>
                  <a:cxn ang="0">
                    <a:pos x="T6" y="T7"/>
                  </a:cxn>
                  <a:cxn ang="0">
                    <a:pos x="T8" y="T9"/>
                  </a:cxn>
                </a:cxnLst>
                <a:rect l="0" t="0" r="r" b="b"/>
                <a:pathLst>
                  <a:path w="958" h="356">
                    <a:moveTo>
                      <a:pt x="0" y="356"/>
                    </a:moveTo>
                    <a:lnTo>
                      <a:pt x="958" y="10"/>
                    </a:lnTo>
                    <a:lnTo>
                      <a:pt x="958" y="0"/>
                    </a:lnTo>
                    <a:lnTo>
                      <a:pt x="0" y="344"/>
                    </a:lnTo>
                    <a:lnTo>
                      <a:pt x="0" y="356"/>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zh-CN" altLang="en-US">
                  <a:solidFill>
                    <a:srgbClr val="000000"/>
                  </a:solidFill>
                </a:endParaRPr>
              </a:p>
            </p:txBody>
          </p:sp>
          <p:sp>
            <p:nvSpPr>
              <p:cNvPr id="7" name="Freeform 6"/>
              <p:cNvSpPr>
                <a:spLocks/>
              </p:cNvSpPr>
              <p:nvPr/>
            </p:nvSpPr>
            <p:spPr bwMode="auto">
              <a:xfrm>
                <a:off x="-550863" y="2543175"/>
                <a:ext cx="2590801" cy="19050"/>
              </a:xfrm>
              <a:custGeom>
                <a:avLst/>
                <a:gdLst>
                  <a:gd name="T0" fmla="*/ 0 w 1632"/>
                  <a:gd name="T1" fmla="*/ 0 h 12"/>
                  <a:gd name="T2" fmla="*/ 0 w 1632"/>
                  <a:gd name="T3" fmla="*/ 12 h 12"/>
                  <a:gd name="T4" fmla="*/ 1632 w 1632"/>
                  <a:gd name="T5" fmla="*/ 12 h 12"/>
                  <a:gd name="T6" fmla="*/ 1632 w 1632"/>
                  <a:gd name="T7" fmla="*/ 0 h 12"/>
                  <a:gd name="T8" fmla="*/ 0 w 1632"/>
                  <a:gd name="T9" fmla="*/ 0 h 12"/>
                  <a:gd name="T10" fmla="*/ 0 w 1632"/>
                  <a:gd name="T11" fmla="*/ 0 h 12"/>
                </a:gdLst>
                <a:ahLst/>
                <a:cxnLst>
                  <a:cxn ang="0">
                    <a:pos x="T0" y="T1"/>
                  </a:cxn>
                  <a:cxn ang="0">
                    <a:pos x="T2" y="T3"/>
                  </a:cxn>
                  <a:cxn ang="0">
                    <a:pos x="T4" y="T5"/>
                  </a:cxn>
                  <a:cxn ang="0">
                    <a:pos x="T6" y="T7"/>
                  </a:cxn>
                  <a:cxn ang="0">
                    <a:pos x="T8" y="T9"/>
                  </a:cxn>
                  <a:cxn ang="0">
                    <a:pos x="T10" y="T11"/>
                  </a:cxn>
                </a:cxnLst>
                <a:rect l="0" t="0" r="r" b="b"/>
                <a:pathLst>
                  <a:path w="1632" h="12">
                    <a:moveTo>
                      <a:pt x="0" y="0"/>
                    </a:moveTo>
                    <a:lnTo>
                      <a:pt x="0" y="12"/>
                    </a:lnTo>
                    <a:lnTo>
                      <a:pt x="1632" y="12"/>
                    </a:lnTo>
                    <a:lnTo>
                      <a:pt x="1632" y="0"/>
                    </a:lnTo>
                    <a:lnTo>
                      <a:pt x="0" y="0"/>
                    </a:lnTo>
                    <a:lnTo>
                      <a:pt x="0"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zh-CN" altLang="en-US">
                  <a:solidFill>
                    <a:srgbClr val="000000"/>
                  </a:solidFill>
                </a:endParaRPr>
              </a:p>
            </p:txBody>
          </p:sp>
          <p:sp>
            <p:nvSpPr>
              <p:cNvPr id="8" name="Freeform 5"/>
              <p:cNvSpPr>
                <a:spLocks/>
              </p:cNvSpPr>
              <p:nvPr/>
            </p:nvSpPr>
            <p:spPr bwMode="auto">
              <a:xfrm>
                <a:off x="-550863" y="1997075"/>
                <a:ext cx="4111626" cy="549275"/>
              </a:xfrm>
              <a:custGeom>
                <a:avLst/>
                <a:gdLst>
                  <a:gd name="T0" fmla="*/ 0 w 2590"/>
                  <a:gd name="T1" fmla="*/ 346 h 346"/>
                  <a:gd name="T2" fmla="*/ 2080 w 2590"/>
                  <a:gd name="T3" fmla="*/ 0 h 346"/>
                  <a:gd name="T4" fmla="*/ 2590 w 2590"/>
                  <a:gd name="T5" fmla="*/ 0 h 346"/>
                  <a:gd name="T6" fmla="*/ 1632 w 2590"/>
                  <a:gd name="T7" fmla="*/ 346 h 346"/>
                  <a:gd name="T8" fmla="*/ 0 w 2590"/>
                  <a:gd name="T9" fmla="*/ 346 h 346"/>
                </a:gdLst>
                <a:ahLst/>
                <a:cxnLst>
                  <a:cxn ang="0">
                    <a:pos x="T0" y="T1"/>
                  </a:cxn>
                  <a:cxn ang="0">
                    <a:pos x="T2" y="T3"/>
                  </a:cxn>
                  <a:cxn ang="0">
                    <a:pos x="T4" y="T5"/>
                  </a:cxn>
                  <a:cxn ang="0">
                    <a:pos x="T6" y="T7"/>
                  </a:cxn>
                  <a:cxn ang="0">
                    <a:pos x="T8" y="T9"/>
                  </a:cxn>
                </a:cxnLst>
                <a:rect l="0" t="0" r="r" b="b"/>
                <a:pathLst>
                  <a:path w="2590" h="346">
                    <a:moveTo>
                      <a:pt x="0" y="346"/>
                    </a:moveTo>
                    <a:lnTo>
                      <a:pt x="2080" y="0"/>
                    </a:lnTo>
                    <a:lnTo>
                      <a:pt x="2590" y="0"/>
                    </a:lnTo>
                    <a:lnTo>
                      <a:pt x="1632" y="346"/>
                    </a:lnTo>
                    <a:lnTo>
                      <a:pt x="0" y="346"/>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000000"/>
                  </a:solidFill>
                </a:endParaRPr>
              </a:p>
            </p:txBody>
          </p:sp>
        </p:grpSp>
      </p:grpSp>
      <p:grpSp>
        <p:nvGrpSpPr>
          <p:cNvPr id="12" name="组合 145"/>
          <p:cNvGrpSpPr/>
          <p:nvPr/>
        </p:nvGrpSpPr>
        <p:grpSpPr>
          <a:xfrm>
            <a:off x="2952422" y="4339984"/>
            <a:ext cx="3239156" cy="425626"/>
            <a:chOff x="3937587" y="4964557"/>
            <a:chExt cx="4320000" cy="567501"/>
          </a:xfrm>
        </p:grpSpPr>
        <p:grpSp>
          <p:nvGrpSpPr>
            <p:cNvPr id="13" name="组合 146"/>
            <p:cNvGrpSpPr/>
            <p:nvPr/>
          </p:nvGrpSpPr>
          <p:grpSpPr>
            <a:xfrm>
              <a:off x="3937587" y="4964560"/>
              <a:ext cx="4320000" cy="567498"/>
              <a:chOff x="3937587" y="4964560"/>
              <a:chExt cx="4320000" cy="567498"/>
            </a:xfrm>
          </p:grpSpPr>
          <p:sp>
            <p:nvSpPr>
              <p:cNvPr id="24" name="矩形 157"/>
              <p:cNvSpPr/>
              <p:nvPr/>
            </p:nvSpPr>
            <p:spPr bwMode="auto">
              <a:xfrm>
                <a:off x="3937587" y="5514058"/>
                <a:ext cx="4320000" cy="18000"/>
              </a:xfrm>
              <a:prstGeom prst="rect">
                <a:avLst/>
              </a:prstGeom>
              <a:solidFill>
                <a:schemeClr val="bg1">
                  <a:lumMod val="65000"/>
                </a:schemeClr>
              </a:solidFill>
              <a:ln>
                <a:noFill/>
              </a:ln>
              <a:effectLst/>
              <a:extLst/>
            </p:spPr>
            <p:txBody>
              <a:bodyPr vert="horz" wrap="square" lIns="121935" tIns="60968" rIns="121935" bIns="60968" numCol="1" rtlCol="0" anchor="t" anchorCtr="0" compatLnSpc="1">
                <a:prstTxWarp prst="textNoShape">
                  <a:avLst/>
                </a:prstTxWarp>
              </a:bodyPr>
              <a:lstStyle/>
              <a:p>
                <a:pPr defTabSz="914270"/>
                <a:endParaRPr lang="zh-CN" altLang="en-US" dirty="0">
                  <a:solidFill>
                    <a:srgbClr val="000000"/>
                  </a:solidFill>
                  <a:ea typeface="宋体" charset="-122"/>
                </a:endParaRPr>
              </a:p>
            </p:txBody>
          </p:sp>
          <p:sp>
            <p:nvSpPr>
              <p:cNvPr id="25" name="Freeform 6"/>
              <p:cNvSpPr>
                <a:spLocks/>
              </p:cNvSpPr>
              <p:nvPr/>
            </p:nvSpPr>
            <p:spPr bwMode="gray">
              <a:xfrm>
                <a:off x="3937587" y="4964560"/>
                <a:ext cx="4320000" cy="550815"/>
              </a:xfrm>
              <a:prstGeom prst="trapezoid">
                <a:avLst>
                  <a:gd name="adj" fmla="val 265997"/>
                </a:avLst>
              </a:prstGeom>
              <a:solidFill>
                <a:schemeClr val="bg1">
                  <a:lumMod val="85000"/>
                </a:schemeClr>
              </a:solidFill>
              <a:ln w="9525">
                <a:noFill/>
                <a:round/>
                <a:headEnd/>
                <a:tailEnd/>
              </a:ln>
            </p:spPr>
            <p:txBody>
              <a:bodyPr/>
              <a:lstStyle/>
              <a:p>
                <a:endParaRPr lang="zh-CN" altLang="en-US">
                  <a:solidFill>
                    <a:srgbClr val="000000"/>
                  </a:solidFill>
                </a:endParaRPr>
              </a:p>
            </p:txBody>
          </p:sp>
        </p:grpSp>
        <p:grpSp>
          <p:nvGrpSpPr>
            <p:cNvPr id="14" name="组合 147"/>
            <p:cNvGrpSpPr/>
            <p:nvPr/>
          </p:nvGrpSpPr>
          <p:grpSpPr>
            <a:xfrm>
              <a:off x="4445187" y="4964557"/>
              <a:ext cx="3304800" cy="550817"/>
              <a:chOff x="4445187" y="4964557"/>
              <a:chExt cx="3304800" cy="550817"/>
            </a:xfrm>
          </p:grpSpPr>
          <p:sp>
            <p:nvSpPr>
              <p:cNvPr id="15" name="Line 13"/>
              <p:cNvSpPr>
                <a:spLocks noChangeShapeType="1"/>
              </p:cNvSpPr>
              <p:nvPr/>
            </p:nvSpPr>
            <p:spPr bwMode="gray">
              <a:xfrm>
                <a:off x="4445187" y="5318655"/>
                <a:ext cx="3304800" cy="0"/>
              </a:xfrm>
              <a:prstGeom prst="line">
                <a:avLst/>
              </a:prstGeom>
              <a:solidFill>
                <a:schemeClr val="bg2">
                  <a:lumMod val="60000"/>
                  <a:lumOff val="40000"/>
                </a:schemeClr>
              </a:solidFill>
              <a:ln w="9525">
                <a:solidFill>
                  <a:schemeClr val="bg1">
                    <a:lumMod val="95000"/>
                  </a:schemeClr>
                </a:solidFill>
                <a:round/>
                <a:headEnd/>
                <a:tailEnd/>
              </a:ln>
            </p:spPr>
            <p:txBody>
              <a:bodyPr/>
              <a:lstStyle/>
              <a:p>
                <a:endParaRPr lang="zh-CN" altLang="en-US">
                  <a:solidFill>
                    <a:srgbClr val="000000"/>
                  </a:solidFill>
                </a:endParaRPr>
              </a:p>
            </p:txBody>
          </p:sp>
          <p:sp>
            <p:nvSpPr>
              <p:cNvPr id="16" name="Line 14"/>
              <p:cNvSpPr>
                <a:spLocks noChangeShapeType="1"/>
              </p:cNvSpPr>
              <p:nvPr/>
            </p:nvSpPr>
            <p:spPr bwMode="gray">
              <a:xfrm>
                <a:off x="4873587" y="5161280"/>
                <a:ext cx="2448000" cy="0"/>
              </a:xfrm>
              <a:prstGeom prst="line">
                <a:avLst/>
              </a:prstGeom>
              <a:solidFill>
                <a:schemeClr val="bg2">
                  <a:lumMod val="60000"/>
                  <a:lumOff val="40000"/>
                </a:schemeClr>
              </a:solidFill>
              <a:ln w="9525">
                <a:solidFill>
                  <a:schemeClr val="bg1">
                    <a:lumMod val="95000"/>
                  </a:schemeClr>
                </a:solidFill>
                <a:round/>
                <a:headEnd/>
                <a:tailEnd/>
              </a:ln>
            </p:spPr>
            <p:txBody>
              <a:bodyPr/>
              <a:lstStyle/>
              <a:p>
                <a:endParaRPr lang="zh-CN" altLang="en-US">
                  <a:solidFill>
                    <a:srgbClr val="000000"/>
                  </a:solidFill>
                </a:endParaRPr>
              </a:p>
            </p:txBody>
          </p:sp>
          <p:sp>
            <p:nvSpPr>
              <p:cNvPr id="17" name="Line 15"/>
              <p:cNvSpPr>
                <a:spLocks noChangeShapeType="1"/>
              </p:cNvSpPr>
              <p:nvPr/>
            </p:nvSpPr>
            <p:spPr bwMode="gray">
              <a:xfrm>
                <a:off x="5197587" y="5043248"/>
                <a:ext cx="1800000" cy="0"/>
              </a:xfrm>
              <a:prstGeom prst="line">
                <a:avLst/>
              </a:prstGeom>
              <a:solidFill>
                <a:schemeClr val="bg2">
                  <a:lumMod val="60000"/>
                  <a:lumOff val="40000"/>
                </a:schemeClr>
              </a:solidFill>
              <a:ln w="9525">
                <a:solidFill>
                  <a:schemeClr val="bg1">
                    <a:lumMod val="95000"/>
                  </a:schemeClr>
                </a:solidFill>
                <a:round/>
                <a:headEnd/>
                <a:tailEnd/>
              </a:ln>
            </p:spPr>
            <p:txBody>
              <a:bodyPr/>
              <a:lstStyle/>
              <a:p>
                <a:endParaRPr lang="zh-CN" altLang="en-US">
                  <a:solidFill>
                    <a:srgbClr val="000000"/>
                  </a:solidFill>
                </a:endParaRPr>
              </a:p>
            </p:txBody>
          </p:sp>
          <p:grpSp>
            <p:nvGrpSpPr>
              <p:cNvPr id="18" name="组合 151"/>
              <p:cNvGrpSpPr/>
              <p:nvPr/>
            </p:nvGrpSpPr>
            <p:grpSpPr>
              <a:xfrm>
                <a:off x="4872687" y="4964557"/>
                <a:ext cx="2449800" cy="550817"/>
                <a:chOff x="4872687" y="4964557"/>
                <a:chExt cx="2449800" cy="550817"/>
              </a:xfrm>
            </p:grpSpPr>
            <p:sp>
              <p:nvSpPr>
                <p:cNvPr id="19" name="Line 8"/>
                <p:cNvSpPr>
                  <a:spLocks noChangeShapeType="1"/>
                </p:cNvSpPr>
                <p:nvPr/>
              </p:nvSpPr>
              <p:spPr bwMode="gray">
                <a:xfrm flipV="1">
                  <a:off x="4872687" y="4964559"/>
                  <a:ext cx="740572" cy="550815"/>
                </a:xfrm>
                <a:prstGeom prst="line">
                  <a:avLst/>
                </a:prstGeom>
                <a:solidFill>
                  <a:schemeClr val="bg2">
                    <a:lumMod val="60000"/>
                    <a:lumOff val="40000"/>
                  </a:schemeClr>
                </a:solidFill>
                <a:ln w="9525">
                  <a:solidFill>
                    <a:schemeClr val="bg1">
                      <a:lumMod val="95000"/>
                    </a:schemeClr>
                  </a:solidFill>
                  <a:round/>
                  <a:headEnd/>
                  <a:tailEnd/>
                </a:ln>
              </p:spPr>
              <p:txBody>
                <a:bodyPr/>
                <a:lstStyle/>
                <a:p>
                  <a:endParaRPr lang="zh-CN" altLang="en-US">
                    <a:solidFill>
                      <a:srgbClr val="000000"/>
                    </a:solidFill>
                  </a:endParaRPr>
                </a:p>
              </p:txBody>
            </p:sp>
            <p:sp>
              <p:nvSpPr>
                <p:cNvPr id="20" name="Line 9"/>
                <p:cNvSpPr>
                  <a:spLocks noChangeShapeType="1"/>
                </p:cNvSpPr>
                <p:nvPr/>
              </p:nvSpPr>
              <p:spPr bwMode="gray">
                <a:xfrm flipV="1">
                  <a:off x="5571147" y="4964558"/>
                  <a:ext cx="302017" cy="549500"/>
                </a:xfrm>
                <a:prstGeom prst="line">
                  <a:avLst/>
                </a:prstGeom>
                <a:solidFill>
                  <a:schemeClr val="bg2">
                    <a:lumMod val="60000"/>
                    <a:lumOff val="40000"/>
                  </a:schemeClr>
                </a:solidFill>
                <a:ln w="9525">
                  <a:solidFill>
                    <a:schemeClr val="bg1">
                      <a:lumMod val="95000"/>
                    </a:schemeClr>
                  </a:solidFill>
                  <a:round/>
                  <a:headEnd/>
                  <a:tailEnd/>
                </a:ln>
              </p:spPr>
              <p:txBody>
                <a:bodyPr/>
                <a:lstStyle/>
                <a:p>
                  <a:endParaRPr lang="zh-CN" altLang="en-US">
                    <a:solidFill>
                      <a:srgbClr val="000000"/>
                    </a:solidFill>
                  </a:endParaRPr>
                </a:p>
              </p:txBody>
            </p:sp>
            <p:sp>
              <p:nvSpPr>
                <p:cNvPr id="21" name="Line 8"/>
                <p:cNvSpPr>
                  <a:spLocks noChangeShapeType="1"/>
                </p:cNvSpPr>
                <p:nvPr/>
              </p:nvSpPr>
              <p:spPr bwMode="gray">
                <a:xfrm flipH="1" flipV="1">
                  <a:off x="6581915" y="4964559"/>
                  <a:ext cx="740572" cy="550815"/>
                </a:xfrm>
                <a:prstGeom prst="line">
                  <a:avLst/>
                </a:prstGeom>
                <a:solidFill>
                  <a:schemeClr val="bg2">
                    <a:lumMod val="60000"/>
                    <a:lumOff val="40000"/>
                  </a:schemeClr>
                </a:solidFill>
                <a:ln w="9525">
                  <a:solidFill>
                    <a:schemeClr val="bg1">
                      <a:lumMod val="95000"/>
                    </a:schemeClr>
                  </a:solidFill>
                  <a:round/>
                  <a:headEnd/>
                  <a:tailEnd/>
                </a:ln>
              </p:spPr>
              <p:txBody>
                <a:bodyPr/>
                <a:lstStyle/>
                <a:p>
                  <a:endParaRPr lang="zh-CN" altLang="en-US">
                    <a:solidFill>
                      <a:srgbClr val="000000"/>
                    </a:solidFill>
                  </a:endParaRPr>
                </a:p>
              </p:txBody>
            </p:sp>
            <p:sp>
              <p:nvSpPr>
                <p:cNvPr id="22" name="Line 9"/>
                <p:cNvSpPr>
                  <a:spLocks noChangeShapeType="1"/>
                </p:cNvSpPr>
                <p:nvPr/>
              </p:nvSpPr>
              <p:spPr bwMode="gray">
                <a:xfrm flipH="1" flipV="1">
                  <a:off x="6322010" y="4964558"/>
                  <a:ext cx="302017" cy="549500"/>
                </a:xfrm>
                <a:prstGeom prst="line">
                  <a:avLst/>
                </a:prstGeom>
                <a:solidFill>
                  <a:schemeClr val="bg2">
                    <a:lumMod val="60000"/>
                    <a:lumOff val="40000"/>
                  </a:schemeClr>
                </a:solidFill>
                <a:ln w="9525">
                  <a:solidFill>
                    <a:schemeClr val="bg1">
                      <a:lumMod val="95000"/>
                    </a:schemeClr>
                  </a:solidFill>
                  <a:round/>
                  <a:headEnd/>
                  <a:tailEnd/>
                </a:ln>
              </p:spPr>
              <p:txBody>
                <a:bodyPr/>
                <a:lstStyle/>
                <a:p>
                  <a:endParaRPr lang="zh-CN" altLang="en-US">
                    <a:solidFill>
                      <a:srgbClr val="000000"/>
                    </a:solidFill>
                  </a:endParaRPr>
                </a:p>
              </p:txBody>
            </p:sp>
            <p:sp>
              <p:nvSpPr>
                <p:cNvPr id="23" name="Line 10"/>
                <p:cNvSpPr>
                  <a:spLocks noChangeShapeType="1"/>
                </p:cNvSpPr>
                <p:nvPr/>
              </p:nvSpPr>
              <p:spPr bwMode="gray">
                <a:xfrm flipV="1">
                  <a:off x="6097587" y="4964557"/>
                  <a:ext cx="0" cy="550817"/>
                </a:xfrm>
                <a:prstGeom prst="line">
                  <a:avLst/>
                </a:prstGeom>
                <a:solidFill>
                  <a:schemeClr val="bg2">
                    <a:lumMod val="60000"/>
                    <a:lumOff val="40000"/>
                  </a:schemeClr>
                </a:solidFill>
                <a:ln w="9525">
                  <a:solidFill>
                    <a:schemeClr val="bg1">
                      <a:lumMod val="95000"/>
                    </a:schemeClr>
                  </a:solidFill>
                  <a:round/>
                  <a:headEnd/>
                  <a:tailEnd/>
                </a:ln>
              </p:spPr>
              <p:txBody>
                <a:bodyPr/>
                <a:lstStyle/>
                <a:p>
                  <a:endParaRPr lang="zh-CN" altLang="en-US">
                    <a:solidFill>
                      <a:srgbClr val="000000"/>
                    </a:solidFill>
                  </a:endParaRPr>
                </a:p>
              </p:txBody>
            </p:sp>
          </p:grpSp>
        </p:grpSp>
      </p:grpSp>
      <p:grpSp>
        <p:nvGrpSpPr>
          <p:cNvPr id="26" name="组合 159"/>
          <p:cNvGrpSpPr/>
          <p:nvPr/>
        </p:nvGrpSpPr>
        <p:grpSpPr>
          <a:xfrm>
            <a:off x="3107594" y="2530236"/>
            <a:ext cx="2928812" cy="1219843"/>
            <a:chOff x="4144538" y="2849959"/>
            <a:chExt cx="3906100" cy="2114602"/>
          </a:xfrm>
          <a:solidFill>
            <a:schemeClr val="tx1">
              <a:lumMod val="65000"/>
              <a:lumOff val="35000"/>
            </a:schemeClr>
          </a:solidFill>
        </p:grpSpPr>
        <p:sp>
          <p:nvSpPr>
            <p:cNvPr id="27" name="Freeform 6"/>
            <p:cNvSpPr>
              <a:spLocks/>
            </p:cNvSpPr>
            <p:nvPr/>
          </p:nvSpPr>
          <p:spPr bwMode="gray">
            <a:xfrm rot="10800000">
              <a:off x="4144538" y="2849959"/>
              <a:ext cx="3906100" cy="2114600"/>
            </a:xfrm>
            <a:prstGeom prst="trapezoid">
              <a:avLst>
                <a:gd name="adj" fmla="val 62282"/>
              </a:avLst>
            </a:prstGeom>
            <a:solidFill>
              <a:schemeClr val="bg1">
                <a:lumMod val="65000"/>
              </a:schemeClr>
            </a:solidFill>
            <a:ln w="9525">
              <a:noFill/>
              <a:round/>
              <a:headEnd/>
              <a:tailEnd/>
            </a:ln>
          </p:spPr>
          <p:txBody>
            <a:bodyPr/>
            <a:lstStyle/>
            <a:p>
              <a:endParaRPr lang="zh-CN" altLang="en-US">
                <a:solidFill>
                  <a:srgbClr val="000000"/>
                </a:solidFill>
              </a:endParaRPr>
            </a:p>
          </p:txBody>
        </p:sp>
        <p:grpSp>
          <p:nvGrpSpPr>
            <p:cNvPr id="28" name="组合 161"/>
            <p:cNvGrpSpPr/>
            <p:nvPr/>
          </p:nvGrpSpPr>
          <p:grpSpPr>
            <a:xfrm>
              <a:off x="4585587" y="2901328"/>
              <a:ext cx="3024000" cy="2063233"/>
              <a:chOff x="4585587" y="2901328"/>
              <a:chExt cx="3024000" cy="2063233"/>
            </a:xfrm>
            <a:grpFill/>
          </p:grpSpPr>
          <p:grpSp>
            <p:nvGrpSpPr>
              <p:cNvPr id="29" name="组合 162"/>
              <p:cNvGrpSpPr/>
              <p:nvPr/>
            </p:nvGrpSpPr>
            <p:grpSpPr>
              <a:xfrm>
                <a:off x="4840823" y="2901328"/>
                <a:ext cx="2513528" cy="2063233"/>
                <a:chOff x="4840823" y="2901328"/>
                <a:chExt cx="2513528" cy="2063233"/>
              </a:xfrm>
              <a:grpFill/>
            </p:grpSpPr>
            <p:sp>
              <p:nvSpPr>
                <p:cNvPr id="34" name="Line 10"/>
                <p:cNvSpPr>
                  <a:spLocks noChangeShapeType="1"/>
                </p:cNvSpPr>
                <p:nvPr/>
              </p:nvSpPr>
              <p:spPr bwMode="gray">
                <a:xfrm rot="10800000" flipV="1">
                  <a:off x="6097587" y="2901328"/>
                  <a:ext cx="0" cy="2063233"/>
                </a:xfrm>
                <a:prstGeom prst="line">
                  <a:avLst/>
                </a:prstGeom>
                <a:grpFill/>
                <a:ln w="9525">
                  <a:solidFill>
                    <a:schemeClr val="bg1">
                      <a:lumMod val="85000"/>
                    </a:schemeClr>
                  </a:solidFill>
                  <a:round/>
                  <a:headEnd/>
                  <a:tailEnd/>
                </a:ln>
              </p:spPr>
              <p:txBody>
                <a:bodyPr/>
                <a:lstStyle/>
                <a:p>
                  <a:endParaRPr lang="zh-CN" altLang="en-US">
                    <a:solidFill>
                      <a:srgbClr val="000000"/>
                    </a:solidFill>
                  </a:endParaRPr>
                </a:p>
              </p:txBody>
            </p:sp>
            <p:sp>
              <p:nvSpPr>
                <p:cNvPr id="35" name="Line 10"/>
                <p:cNvSpPr>
                  <a:spLocks noChangeShapeType="1"/>
                </p:cNvSpPr>
                <p:nvPr/>
              </p:nvSpPr>
              <p:spPr bwMode="gray">
                <a:xfrm rot="10800000" flipV="1">
                  <a:off x="6380996" y="2916382"/>
                  <a:ext cx="341057" cy="2048179"/>
                </a:xfrm>
                <a:prstGeom prst="line">
                  <a:avLst/>
                </a:prstGeom>
                <a:grpFill/>
                <a:ln w="9525">
                  <a:solidFill>
                    <a:schemeClr val="bg1">
                      <a:lumMod val="85000"/>
                    </a:schemeClr>
                  </a:solidFill>
                  <a:round/>
                  <a:headEnd/>
                  <a:tailEnd/>
                </a:ln>
              </p:spPr>
              <p:txBody>
                <a:bodyPr/>
                <a:lstStyle/>
                <a:p>
                  <a:endParaRPr lang="zh-CN" altLang="en-US">
                    <a:solidFill>
                      <a:srgbClr val="000000"/>
                    </a:solidFill>
                  </a:endParaRPr>
                </a:p>
              </p:txBody>
            </p:sp>
            <p:sp>
              <p:nvSpPr>
                <p:cNvPr id="36" name="Line 10"/>
                <p:cNvSpPr>
                  <a:spLocks noChangeShapeType="1"/>
                </p:cNvSpPr>
                <p:nvPr/>
              </p:nvSpPr>
              <p:spPr bwMode="gray">
                <a:xfrm rot="10800000" flipV="1">
                  <a:off x="6609676" y="2908268"/>
                  <a:ext cx="744675" cy="2056293"/>
                </a:xfrm>
                <a:prstGeom prst="line">
                  <a:avLst/>
                </a:prstGeom>
                <a:grpFill/>
                <a:ln w="9525">
                  <a:solidFill>
                    <a:schemeClr val="bg1">
                      <a:lumMod val="85000"/>
                    </a:schemeClr>
                  </a:solidFill>
                  <a:round/>
                  <a:headEnd/>
                  <a:tailEnd/>
                </a:ln>
              </p:spPr>
              <p:txBody>
                <a:bodyPr/>
                <a:lstStyle/>
                <a:p>
                  <a:endParaRPr lang="zh-CN" altLang="en-US">
                    <a:solidFill>
                      <a:srgbClr val="000000"/>
                    </a:solidFill>
                  </a:endParaRPr>
                </a:p>
              </p:txBody>
            </p:sp>
            <p:sp>
              <p:nvSpPr>
                <p:cNvPr id="37" name="Line 10"/>
                <p:cNvSpPr>
                  <a:spLocks noChangeShapeType="1"/>
                </p:cNvSpPr>
                <p:nvPr/>
              </p:nvSpPr>
              <p:spPr bwMode="gray">
                <a:xfrm rot="10800000" flipH="1" flipV="1">
                  <a:off x="5473121" y="2916381"/>
                  <a:ext cx="341057" cy="2048179"/>
                </a:xfrm>
                <a:prstGeom prst="line">
                  <a:avLst/>
                </a:prstGeom>
                <a:grpFill/>
                <a:ln w="9525">
                  <a:solidFill>
                    <a:schemeClr val="bg1">
                      <a:lumMod val="85000"/>
                    </a:schemeClr>
                  </a:solidFill>
                  <a:round/>
                  <a:headEnd/>
                  <a:tailEnd/>
                </a:ln>
              </p:spPr>
              <p:txBody>
                <a:bodyPr/>
                <a:lstStyle/>
                <a:p>
                  <a:endParaRPr lang="zh-CN" altLang="en-US">
                    <a:solidFill>
                      <a:srgbClr val="000000"/>
                    </a:solidFill>
                  </a:endParaRPr>
                </a:p>
              </p:txBody>
            </p:sp>
            <p:sp>
              <p:nvSpPr>
                <p:cNvPr id="38" name="Line 10"/>
                <p:cNvSpPr>
                  <a:spLocks noChangeShapeType="1"/>
                </p:cNvSpPr>
                <p:nvPr/>
              </p:nvSpPr>
              <p:spPr bwMode="gray">
                <a:xfrm rot="10800000" flipH="1" flipV="1">
                  <a:off x="4840823" y="2908268"/>
                  <a:ext cx="744675" cy="2056293"/>
                </a:xfrm>
                <a:prstGeom prst="line">
                  <a:avLst/>
                </a:prstGeom>
                <a:grpFill/>
                <a:ln w="9525">
                  <a:solidFill>
                    <a:schemeClr val="bg1">
                      <a:lumMod val="85000"/>
                    </a:schemeClr>
                  </a:solidFill>
                  <a:round/>
                  <a:headEnd/>
                  <a:tailEnd/>
                </a:ln>
              </p:spPr>
              <p:txBody>
                <a:bodyPr/>
                <a:lstStyle/>
                <a:p>
                  <a:endParaRPr lang="zh-CN" altLang="en-US">
                    <a:solidFill>
                      <a:srgbClr val="000000"/>
                    </a:solidFill>
                  </a:endParaRPr>
                </a:p>
              </p:txBody>
            </p:sp>
          </p:grpSp>
          <p:grpSp>
            <p:nvGrpSpPr>
              <p:cNvPr id="30" name="组合 163"/>
              <p:cNvGrpSpPr/>
              <p:nvPr/>
            </p:nvGrpSpPr>
            <p:grpSpPr>
              <a:xfrm>
                <a:off x="4585587" y="3576825"/>
                <a:ext cx="3024000" cy="1062283"/>
                <a:chOff x="4585587" y="3576825"/>
                <a:chExt cx="3024000" cy="1062283"/>
              </a:xfrm>
              <a:grpFill/>
            </p:grpSpPr>
            <p:sp>
              <p:nvSpPr>
                <p:cNvPr id="31" name="Line 13"/>
                <p:cNvSpPr>
                  <a:spLocks noChangeShapeType="1"/>
                </p:cNvSpPr>
                <p:nvPr/>
              </p:nvSpPr>
              <p:spPr bwMode="gray">
                <a:xfrm rot="10800000">
                  <a:off x="4585587" y="3576825"/>
                  <a:ext cx="3024000" cy="0"/>
                </a:xfrm>
                <a:prstGeom prst="line">
                  <a:avLst/>
                </a:prstGeom>
                <a:grpFill/>
                <a:ln w="9525">
                  <a:solidFill>
                    <a:schemeClr val="bg1">
                      <a:lumMod val="85000"/>
                    </a:schemeClr>
                  </a:solidFill>
                  <a:round/>
                  <a:headEnd/>
                  <a:tailEnd/>
                </a:ln>
              </p:spPr>
              <p:txBody>
                <a:bodyPr/>
                <a:lstStyle/>
                <a:p>
                  <a:endParaRPr lang="zh-CN" altLang="en-US">
                    <a:solidFill>
                      <a:srgbClr val="000000"/>
                    </a:solidFill>
                  </a:endParaRPr>
                </a:p>
              </p:txBody>
            </p:sp>
            <p:sp>
              <p:nvSpPr>
                <p:cNvPr id="32" name="Line 14"/>
                <p:cNvSpPr>
                  <a:spLocks noChangeShapeType="1"/>
                </p:cNvSpPr>
                <p:nvPr/>
              </p:nvSpPr>
              <p:spPr bwMode="gray">
                <a:xfrm rot="10800000">
                  <a:off x="4941988" y="4197995"/>
                  <a:ext cx="2311200" cy="0"/>
                </a:xfrm>
                <a:prstGeom prst="line">
                  <a:avLst/>
                </a:prstGeom>
                <a:grpFill/>
                <a:ln w="9525">
                  <a:solidFill>
                    <a:schemeClr val="bg1">
                      <a:lumMod val="85000"/>
                    </a:schemeClr>
                  </a:solidFill>
                  <a:round/>
                  <a:headEnd/>
                  <a:tailEnd/>
                </a:ln>
              </p:spPr>
              <p:txBody>
                <a:bodyPr/>
                <a:lstStyle/>
                <a:p>
                  <a:endParaRPr lang="zh-CN" altLang="en-US">
                    <a:solidFill>
                      <a:srgbClr val="000000"/>
                    </a:solidFill>
                  </a:endParaRPr>
                </a:p>
              </p:txBody>
            </p:sp>
            <p:sp>
              <p:nvSpPr>
                <p:cNvPr id="33" name="Line 15"/>
                <p:cNvSpPr>
                  <a:spLocks noChangeShapeType="1"/>
                </p:cNvSpPr>
                <p:nvPr/>
              </p:nvSpPr>
              <p:spPr bwMode="gray">
                <a:xfrm rot="10800000">
                  <a:off x="5197588" y="4639108"/>
                  <a:ext cx="1800000" cy="0"/>
                </a:xfrm>
                <a:prstGeom prst="line">
                  <a:avLst/>
                </a:prstGeom>
                <a:grpFill/>
                <a:ln w="9525">
                  <a:solidFill>
                    <a:schemeClr val="bg1">
                      <a:lumMod val="85000"/>
                    </a:schemeClr>
                  </a:solidFill>
                  <a:round/>
                  <a:headEnd/>
                  <a:tailEnd/>
                </a:ln>
              </p:spPr>
              <p:txBody>
                <a:bodyPr/>
                <a:lstStyle/>
                <a:p>
                  <a:endParaRPr lang="zh-CN" altLang="en-US">
                    <a:solidFill>
                      <a:srgbClr val="000000"/>
                    </a:solidFill>
                  </a:endParaRPr>
                </a:p>
              </p:txBody>
            </p:sp>
          </p:grpSp>
        </p:grpSp>
      </p:grpSp>
      <p:grpSp>
        <p:nvGrpSpPr>
          <p:cNvPr id="39" name="组合 172"/>
          <p:cNvGrpSpPr/>
          <p:nvPr/>
        </p:nvGrpSpPr>
        <p:grpSpPr>
          <a:xfrm>
            <a:off x="4227839" y="2889931"/>
            <a:ext cx="688321" cy="1026000"/>
            <a:chOff x="5620284" y="3145769"/>
            <a:chExt cx="918000" cy="1368000"/>
          </a:xfrm>
          <a:solidFill>
            <a:schemeClr val="accent1"/>
          </a:solidFill>
          <a:effectLst>
            <a:outerShdw blurRad="50800" dist="38100" dir="2700000" algn="tl" rotWithShape="0">
              <a:prstClr val="black">
                <a:alpha val="40000"/>
              </a:prstClr>
            </a:outerShdw>
          </a:effectLst>
        </p:grpSpPr>
        <p:sp>
          <p:nvSpPr>
            <p:cNvPr id="40" name="AutoShape 8"/>
            <p:cNvSpPr>
              <a:spLocks noChangeArrowheads="1"/>
            </p:cNvSpPr>
            <p:nvPr/>
          </p:nvSpPr>
          <p:spPr bwMode="auto">
            <a:xfrm rot="16200000">
              <a:off x="5395284" y="3370769"/>
              <a:ext cx="1368000" cy="918000"/>
            </a:xfrm>
            <a:prstGeom prst="rightArrow">
              <a:avLst>
                <a:gd name="adj1" fmla="val 50000"/>
                <a:gd name="adj2" fmla="val 65000"/>
              </a:avLst>
            </a:prstGeom>
            <a:grpFill/>
            <a:ln w="12700" algn="ctr">
              <a:noFill/>
              <a:round/>
              <a:headEnd/>
              <a:tailEnd/>
            </a:ln>
            <a:effectLst/>
          </p:spPr>
          <p:txBody>
            <a:bodyPr wrap="none" lIns="68552" tIns="34276" rIns="68552" bIns="34276" anchor="ctr"/>
            <a:lstStyle/>
            <a:p>
              <a:pPr marL="171404" indent="-171404" algn="ctr" defTabSz="440891" eaLnBrk="0" hangingPunct="0">
                <a:buClr>
                  <a:srgbClr val="990000"/>
                </a:buClr>
                <a:buSzPct val="60000"/>
              </a:pPr>
              <a:endParaRPr lang="zh-CN" altLang="en-US" kern="0">
                <a:solidFill>
                  <a:srgbClr val="FFFFFF"/>
                </a:solidFill>
                <a:ea typeface="微软雅黑" pitchFamily="34" charset="-122"/>
                <a:cs typeface="Arial" pitchFamily="34" charset="0"/>
              </a:endParaRPr>
            </a:p>
          </p:txBody>
        </p:sp>
        <p:sp>
          <p:nvSpPr>
            <p:cNvPr id="41" name="TextBox 40"/>
            <p:cNvSpPr txBox="1"/>
            <p:nvPr/>
          </p:nvSpPr>
          <p:spPr>
            <a:xfrm rot="16200000">
              <a:off x="5567203" y="3822190"/>
              <a:ext cx="980273" cy="246285"/>
            </a:xfrm>
            <a:prstGeom prst="rect">
              <a:avLst/>
            </a:prstGeom>
            <a:grpFill/>
          </p:spPr>
          <p:txBody>
            <a:bodyPr wrap="square" lIns="0" tIns="0" rIns="0" bIns="0" rtlCol="0">
              <a:spAutoFit/>
            </a:bodyPr>
            <a:lstStyle/>
            <a:p>
              <a:pPr algn="ctr"/>
              <a:r>
                <a:rPr lang="en-US" altLang="zh-CN" sz="1200" dirty="0" smtClean="0">
                  <a:solidFill>
                    <a:srgbClr val="FFFFFF"/>
                  </a:solidFill>
                </a:rPr>
                <a:t>Modular</a:t>
              </a:r>
              <a:endParaRPr lang="en-US" altLang="zh-CN" sz="1200" dirty="0">
                <a:solidFill>
                  <a:srgbClr val="FFFFFF"/>
                </a:solidFill>
              </a:endParaRPr>
            </a:p>
          </p:txBody>
        </p:sp>
      </p:grpSp>
      <p:sp>
        <p:nvSpPr>
          <p:cNvPr id="42" name="TextBox 114"/>
          <p:cNvSpPr txBox="1">
            <a:spLocks noChangeArrowheads="1"/>
          </p:cNvSpPr>
          <p:nvPr/>
        </p:nvSpPr>
        <p:spPr bwMode="auto">
          <a:xfrm>
            <a:off x="3059832" y="2611259"/>
            <a:ext cx="3123103" cy="276999"/>
          </a:xfrm>
          <a:prstGeom prst="rect">
            <a:avLst/>
          </a:prstGeom>
          <a:noFill/>
          <a:ln w="9525">
            <a:noFill/>
            <a:miter lim="800000"/>
            <a:headEnd/>
            <a:tailEnd/>
          </a:ln>
        </p:spPr>
        <p:txBody>
          <a:bodyPr wrap="square" lIns="0" tIns="0" rIns="0" bIns="0">
            <a:spAutoFit/>
          </a:bodyPr>
          <a:lstStyle/>
          <a:p>
            <a:pPr algn="ctr" eaLnBrk="0" hangingPunct="0">
              <a:buSzPct val="100000"/>
            </a:pPr>
            <a:r>
              <a:rPr lang="en-US" altLang="zh-CN" dirty="0">
                <a:solidFill>
                  <a:srgbClr val="000000"/>
                </a:solidFill>
                <a:ea typeface="微软雅黑" pitchFamily="34" charset="-122"/>
                <a:cs typeface="Arial" pitchFamily="34" charset="0"/>
                <a:sym typeface="Calibri" pitchFamily="34" charset="0"/>
              </a:rPr>
              <a:t>Provide more scale-out power</a:t>
            </a:r>
            <a:endParaRPr lang="en-US" altLang="zh-CN" dirty="0" smtClean="0">
              <a:solidFill>
                <a:srgbClr val="000000"/>
              </a:solidFill>
              <a:ea typeface="微软雅黑" pitchFamily="34" charset="-122"/>
              <a:cs typeface="Arial" pitchFamily="34" charset="0"/>
              <a:sym typeface="Calibri" pitchFamily="34" charset="0"/>
            </a:endParaRPr>
          </a:p>
        </p:txBody>
      </p:sp>
      <p:sp>
        <p:nvSpPr>
          <p:cNvPr id="43" name="TextBox 114"/>
          <p:cNvSpPr txBox="1">
            <a:spLocks noChangeArrowheads="1"/>
          </p:cNvSpPr>
          <p:nvPr/>
        </p:nvSpPr>
        <p:spPr bwMode="auto">
          <a:xfrm>
            <a:off x="6570494" y="4331606"/>
            <a:ext cx="2393994" cy="369332"/>
          </a:xfrm>
          <a:prstGeom prst="rect">
            <a:avLst/>
          </a:prstGeom>
          <a:noFill/>
          <a:ln w="9525">
            <a:noFill/>
            <a:miter lim="800000"/>
            <a:headEnd/>
            <a:tailEnd/>
          </a:ln>
        </p:spPr>
        <p:txBody>
          <a:bodyPr wrap="square" lIns="0" tIns="0" rIns="0" bIns="0">
            <a:spAutoFit/>
          </a:bodyPr>
          <a:lstStyle/>
          <a:p>
            <a:pPr algn="ctr" eaLnBrk="0" hangingPunct="0">
              <a:buSzPct val="100000"/>
            </a:pPr>
            <a:r>
              <a:rPr lang="en-US" altLang="zh-CN" sz="1200" dirty="0" smtClean="0">
                <a:solidFill>
                  <a:srgbClr val="000000"/>
                </a:solidFill>
                <a:ea typeface="微软雅黑" pitchFamily="34" charset="-122"/>
                <a:cs typeface="Arial" pitchFamily="34" charset="0"/>
                <a:sym typeface="Calibri" pitchFamily="34" charset="0"/>
              </a:rPr>
              <a:t>Mission-critical </a:t>
            </a:r>
            <a:r>
              <a:rPr lang="ru-RU" altLang="zh-CN" sz="1200" dirty="0" smtClean="0">
                <a:solidFill>
                  <a:srgbClr val="000000"/>
                </a:solidFill>
                <a:ea typeface="微软雅黑" pitchFamily="34" charset="-122"/>
                <a:cs typeface="Arial" pitchFamily="34" charset="0"/>
                <a:sym typeface="Calibri" pitchFamily="34" charset="0"/>
              </a:rPr>
              <a:t>сервер</a:t>
            </a:r>
            <a:r>
              <a:rPr lang="ru-RU" altLang="zh-CN" sz="1200" dirty="0">
                <a:solidFill>
                  <a:srgbClr val="000000"/>
                </a:solidFill>
                <a:ea typeface="微软雅黑" pitchFamily="34" charset="-122"/>
                <a:cs typeface="Arial" pitchFamily="34" charset="0"/>
                <a:sym typeface="Calibri" pitchFamily="34" charset="0"/>
              </a:rPr>
              <a:t>ы</a:t>
            </a:r>
            <a:r>
              <a:rPr lang="ru-RU" altLang="zh-CN" sz="1200" dirty="0" smtClean="0">
                <a:solidFill>
                  <a:srgbClr val="000000"/>
                </a:solidFill>
                <a:ea typeface="微软雅黑" pitchFamily="34" charset="-122"/>
                <a:cs typeface="Arial" pitchFamily="34" charset="0"/>
                <a:sym typeface="Calibri" pitchFamily="34" charset="0"/>
              </a:rPr>
              <a:t> </a:t>
            </a:r>
            <a:r>
              <a:rPr lang="ru-RU" altLang="zh-CN" sz="1200" dirty="0" smtClean="0">
                <a:solidFill>
                  <a:srgbClr val="000000"/>
                </a:solidFill>
                <a:ea typeface="微软雅黑" pitchFamily="34" charset="-122"/>
                <a:cs typeface="Arial" pitchFamily="34" charset="0"/>
                <a:sym typeface="Calibri" pitchFamily="34" charset="0"/>
              </a:rPr>
              <a:t>с высокой отказоустойчивостью</a:t>
            </a:r>
            <a:endParaRPr lang="en-US" altLang="zh-CN" sz="1200" dirty="0">
              <a:solidFill>
                <a:srgbClr val="000000"/>
              </a:solidFill>
              <a:ea typeface="微软雅黑" pitchFamily="34" charset="-122"/>
              <a:cs typeface="Arial" pitchFamily="34" charset="0"/>
              <a:sym typeface="Calibri" pitchFamily="34" charset="0"/>
            </a:endParaRPr>
          </a:p>
        </p:txBody>
      </p:sp>
      <p:sp>
        <p:nvSpPr>
          <p:cNvPr id="44" name="TextBox 114"/>
          <p:cNvSpPr txBox="1">
            <a:spLocks noChangeArrowheads="1"/>
          </p:cNvSpPr>
          <p:nvPr/>
        </p:nvSpPr>
        <p:spPr bwMode="auto">
          <a:xfrm>
            <a:off x="262078" y="4365382"/>
            <a:ext cx="2279808" cy="430887"/>
          </a:xfrm>
          <a:prstGeom prst="rect">
            <a:avLst/>
          </a:prstGeom>
          <a:noFill/>
          <a:ln w="9525">
            <a:noFill/>
            <a:miter lim="800000"/>
            <a:headEnd/>
            <a:tailEnd/>
          </a:ln>
        </p:spPr>
        <p:txBody>
          <a:bodyPr wrap="square" lIns="0" tIns="0" rIns="0" bIns="0">
            <a:spAutoFit/>
          </a:bodyPr>
          <a:lstStyle/>
          <a:p>
            <a:pPr algn="ctr" eaLnBrk="0" hangingPunct="0">
              <a:buSzPct val="100000"/>
            </a:pPr>
            <a:r>
              <a:rPr lang="ru-RU" altLang="zh-CN" sz="1400" dirty="0">
                <a:solidFill>
                  <a:srgbClr val="000000"/>
                </a:solidFill>
                <a:ea typeface="微软雅黑" pitchFamily="34" charset="-122"/>
                <a:cs typeface="Arial" pitchFamily="34" charset="0"/>
                <a:sym typeface="Calibri" pitchFamily="34" charset="0"/>
              </a:rPr>
              <a:t>Основные службы предприятия</a:t>
            </a:r>
            <a:endParaRPr lang="en-US" altLang="zh-CN" sz="1400" dirty="0">
              <a:solidFill>
                <a:srgbClr val="000000"/>
              </a:solidFill>
              <a:ea typeface="微软雅黑" pitchFamily="34" charset="-122"/>
              <a:cs typeface="Arial" pitchFamily="34" charset="0"/>
              <a:sym typeface="Calibri" pitchFamily="34" charset="0"/>
            </a:endParaRPr>
          </a:p>
        </p:txBody>
      </p:sp>
      <p:grpSp>
        <p:nvGrpSpPr>
          <p:cNvPr id="45" name="组合 182"/>
          <p:cNvGrpSpPr/>
          <p:nvPr/>
        </p:nvGrpSpPr>
        <p:grpSpPr>
          <a:xfrm>
            <a:off x="2952422" y="2173633"/>
            <a:ext cx="3239156" cy="425624"/>
            <a:chOff x="3937587" y="2348883"/>
            <a:chExt cx="4320000" cy="567498"/>
          </a:xfrm>
        </p:grpSpPr>
        <p:sp>
          <p:nvSpPr>
            <p:cNvPr id="46" name="Freeform 6"/>
            <p:cNvSpPr>
              <a:spLocks/>
            </p:cNvSpPr>
            <p:nvPr/>
          </p:nvSpPr>
          <p:spPr bwMode="gray">
            <a:xfrm>
              <a:off x="3937587" y="2348883"/>
              <a:ext cx="4320000" cy="550815"/>
            </a:xfrm>
            <a:prstGeom prst="trapezoid">
              <a:avLst>
                <a:gd name="adj" fmla="val 265997"/>
              </a:avLst>
            </a:prstGeom>
            <a:solidFill>
              <a:schemeClr val="bg1">
                <a:lumMod val="85000"/>
              </a:schemeClr>
            </a:solidFill>
            <a:ln w="9525">
              <a:noFill/>
              <a:round/>
              <a:headEnd/>
              <a:tailEnd/>
            </a:ln>
          </p:spPr>
          <p:txBody>
            <a:bodyPr/>
            <a:lstStyle/>
            <a:p>
              <a:endParaRPr lang="zh-CN" altLang="en-US">
                <a:solidFill>
                  <a:srgbClr val="000000"/>
                </a:solidFill>
              </a:endParaRPr>
            </a:p>
          </p:txBody>
        </p:sp>
        <p:sp>
          <p:nvSpPr>
            <p:cNvPr id="47" name="矩形 184"/>
            <p:cNvSpPr/>
            <p:nvPr/>
          </p:nvSpPr>
          <p:spPr bwMode="auto">
            <a:xfrm>
              <a:off x="3937587" y="2898381"/>
              <a:ext cx="4320000" cy="18000"/>
            </a:xfrm>
            <a:prstGeom prst="rect">
              <a:avLst/>
            </a:prstGeom>
            <a:solidFill>
              <a:schemeClr val="bg1">
                <a:lumMod val="50000"/>
              </a:schemeClr>
            </a:solidFill>
            <a:ln>
              <a:noFill/>
            </a:ln>
            <a:effectLst/>
            <a:extLst/>
          </p:spPr>
          <p:txBody>
            <a:bodyPr vert="horz" wrap="square" lIns="121935" tIns="60968" rIns="121935" bIns="60968" numCol="1" rtlCol="0" anchor="t" anchorCtr="0" compatLnSpc="1">
              <a:prstTxWarp prst="textNoShape">
                <a:avLst/>
              </a:prstTxWarp>
            </a:bodyPr>
            <a:lstStyle/>
            <a:p>
              <a:pPr defTabSz="914270"/>
              <a:endParaRPr lang="zh-CN" altLang="en-US" dirty="0">
                <a:solidFill>
                  <a:srgbClr val="000000"/>
                </a:solidFill>
                <a:ea typeface="宋体" charset="-122"/>
              </a:endParaRPr>
            </a:p>
          </p:txBody>
        </p:sp>
      </p:grpSp>
      <p:grpSp>
        <p:nvGrpSpPr>
          <p:cNvPr id="48" name="组合 186"/>
          <p:cNvGrpSpPr/>
          <p:nvPr/>
        </p:nvGrpSpPr>
        <p:grpSpPr>
          <a:xfrm>
            <a:off x="2634389" y="3514551"/>
            <a:ext cx="3842312" cy="688500"/>
            <a:chOff x="3553638" y="4194062"/>
            <a:chExt cx="5124417" cy="918000"/>
          </a:xfrm>
          <a:solidFill>
            <a:srgbClr val="2A80B9"/>
          </a:solidFill>
          <a:effectLst>
            <a:outerShdw blurRad="50800" dist="38100" dir="2700000" algn="tl" rotWithShape="0">
              <a:prstClr val="black">
                <a:alpha val="40000"/>
              </a:prstClr>
            </a:outerShdw>
          </a:effectLst>
        </p:grpSpPr>
        <p:grpSp>
          <p:nvGrpSpPr>
            <p:cNvPr id="49" name="组合 187"/>
            <p:cNvGrpSpPr/>
            <p:nvPr/>
          </p:nvGrpSpPr>
          <p:grpSpPr>
            <a:xfrm>
              <a:off x="3553638" y="4194062"/>
              <a:ext cx="1566278" cy="918000"/>
              <a:chOff x="2488203" y="3350346"/>
              <a:chExt cx="1566278" cy="918000"/>
            </a:xfrm>
            <a:grpFill/>
          </p:grpSpPr>
          <p:sp>
            <p:nvSpPr>
              <p:cNvPr id="53" name="AutoShape 8"/>
              <p:cNvSpPr>
                <a:spLocks noChangeArrowheads="1"/>
              </p:cNvSpPr>
              <p:nvPr/>
            </p:nvSpPr>
            <p:spPr bwMode="auto">
              <a:xfrm rot="10800000">
                <a:off x="2488203" y="3350346"/>
                <a:ext cx="1566278" cy="918000"/>
              </a:xfrm>
              <a:prstGeom prst="rightArrow">
                <a:avLst>
                  <a:gd name="adj1" fmla="val 50000"/>
                  <a:gd name="adj2" fmla="val 65000"/>
                </a:avLst>
              </a:prstGeom>
              <a:solidFill>
                <a:srgbClr val="FF0000"/>
              </a:solidFill>
              <a:ln w="12700" algn="ctr">
                <a:noFill/>
                <a:round/>
                <a:headEnd/>
                <a:tailEnd/>
              </a:ln>
              <a:effectLst>
                <a:outerShdw blurRad="50800" dist="38100" dir="2700000" algn="tl" rotWithShape="0">
                  <a:prstClr val="black">
                    <a:alpha val="40000"/>
                  </a:prstClr>
                </a:outerShdw>
              </a:effectLst>
            </p:spPr>
            <p:txBody>
              <a:bodyPr wrap="none" lIns="68552" tIns="34276" rIns="68552" bIns="34276" anchor="ctr"/>
              <a:lstStyle/>
              <a:p>
                <a:pPr marL="171404" indent="-171404" algn="ctr" defTabSz="440891" eaLnBrk="0" hangingPunct="0">
                  <a:buClr>
                    <a:srgbClr val="990000"/>
                  </a:buClr>
                  <a:buSzPct val="60000"/>
                </a:pPr>
                <a:endParaRPr lang="zh-CN" altLang="en-US" kern="0">
                  <a:solidFill>
                    <a:srgbClr val="FFFFFF"/>
                  </a:solidFill>
                  <a:ea typeface="微软雅黑" pitchFamily="34" charset="-122"/>
                  <a:cs typeface="Arial" pitchFamily="34" charset="0"/>
                </a:endParaRPr>
              </a:p>
            </p:txBody>
          </p:sp>
          <p:sp>
            <p:nvSpPr>
              <p:cNvPr id="54" name="TextBox 53"/>
              <p:cNvSpPr txBox="1"/>
              <p:nvPr/>
            </p:nvSpPr>
            <p:spPr>
              <a:xfrm>
                <a:off x="2765717" y="3671948"/>
                <a:ext cx="1083019" cy="246221"/>
              </a:xfrm>
              <a:prstGeom prst="rect">
                <a:avLst/>
              </a:prstGeom>
              <a:noFill/>
            </p:spPr>
            <p:txBody>
              <a:bodyPr wrap="square" lIns="0" tIns="0" rIns="0" bIns="0" rtlCol="0">
                <a:spAutoFit/>
              </a:bodyPr>
              <a:lstStyle/>
              <a:p>
                <a:pPr algn="ctr"/>
                <a:r>
                  <a:rPr lang="en-US" altLang="zh-CN" sz="1200" dirty="0" smtClean="0">
                    <a:solidFill>
                      <a:srgbClr val="FFFFFF"/>
                    </a:solidFill>
                  </a:rPr>
                  <a:t>Versatile</a:t>
                </a:r>
                <a:endParaRPr lang="en-US" altLang="zh-CN" sz="1200" dirty="0">
                  <a:solidFill>
                    <a:srgbClr val="FFFFFF"/>
                  </a:solidFill>
                </a:endParaRPr>
              </a:p>
            </p:txBody>
          </p:sp>
        </p:grpSp>
        <p:grpSp>
          <p:nvGrpSpPr>
            <p:cNvPr id="50" name="组合 188"/>
            <p:cNvGrpSpPr/>
            <p:nvPr/>
          </p:nvGrpSpPr>
          <p:grpSpPr>
            <a:xfrm flipH="1">
              <a:off x="7015847" y="4194062"/>
              <a:ext cx="1662208" cy="918000"/>
              <a:chOff x="2344203" y="3350346"/>
              <a:chExt cx="1662208" cy="918000"/>
            </a:xfrm>
            <a:grpFill/>
          </p:grpSpPr>
          <p:sp>
            <p:nvSpPr>
              <p:cNvPr id="51" name="AutoShape 8"/>
              <p:cNvSpPr>
                <a:spLocks noChangeArrowheads="1"/>
              </p:cNvSpPr>
              <p:nvPr/>
            </p:nvSpPr>
            <p:spPr bwMode="auto">
              <a:xfrm rot="10800000">
                <a:off x="2344203" y="3350346"/>
                <a:ext cx="1662208" cy="918000"/>
              </a:xfrm>
              <a:prstGeom prst="rightArrow">
                <a:avLst>
                  <a:gd name="adj1" fmla="val 50000"/>
                  <a:gd name="adj2" fmla="val 65000"/>
                </a:avLst>
              </a:prstGeom>
              <a:solidFill>
                <a:srgbClr val="FF0000"/>
              </a:solidFill>
              <a:ln w="12700" algn="ctr">
                <a:noFill/>
                <a:round/>
                <a:headEnd/>
                <a:tailEnd/>
              </a:ln>
              <a:effectLst>
                <a:outerShdw blurRad="50800" dist="38100" dir="2700000" algn="tl" rotWithShape="0">
                  <a:prstClr val="black">
                    <a:alpha val="40000"/>
                  </a:prstClr>
                </a:outerShdw>
              </a:effectLst>
            </p:spPr>
            <p:txBody>
              <a:bodyPr wrap="none" lIns="68552" tIns="34276" rIns="68552" bIns="34276" anchor="ctr"/>
              <a:lstStyle/>
              <a:p>
                <a:pPr marL="171404" indent="-171404" algn="ctr" defTabSz="440891" eaLnBrk="0" hangingPunct="0">
                  <a:buClr>
                    <a:srgbClr val="990000"/>
                  </a:buClr>
                  <a:buSzPct val="60000"/>
                </a:pPr>
                <a:endParaRPr lang="zh-CN" altLang="en-US" kern="0">
                  <a:solidFill>
                    <a:srgbClr val="FFFFFF"/>
                  </a:solidFill>
                  <a:ea typeface="微软雅黑" pitchFamily="34" charset="-122"/>
                  <a:cs typeface="Arial" pitchFamily="34" charset="0"/>
                </a:endParaRPr>
              </a:p>
            </p:txBody>
          </p:sp>
          <p:sp>
            <p:nvSpPr>
              <p:cNvPr id="52" name="TextBox 51"/>
              <p:cNvSpPr txBox="1"/>
              <p:nvPr/>
            </p:nvSpPr>
            <p:spPr>
              <a:xfrm>
                <a:off x="2765718" y="3686236"/>
                <a:ext cx="983947" cy="246221"/>
              </a:xfrm>
              <a:prstGeom prst="rect">
                <a:avLst/>
              </a:prstGeom>
              <a:noFill/>
            </p:spPr>
            <p:txBody>
              <a:bodyPr wrap="square" lIns="0" tIns="0" rIns="0" bIns="0" rtlCol="0">
                <a:spAutoFit/>
              </a:bodyPr>
              <a:lstStyle/>
              <a:p>
                <a:pPr algn="ctr"/>
                <a:r>
                  <a:rPr lang="en-US" altLang="zh-CN" sz="1200" dirty="0" smtClean="0">
                    <a:solidFill>
                      <a:srgbClr val="FFFFFF"/>
                    </a:solidFill>
                  </a:rPr>
                  <a:t>Continuity</a:t>
                </a:r>
                <a:endParaRPr lang="en-US" altLang="zh-CN" sz="1200" dirty="0">
                  <a:solidFill>
                    <a:srgbClr val="FFFFFF"/>
                  </a:solidFill>
                </a:endParaRPr>
              </a:p>
            </p:txBody>
          </p:sp>
        </p:grpSp>
      </p:grpSp>
      <p:pic>
        <p:nvPicPr>
          <p:cNvPr id="58" name="Picture 13" descr="G:\1-PRIMERGY\Picturemanagement_low\_PRIMERGY Server\PRIM_Blade_Server\BX900-BX400\BaseUnit-BX400\BX400-rack-front.jpg"/>
          <p:cNvPicPr>
            <a:picLocks noChangeAspect="1" noChangeArrowheads="1"/>
          </p:cNvPicPr>
          <p:nvPr/>
        </p:nvPicPr>
        <p:blipFill>
          <a:blip r:embed="rId3" cstate="screen">
            <a:extLst>
              <a:ext uri="{BEBA8EAE-BF5A-486C-A8C5-ECC9F3942E4B}">
                <a14:imgProps xmlns:a14="http://schemas.microsoft.com/office/drawing/2010/main">
                  <a14:imgLayer r:embed="rId4">
                    <a14:imgEffect>
                      <a14:backgroundRemoval t="4482" b="96078" l="3430" r="96751">
                        <a14:foregroundMark x1="4513" y1="55182" x2="4332" y2="69468"/>
                        <a14:foregroundMark x1="5235" y1="20728" x2="5235" y2="21008"/>
                        <a14:foregroundMark x1="9928" y1="15966" x2="22383" y2="7003"/>
                        <a14:foregroundMark x1="22563" y1="7283" x2="81769" y2="7563"/>
                        <a14:foregroundMark x1="81769" y1="7563" x2="90975" y2="15126"/>
                        <a14:foregroundMark x1="94585" y1="21289" x2="95668" y2="23810"/>
                        <a14:foregroundMark x1="96029" y1="43978" x2="95668" y2="65826"/>
                        <a14:foregroundMark x1="53069" y1="8683" x2="82130" y2="7843"/>
                        <a14:backgroundMark x1="19856" y1="6443" x2="85560" y2="7563"/>
                      </a14:backgroundRemoval>
                    </a14:imgEffect>
                  </a14:imgLayer>
                </a14:imgProps>
              </a:ext>
              <a:ext uri="{28A0092B-C50C-407E-A947-70E740481C1C}">
                <a14:useLocalDpi xmlns:a14="http://schemas.microsoft.com/office/drawing/2010/main"/>
              </a:ext>
            </a:extLst>
          </a:blip>
          <a:srcRect/>
          <a:stretch>
            <a:fillRect/>
          </a:stretch>
        </p:blipFill>
        <p:spPr bwMode="auto">
          <a:xfrm>
            <a:off x="4139157" y="1914083"/>
            <a:ext cx="872805" cy="561909"/>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4" descr="G:\1-PRIMERGY\Picturemanagement_low\_PRIMERGY Server\PRIM_Blade_Server\BX900-BX400\BaseUnit-BX900\BX900_S1_front_02.jpg"/>
          <p:cNvPicPr>
            <a:picLocks noChangeAspect="1" noChangeArrowheads="1"/>
          </p:cNvPicPr>
          <p:nvPr/>
        </p:nvPicPr>
        <p:blipFill>
          <a:blip r:embed="rId5" cstate="screen">
            <a:extLst>
              <a:ext uri="{BEBA8EAE-BF5A-486C-A8C5-ECC9F3942E4B}">
                <a14:imgProps xmlns:a14="http://schemas.microsoft.com/office/drawing/2010/main">
                  <a14:imgLayer r:embed="rId6">
                    <a14:imgEffect>
                      <a14:backgroundRemoval t="1604" b="97861" l="3831" r="96976">
                        <a14:foregroundMark x1="6250" y1="19358" x2="6754" y2="20642"/>
                        <a14:foregroundMark x1="5645" y1="34011" x2="5948" y2="48449"/>
                        <a14:foregroundMark x1="94456" y1="32406" x2="94657" y2="49198"/>
                        <a14:foregroundMark x1="19859" y1="8128" x2="78427" y2="8128"/>
                        <a14:foregroundMark x1="91230" y1="10160" x2="80040" y2="3316"/>
                        <a14:foregroundMark x1="18851" y1="3316" x2="9879" y2="9519"/>
                        <a14:foregroundMark x1="18750" y1="3316" x2="80343" y2="3422"/>
                        <a14:backgroundMark x1="16028" y1="3102" x2="83266" y2="2995"/>
                      </a14:backgroundRemoval>
                    </a14:imgEffect>
                  </a14:imgLayer>
                </a14:imgProps>
              </a:ext>
              <a:ext uri="{28A0092B-C50C-407E-A947-70E740481C1C}">
                <a14:useLocalDpi xmlns:a14="http://schemas.microsoft.com/office/drawing/2010/main"/>
              </a:ext>
            </a:extLst>
          </a:blip>
          <a:srcRect/>
          <a:stretch>
            <a:fillRect/>
          </a:stretch>
        </p:blipFill>
        <p:spPr bwMode="auto">
          <a:xfrm>
            <a:off x="5120315" y="1635646"/>
            <a:ext cx="891845" cy="840346"/>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5" descr="G:\1-PRIMERGY\Picturemanagement_low\_PRIMERGY Server\PRIM_Scale_out_server\PRIM_CX400M1\CX400_M1_front_01_2_5_inch.jpg"/>
          <p:cNvPicPr>
            <a:picLocks noChangeAspect="1" noChangeArrowheads="1"/>
          </p:cNvPicPr>
          <p:nvPr/>
        </p:nvPicPr>
        <p:blipFill>
          <a:blip r:embed="rId7" cstate="screen">
            <a:extLst>
              <a:ext uri="{BEBA8EAE-BF5A-486C-A8C5-ECC9F3942E4B}">
                <a14:imgProps xmlns:a14="http://schemas.microsoft.com/office/drawing/2010/main">
                  <a14:imgLayer r:embed="rId8">
                    <a14:imgEffect>
                      <a14:backgroundRemoval t="9579" b="89720" l="5486" r="94592"/>
                    </a14:imgEffect>
                  </a14:imgLayer>
                </a14:imgProps>
              </a:ext>
              <a:ext uri="{28A0092B-C50C-407E-A947-70E740481C1C}">
                <a14:useLocalDpi xmlns:a14="http://schemas.microsoft.com/office/drawing/2010/main"/>
              </a:ext>
            </a:extLst>
          </a:blip>
          <a:srcRect/>
          <a:stretch>
            <a:fillRect/>
          </a:stretch>
        </p:blipFill>
        <p:spPr bwMode="auto">
          <a:xfrm>
            <a:off x="3059149" y="2117110"/>
            <a:ext cx="1008000" cy="338107"/>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3" descr="G:\1-PRIMERGY\Picturemanagement_low\_PRIMERGY Server\PRIM_Tower_Server\PRIMERGY TX1310 M1\PY_TX1310_M1_front.jpg"/>
          <p:cNvPicPr>
            <a:picLocks noChangeAspect="1" noChangeArrowheads="1"/>
          </p:cNvPicPr>
          <p:nvPr/>
        </p:nvPicPr>
        <p:blipFill>
          <a:blip r:embed="rId9" cstate="screen">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1862592" y="3366855"/>
            <a:ext cx="540000" cy="900213"/>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4"/>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2298426" y="3639458"/>
            <a:ext cx="209176" cy="57072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8"/>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565880" y="3360131"/>
            <a:ext cx="421973" cy="862883"/>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10" descr="G:\1-PRIMERGY\Picturemanagement_low\_PRIMERGY Server\PRIM_Rack_Server\PRIMERGY RX2520 M1\PY_RX_2520_front.jpg"/>
          <p:cNvPicPr>
            <a:picLocks noChangeAspect="1" noChangeArrowheads="1"/>
          </p:cNvPicPr>
          <p:nvPr/>
        </p:nvPicPr>
        <p:blipFill>
          <a:blip r:embed="rId13" cstate="screen">
            <a:extLst>
              <a:ext uri="{BEBA8EAE-BF5A-486C-A8C5-ECC9F3942E4B}">
                <a14:imgProps xmlns:a14="http://schemas.microsoft.com/office/drawing/2010/main">
                  <a14:imgLayer r:embed="rId14">
                    <a14:imgEffect>
                      <a14:backgroundRemoval t="9877" b="89771" l="5293" r="94989"/>
                    </a14:imgEffect>
                  </a14:imgLayer>
                </a14:imgProps>
              </a:ext>
              <a:ext uri="{28A0092B-C50C-407E-A947-70E740481C1C}">
                <a14:useLocalDpi xmlns:a14="http://schemas.microsoft.com/office/drawing/2010/main"/>
              </a:ext>
            </a:extLst>
          </a:blip>
          <a:srcRect/>
          <a:stretch>
            <a:fillRect/>
          </a:stretch>
        </p:blipFill>
        <p:spPr bwMode="auto">
          <a:xfrm>
            <a:off x="480992" y="3460212"/>
            <a:ext cx="1044000" cy="417747"/>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10"/>
          <p:cNvPicPr>
            <a:picLocks noChangeAspect="1" noChangeArrowheads="1"/>
          </p:cNvPicPr>
          <p:nvPr/>
        </p:nvPicPr>
        <p:blipFill>
          <a:blip r:embed="rId15" cstate="print">
            <a:extLst>
              <a:ext uri="{BEBA8EAE-BF5A-486C-A8C5-ECC9F3942E4B}">
                <a14:imgProps xmlns:a14="http://schemas.microsoft.com/office/drawing/2010/main">
                  <a14:imgLayer r:embed="rId16">
                    <a14:imgEffect>
                      <a14:backgroundRemoval t="8046" b="88506" l="3687" r="98618"/>
                    </a14:imgEffect>
                  </a14:imgLayer>
                </a14:imgProps>
              </a:ext>
              <a:ext uri="{28A0092B-C50C-407E-A947-70E740481C1C}">
                <a14:useLocalDpi xmlns:a14="http://schemas.microsoft.com/office/drawing/2010/main" val="0"/>
              </a:ext>
            </a:extLst>
          </a:blip>
          <a:stretch>
            <a:fillRect/>
          </a:stretch>
        </p:blipFill>
        <p:spPr bwMode="auto">
          <a:xfrm>
            <a:off x="508812" y="3936388"/>
            <a:ext cx="972000" cy="375580"/>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1" descr="G:\1-PRIMERGY\Picturemanagement_low\_PRIMERGY Server\PRIM_Rack_Server\PRIMERGY RX2540 M1\RX2540_M1_front_01_3_5_inch.jpg"/>
          <p:cNvPicPr>
            <a:picLocks noChangeAspect="1" noChangeArrowheads="1"/>
          </p:cNvPicPr>
          <p:nvPr/>
        </p:nvPicPr>
        <p:blipFill>
          <a:blip r:embed="rId17" cstate="screen">
            <a:extLst>
              <a:ext uri="{BEBA8EAE-BF5A-486C-A8C5-ECC9F3942E4B}">
                <a14:imgProps xmlns:a14="http://schemas.microsoft.com/office/drawing/2010/main">
                  <a14:imgLayer r:embed="rId18">
                    <a14:imgEffect>
                      <a14:backgroundRemoval t="9877" b="89771" l="3840" r="96238"/>
                    </a14:imgEffect>
                  </a14:imgLayer>
                </a14:imgProps>
              </a:ext>
              <a:ext uri="{28A0092B-C50C-407E-A947-70E740481C1C}">
                <a14:useLocalDpi xmlns:a14="http://schemas.microsoft.com/office/drawing/2010/main"/>
              </a:ext>
            </a:extLst>
          </a:blip>
          <a:srcRect/>
          <a:stretch>
            <a:fillRect/>
          </a:stretch>
        </p:blipFill>
        <p:spPr bwMode="auto">
          <a:xfrm>
            <a:off x="505801" y="3707065"/>
            <a:ext cx="1008000" cy="447913"/>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2" descr="http://mediaportal.ts.fujitsu.com/filestore/3/5/7/8/1_50e8ba4928351de/35781thm_711e6354e55a999.jpg?v=2015-03-25+13%3A21%3A57">
            <a:hlinkClick r:id="rId19" tooltip="Picture: PRIMERGY RX2560 M1 Front 01"/>
          </p:cNvPr>
          <p:cNvPicPr>
            <a:picLocks noChangeAspect="1" noChangeArrowheads="1"/>
          </p:cNvPicPr>
          <p:nvPr/>
        </p:nvPicPr>
        <p:blipFill>
          <a:blip r:embed="rId2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3976" y="3038883"/>
            <a:ext cx="1008000" cy="557761"/>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19" descr="G:\1-PRIMERGY\Picturemanagement_low\MainFrame_SuperComputer\BS2000\34051_BS2000_SE700_-_right_scr.jpg"/>
          <p:cNvPicPr>
            <a:picLocks noChangeAspect="1" noChangeArrowheads="1"/>
          </p:cNvPicPr>
          <p:nvPr/>
        </p:nvPicPr>
        <p:blipFill>
          <a:blip r:embed="rId21" cstate="screen">
            <a:extLst>
              <a:ext uri="{BEBA8EAE-BF5A-486C-A8C5-ECC9F3942E4B}">
                <a14:imgProps xmlns:a14="http://schemas.microsoft.com/office/drawing/2010/main">
                  <a14:imgLayer r:embed="rId22">
                    <a14:imgEffect>
                      <a14:backgroundRemoval t="2706" b="98118" l="7584" r="94180">
                        <a14:foregroundMark x1="26631" y1="8824" x2="30335" y2="8824"/>
                        <a14:foregroundMark x1="20459" y1="10471" x2="20635" y2="47765"/>
                        <a14:foregroundMark x1="20282" y1="55294" x2="20282" y2="91529"/>
                      </a14:backgroundRemoval>
                    </a14:imgEffect>
                  </a14:imgLayer>
                </a14:imgProps>
              </a:ext>
              <a:ext uri="{28A0092B-C50C-407E-A947-70E740481C1C}">
                <a14:useLocalDpi xmlns:a14="http://schemas.microsoft.com/office/drawing/2010/main"/>
              </a:ext>
            </a:extLst>
          </a:blip>
          <a:srcRect/>
          <a:stretch>
            <a:fillRect/>
          </a:stretch>
        </p:blipFill>
        <p:spPr bwMode="auto">
          <a:xfrm>
            <a:off x="8046350" y="2881191"/>
            <a:ext cx="815070" cy="1221887"/>
          </a:xfrm>
          <a:prstGeom prst="rect">
            <a:avLst/>
          </a:prstGeom>
          <a:noFill/>
          <a:extLst>
            <a:ext uri="{909E8E84-426E-40DD-AFC4-6F175D3DCCD1}">
              <a14:hiddenFill xmlns:a14="http://schemas.microsoft.com/office/drawing/2010/main">
                <a:solidFill>
                  <a:srgbClr val="FFFFFF"/>
                </a:solidFill>
              </a14:hiddenFill>
            </a:ext>
          </a:extLst>
        </p:spPr>
      </p:pic>
      <p:pic>
        <p:nvPicPr>
          <p:cNvPr id="71" name="Grafik 6"/>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669926" y="2898574"/>
            <a:ext cx="1942430" cy="1406370"/>
          </a:xfrm>
          <a:prstGeom prst="rect">
            <a:avLst/>
          </a:prstGeom>
        </p:spPr>
      </p:pic>
      <p:sp>
        <p:nvSpPr>
          <p:cNvPr id="72" name="Rectangle 71"/>
          <p:cNvSpPr/>
          <p:nvPr/>
        </p:nvSpPr>
        <p:spPr>
          <a:xfrm>
            <a:off x="472727" y="878165"/>
            <a:ext cx="8642350" cy="584775"/>
          </a:xfrm>
          <a:prstGeom prst="rect">
            <a:avLst/>
          </a:prstGeom>
        </p:spPr>
        <p:txBody>
          <a:bodyPr wrap="square">
            <a:spAutoFit/>
          </a:bodyPr>
          <a:lstStyle/>
          <a:p>
            <a:r>
              <a:rPr lang="ru-RU" sz="1600" dirty="0">
                <a:solidFill>
                  <a:srgbClr val="000000"/>
                </a:solidFill>
              </a:rPr>
              <a:t>Правильное сочетание систем, решений и </a:t>
            </a:r>
            <a:r>
              <a:rPr lang="ru-RU" sz="1600" dirty="0" smtClean="0">
                <a:solidFill>
                  <a:srgbClr val="000000"/>
                </a:solidFill>
              </a:rPr>
              <a:t>инноваций </a:t>
            </a:r>
            <a:r>
              <a:rPr lang="ru-RU" sz="1600" dirty="0">
                <a:solidFill>
                  <a:srgbClr val="000000"/>
                </a:solidFill>
              </a:rPr>
              <a:t>гарантирует максимальную производительность, эффективность и гибкость, </a:t>
            </a:r>
            <a:r>
              <a:rPr lang="ru-RU" sz="1600" dirty="0" smtClean="0">
                <a:solidFill>
                  <a:srgbClr val="000000"/>
                </a:solidFill>
              </a:rPr>
              <a:t>с гарантированной надежностью </a:t>
            </a:r>
            <a:endParaRPr lang="en-US" sz="1600" dirty="0">
              <a:solidFill>
                <a:srgbClr val="000000"/>
              </a:solidFill>
            </a:endParaRPr>
          </a:p>
        </p:txBody>
      </p:sp>
      <p:sp>
        <p:nvSpPr>
          <p:cNvPr id="73" name="AutoShape 2" descr="Full screen preview"/>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pic>
        <p:nvPicPr>
          <p:cNvPr id="10244" name="Picture 4" descr="C:\Users\PDBTLAMP.G02\Downloads\33063_Buildings_Illustrations.gif"/>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889265" y="3931783"/>
            <a:ext cx="796692" cy="786733"/>
          </a:xfrm>
          <a:prstGeom prst="rect">
            <a:avLst/>
          </a:prstGeom>
          <a:noFill/>
          <a:extLst>
            <a:ext uri="{909E8E84-426E-40DD-AFC4-6F175D3DCCD1}">
              <a14:hiddenFill xmlns:a14="http://schemas.microsoft.com/office/drawing/2010/main">
                <a:solidFill>
                  <a:srgbClr val="FFFFFF"/>
                </a:solidFill>
              </a14:hiddenFill>
            </a:ext>
          </a:extLst>
        </p:spPr>
      </p:pic>
      <p:pic>
        <p:nvPicPr>
          <p:cNvPr id="10245" name="Picture 5" descr="C:\Users\PDBTLAMP.G02\Downloads\33059_Buildings_Illustrations.gif"/>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3201269" y="4291418"/>
            <a:ext cx="945097" cy="392215"/>
          </a:xfrm>
          <a:prstGeom prst="rect">
            <a:avLst/>
          </a:prstGeom>
          <a:noFill/>
          <a:extLst>
            <a:ext uri="{909E8E84-426E-40DD-AFC4-6F175D3DCCD1}">
              <a14:hiddenFill xmlns:a14="http://schemas.microsoft.com/office/drawing/2010/main">
                <a:solidFill>
                  <a:srgbClr val="FFFFFF"/>
                </a:solidFill>
              </a14:hiddenFill>
            </a:ext>
          </a:extLst>
        </p:spPr>
      </p:pic>
      <p:pic>
        <p:nvPicPr>
          <p:cNvPr id="10246" name="Picture 6" descr="C:\Users\PDBTLAMP.G02\Downloads\33062_Buildings_Illustrations.gif"/>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175599" y="3984755"/>
            <a:ext cx="628775" cy="733570"/>
          </a:xfrm>
          <a:prstGeom prst="rect">
            <a:avLst/>
          </a:prstGeom>
          <a:noFill/>
          <a:extLst>
            <a:ext uri="{909E8E84-426E-40DD-AFC4-6F175D3DCCD1}">
              <a14:hiddenFill xmlns:a14="http://schemas.microsoft.com/office/drawing/2010/main">
                <a:solidFill>
                  <a:srgbClr val="FFFFFF"/>
                </a:solidFill>
              </a14:hiddenFill>
            </a:ext>
          </a:extLst>
        </p:spPr>
      </p:pic>
      <p:sp>
        <p:nvSpPr>
          <p:cNvPr id="75" name="Textfeld 26"/>
          <p:cNvSpPr txBox="1"/>
          <p:nvPr/>
        </p:nvSpPr>
        <p:spPr>
          <a:xfrm>
            <a:off x="2414688" y="3392106"/>
            <a:ext cx="361453" cy="200055"/>
          </a:xfrm>
          <a:prstGeom prst="rect">
            <a:avLst/>
          </a:prstGeom>
          <a:noFill/>
        </p:spPr>
        <p:txBody>
          <a:bodyPr wrap="square" lIns="0" rIns="0" rtlCol="0">
            <a:spAutoFit/>
          </a:bodyPr>
          <a:lstStyle/>
          <a:p>
            <a:pPr algn="ctr"/>
            <a:r>
              <a:rPr lang="de-DE" sz="700" dirty="0" smtClean="0">
                <a:solidFill>
                  <a:srgbClr val="000000"/>
                </a:solidFill>
              </a:rPr>
              <a:t>TX1310</a:t>
            </a:r>
            <a:endParaRPr lang="de-DE" sz="700" dirty="0">
              <a:solidFill>
                <a:srgbClr val="000000"/>
              </a:solidFill>
            </a:endParaRPr>
          </a:p>
        </p:txBody>
      </p:sp>
      <p:sp>
        <p:nvSpPr>
          <p:cNvPr id="77" name="Textfeld 27"/>
          <p:cNvSpPr txBox="1"/>
          <p:nvPr/>
        </p:nvSpPr>
        <p:spPr>
          <a:xfrm>
            <a:off x="2565312" y="2997131"/>
            <a:ext cx="361453" cy="200055"/>
          </a:xfrm>
          <a:prstGeom prst="rect">
            <a:avLst/>
          </a:prstGeom>
          <a:noFill/>
        </p:spPr>
        <p:txBody>
          <a:bodyPr wrap="square" lIns="0" rIns="0" rtlCol="0">
            <a:spAutoFit/>
          </a:bodyPr>
          <a:lstStyle/>
          <a:p>
            <a:pPr algn="ctr"/>
            <a:r>
              <a:rPr lang="de-DE" sz="700" dirty="0" smtClean="0">
                <a:solidFill>
                  <a:srgbClr val="000000"/>
                </a:solidFill>
              </a:rPr>
              <a:t>TX1330</a:t>
            </a:r>
            <a:endParaRPr lang="de-DE" sz="700" dirty="0">
              <a:solidFill>
                <a:srgbClr val="000000"/>
              </a:solidFill>
            </a:endParaRPr>
          </a:p>
        </p:txBody>
      </p:sp>
      <p:sp>
        <p:nvSpPr>
          <p:cNvPr id="78" name="Textfeld 29"/>
          <p:cNvSpPr txBox="1"/>
          <p:nvPr/>
        </p:nvSpPr>
        <p:spPr>
          <a:xfrm>
            <a:off x="1980819" y="3217735"/>
            <a:ext cx="361453" cy="200055"/>
          </a:xfrm>
          <a:prstGeom prst="rect">
            <a:avLst/>
          </a:prstGeom>
          <a:noFill/>
        </p:spPr>
        <p:txBody>
          <a:bodyPr wrap="square" lIns="0" rIns="0" rtlCol="0">
            <a:spAutoFit/>
          </a:bodyPr>
          <a:lstStyle/>
          <a:p>
            <a:pPr algn="ctr"/>
            <a:r>
              <a:rPr lang="de-DE" sz="700" dirty="0" smtClean="0">
                <a:solidFill>
                  <a:srgbClr val="000000"/>
                </a:solidFill>
              </a:rPr>
              <a:t>TX2540</a:t>
            </a:r>
            <a:endParaRPr lang="de-DE" sz="700" dirty="0">
              <a:solidFill>
                <a:srgbClr val="000000"/>
              </a:solidFill>
            </a:endParaRPr>
          </a:p>
        </p:txBody>
      </p:sp>
      <p:sp>
        <p:nvSpPr>
          <p:cNvPr id="79" name="Textfeld 30"/>
          <p:cNvSpPr txBox="1"/>
          <p:nvPr/>
        </p:nvSpPr>
        <p:spPr>
          <a:xfrm>
            <a:off x="1596139" y="3185257"/>
            <a:ext cx="361453" cy="200055"/>
          </a:xfrm>
          <a:prstGeom prst="rect">
            <a:avLst/>
          </a:prstGeom>
          <a:noFill/>
        </p:spPr>
        <p:txBody>
          <a:bodyPr wrap="square" lIns="0" rIns="0" rtlCol="0">
            <a:spAutoFit/>
          </a:bodyPr>
          <a:lstStyle/>
          <a:p>
            <a:pPr algn="ctr"/>
            <a:r>
              <a:rPr lang="de-DE" sz="700" dirty="0" smtClean="0">
                <a:solidFill>
                  <a:srgbClr val="000000"/>
                </a:solidFill>
              </a:rPr>
              <a:t>TX2560</a:t>
            </a:r>
            <a:endParaRPr lang="de-DE" sz="700" dirty="0">
              <a:solidFill>
                <a:srgbClr val="000000"/>
              </a:solidFill>
            </a:endParaRPr>
          </a:p>
        </p:txBody>
      </p:sp>
      <p:sp>
        <p:nvSpPr>
          <p:cNvPr id="81" name="Textfeld 54"/>
          <p:cNvSpPr txBox="1"/>
          <p:nvPr/>
        </p:nvSpPr>
        <p:spPr>
          <a:xfrm>
            <a:off x="2485783" y="3196042"/>
            <a:ext cx="361453" cy="200055"/>
          </a:xfrm>
          <a:prstGeom prst="rect">
            <a:avLst/>
          </a:prstGeom>
          <a:noFill/>
        </p:spPr>
        <p:txBody>
          <a:bodyPr wrap="square" lIns="0" rIns="0" rtlCol="0">
            <a:spAutoFit/>
          </a:bodyPr>
          <a:lstStyle/>
          <a:p>
            <a:pPr algn="ctr"/>
            <a:r>
              <a:rPr lang="de-DE" sz="700" dirty="0" smtClean="0">
                <a:solidFill>
                  <a:srgbClr val="000000"/>
                </a:solidFill>
              </a:rPr>
              <a:t>TX1320</a:t>
            </a:r>
            <a:endParaRPr lang="de-DE" sz="700" dirty="0">
              <a:solidFill>
                <a:srgbClr val="000000"/>
              </a:solidFill>
            </a:endParaRPr>
          </a:p>
        </p:txBody>
      </p:sp>
      <p:sp>
        <p:nvSpPr>
          <p:cNvPr id="82" name="Textfeld 40"/>
          <p:cNvSpPr txBox="1"/>
          <p:nvPr/>
        </p:nvSpPr>
        <p:spPr>
          <a:xfrm>
            <a:off x="814085" y="2490615"/>
            <a:ext cx="361453" cy="200055"/>
          </a:xfrm>
          <a:prstGeom prst="rect">
            <a:avLst/>
          </a:prstGeom>
          <a:noFill/>
        </p:spPr>
        <p:txBody>
          <a:bodyPr wrap="square" lIns="0" rIns="0" rtlCol="0">
            <a:spAutoFit/>
          </a:bodyPr>
          <a:lstStyle/>
          <a:p>
            <a:r>
              <a:rPr lang="de-DE" sz="700" dirty="0" smtClean="0">
                <a:solidFill>
                  <a:srgbClr val="000000"/>
                </a:solidFill>
              </a:rPr>
              <a:t>RX1330</a:t>
            </a:r>
            <a:endParaRPr lang="de-DE" sz="700" dirty="0">
              <a:solidFill>
                <a:srgbClr val="000000"/>
              </a:solidFill>
            </a:endParaRPr>
          </a:p>
        </p:txBody>
      </p:sp>
      <p:sp>
        <p:nvSpPr>
          <p:cNvPr id="83" name="Textfeld 55"/>
          <p:cNvSpPr txBox="1"/>
          <p:nvPr/>
        </p:nvSpPr>
        <p:spPr>
          <a:xfrm>
            <a:off x="653454" y="2290560"/>
            <a:ext cx="361453" cy="200055"/>
          </a:xfrm>
          <a:prstGeom prst="rect">
            <a:avLst/>
          </a:prstGeom>
          <a:noFill/>
        </p:spPr>
        <p:txBody>
          <a:bodyPr wrap="square" lIns="0" rIns="0" rtlCol="0">
            <a:spAutoFit/>
          </a:bodyPr>
          <a:lstStyle/>
          <a:p>
            <a:r>
              <a:rPr lang="de-DE" sz="700" dirty="0" smtClean="0">
                <a:solidFill>
                  <a:srgbClr val="000000"/>
                </a:solidFill>
              </a:rPr>
              <a:t>RX2520</a:t>
            </a:r>
            <a:endParaRPr lang="de-DE" sz="700" dirty="0">
              <a:solidFill>
                <a:srgbClr val="000000"/>
              </a:solidFill>
            </a:endParaRPr>
          </a:p>
        </p:txBody>
      </p:sp>
      <p:sp>
        <p:nvSpPr>
          <p:cNvPr id="84" name="Textfeld 56"/>
          <p:cNvSpPr txBox="1"/>
          <p:nvPr/>
        </p:nvSpPr>
        <p:spPr>
          <a:xfrm>
            <a:off x="988433" y="2290560"/>
            <a:ext cx="361453" cy="200055"/>
          </a:xfrm>
          <a:prstGeom prst="rect">
            <a:avLst/>
          </a:prstGeom>
          <a:noFill/>
        </p:spPr>
        <p:txBody>
          <a:bodyPr wrap="square" lIns="0" rIns="0" rtlCol="0">
            <a:spAutoFit/>
          </a:bodyPr>
          <a:lstStyle/>
          <a:p>
            <a:r>
              <a:rPr lang="de-DE" sz="700" dirty="0" smtClean="0">
                <a:solidFill>
                  <a:srgbClr val="000000"/>
                </a:solidFill>
              </a:rPr>
              <a:t>RX2530</a:t>
            </a:r>
            <a:endParaRPr lang="de-DE" sz="700" dirty="0">
              <a:solidFill>
                <a:srgbClr val="000000"/>
              </a:solidFill>
            </a:endParaRPr>
          </a:p>
        </p:txBody>
      </p:sp>
      <p:sp>
        <p:nvSpPr>
          <p:cNvPr id="85" name="Textfeld 57"/>
          <p:cNvSpPr txBox="1"/>
          <p:nvPr/>
        </p:nvSpPr>
        <p:spPr>
          <a:xfrm>
            <a:off x="822265" y="2089507"/>
            <a:ext cx="361453" cy="200055"/>
          </a:xfrm>
          <a:prstGeom prst="rect">
            <a:avLst/>
          </a:prstGeom>
          <a:noFill/>
        </p:spPr>
        <p:txBody>
          <a:bodyPr wrap="square" lIns="0" rIns="0" rtlCol="0">
            <a:spAutoFit/>
          </a:bodyPr>
          <a:lstStyle/>
          <a:p>
            <a:r>
              <a:rPr lang="de-DE" sz="700" dirty="0" smtClean="0">
                <a:solidFill>
                  <a:srgbClr val="000000"/>
                </a:solidFill>
              </a:rPr>
              <a:t>RX2560</a:t>
            </a:r>
            <a:endParaRPr lang="de-DE" sz="700" dirty="0">
              <a:solidFill>
                <a:srgbClr val="000000"/>
              </a:solidFill>
            </a:endParaRPr>
          </a:p>
        </p:txBody>
      </p:sp>
      <p:sp>
        <p:nvSpPr>
          <p:cNvPr id="86" name="Textfeld 59"/>
          <p:cNvSpPr txBox="1"/>
          <p:nvPr/>
        </p:nvSpPr>
        <p:spPr>
          <a:xfrm>
            <a:off x="1332325" y="2294114"/>
            <a:ext cx="361453" cy="200055"/>
          </a:xfrm>
          <a:prstGeom prst="rect">
            <a:avLst/>
          </a:prstGeom>
          <a:noFill/>
        </p:spPr>
        <p:txBody>
          <a:bodyPr wrap="square" lIns="0" rIns="0" rtlCol="0">
            <a:spAutoFit/>
          </a:bodyPr>
          <a:lstStyle/>
          <a:p>
            <a:r>
              <a:rPr lang="de-DE" sz="700" dirty="0" smtClean="0">
                <a:solidFill>
                  <a:srgbClr val="000000"/>
                </a:solidFill>
              </a:rPr>
              <a:t>RX2540</a:t>
            </a:r>
            <a:endParaRPr lang="de-DE" sz="700" dirty="0">
              <a:solidFill>
                <a:srgbClr val="000000"/>
              </a:solidFill>
            </a:endParaRPr>
          </a:p>
        </p:txBody>
      </p:sp>
      <p:sp>
        <p:nvSpPr>
          <p:cNvPr id="87" name="Textfeld 61"/>
          <p:cNvSpPr txBox="1"/>
          <p:nvPr/>
        </p:nvSpPr>
        <p:spPr>
          <a:xfrm>
            <a:off x="815657" y="1913868"/>
            <a:ext cx="361453" cy="200055"/>
          </a:xfrm>
          <a:prstGeom prst="rect">
            <a:avLst/>
          </a:prstGeom>
          <a:noFill/>
        </p:spPr>
        <p:txBody>
          <a:bodyPr wrap="square" lIns="0" rIns="0" rtlCol="0">
            <a:spAutoFit/>
          </a:bodyPr>
          <a:lstStyle/>
          <a:p>
            <a:r>
              <a:rPr lang="de-DE" sz="700" dirty="0" smtClean="0">
                <a:solidFill>
                  <a:srgbClr val="000000"/>
                </a:solidFill>
              </a:rPr>
              <a:t>RX4770</a:t>
            </a:r>
            <a:endParaRPr lang="de-DE" sz="700" dirty="0">
              <a:solidFill>
                <a:srgbClr val="000000"/>
              </a:solidFill>
            </a:endParaRPr>
          </a:p>
        </p:txBody>
      </p:sp>
      <p:sp>
        <p:nvSpPr>
          <p:cNvPr id="88" name="Textfeld 68"/>
          <p:cNvSpPr txBox="1"/>
          <p:nvPr/>
        </p:nvSpPr>
        <p:spPr>
          <a:xfrm>
            <a:off x="292001" y="2290560"/>
            <a:ext cx="361453" cy="200055"/>
          </a:xfrm>
          <a:prstGeom prst="rect">
            <a:avLst/>
          </a:prstGeom>
          <a:noFill/>
        </p:spPr>
        <p:txBody>
          <a:bodyPr wrap="square" lIns="0" rIns="0" rtlCol="0">
            <a:spAutoFit/>
          </a:bodyPr>
          <a:lstStyle/>
          <a:p>
            <a:r>
              <a:rPr lang="de-DE" sz="700" dirty="0" smtClean="0">
                <a:solidFill>
                  <a:srgbClr val="000000"/>
                </a:solidFill>
              </a:rPr>
              <a:t>RX2510</a:t>
            </a:r>
            <a:endParaRPr lang="de-DE" sz="700" dirty="0">
              <a:solidFill>
                <a:srgbClr val="000000"/>
              </a:solidFill>
            </a:endParaRPr>
          </a:p>
        </p:txBody>
      </p:sp>
      <p:sp>
        <p:nvSpPr>
          <p:cNvPr id="89" name="Textfeld 46"/>
          <p:cNvSpPr txBox="1"/>
          <p:nvPr/>
        </p:nvSpPr>
        <p:spPr>
          <a:xfrm>
            <a:off x="3332781" y="2011655"/>
            <a:ext cx="361453" cy="200055"/>
          </a:xfrm>
          <a:prstGeom prst="rect">
            <a:avLst/>
          </a:prstGeom>
          <a:noFill/>
        </p:spPr>
        <p:txBody>
          <a:bodyPr wrap="square" lIns="0" rIns="0" rtlCol="0">
            <a:spAutoFit/>
          </a:bodyPr>
          <a:lstStyle/>
          <a:p>
            <a:r>
              <a:rPr lang="de-DE" sz="700" dirty="0" smtClean="0">
                <a:solidFill>
                  <a:srgbClr val="000000"/>
                </a:solidFill>
              </a:rPr>
              <a:t>CX400</a:t>
            </a:r>
            <a:endParaRPr lang="de-DE" sz="700" dirty="0">
              <a:solidFill>
                <a:srgbClr val="000000"/>
              </a:solidFill>
            </a:endParaRPr>
          </a:p>
        </p:txBody>
      </p:sp>
      <p:sp>
        <p:nvSpPr>
          <p:cNvPr id="90" name="Textfeld 48"/>
          <p:cNvSpPr txBox="1"/>
          <p:nvPr/>
        </p:nvSpPr>
        <p:spPr>
          <a:xfrm>
            <a:off x="4266980" y="1696487"/>
            <a:ext cx="361453" cy="200055"/>
          </a:xfrm>
          <a:prstGeom prst="rect">
            <a:avLst/>
          </a:prstGeom>
          <a:noFill/>
        </p:spPr>
        <p:txBody>
          <a:bodyPr wrap="square" lIns="0" rIns="0" rtlCol="0">
            <a:spAutoFit/>
          </a:bodyPr>
          <a:lstStyle/>
          <a:p>
            <a:r>
              <a:rPr lang="de-DE" sz="700" dirty="0" smtClean="0">
                <a:solidFill>
                  <a:srgbClr val="000000"/>
                </a:solidFill>
              </a:rPr>
              <a:t>BX400</a:t>
            </a:r>
            <a:endParaRPr lang="de-DE" sz="700" dirty="0">
              <a:solidFill>
                <a:srgbClr val="000000"/>
              </a:solidFill>
            </a:endParaRPr>
          </a:p>
        </p:txBody>
      </p:sp>
      <p:sp>
        <p:nvSpPr>
          <p:cNvPr id="91" name="Textfeld 49"/>
          <p:cNvSpPr txBox="1"/>
          <p:nvPr/>
        </p:nvSpPr>
        <p:spPr>
          <a:xfrm>
            <a:off x="4785816" y="1676239"/>
            <a:ext cx="361453" cy="200055"/>
          </a:xfrm>
          <a:prstGeom prst="rect">
            <a:avLst/>
          </a:prstGeom>
          <a:noFill/>
        </p:spPr>
        <p:txBody>
          <a:bodyPr wrap="square" lIns="0" rIns="0" rtlCol="0">
            <a:spAutoFit/>
          </a:bodyPr>
          <a:lstStyle/>
          <a:p>
            <a:r>
              <a:rPr lang="de-DE" sz="700" dirty="0" smtClean="0">
                <a:solidFill>
                  <a:srgbClr val="000000"/>
                </a:solidFill>
              </a:rPr>
              <a:t>BX900</a:t>
            </a:r>
            <a:endParaRPr lang="de-DE" sz="700" dirty="0">
              <a:solidFill>
                <a:srgbClr val="000000"/>
              </a:solidFill>
            </a:endParaRPr>
          </a:p>
        </p:txBody>
      </p:sp>
      <p:sp>
        <p:nvSpPr>
          <p:cNvPr id="93" name="Textfeld 50"/>
          <p:cNvSpPr txBox="1"/>
          <p:nvPr/>
        </p:nvSpPr>
        <p:spPr>
          <a:xfrm>
            <a:off x="6444208" y="2470315"/>
            <a:ext cx="480126" cy="200055"/>
          </a:xfrm>
          <a:prstGeom prst="rect">
            <a:avLst/>
          </a:prstGeom>
          <a:noFill/>
        </p:spPr>
        <p:txBody>
          <a:bodyPr wrap="square" lIns="0" rIns="0" rtlCol="0">
            <a:spAutoFit/>
          </a:bodyPr>
          <a:lstStyle/>
          <a:p>
            <a:r>
              <a:rPr lang="de-DE" sz="700" dirty="0" smtClean="0">
                <a:solidFill>
                  <a:srgbClr val="000000"/>
                </a:solidFill>
              </a:rPr>
              <a:t>PQ3800B</a:t>
            </a:r>
            <a:endParaRPr lang="de-DE" sz="700" dirty="0">
              <a:solidFill>
                <a:srgbClr val="000000"/>
              </a:solidFill>
            </a:endParaRPr>
          </a:p>
        </p:txBody>
      </p:sp>
      <p:sp>
        <p:nvSpPr>
          <p:cNvPr id="94" name="Textfeld 51"/>
          <p:cNvSpPr txBox="1"/>
          <p:nvPr/>
        </p:nvSpPr>
        <p:spPr>
          <a:xfrm>
            <a:off x="6680142" y="2651343"/>
            <a:ext cx="488383" cy="200055"/>
          </a:xfrm>
          <a:prstGeom prst="rect">
            <a:avLst/>
          </a:prstGeom>
          <a:noFill/>
        </p:spPr>
        <p:txBody>
          <a:bodyPr wrap="square" lIns="0" rIns="0" rtlCol="0">
            <a:spAutoFit/>
          </a:bodyPr>
          <a:lstStyle/>
          <a:p>
            <a:r>
              <a:rPr lang="de-DE" sz="700" dirty="0" smtClean="0">
                <a:solidFill>
                  <a:srgbClr val="000000"/>
                </a:solidFill>
              </a:rPr>
              <a:t>PQ2800E3</a:t>
            </a:r>
            <a:endParaRPr lang="de-DE" sz="700" dirty="0">
              <a:solidFill>
                <a:srgbClr val="000000"/>
              </a:solidFill>
            </a:endParaRPr>
          </a:p>
        </p:txBody>
      </p:sp>
      <p:sp>
        <p:nvSpPr>
          <p:cNvPr id="95" name="Textfeld 52"/>
          <p:cNvSpPr txBox="1"/>
          <p:nvPr/>
        </p:nvSpPr>
        <p:spPr>
          <a:xfrm>
            <a:off x="8453885" y="2655045"/>
            <a:ext cx="361453" cy="200055"/>
          </a:xfrm>
          <a:prstGeom prst="rect">
            <a:avLst/>
          </a:prstGeom>
          <a:noFill/>
        </p:spPr>
        <p:txBody>
          <a:bodyPr wrap="square" lIns="0" rIns="0" rtlCol="0">
            <a:spAutoFit/>
          </a:bodyPr>
          <a:lstStyle/>
          <a:p>
            <a:r>
              <a:rPr lang="de-DE" sz="700" dirty="0" smtClean="0">
                <a:solidFill>
                  <a:srgbClr val="000000"/>
                </a:solidFill>
              </a:rPr>
              <a:t>BS2000</a:t>
            </a:r>
            <a:endParaRPr lang="de-DE" sz="700" dirty="0">
              <a:solidFill>
                <a:srgbClr val="000000"/>
              </a:solidFill>
            </a:endParaRPr>
          </a:p>
        </p:txBody>
      </p:sp>
      <p:sp>
        <p:nvSpPr>
          <p:cNvPr id="97" name="Textfeld 52"/>
          <p:cNvSpPr txBox="1"/>
          <p:nvPr/>
        </p:nvSpPr>
        <p:spPr>
          <a:xfrm>
            <a:off x="7541881" y="2611259"/>
            <a:ext cx="504469" cy="200055"/>
          </a:xfrm>
          <a:prstGeom prst="rect">
            <a:avLst/>
          </a:prstGeom>
          <a:noFill/>
        </p:spPr>
        <p:txBody>
          <a:bodyPr wrap="square" lIns="0" rIns="0" rtlCol="0">
            <a:spAutoFit/>
          </a:bodyPr>
          <a:lstStyle/>
          <a:p>
            <a:r>
              <a:rPr lang="de-DE" sz="700" dirty="0" smtClean="0">
                <a:solidFill>
                  <a:srgbClr val="000000"/>
                </a:solidFill>
              </a:rPr>
              <a:t>Fujitsu M12</a:t>
            </a:r>
            <a:endParaRPr lang="de-DE" sz="700" dirty="0">
              <a:solidFill>
                <a:srgbClr val="000000"/>
              </a:solidFill>
            </a:endParaRPr>
          </a:p>
        </p:txBody>
      </p:sp>
      <p:sp>
        <p:nvSpPr>
          <p:cNvPr id="96" name="Textfeld 51"/>
          <p:cNvSpPr txBox="1"/>
          <p:nvPr/>
        </p:nvSpPr>
        <p:spPr>
          <a:xfrm>
            <a:off x="6832542" y="2803743"/>
            <a:ext cx="488383" cy="200055"/>
          </a:xfrm>
          <a:prstGeom prst="rect">
            <a:avLst/>
          </a:prstGeom>
          <a:noFill/>
        </p:spPr>
        <p:txBody>
          <a:bodyPr wrap="square" lIns="0" rIns="0" rtlCol="0">
            <a:spAutoFit/>
          </a:bodyPr>
          <a:lstStyle/>
          <a:p>
            <a:r>
              <a:rPr lang="de-DE" sz="700" dirty="0" smtClean="0">
                <a:solidFill>
                  <a:srgbClr val="000000"/>
                </a:solidFill>
              </a:rPr>
              <a:t>PQ2400E3</a:t>
            </a:r>
            <a:endParaRPr lang="de-DE" sz="700" dirty="0">
              <a:solidFill>
                <a:srgbClr val="000000"/>
              </a:solidFill>
            </a:endParaRPr>
          </a:p>
        </p:txBody>
      </p:sp>
      <p:pic>
        <p:nvPicPr>
          <p:cNvPr id="55" name="Grafik 54"/>
          <p:cNvPicPr>
            <a:picLocks noChangeAspect="1"/>
          </p:cNvPicPr>
          <p:nvPr/>
        </p:nvPicPr>
        <p:blipFill>
          <a:blip r:embed="rId27" cstate="print">
            <a:clrChange>
              <a:clrFrom>
                <a:srgbClr val="FEFDFF"/>
              </a:clrFrom>
              <a:clrTo>
                <a:srgbClr val="FEFDFF">
                  <a:alpha val="0"/>
                </a:srgbClr>
              </a:clrTo>
            </a:clrChange>
            <a:extLst>
              <a:ext uri="{28A0092B-C50C-407E-A947-70E740481C1C}">
                <a14:useLocalDpi xmlns:a14="http://schemas.microsoft.com/office/drawing/2010/main" val="0"/>
              </a:ext>
            </a:extLst>
          </a:blip>
          <a:stretch>
            <a:fillRect/>
          </a:stretch>
        </p:blipFill>
        <p:spPr>
          <a:xfrm>
            <a:off x="3131840" y="1866922"/>
            <a:ext cx="907693" cy="182699"/>
          </a:xfrm>
          <a:prstGeom prst="rect">
            <a:avLst/>
          </a:prstGeom>
        </p:spPr>
      </p:pic>
      <p:sp>
        <p:nvSpPr>
          <p:cNvPr id="98" name="Textfeld 46"/>
          <p:cNvSpPr txBox="1"/>
          <p:nvPr/>
        </p:nvSpPr>
        <p:spPr>
          <a:xfrm>
            <a:off x="3333023" y="1648091"/>
            <a:ext cx="361453" cy="200055"/>
          </a:xfrm>
          <a:prstGeom prst="rect">
            <a:avLst/>
          </a:prstGeom>
          <a:noFill/>
        </p:spPr>
        <p:txBody>
          <a:bodyPr wrap="square" lIns="0" rIns="0" rtlCol="0">
            <a:spAutoFit/>
          </a:bodyPr>
          <a:lstStyle/>
          <a:p>
            <a:r>
              <a:rPr lang="de-DE" sz="700" dirty="0" smtClean="0">
                <a:solidFill>
                  <a:srgbClr val="000000"/>
                </a:solidFill>
              </a:rPr>
              <a:t>CX600</a:t>
            </a:r>
            <a:endParaRPr lang="de-DE" sz="700" dirty="0">
              <a:solidFill>
                <a:srgbClr val="000000"/>
              </a:solidFill>
            </a:endParaRPr>
          </a:p>
        </p:txBody>
      </p:sp>
      <p:pic>
        <p:nvPicPr>
          <p:cNvPr id="99" name="Grafik 98"/>
          <p:cNvPicPr>
            <a:picLocks noChangeAspect="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2907" y="2711098"/>
            <a:ext cx="985276" cy="610986"/>
          </a:xfrm>
          <a:prstGeom prst="rect">
            <a:avLst/>
          </a:prstGeom>
        </p:spPr>
      </p:pic>
      <p:pic>
        <p:nvPicPr>
          <p:cNvPr id="56" name="Grafik 55"/>
          <p:cNvPicPr>
            <a:picLocks noChangeAspect="1"/>
          </p:cNvPicPr>
          <p:nvPr/>
        </p:nvPicPr>
        <p:blipFill>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230611" y="3022896"/>
            <a:ext cx="1013899" cy="628617"/>
          </a:xfrm>
          <a:prstGeom prst="rect">
            <a:avLst/>
          </a:prstGeom>
        </p:spPr>
      </p:pic>
    </p:spTree>
    <p:extLst>
      <p:ext uri="{BB962C8B-B14F-4D97-AF65-F5344CB8AC3E}">
        <p14:creationId xmlns:p14="http://schemas.microsoft.com/office/powerpoint/2010/main" val="34916970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2259381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50" name="think-cell Folie" r:id="rId50" imgW="359" imgH="358" progId="TCLayout.ActiveDocument.1">
                  <p:embed/>
                </p:oleObj>
              </mc:Choice>
              <mc:Fallback>
                <p:oleObj name="think-cell Folie" r:id="rId50" imgW="359" imgH="358" progId="TCLayout.ActiveDocument.1">
                  <p:embed/>
                  <p:pic>
                    <p:nvPicPr>
                      <p:cNvPr id="0" name=""/>
                      <p:cNvPicPr/>
                      <p:nvPr/>
                    </p:nvPicPr>
                    <p:blipFill>
                      <a:blip r:embed="rId51"/>
                      <a:stretch>
                        <a:fillRect/>
                      </a:stretch>
                    </p:blipFill>
                    <p:spPr>
                      <a:xfrm>
                        <a:off x="1588" y="1588"/>
                        <a:ext cx="1587" cy="1587"/>
                      </a:xfrm>
                      <a:prstGeom prst="rect">
                        <a:avLst/>
                      </a:prstGeom>
                    </p:spPr>
                  </p:pic>
                </p:oleObj>
              </mc:Fallback>
            </mc:AlternateContent>
          </a:graphicData>
        </a:graphic>
      </p:graphicFrame>
      <p:pic>
        <p:nvPicPr>
          <p:cNvPr id="65" name="Picture Placeholder 4"/>
          <p:cNvPicPr>
            <a:picLocks noChangeAspect="1"/>
          </p:cNvPicPr>
          <p:nvPr>
            <p:custDataLst>
              <p:tags r:id="rId3"/>
            </p:custDataLst>
          </p:nvPr>
        </p:nvPicPr>
        <p:blipFill>
          <a:blip r:embed="rId52" cstate="screen">
            <a:extLst>
              <a:ext uri="{28A0092B-C50C-407E-A947-70E740481C1C}">
                <a14:useLocalDpi xmlns:a14="http://schemas.microsoft.com/office/drawing/2010/main"/>
              </a:ext>
            </a:extLst>
          </a:blip>
          <a:stretch>
            <a:fillRect/>
          </a:stretch>
        </p:blipFill>
        <p:spPr bwMode="gray">
          <a:xfrm>
            <a:off x="250824" y="1058863"/>
            <a:ext cx="8638032" cy="3742944"/>
          </a:xfrm>
          <a:prstGeom prst="rect">
            <a:avLst/>
          </a:prstGeom>
          <a:noFill/>
          <a:ln>
            <a:noFill/>
          </a:ln>
        </p:spPr>
      </p:pic>
      <p:sp>
        <p:nvSpPr>
          <p:cNvPr id="4" name="Titel 3"/>
          <p:cNvSpPr>
            <a:spLocks noGrp="1"/>
          </p:cNvSpPr>
          <p:nvPr>
            <p:ph type="title"/>
            <p:custDataLst>
              <p:tags r:id="rId4"/>
            </p:custDataLst>
          </p:nvPr>
        </p:nvSpPr>
        <p:spPr bwMode="gray"/>
        <p:txBody>
          <a:bodyPr/>
          <a:lstStyle/>
          <a:p>
            <a:r>
              <a:rPr lang="ru-RU" dirty="0" smtClean="0"/>
              <a:t>Семейство дисковых массивов </a:t>
            </a:r>
            <a:r>
              <a:rPr lang="en-US" dirty="0" smtClean="0"/>
              <a:t>ETERNUS</a:t>
            </a:r>
            <a:endParaRPr lang="pl-PL" dirty="0"/>
          </a:p>
        </p:txBody>
      </p:sp>
      <p:sp>
        <p:nvSpPr>
          <p:cNvPr id="64" name="Rechteck 57"/>
          <p:cNvSpPr/>
          <p:nvPr>
            <p:custDataLst>
              <p:tags r:id="rId5"/>
            </p:custDataLst>
          </p:nvPr>
        </p:nvSpPr>
        <p:spPr bwMode="gray">
          <a:xfrm>
            <a:off x="143508" y="1023578"/>
            <a:ext cx="8856984" cy="3888581"/>
          </a:xfrm>
          <a:prstGeom prst="rect">
            <a:avLst/>
          </a:prstGeom>
          <a:gradFill flip="none" rotWithShape="1">
            <a:gsLst>
              <a:gs pos="52000">
                <a:schemeClr val="bg1">
                  <a:alpha val="86000"/>
                </a:schemeClr>
              </a:gs>
              <a:gs pos="100000">
                <a:schemeClr val="bg1">
                  <a:alpha val="58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pl-PL" dirty="0" smtClean="0">
              <a:solidFill>
                <a:srgbClr val="000000"/>
              </a:solidFill>
            </a:endParaRPr>
          </a:p>
        </p:txBody>
      </p:sp>
      <p:grpSp>
        <p:nvGrpSpPr>
          <p:cNvPr id="86" name="Gruppieren 47"/>
          <p:cNvGrpSpPr/>
          <p:nvPr>
            <p:custDataLst>
              <p:tags r:id="rId6"/>
            </p:custDataLst>
          </p:nvPr>
        </p:nvGrpSpPr>
        <p:grpSpPr bwMode="gray">
          <a:xfrm>
            <a:off x="1979992" y="1527914"/>
            <a:ext cx="2520000" cy="2520000"/>
            <a:chOff x="881519" y="1221440"/>
            <a:chExt cx="792000" cy="791922"/>
          </a:xfrm>
        </p:grpSpPr>
        <p:sp>
          <p:nvSpPr>
            <p:cNvPr id="87" name="Ellipse 48"/>
            <p:cNvSpPr/>
            <p:nvPr>
              <p:custDataLst>
                <p:tags r:id="rId42"/>
              </p:custDataLst>
            </p:nvPr>
          </p:nvSpPr>
          <p:spPr bwMode="gray">
            <a:xfrm rot="10800000">
              <a:off x="881519" y="1221440"/>
              <a:ext cx="792000" cy="79192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ctr" anchorCtr="0"/>
            <a:lstStyle/>
            <a:p>
              <a:pPr algn="ctr"/>
              <a:endParaRPr lang="en-US" sz="1100" dirty="0" smtClean="0">
                <a:solidFill>
                  <a:srgbClr val="000000"/>
                </a:solidFill>
              </a:endParaRPr>
            </a:p>
          </p:txBody>
        </p:sp>
        <p:sp>
          <p:nvSpPr>
            <p:cNvPr id="88" name="Ellipse 49"/>
            <p:cNvSpPr/>
            <p:nvPr>
              <p:custDataLst>
                <p:tags r:id="rId43"/>
              </p:custDataLst>
            </p:nvPr>
          </p:nvSpPr>
          <p:spPr bwMode="gray">
            <a:xfrm rot="10800000" flipV="1">
              <a:off x="916395" y="1256240"/>
              <a:ext cx="720000" cy="720000"/>
            </a:xfrm>
            <a:prstGeom prst="ellipse">
              <a:avLst/>
            </a:prstGeom>
            <a:solidFill>
              <a:schemeClr val="bg1"/>
            </a:solidFill>
            <a:ln w="635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00" dirty="0" smtClean="0">
                <a:solidFill>
                  <a:srgbClr val="000000"/>
                </a:solidFill>
              </a:endParaRPr>
            </a:p>
          </p:txBody>
        </p:sp>
        <p:sp>
          <p:nvSpPr>
            <p:cNvPr id="89" name="Ellipse 50"/>
            <p:cNvSpPr/>
            <p:nvPr>
              <p:custDataLst>
                <p:tags r:id="rId44"/>
              </p:custDataLst>
            </p:nvPr>
          </p:nvSpPr>
          <p:spPr bwMode="gray">
            <a:xfrm rot="10800000" flipV="1">
              <a:off x="934395" y="1274240"/>
              <a:ext cx="684000" cy="684000"/>
            </a:xfrm>
            <a:prstGeom prst="ellipse">
              <a:avLst/>
            </a:prstGeom>
            <a:solidFill>
              <a:schemeClr val="bg1"/>
            </a:solidFill>
            <a:ln w="635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00" dirty="0" smtClean="0">
                <a:solidFill>
                  <a:srgbClr val="000000"/>
                </a:solidFill>
              </a:endParaRPr>
            </a:p>
          </p:txBody>
        </p:sp>
        <p:sp>
          <p:nvSpPr>
            <p:cNvPr id="90" name="Ellipse 51"/>
            <p:cNvSpPr/>
            <p:nvPr>
              <p:custDataLst>
                <p:tags r:id="rId45"/>
              </p:custDataLst>
            </p:nvPr>
          </p:nvSpPr>
          <p:spPr bwMode="gray">
            <a:xfrm rot="10800000" flipV="1">
              <a:off x="952395" y="1292240"/>
              <a:ext cx="648000" cy="648000"/>
            </a:xfrm>
            <a:prstGeom prst="ellipse">
              <a:avLst/>
            </a:prstGeom>
            <a:solidFill>
              <a:schemeClr val="bg1"/>
            </a:solidFill>
            <a:ln w="635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00" dirty="0" smtClean="0">
                <a:solidFill>
                  <a:srgbClr val="000000"/>
                </a:solidFill>
              </a:endParaRPr>
            </a:p>
          </p:txBody>
        </p:sp>
        <p:sp>
          <p:nvSpPr>
            <p:cNvPr id="91" name="Ellipse 54"/>
            <p:cNvSpPr/>
            <p:nvPr>
              <p:custDataLst>
                <p:tags r:id="rId46"/>
              </p:custDataLst>
            </p:nvPr>
          </p:nvSpPr>
          <p:spPr bwMode="gray">
            <a:xfrm rot="10800000" flipV="1">
              <a:off x="970395" y="1310240"/>
              <a:ext cx="612000" cy="612000"/>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spcAft>
                  <a:spcPts val="600"/>
                </a:spcAft>
              </a:pPr>
              <a:r>
                <a:rPr lang="en-US" sz="1700" b="1" dirty="0" smtClean="0">
                  <a:solidFill>
                    <a:srgbClr val="FFFFFF"/>
                  </a:solidFill>
                </a:rPr>
                <a:t>ETERNUS SF</a:t>
              </a:r>
              <a:br>
                <a:rPr lang="en-US" sz="1700" b="1" dirty="0" smtClean="0">
                  <a:solidFill>
                    <a:srgbClr val="FFFFFF"/>
                  </a:solidFill>
                </a:rPr>
              </a:br>
              <a:r>
                <a:rPr lang="en-US" sz="1700" b="1" dirty="0" smtClean="0">
                  <a:solidFill>
                    <a:srgbClr val="FFFFFF"/>
                  </a:solidFill>
                </a:rPr>
                <a:t>Storage</a:t>
              </a:r>
              <a:br>
                <a:rPr lang="en-US" sz="1700" b="1" dirty="0" smtClean="0">
                  <a:solidFill>
                    <a:srgbClr val="FFFFFF"/>
                  </a:solidFill>
                </a:rPr>
              </a:br>
              <a:r>
                <a:rPr lang="en-US" sz="1700" b="1" dirty="0" smtClean="0">
                  <a:solidFill>
                    <a:srgbClr val="FFFFFF"/>
                  </a:solidFill>
                </a:rPr>
                <a:t>Management </a:t>
              </a:r>
            </a:p>
          </p:txBody>
        </p:sp>
        <p:sp>
          <p:nvSpPr>
            <p:cNvPr id="92" name="Ellipse 55"/>
            <p:cNvSpPr/>
            <p:nvPr>
              <p:custDataLst>
                <p:tags r:id="rId47"/>
              </p:custDataLst>
            </p:nvPr>
          </p:nvSpPr>
          <p:spPr bwMode="gray">
            <a:xfrm>
              <a:off x="952558" y="1301189"/>
              <a:ext cx="647672" cy="630103"/>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endParaRPr lang="en-US" sz="1100" dirty="0">
                <a:solidFill>
                  <a:srgbClr val="FFFFFF"/>
                </a:solidFill>
              </a:endParaRPr>
            </a:p>
          </p:txBody>
        </p:sp>
      </p:grpSp>
      <p:sp>
        <p:nvSpPr>
          <p:cNvPr id="94" name="Rechteck 81"/>
          <p:cNvSpPr/>
          <p:nvPr>
            <p:custDataLst>
              <p:tags r:id="rId7"/>
            </p:custDataLst>
          </p:nvPr>
        </p:nvSpPr>
        <p:spPr bwMode="gray">
          <a:xfrm>
            <a:off x="683568" y="4371982"/>
            <a:ext cx="864120" cy="288000"/>
          </a:xfrm>
          <a:prstGeom prst="rect">
            <a:avLst/>
          </a:prstGeom>
        </p:spPr>
        <p:txBody>
          <a:bodyPr wrap="square" lIns="0" tIns="0" rIns="0" bIns="0" anchor="ctr" anchorCtr="0">
            <a:noAutofit/>
          </a:bodyPr>
          <a:lstStyle/>
          <a:p>
            <a:pPr algn="ctr"/>
            <a:r>
              <a:rPr lang="en-US" sz="1100" dirty="0" smtClean="0">
                <a:solidFill>
                  <a:srgbClr val="FF0000"/>
                </a:solidFill>
              </a:rPr>
              <a:t>AF650 S2</a:t>
            </a:r>
            <a:endParaRPr lang="en-US" sz="1100" dirty="0">
              <a:solidFill>
                <a:srgbClr val="FF0000"/>
              </a:solidFill>
            </a:endParaRPr>
          </a:p>
        </p:txBody>
      </p:sp>
      <p:pic>
        <p:nvPicPr>
          <p:cNvPr id="95" name="Picture 5"/>
          <p:cNvPicPr>
            <a:picLocks noChangeAspect="1"/>
          </p:cNvPicPr>
          <p:nvPr>
            <p:custDataLst>
              <p:tags r:id="rId8"/>
            </p:custDataLst>
          </p:nvPr>
        </p:nvPicPr>
        <p:blipFill>
          <a:blip r:embed="rId5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683568" y="3376538"/>
            <a:ext cx="1094727" cy="1041085"/>
          </a:xfrm>
          <a:prstGeom prst="rect">
            <a:avLst/>
          </a:prstGeom>
        </p:spPr>
      </p:pic>
      <p:sp>
        <p:nvSpPr>
          <p:cNvPr id="97" name="Textfeld 38"/>
          <p:cNvSpPr txBox="1"/>
          <p:nvPr>
            <p:custDataLst>
              <p:tags r:id="rId9"/>
            </p:custDataLst>
          </p:nvPr>
        </p:nvSpPr>
        <p:spPr bwMode="gray">
          <a:xfrm>
            <a:off x="251520" y="1131622"/>
            <a:ext cx="2607637" cy="307777"/>
          </a:xfrm>
          <a:prstGeom prst="rect">
            <a:avLst/>
          </a:prstGeom>
          <a:noFill/>
        </p:spPr>
        <p:txBody>
          <a:bodyPr wrap="none" rtlCol="0">
            <a:spAutoFit/>
          </a:bodyPr>
          <a:lstStyle/>
          <a:p>
            <a:r>
              <a:rPr lang="de-DE" sz="1400" dirty="0" smtClean="0">
                <a:solidFill>
                  <a:srgbClr val="FF0000"/>
                </a:solidFill>
              </a:rPr>
              <a:t>ETERNUS AF All-Flash Arrays</a:t>
            </a:r>
            <a:endParaRPr lang="de-DE" sz="1400" dirty="0">
              <a:solidFill>
                <a:srgbClr val="FF0000"/>
              </a:solidFill>
            </a:endParaRPr>
          </a:p>
        </p:txBody>
      </p:sp>
      <p:sp>
        <p:nvSpPr>
          <p:cNvPr id="99" name="Freihandform 13"/>
          <p:cNvSpPr/>
          <p:nvPr>
            <p:custDataLst>
              <p:tags r:id="rId10"/>
            </p:custDataLst>
          </p:nvPr>
        </p:nvSpPr>
        <p:spPr bwMode="gray">
          <a:xfrm>
            <a:off x="315310" y="2787914"/>
            <a:ext cx="1728000" cy="0"/>
          </a:xfrm>
          <a:custGeom>
            <a:avLst/>
            <a:gdLst>
              <a:gd name="connsiteX0" fmla="*/ 3295403 w 3295403"/>
              <a:gd name="connsiteY0" fmla="*/ 0 h 0"/>
              <a:gd name="connsiteX1" fmla="*/ 0 w 3295403"/>
              <a:gd name="connsiteY1" fmla="*/ 0 h 0"/>
            </a:gdLst>
            <a:ahLst/>
            <a:cxnLst>
              <a:cxn ang="0">
                <a:pos x="connsiteX0" y="connsiteY0"/>
              </a:cxn>
              <a:cxn ang="0">
                <a:pos x="connsiteX1" y="connsiteY1"/>
              </a:cxn>
            </a:cxnLst>
            <a:rect l="l" t="t" r="r" b="b"/>
            <a:pathLst>
              <a:path w="3295403">
                <a:moveTo>
                  <a:pt x="3295403" y="0"/>
                </a:moveTo>
                <a:lnTo>
                  <a:pt x="0" y="0"/>
                </a:lnTo>
              </a:path>
            </a:pathLst>
          </a:custGeom>
          <a:ln cap="rnd">
            <a:solidFill>
              <a:schemeClr val="accent1"/>
            </a:solidFill>
            <a:prstDash val="sysDot"/>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solidFill>
                <a:srgbClr val="000000"/>
              </a:solidFill>
            </a:endParaRPr>
          </a:p>
        </p:txBody>
      </p:sp>
      <p:grpSp>
        <p:nvGrpSpPr>
          <p:cNvPr id="18" name="Gruppieren 17"/>
          <p:cNvGrpSpPr/>
          <p:nvPr>
            <p:custDataLst>
              <p:tags r:id="rId11"/>
            </p:custDataLst>
          </p:nvPr>
        </p:nvGrpSpPr>
        <p:grpSpPr bwMode="gray">
          <a:xfrm>
            <a:off x="611560" y="2189155"/>
            <a:ext cx="1195250" cy="598619"/>
            <a:chOff x="611560" y="2189155"/>
            <a:chExt cx="1195250" cy="598619"/>
          </a:xfrm>
        </p:grpSpPr>
        <p:sp>
          <p:nvSpPr>
            <p:cNvPr id="100" name="Rechteck 80"/>
            <p:cNvSpPr/>
            <p:nvPr>
              <p:custDataLst>
                <p:tags r:id="rId40"/>
              </p:custDataLst>
            </p:nvPr>
          </p:nvSpPr>
          <p:spPr bwMode="gray">
            <a:xfrm>
              <a:off x="683568" y="2499774"/>
              <a:ext cx="864120" cy="288000"/>
            </a:xfrm>
            <a:prstGeom prst="rect">
              <a:avLst/>
            </a:prstGeom>
          </p:spPr>
          <p:txBody>
            <a:bodyPr wrap="square" lIns="0" tIns="0" rIns="0" bIns="0" anchor="ctr" anchorCtr="0">
              <a:noAutofit/>
            </a:bodyPr>
            <a:lstStyle/>
            <a:p>
              <a:pPr algn="ctr"/>
              <a:r>
                <a:rPr lang="en-US" sz="1100" dirty="0" smtClean="0">
                  <a:solidFill>
                    <a:srgbClr val="FF0000"/>
                  </a:solidFill>
                </a:rPr>
                <a:t>AF250 S2</a:t>
              </a:r>
              <a:endParaRPr lang="en-US" sz="1100" dirty="0">
                <a:solidFill>
                  <a:srgbClr val="FF0000"/>
                </a:solidFill>
              </a:endParaRPr>
            </a:p>
          </p:txBody>
        </p:sp>
        <p:pic>
          <p:nvPicPr>
            <p:cNvPr id="101" name="Picture 32"/>
            <p:cNvPicPr>
              <a:picLocks noChangeAspect="1" noChangeArrowheads="1"/>
            </p:cNvPicPr>
            <p:nvPr>
              <p:custDataLst>
                <p:tags r:id="rId41"/>
              </p:custDataLst>
            </p:nvPr>
          </p:nvPicPr>
          <p:blipFill>
            <a:blip r:embed="rId5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611560" y="2189155"/>
              <a:ext cx="1195250" cy="408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14" name="Freihandform 68"/>
          <p:cNvSpPr/>
          <p:nvPr>
            <p:custDataLst>
              <p:tags r:id="rId12"/>
            </p:custDataLst>
          </p:nvPr>
        </p:nvSpPr>
        <p:spPr bwMode="gray">
          <a:xfrm flipH="1" flipV="1">
            <a:off x="3491880" y="3975906"/>
            <a:ext cx="5328000" cy="684000"/>
          </a:xfrm>
          <a:custGeom>
            <a:avLst/>
            <a:gdLst>
              <a:gd name="connsiteX0" fmla="*/ 3794235 w 3794235"/>
              <a:gd name="connsiteY0" fmla="*/ 462456 h 462456"/>
              <a:gd name="connsiteX1" fmla="*/ 3331779 w 3794235"/>
              <a:gd name="connsiteY1" fmla="*/ 0 h 462456"/>
              <a:gd name="connsiteX2" fmla="*/ 0 w 3794235"/>
              <a:gd name="connsiteY2" fmla="*/ 0 h 462456"/>
            </a:gdLst>
            <a:ahLst/>
            <a:cxnLst>
              <a:cxn ang="0">
                <a:pos x="connsiteX0" y="connsiteY0"/>
              </a:cxn>
              <a:cxn ang="0">
                <a:pos x="connsiteX1" y="connsiteY1"/>
              </a:cxn>
              <a:cxn ang="0">
                <a:pos x="connsiteX2" y="connsiteY2"/>
              </a:cxn>
            </a:cxnLst>
            <a:rect l="l" t="t" r="r" b="b"/>
            <a:pathLst>
              <a:path w="3794235" h="462456">
                <a:moveTo>
                  <a:pt x="3794235" y="462456"/>
                </a:moveTo>
                <a:lnTo>
                  <a:pt x="3331779" y="0"/>
                </a:lnTo>
                <a:lnTo>
                  <a:pt x="0" y="0"/>
                </a:lnTo>
              </a:path>
            </a:pathLst>
          </a:custGeom>
          <a:ln cap="rnd">
            <a:solidFill>
              <a:schemeClr val="accent1"/>
            </a:solidFill>
            <a:prstDash val="sysDot"/>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sz="1600">
              <a:solidFill>
                <a:srgbClr val="000000"/>
              </a:solidFill>
            </a:endParaRPr>
          </a:p>
        </p:txBody>
      </p:sp>
      <p:sp>
        <p:nvSpPr>
          <p:cNvPr id="115" name="Freihandform 70"/>
          <p:cNvSpPr/>
          <p:nvPr>
            <p:custDataLst>
              <p:tags r:id="rId13"/>
            </p:custDataLst>
          </p:nvPr>
        </p:nvSpPr>
        <p:spPr bwMode="gray">
          <a:xfrm flipH="1" flipV="1">
            <a:off x="4446472" y="2787914"/>
            <a:ext cx="4374000" cy="0"/>
          </a:xfrm>
          <a:custGeom>
            <a:avLst/>
            <a:gdLst>
              <a:gd name="connsiteX0" fmla="*/ 3295403 w 3295403"/>
              <a:gd name="connsiteY0" fmla="*/ 0 h 0"/>
              <a:gd name="connsiteX1" fmla="*/ 0 w 3295403"/>
              <a:gd name="connsiteY1" fmla="*/ 0 h 0"/>
            </a:gdLst>
            <a:ahLst/>
            <a:cxnLst>
              <a:cxn ang="0">
                <a:pos x="connsiteX0" y="connsiteY0"/>
              </a:cxn>
              <a:cxn ang="0">
                <a:pos x="connsiteX1" y="connsiteY1"/>
              </a:cxn>
            </a:cxnLst>
            <a:rect l="l" t="t" r="r" b="b"/>
            <a:pathLst>
              <a:path w="3295403">
                <a:moveTo>
                  <a:pt x="3295403" y="0"/>
                </a:moveTo>
                <a:lnTo>
                  <a:pt x="0" y="0"/>
                </a:lnTo>
              </a:path>
            </a:pathLst>
          </a:custGeom>
          <a:ln cap="rnd">
            <a:solidFill>
              <a:schemeClr val="accent1"/>
            </a:solidFill>
            <a:prstDash val="sysDot"/>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solidFill>
                <a:srgbClr val="000000"/>
              </a:solidFill>
            </a:endParaRPr>
          </a:p>
        </p:txBody>
      </p:sp>
      <p:grpSp>
        <p:nvGrpSpPr>
          <p:cNvPr id="19" name="Gruppieren 18"/>
          <p:cNvGrpSpPr/>
          <p:nvPr>
            <p:custDataLst>
              <p:tags r:id="rId14"/>
            </p:custDataLst>
          </p:nvPr>
        </p:nvGrpSpPr>
        <p:grpSpPr bwMode="gray">
          <a:xfrm>
            <a:off x="4990247" y="2218787"/>
            <a:ext cx="1105200" cy="568987"/>
            <a:chOff x="4990247" y="2218787"/>
            <a:chExt cx="1105200" cy="568987"/>
          </a:xfrm>
        </p:grpSpPr>
        <p:pic>
          <p:nvPicPr>
            <p:cNvPr id="116" name="Grafik 42"/>
            <p:cNvPicPr>
              <a:picLocks noChangeAspect="1"/>
            </p:cNvPicPr>
            <p:nvPr>
              <p:custDataLst>
                <p:tags r:id="rId38"/>
              </p:custDataLst>
            </p:nvPr>
          </p:nvPicPr>
          <p:blipFill>
            <a:blip r:embed="rId5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4990247" y="2218787"/>
              <a:ext cx="1105200" cy="284589"/>
            </a:xfrm>
            <a:prstGeom prst="rect">
              <a:avLst/>
            </a:prstGeom>
          </p:spPr>
        </p:pic>
        <p:sp>
          <p:nvSpPr>
            <p:cNvPr id="117" name="Rechteck 43"/>
            <p:cNvSpPr/>
            <p:nvPr>
              <p:custDataLst>
                <p:tags r:id="rId39"/>
              </p:custDataLst>
            </p:nvPr>
          </p:nvSpPr>
          <p:spPr bwMode="gray">
            <a:xfrm>
              <a:off x="5036646" y="2499774"/>
              <a:ext cx="864120" cy="288000"/>
            </a:xfrm>
            <a:prstGeom prst="rect">
              <a:avLst/>
            </a:prstGeom>
          </p:spPr>
          <p:txBody>
            <a:bodyPr wrap="square" lIns="0" tIns="0" rIns="0" bIns="0" anchor="ctr" anchorCtr="0">
              <a:noAutofit/>
            </a:bodyPr>
            <a:lstStyle/>
            <a:p>
              <a:pPr algn="ctr"/>
              <a:r>
                <a:rPr lang="en-US" sz="1100" dirty="0" smtClean="0">
                  <a:solidFill>
                    <a:srgbClr val="000000"/>
                  </a:solidFill>
                </a:rPr>
                <a:t>DX60 S4</a:t>
              </a:r>
              <a:endParaRPr lang="en-US" sz="1100" dirty="0">
                <a:solidFill>
                  <a:srgbClr val="000000"/>
                </a:solidFill>
              </a:endParaRPr>
            </a:p>
          </p:txBody>
        </p:sp>
      </p:grpSp>
      <p:grpSp>
        <p:nvGrpSpPr>
          <p:cNvPr id="21" name="Gruppieren 20"/>
          <p:cNvGrpSpPr/>
          <p:nvPr/>
        </p:nvGrpSpPr>
        <p:grpSpPr bwMode="gray">
          <a:xfrm>
            <a:off x="7632340" y="1527634"/>
            <a:ext cx="1105200" cy="1260140"/>
            <a:chOff x="7632340" y="1527634"/>
            <a:chExt cx="1105200" cy="1260140"/>
          </a:xfrm>
        </p:grpSpPr>
        <p:sp>
          <p:nvSpPr>
            <p:cNvPr id="119" name="Rechteck 53"/>
            <p:cNvSpPr/>
            <p:nvPr>
              <p:custDataLst>
                <p:tags r:id="rId36"/>
              </p:custDataLst>
            </p:nvPr>
          </p:nvSpPr>
          <p:spPr bwMode="gray">
            <a:xfrm>
              <a:off x="7739079" y="2499774"/>
              <a:ext cx="864120" cy="288000"/>
            </a:xfrm>
            <a:prstGeom prst="rect">
              <a:avLst/>
            </a:prstGeom>
          </p:spPr>
          <p:txBody>
            <a:bodyPr wrap="square" lIns="0" tIns="0" rIns="0" bIns="0" anchor="ctr" anchorCtr="0">
              <a:noAutofit/>
            </a:bodyPr>
            <a:lstStyle/>
            <a:p>
              <a:pPr algn="ctr"/>
              <a:r>
                <a:rPr lang="en-US" sz="1100" dirty="0" smtClean="0">
                  <a:solidFill>
                    <a:srgbClr val="000000"/>
                  </a:solidFill>
                </a:rPr>
                <a:t>DX200 S4</a:t>
              </a:r>
              <a:endParaRPr lang="en-US" sz="1100" dirty="0">
                <a:solidFill>
                  <a:srgbClr val="000000"/>
                </a:solidFill>
              </a:endParaRPr>
            </a:p>
          </p:txBody>
        </p:sp>
        <p:pic>
          <p:nvPicPr>
            <p:cNvPr id="120" name="Picture 4"/>
            <p:cNvPicPr>
              <a:picLocks noChangeAspect="1"/>
            </p:cNvPicPr>
            <p:nvPr>
              <p:custDataLst>
                <p:tags r:id="rId37"/>
              </p:custDataLst>
            </p:nvPr>
          </p:nvPicPr>
          <p:blipFill rotWithShape="1">
            <a:blip r:embed="rId5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7632340" y="1527634"/>
              <a:ext cx="1105200" cy="998257"/>
            </a:xfrm>
            <a:prstGeom prst="rect">
              <a:avLst/>
            </a:prstGeom>
          </p:spPr>
        </p:pic>
      </p:grpSp>
      <p:grpSp>
        <p:nvGrpSpPr>
          <p:cNvPr id="20" name="Gruppieren 19"/>
          <p:cNvGrpSpPr/>
          <p:nvPr/>
        </p:nvGrpSpPr>
        <p:grpSpPr bwMode="gray">
          <a:xfrm>
            <a:off x="6358399" y="2220600"/>
            <a:ext cx="1105200" cy="567174"/>
            <a:chOff x="6358399" y="2220600"/>
            <a:chExt cx="1105200" cy="567174"/>
          </a:xfrm>
        </p:grpSpPr>
        <p:sp>
          <p:nvSpPr>
            <p:cNvPr id="118" name="Rechteck 52"/>
            <p:cNvSpPr/>
            <p:nvPr>
              <p:custDataLst>
                <p:tags r:id="rId34"/>
              </p:custDataLst>
            </p:nvPr>
          </p:nvSpPr>
          <p:spPr bwMode="gray">
            <a:xfrm>
              <a:off x="6448959" y="2499774"/>
              <a:ext cx="864120" cy="288000"/>
            </a:xfrm>
            <a:prstGeom prst="rect">
              <a:avLst/>
            </a:prstGeom>
          </p:spPr>
          <p:txBody>
            <a:bodyPr wrap="square" lIns="0" tIns="0" rIns="0" bIns="0" anchor="ctr" anchorCtr="0">
              <a:noAutofit/>
            </a:bodyPr>
            <a:lstStyle/>
            <a:p>
              <a:pPr algn="ctr"/>
              <a:r>
                <a:rPr lang="en-US" sz="1100" dirty="0" smtClean="0">
                  <a:solidFill>
                    <a:srgbClr val="000000"/>
                  </a:solidFill>
                </a:rPr>
                <a:t>DX100 S4</a:t>
              </a:r>
              <a:endParaRPr lang="en-US" sz="1100" dirty="0">
                <a:solidFill>
                  <a:srgbClr val="000000"/>
                </a:solidFill>
              </a:endParaRPr>
            </a:p>
          </p:txBody>
        </p:sp>
        <p:pic>
          <p:nvPicPr>
            <p:cNvPr id="121" name="Picture 2"/>
            <p:cNvPicPr>
              <a:picLocks noChangeAspect="1"/>
            </p:cNvPicPr>
            <p:nvPr>
              <p:custDataLst>
                <p:tags r:id="rId35"/>
              </p:custDataLst>
            </p:nvPr>
          </p:nvPicPr>
          <p:blipFill rotWithShape="1">
            <a:blip r:embed="rId5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6358399" y="2220600"/>
              <a:ext cx="1105200" cy="282776"/>
            </a:xfrm>
            <a:prstGeom prst="rect">
              <a:avLst/>
            </a:prstGeom>
          </p:spPr>
        </p:pic>
      </p:grpSp>
      <p:grpSp>
        <p:nvGrpSpPr>
          <p:cNvPr id="23" name="Gruppieren 22"/>
          <p:cNvGrpSpPr/>
          <p:nvPr>
            <p:custDataLst>
              <p:tags r:id="rId15"/>
            </p:custDataLst>
          </p:nvPr>
        </p:nvGrpSpPr>
        <p:grpSpPr bwMode="gray">
          <a:xfrm>
            <a:off x="5602059" y="3285078"/>
            <a:ext cx="1105456" cy="1374904"/>
            <a:chOff x="5602059" y="3285078"/>
            <a:chExt cx="1105456" cy="1374904"/>
          </a:xfrm>
        </p:grpSpPr>
        <p:sp>
          <p:nvSpPr>
            <p:cNvPr id="123" name="Rechteck 75"/>
            <p:cNvSpPr/>
            <p:nvPr>
              <p:custDataLst>
                <p:tags r:id="rId32"/>
              </p:custDataLst>
            </p:nvPr>
          </p:nvSpPr>
          <p:spPr bwMode="gray">
            <a:xfrm>
              <a:off x="5663399" y="4371982"/>
              <a:ext cx="864120" cy="288000"/>
            </a:xfrm>
            <a:prstGeom prst="rect">
              <a:avLst/>
            </a:prstGeom>
          </p:spPr>
          <p:txBody>
            <a:bodyPr wrap="square" lIns="0" tIns="0" rIns="0" bIns="0" anchor="ctr" anchorCtr="0">
              <a:noAutofit/>
            </a:bodyPr>
            <a:lstStyle/>
            <a:p>
              <a:pPr algn="ctr"/>
              <a:r>
                <a:rPr lang="en-US" sz="1100" dirty="0" smtClean="0">
                  <a:solidFill>
                    <a:srgbClr val="FF0000"/>
                  </a:solidFill>
                </a:rPr>
                <a:t>DX600 S4</a:t>
              </a:r>
              <a:endParaRPr lang="en-US" sz="1100" dirty="0">
                <a:solidFill>
                  <a:srgbClr val="FF0000"/>
                </a:solidFill>
              </a:endParaRPr>
            </a:p>
          </p:txBody>
        </p:sp>
        <p:pic>
          <p:nvPicPr>
            <p:cNvPr id="124" name="Picture 2"/>
            <p:cNvPicPr>
              <a:picLocks noChangeAspect="1"/>
            </p:cNvPicPr>
            <p:nvPr>
              <p:custDataLst>
                <p:tags r:id="rId33"/>
              </p:custDataLst>
            </p:nvPr>
          </p:nvPicPr>
          <p:blipFill rotWithShape="1">
            <a:blip r:embed="rId5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5602059" y="3285078"/>
              <a:ext cx="1105456" cy="1113296"/>
            </a:xfrm>
            <a:prstGeom prst="rect">
              <a:avLst/>
            </a:prstGeom>
          </p:spPr>
        </p:pic>
      </p:grpSp>
      <p:grpSp>
        <p:nvGrpSpPr>
          <p:cNvPr id="22" name="Gruppieren 21"/>
          <p:cNvGrpSpPr/>
          <p:nvPr>
            <p:custDataLst>
              <p:tags r:id="rId16"/>
            </p:custDataLst>
          </p:nvPr>
        </p:nvGrpSpPr>
        <p:grpSpPr bwMode="gray">
          <a:xfrm>
            <a:off x="4414183" y="3811084"/>
            <a:ext cx="1105200" cy="848898"/>
            <a:chOff x="4414183" y="3811084"/>
            <a:chExt cx="1105200" cy="848898"/>
          </a:xfrm>
        </p:grpSpPr>
        <p:sp>
          <p:nvSpPr>
            <p:cNvPr id="122" name="Rechteck 74"/>
            <p:cNvSpPr/>
            <p:nvPr>
              <p:custDataLst>
                <p:tags r:id="rId30"/>
              </p:custDataLst>
            </p:nvPr>
          </p:nvSpPr>
          <p:spPr bwMode="gray">
            <a:xfrm>
              <a:off x="4475267" y="4371982"/>
              <a:ext cx="864120" cy="288000"/>
            </a:xfrm>
            <a:prstGeom prst="rect">
              <a:avLst/>
            </a:prstGeom>
          </p:spPr>
          <p:txBody>
            <a:bodyPr wrap="square" lIns="0" tIns="0" rIns="0" bIns="0" anchor="ctr" anchorCtr="0">
              <a:noAutofit/>
            </a:bodyPr>
            <a:lstStyle/>
            <a:p>
              <a:pPr algn="ctr"/>
              <a:r>
                <a:rPr lang="en-US" sz="1100" dirty="0" smtClean="0">
                  <a:solidFill>
                    <a:srgbClr val="FF0000"/>
                  </a:solidFill>
                </a:rPr>
                <a:t>DX500 S4</a:t>
              </a:r>
              <a:endParaRPr lang="en-US" sz="1100" dirty="0">
                <a:solidFill>
                  <a:srgbClr val="FF0000"/>
                </a:solidFill>
              </a:endParaRPr>
            </a:p>
          </p:txBody>
        </p:sp>
        <p:pic>
          <p:nvPicPr>
            <p:cNvPr id="125" name="Picture 7"/>
            <p:cNvPicPr>
              <a:picLocks noChangeAspect="1"/>
            </p:cNvPicPr>
            <p:nvPr>
              <p:custDataLst>
                <p:tags r:id="rId31"/>
              </p:custDataLst>
            </p:nvPr>
          </p:nvPicPr>
          <p:blipFill rotWithShape="1">
            <a:blip r:embed="rId5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4414183" y="3811084"/>
              <a:ext cx="1105200" cy="580940"/>
            </a:xfrm>
            <a:prstGeom prst="rect">
              <a:avLst/>
            </a:prstGeom>
          </p:spPr>
        </p:pic>
      </p:grpSp>
      <p:grpSp>
        <p:nvGrpSpPr>
          <p:cNvPr id="24" name="Gruppieren 23"/>
          <p:cNvGrpSpPr/>
          <p:nvPr/>
        </p:nvGrpSpPr>
        <p:grpSpPr bwMode="gray">
          <a:xfrm>
            <a:off x="6706728" y="2956924"/>
            <a:ext cx="828879" cy="1699927"/>
            <a:chOff x="6706728" y="2956924"/>
            <a:chExt cx="828879" cy="1699927"/>
          </a:xfrm>
        </p:grpSpPr>
        <p:sp>
          <p:nvSpPr>
            <p:cNvPr id="126" name="Rechteck 82"/>
            <p:cNvSpPr/>
            <p:nvPr>
              <p:custDataLst>
                <p:tags r:id="rId28"/>
              </p:custDataLst>
            </p:nvPr>
          </p:nvSpPr>
          <p:spPr bwMode="gray">
            <a:xfrm>
              <a:off x="6706728" y="4368851"/>
              <a:ext cx="828879" cy="288000"/>
            </a:xfrm>
            <a:prstGeom prst="rect">
              <a:avLst/>
            </a:prstGeom>
          </p:spPr>
          <p:txBody>
            <a:bodyPr wrap="square" lIns="0" tIns="0" rIns="0" bIns="0" anchor="ctr" anchorCtr="0">
              <a:noAutofit/>
            </a:bodyPr>
            <a:lstStyle/>
            <a:p>
              <a:pPr algn="ctr"/>
              <a:r>
                <a:rPr lang="en-US" sz="1100" dirty="0" smtClean="0">
                  <a:solidFill>
                    <a:srgbClr val="000000"/>
                  </a:solidFill>
                </a:rPr>
                <a:t>DX8700 S3</a:t>
              </a:r>
            </a:p>
          </p:txBody>
        </p:sp>
        <p:pic>
          <p:nvPicPr>
            <p:cNvPr id="128" name="Picture 54"/>
            <p:cNvPicPr>
              <a:picLocks noChangeAspect="1" noChangeArrowheads="1"/>
            </p:cNvPicPr>
            <p:nvPr>
              <p:custDataLst>
                <p:tags r:id="rId29"/>
              </p:custDataLst>
            </p:nvPr>
          </p:nvPicPr>
          <p:blipFill>
            <a:blip r:embed="rId60" cstate="screen">
              <a:clrChange>
                <a:clrFrom>
                  <a:srgbClr val="000000"/>
                </a:clrFrom>
                <a:clrTo>
                  <a:srgbClr val="000000">
                    <a:alpha val="0"/>
                  </a:srgbClr>
                </a:clrTo>
              </a:clrChange>
              <a:extLst>
                <a:ext uri="{28A0092B-C50C-407E-A947-70E740481C1C}">
                  <a14:useLocalDpi xmlns:a14="http://schemas.microsoft.com/office/drawing/2010/main"/>
                </a:ext>
              </a:extLst>
            </a:blip>
            <a:srcRect/>
            <a:stretch>
              <a:fillRect/>
            </a:stretch>
          </p:blipFill>
          <p:spPr bwMode="gray">
            <a:xfrm>
              <a:off x="6850744" y="2956924"/>
              <a:ext cx="611505" cy="1428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29" name="Textfeld 39"/>
          <p:cNvSpPr txBox="1"/>
          <p:nvPr>
            <p:custDataLst>
              <p:tags r:id="rId17"/>
            </p:custDataLst>
          </p:nvPr>
        </p:nvSpPr>
        <p:spPr bwMode="gray">
          <a:xfrm>
            <a:off x="4499992" y="1131622"/>
            <a:ext cx="4334294" cy="307777"/>
          </a:xfrm>
          <a:prstGeom prst="rect">
            <a:avLst/>
          </a:prstGeom>
          <a:noFill/>
        </p:spPr>
        <p:txBody>
          <a:bodyPr wrap="square" rtlCol="0">
            <a:spAutoFit/>
          </a:bodyPr>
          <a:lstStyle/>
          <a:p>
            <a:r>
              <a:rPr lang="ru-RU" sz="1400" dirty="0" smtClean="0">
                <a:solidFill>
                  <a:srgbClr val="FF0000"/>
                </a:solidFill>
              </a:rPr>
              <a:t>Гибридные массивы </a:t>
            </a:r>
            <a:r>
              <a:rPr lang="de-DE" sz="1400" dirty="0" smtClean="0">
                <a:solidFill>
                  <a:srgbClr val="FF0000"/>
                </a:solidFill>
              </a:rPr>
              <a:t>ETERNUS DX</a:t>
            </a:r>
            <a:endParaRPr lang="de-DE" sz="1400" dirty="0">
              <a:solidFill>
                <a:srgbClr val="FF0000"/>
              </a:solidFill>
            </a:endParaRPr>
          </a:p>
        </p:txBody>
      </p:sp>
      <p:grpSp>
        <p:nvGrpSpPr>
          <p:cNvPr id="25" name="Gruppieren 24"/>
          <p:cNvGrpSpPr/>
          <p:nvPr/>
        </p:nvGrpSpPr>
        <p:grpSpPr bwMode="gray">
          <a:xfrm>
            <a:off x="7643619" y="2895786"/>
            <a:ext cx="1104845" cy="1764196"/>
            <a:chOff x="7643619" y="2895786"/>
            <a:chExt cx="1104845" cy="1764196"/>
          </a:xfrm>
        </p:grpSpPr>
        <p:sp>
          <p:nvSpPr>
            <p:cNvPr id="127" name="Rechteck 83"/>
            <p:cNvSpPr/>
            <p:nvPr>
              <p:custDataLst>
                <p:tags r:id="rId26"/>
              </p:custDataLst>
            </p:nvPr>
          </p:nvSpPr>
          <p:spPr bwMode="gray">
            <a:xfrm>
              <a:off x="7774320" y="4371982"/>
              <a:ext cx="828879" cy="288000"/>
            </a:xfrm>
            <a:prstGeom prst="rect">
              <a:avLst/>
            </a:prstGeom>
          </p:spPr>
          <p:txBody>
            <a:bodyPr wrap="square" lIns="0" tIns="0" rIns="0" bIns="0" anchor="ctr" anchorCtr="0">
              <a:noAutofit/>
            </a:bodyPr>
            <a:lstStyle/>
            <a:p>
              <a:pPr algn="ctr"/>
              <a:r>
                <a:rPr lang="en-US" sz="1100" dirty="0" smtClean="0">
                  <a:solidFill>
                    <a:srgbClr val="000000"/>
                  </a:solidFill>
                </a:rPr>
                <a:t>DX8900 S3</a:t>
              </a:r>
            </a:p>
          </p:txBody>
        </p:sp>
        <p:pic>
          <p:nvPicPr>
            <p:cNvPr id="130" name="Picture 58"/>
            <p:cNvPicPr>
              <a:picLocks noChangeAspect="1"/>
            </p:cNvPicPr>
            <p:nvPr>
              <p:custDataLst>
                <p:tags r:id="rId27"/>
              </p:custDataLst>
            </p:nvPr>
          </p:nvPicPr>
          <p:blipFill>
            <a:blip r:embed="rId6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7643619" y="2895786"/>
              <a:ext cx="1104845" cy="1489888"/>
            </a:xfrm>
            <a:prstGeom prst="rect">
              <a:avLst/>
            </a:prstGeom>
          </p:spPr>
        </p:pic>
      </p:grpSp>
      <p:sp>
        <p:nvSpPr>
          <p:cNvPr id="9" name="Freihandform 8"/>
          <p:cNvSpPr/>
          <p:nvPr>
            <p:custDataLst>
              <p:tags r:id="rId18"/>
            </p:custDataLst>
          </p:nvPr>
        </p:nvSpPr>
        <p:spPr bwMode="gray">
          <a:xfrm flipH="1">
            <a:off x="323824" y="3975982"/>
            <a:ext cx="2664000" cy="684000"/>
          </a:xfrm>
          <a:custGeom>
            <a:avLst/>
            <a:gdLst>
              <a:gd name="connsiteX0" fmla="*/ 0 w 2686050"/>
              <a:gd name="connsiteY0" fmla="*/ 0 h 688975"/>
              <a:gd name="connsiteX1" fmla="*/ 654050 w 2686050"/>
              <a:gd name="connsiteY1" fmla="*/ 688975 h 688975"/>
              <a:gd name="connsiteX2" fmla="*/ 2686050 w 2686050"/>
              <a:gd name="connsiteY2" fmla="*/ 688975 h 688975"/>
            </a:gdLst>
            <a:ahLst/>
            <a:cxnLst>
              <a:cxn ang="0">
                <a:pos x="connsiteX0" y="connsiteY0"/>
              </a:cxn>
              <a:cxn ang="0">
                <a:pos x="connsiteX1" y="connsiteY1"/>
              </a:cxn>
              <a:cxn ang="0">
                <a:pos x="connsiteX2" y="connsiteY2"/>
              </a:cxn>
            </a:cxnLst>
            <a:rect l="l" t="t" r="r" b="b"/>
            <a:pathLst>
              <a:path w="2686050" h="688975">
                <a:moveTo>
                  <a:pt x="0" y="0"/>
                </a:moveTo>
                <a:lnTo>
                  <a:pt x="654050" y="688975"/>
                </a:lnTo>
                <a:lnTo>
                  <a:pt x="2686050" y="688975"/>
                </a:lnTo>
              </a:path>
            </a:pathLst>
          </a:custGeom>
          <a:ln cap="rnd">
            <a:solidFill>
              <a:schemeClr val="accent1"/>
            </a:solidFill>
            <a:prstDash val="sysDot"/>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a:solidFill>
                <a:srgbClr val="000000"/>
              </a:solidFill>
            </a:endParaRPr>
          </a:p>
        </p:txBody>
      </p:sp>
      <p:sp>
        <p:nvSpPr>
          <p:cNvPr id="13" name="Freihandform 12"/>
          <p:cNvSpPr/>
          <p:nvPr>
            <p:custDataLst>
              <p:tags r:id="rId19"/>
            </p:custDataLst>
          </p:nvPr>
        </p:nvSpPr>
        <p:spPr bwMode="gray">
          <a:xfrm>
            <a:off x="323527" y="1419622"/>
            <a:ext cx="2664147" cy="180000"/>
          </a:xfrm>
          <a:custGeom>
            <a:avLst/>
            <a:gdLst>
              <a:gd name="connsiteX0" fmla="*/ 0 w 2609850"/>
              <a:gd name="connsiteY0" fmla="*/ 0 h 185737"/>
              <a:gd name="connsiteX1" fmla="*/ 2424113 w 2609850"/>
              <a:gd name="connsiteY1" fmla="*/ 0 h 185737"/>
              <a:gd name="connsiteX2" fmla="*/ 2609850 w 2609850"/>
              <a:gd name="connsiteY2" fmla="*/ 185737 h 185737"/>
            </a:gdLst>
            <a:ahLst/>
            <a:cxnLst>
              <a:cxn ang="0">
                <a:pos x="connsiteX0" y="connsiteY0"/>
              </a:cxn>
              <a:cxn ang="0">
                <a:pos x="connsiteX1" y="connsiteY1"/>
              </a:cxn>
              <a:cxn ang="0">
                <a:pos x="connsiteX2" y="connsiteY2"/>
              </a:cxn>
            </a:cxnLst>
            <a:rect l="l" t="t" r="r" b="b"/>
            <a:pathLst>
              <a:path w="2609850" h="185737">
                <a:moveTo>
                  <a:pt x="0" y="0"/>
                </a:moveTo>
                <a:lnTo>
                  <a:pt x="2424113" y="0"/>
                </a:lnTo>
                <a:lnTo>
                  <a:pt x="2609850" y="185737"/>
                </a:lnTo>
              </a:path>
            </a:pathLst>
          </a:custGeom>
          <a:ln cap="rnd">
            <a:solidFill>
              <a:schemeClr val="accent1"/>
            </a:solidFill>
            <a:prstDash val="sysDot"/>
            <a:headEnd type="none" w="sm" len="sm"/>
            <a:tailEnd type="oval"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14" name="Freihandform 13"/>
          <p:cNvSpPr/>
          <p:nvPr>
            <p:custDataLst>
              <p:tags r:id="rId20"/>
            </p:custDataLst>
          </p:nvPr>
        </p:nvSpPr>
        <p:spPr bwMode="gray">
          <a:xfrm>
            <a:off x="3492472" y="1419642"/>
            <a:ext cx="5328000" cy="180000"/>
          </a:xfrm>
          <a:custGeom>
            <a:avLst/>
            <a:gdLst>
              <a:gd name="connsiteX0" fmla="*/ 0 w 5334000"/>
              <a:gd name="connsiteY0" fmla="*/ 176213 h 176213"/>
              <a:gd name="connsiteX1" fmla="*/ 176213 w 5334000"/>
              <a:gd name="connsiteY1" fmla="*/ 0 h 176213"/>
              <a:gd name="connsiteX2" fmla="*/ 5334000 w 5334000"/>
              <a:gd name="connsiteY2" fmla="*/ 0 h 176213"/>
            </a:gdLst>
            <a:ahLst/>
            <a:cxnLst>
              <a:cxn ang="0">
                <a:pos x="connsiteX0" y="connsiteY0"/>
              </a:cxn>
              <a:cxn ang="0">
                <a:pos x="connsiteX1" y="connsiteY1"/>
              </a:cxn>
              <a:cxn ang="0">
                <a:pos x="connsiteX2" y="connsiteY2"/>
              </a:cxn>
            </a:cxnLst>
            <a:rect l="l" t="t" r="r" b="b"/>
            <a:pathLst>
              <a:path w="5334000" h="176213">
                <a:moveTo>
                  <a:pt x="0" y="176213"/>
                </a:moveTo>
                <a:lnTo>
                  <a:pt x="176213" y="0"/>
                </a:lnTo>
                <a:lnTo>
                  <a:pt x="5334000" y="0"/>
                </a:lnTo>
              </a:path>
            </a:pathLst>
          </a:custGeom>
          <a:ln cap="rnd">
            <a:solidFill>
              <a:schemeClr val="accent1"/>
            </a:solidFill>
            <a:prstDash val="sysDot"/>
            <a:headEnd type="oval"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000000"/>
              </a:solidFill>
            </a:endParaRPr>
          </a:p>
        </p:txBody>
      </p:sp>
      <p:sp>
        <p:nvSpPr>
          <p:cNvPr id="3" name="Stern mit 16 Zacken 2"/>
          <p:cNvSpPr/>
          <p:nvPr>
            <p:custDataLst>
              <p:tags r:id="rId21"/>
            </p:custDataLst>
          </p:nvPr>
        </p:nvSpPr>
        <p:spPr bwMode="gray">
          <a:xfrm rot="19631202">
            <a:off x="321488" y="1957642"/>
            <a:ext cx="576000" cy="576000"/>
          </a:xfrm>
          <a:prstGeom prst="star16">
            <a:avLst>
              <a:gd name="adj" fmla="val 41788"/>
            </a:avLst>
          </a:prstGeom>
          <a:gradFill>
            <a:gsLst>
              <a:gs pos="0">
                <a:schemeClr val="accent2"/>
              </a:gs>
              <a:gs pos="50000">
                <a:schemeClr val="accent1"/>
              </a:gs>
              <a:gs pos="100000">
                <a:schemeClr val="accent1"/>
              </a:gs>
            </a:gsLst>
            <a:lin ang="5400000" scaled="0"/>
          </a:gra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r>
              <a:rPr lang="en-GB" sz="1200" b="1" dirty="0" smtClean="0">
                <a:solidFill>
                  <a:srgbClr val="FFFFFF"/>
                </a:solidFill>
              </a:rPr>
              <a:t>NEW</a:t>
            </a:r>
          </a:p>
        </p:txBody>
      </p:sp>
      <p:sp>
        <p:nvSpPr>
          <p:cNvPr id="160" name="Stern mit 16 Zacken 159"/>
          <p:cNvSpPr/>
          <p:nvPr>
            <p:custDataLst>
              <p:tags r:id="rId22"/>
            </p:custDataLst>
          </p:nvPr>
        </p:nvSpPr>
        <p:spPr bwMode="gray">
          <a:xfrm rot="19631202">
            <a:off x="321488" y="3088538"/>
            <a:ext cx="576000" cy="576000"/>
          </a:xfrm>
          <a:prstGeom prst="star16">
            <a:avLst>
              <a:gd name="adj" fmla="val 41788"/>
            </a:avLst>
          </a:prstGeom>
          <a:gradFill>
            <a:gsLst>
              <a:gs pos="0">
                <a:schemeClr val="accent2"/>
              </a:gs>
              <a:gs pos="50000">
                <a:schemeClr val="accent1"/>
              </a:gs>
              <a:gs pos="100000">
                <a:schemeClr val="accent1"/>
              </a:gs>
            </a:gsLst>
            <a:lin ang="5400000" scaled="0"/>
          </a:gra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r>
              <a:rPr lang="en-GB" sz="1200" b="1" dirty="0" smtClean="0">
                <a:solidFill>
                  <a:srgbClr val="FFFFFF"/>
                </a:solidFill>
              </a:rPr>
              <a:t>NEW</a:t>
            </a:r>
          </a:p>
        </p:txBody>
      </p:sp>
      <p:sp>
        <p:nvSpPr>
          <p:cNvPr id="161" name="Stern mit 16 Zacken 160"/>
          <p:cNvSpPr/>
          <p:nvPr>
            <p:custDataLst>
              <p:tags r:id="rId23"/>
            </p:custDataLst>
          </p:nvPr>
        </p:nvSpPr>
        <p:spPr bwMode="gray">
          <a:xfrm rot="19631202">
            <a:off x="4214064" y="3509958"/>
            <a:ext cx="576000" cy="576000"/>
          </a:xfrm>
          <a:prstGeom prst="star16">
            <a:avLst>
              <a:gd name="adj" fmla="val 41788"/>
            </a:avLst>
          </a:prstGeom>
          <a:gradFill>
            <a:gsLst>
              <a:gs pos="0">
                <a:schemeClr val="accent2"/>
              </a:gs>
              <a:gs pos="50000">
                <a:schemeClr val="accent1"/>
              </a:gs>
              <a:gs pos="100000">
                <a:schemeClr val="accent1"/>
              </a:gs>
            </a:gsLst>
            <a:lin ang="5400000" scaled="0"/>
          </a:gra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r>
              <a:rPr lang="en-GB" sz="1200" b="1" dirty="0" smtClean="0">
                <a:solidFill>
                  <a:srgbClr val="FFFFFF"/>
                </a:solidFill>
              </a:rPr>
              <a:t>NEW</a:t>
            </a:r>
          </a:p>
        </p:txBody>
      </p:sp>
      <p:sp>
        <p:nvSpPr>
          <p:cNvPr id="162" name="Stern mit 16 Zacken 161"/>
          <p:cNvSpPr/>
          <p:nvPr>
            <p:custDataLst>
              <p:tags r:id="rId24"/>
            </p:custDataLst>
          </p:nvPr>
        </p:nvSpPr>
        <p:spPr bwMode="gray">
          <a:xfrm rot="19631202">
            <a:off x="5402196" y="3005902"/>
            <a:ext cx="576000" cy="576000"/>
          </a:xfrm>
          <a:prstGeom prst="star16">
            <a:avLst>
              <a:gd name="adj" fmla="val 41788"/>
            </a:avLst>
          </a:prstGeom>
          <a:gradFill>
            <a:gsLst>
              <a:gs pos="0">
                <a:schemeClr val="accent2"/>
              </a:gs>
              <a:gs pos="50000">
                <a:schemeClr val="accent1"/>
              </a:gs>
              <a:gs pos="100000">
                <a:schemeClr val="accent1"/>
              </a:gs>
            </a:gsLst>
            <a:lin ang="5400000" scaled="0"/>
          </a:gra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r>
              <a:rPr lang="en-GB" sz="1200" b="1" dirty="0" smtClean="0">
                <a:solidFill>
                  <a:srgbClr val="FFFFFF"/>
                </a:solidFill>
              </a:rPr>
              <a:t>NEW</a:t>
            </a:r>
          </a:p>
        </p:txBody>
      </p:sp>
      <p:sp>
        <p:nvSpPr>
          <p:cNvPr id="51" name="Ellipse 54"/>
          <p:cNvSpPr/>
          <p:nvPr>
            <p:custDataLst>
              <p:tags r:id="rId25"/>
            </p:custDataLst>
          </p:nvPr>
        </p:nvSpPr>
        <p:spPr bwMode="gray">
          <a:xfrm rot="10800000" flipV="1">
            <a:off x="2266571" y="1782074"/>
            <a:ext cx="1975307" cy="197530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spcAft>
                <a:spcPts val="600"/>
              </a:spcAft>
            </a:pPr>
            <a:r>
              <a:rPr lang="en-US" sz="1700" b="1" dirty="0" smtClean="0">
                <a:solidFill>
                  <a:srgbClr val="FFFFFF"/>
                </a:solidFill>
                <a:latin typeface="Fujitsu Sans" panose="020B0404060202020204" pitchFamily="34" charset="0"/>
              </a:rPr>
              <a:t>ETERNUS SF </a:t>
            </a:r>
          </a:p>
          <a:p>
            <a:pPr algn="ctr">
              <a:spcAft>
                <a:spcPts val="600"/>
              </a:spcAft>
            </a:pPr>
            <a:r>
              <a:rPr lang="en-US" sz="1700" b="1" dirty="0" smtClean="0">
                <a:solidFill>
                  <a:srgbClr val="FFFFFF"/>
                </a:solidFill>
                <a:latin typeface="Fujitsu Sans" panose="020B0404060202020204" pitchFamily="34" charset="0"/>
              </a:rPr>
              <a:t>Storage </a:t>
            </a:r>
          </a:p>
          <a:p>
            <a:pPr algn="ctr">
              <a:spcAft>
                <a:spcPts val="600"/>
              </a:spcAft>
            </a:pPr>
            <a:r>
              <a:rPr lang="en-US" sz="1700" b="1" dirty="0" smtClean="0">
                <a:solidFill>
                  <a:srgbClr val="FFFFFF"/>
                </a:solidFill>
                <a:latin typeface="Fujitsu Sans" panose="020B0404060202020204" pitchFamily="34" charset="0"/>
              </a:rPr>
              <a:t>Management </a:t>
            </a:r>
          </a:p>
        </p:txBody>
      </p:sp>
    </p:spTree>
    <p:extLst>
      <p:ext uri="{BB962C8B-B14F-4D97-AF65-F5344CB8AC3E}">
        <p14:creationId xmlns:p14="http://schemas.microsoft.com/office/powerpoint/2010/main" val="17672736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20"/>
          <p:cNvSpPr>
            <a:spLocks noGrp="1"/>
          </p:cNvSpPr>
          <p:nvPr>
            <p:ph type="title"/>
            <p:custDataLst>
              <p:tags r:id="rId1"/>
            </p:custDataLst>
          </p:nvPr>
        </p:nvSpPr>
        <p:spPr bwMode="gray"/>
        <p:txBody>
          <a:bodyPr/>
          <a:lstStyle/>
          <a:p>
            <a:r>
              <a:rPr lang="ru-RU" dirty="0" smtClean="0"/>
              <a:t>Предложения от большинства поставщиков</a:t>
            </a:r>
            <a:endParaRPr lang="ru-RU" dirty="0"/>
          </a:p>
        </p:txBody>
      </p:sp>
      <p:sp>
        <p:nvSpPr>
          <p:cNvPr id="53" name="Rechteck 52"/>
          <p:cNvSpPr/>
          <p:nvPr>
            <p:custDataLst>
              <p:tags r:id="rId2"/>
            </p:custDataLst>
          </p:nvPr>
        </p:nvSpPr>
        <p:spPr bwMode="gray">
          <a:xfrm>
            <a:off x="1547664" y="987574"/>
            <a:ext cx="1728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ru-RU" sz="1000" dirty="0" smtClean="0">
                <a:solidFill>
                  <a:srgbClr val="FF0000"/>
                </a:solidFill>
              </a:rPr>
              <a:t>Недорогая система хранения данных</a:t>
            </a:r>
            <a:endParaRPr lang="ru-RU" sz="1000" dirty="0">
              <a:solidFill>
                <a:srgbClr val="FF0000"/>
              </a:solidFill>
            </a:endParaRPr>
          </a:p>
        </p:txBody>
      </p:sp>
      <p:sp>
        <p:nvSpPr>
          <p:cNvPr id="54" name="Freihandform 53"/>
          <p:cNvSpPr/>
          <p:nvPr/>
        </p:nvSpPr>
        <p:spPr bwMode="gray">
          <a:xfrm>
            <a:off x="1548548" y="1347614"/>
            <a:ext cx="1728000" cy="0"/>
          </a:xfrm>
          <a:custGeom>
            <a:avLst/>
            <a:gdLst>
              <a:gd name="connsiteX0" fmla="*/ 0 w 1958340"/>
              <a:gd name="connsiteY0" fmla="*/ 0 h 289560"/>
              <a:gd name="connsiteX1" fmla="*/ 1958340 w 1958340"/>
              <a:gd name="connsiteY1" fmla="*/ 0 h 289560"/>
              <a:gd name="connsiteX2" fmla="*/ 1958340 w 1958340"/>
              <a:gd name="connsiteY2" fmla="*/ 289560 h 289560"/>
              <a:gd name="connsiteX0" fmla="*/ 0 w 1958340"/>
              <a:gd name="connsiteY0" fmla="*/ 0 h 289560"/>
              <a:gd name="connsiteX1" fmla="*/ 1958340 w 1958340"/>
              <a:gd name="connsiteY1" fmla="*/ 0 h 289560"/>
              <a:gd name="connsiteX2" fmla="*/ 1958340 w 1958340"/>
              <a:gd name="connsiteY2" fmla="*/ 289560 h 289560"/>
              <a:gd name="connsiteX0" fmla="*/ 0 w 1958340"/>
              <a:gd name="connsiteY0" fmla="*/ 0 h 0"/>
              <a:gd name="connsiteX1" fmla="*/ 1958340 w 1958340"/>
              <a:gd name="connsiteY1" fmla="*/ 0 h 0"/>
            </a:gdLst>
            <a:ahLst/>
            <a:cxnLst>
              <a:cxn ang="0">
                <a:pos x="connsiteX0" y="connsiteY0"/>
              </a:cxn>
              <a:cxn ang="0">
                <a:pos x="connsiteX1" y="connsiteY1"/>
              </a:cxn>
            </a:cxnLst>
            <a:rect l="l" t="t" r="r" b="b"/>
            <a:pathLst>
              <a:path w="1958340">
                <a:moveTo>
                  <a:pt x="0" y="0"/>
                </a:moveTo>
                <a:lnTo>
                  <a:pt x="1958340" y="0"/>
                </a:lnTo>
              </a:path>
            </a:pathLst>
          </a:custGeom>
          <a:ln cap="rnd">
            <a:solidFill>
              <a:schemeClr val="accent1"/>
            </a:solidFill>
            <a:prstDash val="sysDot"/>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solidFill>
                <a:srgbClr val="000000"/>
              </a:solidFill>
            </a:endParaRPr>
          </a:p>
        </p:txBody>
      </p:sp>
      <p:sp>
        <p:nvSpPr>
          <p:cNvPr id="55" name="Rechteck 54"/>
          <p:cNvSpPr/>
          <p:nvPr>
            <p:custDataLst>
              <p:tags r:id="rId3"/>
            </p:custDataLst>
          </p:nvPr>
        </p:nvSpPr>
        <p:spPr bwMode="gray">
          <a:xfrm>
            <a:off x="3420138" y="987574"/>
            <a:ext cx="1728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ru-RU" sz="1000" dirty="0" smtClean="0">
                <a:solidFill>
                  <a:srgbClr val="FF0000"/>
                </a:solidFill>
              </a:rPr>
              <a:t>Система хранения данных начального уровня</a:t>
            </a:r>
            <a:endParaRPr lang="ru-RU" sz="1000" dirty="0">
              <a:solidFill>
                <a:srgbClr val="FF0000"/>
              </a:solidFill>
            </a:endParaRPr>
          </a:p>
        </p:txBody>
      </p:sp>
      <p:sp>
        <p:nvSpPr>
          <p:cNvPr id="56" name="Freihandform 55"/>
          <p:cNvSpPr/>
          <p:nvPr/>
        </p:nvSpPr>
        <p:spPr bwMode="gray">
          <a:xfrm>
            <a:off x="3421022" y="1347614"/>
            <a:ext cx="1728000" cy="0"/>
          </a:xfrm>
          <a:custGeom>
            <a:avLst/>
            <a:gdLst>
              <a:gd name="connsiteX0" fmla="*/ 0 w 1958340"/>
              <a:gd name="connsiteY0" fmla="*/ 0 h 289560"/>
              <a:gd name="connsiteX1" fmla="*/ 1958340 w 1958340"/>
              <a:gd name="connsiteY1" fmla="*/ 0 h 289560"/>
              <a:gd name="connsiteX2" fmla="*/ 1958340 w 1958340"/>
              <a:gd name="connsiteY2" fmla="*/ 289560 h 289560"/>
              <a:gd name="connsiteX0" fmla="*/ 0 w 1958340"/>
              <a:gd name="connsiteY0" fmla="*/ 0 h 289560"/>
              <a:gd name="connsiteX1" fmla="*/ 1958340 w 1958340"/>
              <a:gd name="connsiteY1" fmla="*/ 0 h 289560"/>
              <a:gd name="connsiteX2" fmla="*/ 1958340 w 1958340"/>
              <a:gd name="connsiteY2" fmla="*/ 289560 h 289560"/>
              <a:gd name="connsiteX0" fmla="*/ 0 w 1958340"/>
              <a:gd name="connsiteY0" fmla="*/ 0 h 0"/>
              <a:gd name="connsiteX1" fmla="*/ 1958340 w 1958340"/>
              <a:gd name="connsiteY1" fmla="*/ 0 h 0"/>
            </a:gdLst>
            <a:ahLst/>
            <a:cxnLst>
              <a:cxn ang="0">
                <a:pos x="connsiteX0" y="connsiteY0"/>
              </a:cxn>
              <a:cxn ang="0">
                <a:pos x="connsiteX1" y="connsiteY1"/>
              </a:cxn>
            </a:cxnLst>
            <a:rect l="l" t="t" r="r" b="b"/>
            <a:pathLst>
              <a:path w="1958340">
                <a:moveTo>
                  <a:pt x="0" y="0"/>
                </a:moveTo>
                <a:lnTo>
                  <a:pt x="1958340" y="0"/>
                </a:lnTo>
              </a:path>
            </a:pathLst>
          </a:custGeom>
          <a:ln cap="rnd">
            <a:solidFill>
              <a:schemeClr val="accent1"/>
            </a:solidFill>
            <a:prstDash val="sysDot"/>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solidFill>
                <a:srgbClr val="000000"/>
              </a:solidFill>
            </a:endParaRPr>
          </a:p>
        </p:txBody>
      </p:sp>
      <p:sp>
        <p:nvSpPr>
          <p:cNvPr id="57" name="Rechteck 56"/>
          <p:cNvSpPr/>
          <p:nvPr>
            <p:custDataLst>
              <p:tags r:id="rId4"/>
            </p:custDataLst>
          </p:nvPr>
        </p:nvSpPr>
        <p:spPr bwMode="gray">
          <a:xfrm>
            <a:off x="5292346" y="987574"/>
            <a:ext cx="1728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ru-RU" sz="1000" dirty="0" smtClean="0">
                <a:solidFill>
                  <a:srgbClr val="FF0000"/>
                </a:solidFill>
              </a:rPr>
              <a:t>Система хранения данных среднего уровня</a:t>
            </a:r>
            <a:endParaRPr lang="ru-RU" sz="1000" dirty="0">
              <a:solidFill>
                <a:srgbClr val="FF0000"/>
              </a:solidFill>
            </a:endParaRPr>
          </a:p>
        </p:txBody>
      </p:sp>
      <p:sp>
        <p:nvSpPr>
          <p:cNvPr id="58" name="Freihandform 57"/>
          <p:cNvSpPr/>
          <p:nvPr/>
        </p:nvSpPr>
        <p:spPr bwMode="gray">
          <a:xfrm>
            <a:off x="5293230" y="1347614"/>
            <a:ext cx="1728000" cy="0"/>
          </a:xfrm>
          <a:custGeom>
            <a:avLst/>
            <a:gdLst>
              <a:gd name="connsiteX0" fmla="*/ 0 w 1958340"/>
              <a:gd name="connsiteY0" fmla="*/ 0 h 289560"/>
              <a:gd name="connsiteX1" fmla="*/ 1958340 w 1958340"/>
              <a:gd name="connsiteY1" fmla="*/ 0 h 289560"/>
              <a:gd name="connsiteX2" fmla="*/ 1958340 w 1958340"/>
              <a:gd name="connsiteY2" fmla="*/ 289560 h 289560"/>
              <a:gd name="connsiteX0" fmla="*/ 0 w 1958340"/>
              <a:gd name="connsiteY0" fmla="*/ 0 h 289560"/>
              <a:gd name="connsiteX1" fmla="*/ 1958340 w 1958340"/>
              <a:gd name="connsiteY1" fmla="*/ 0 h 289560"/>
              <a:gd name="connsiteX2" fmla="*/ 1958340 w 1958340"/>
              <a:gd name="connsiteY2" fmla="*/ 289560 h 289560"/>
              <a:gd name="connsiteX0" fmla="*/ 0 w 1958340"/>
              <a:gd name="connsiteY0" fmla="*/ 0 h 0"/>
              <a:gd name="connsiteX1" fmla="*/ 1958340 w 1958340"/>
              <a:gd name="connsiteY1" fmla="*/ 0 h 0"/>
            </a:gdLst>
            <a:ahLst/>
            <a:cxnLst>
              <a:cxn ang="0">
                <a:pos x="connsiteX0" y="connsiteY0"/>
              </a:cxn>
              <a:cxn ang="0">
                <a:pos x="connsiteX1" y="connsiteY1"/>
              </a:cxn>
            </a:cxnLst>
            <a:rect l="l" t="t" r="r" b="b"/>
            <a:pathLst>
              <a:path w="1958340">
                <a:moveTo>
                  <a:pt x="0" y="0"/>
                </a:moveTo>
                <a:lnTo>
                  <a:pt x="1958340" y="0"/>
                </a:lnTo>
              </a:path>
            </a:pathLst>
          </a:custGeom>
          <a:ln cap="rnd">
            <a:solidFill>
              <a:schemeClr val="accent1"/>
            </a:solidFill>
            <a:prstDash val="sysDot"/>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solidFill>
                <a:srgbClr val="000000"/>
              </a:solidFill>
            </a:endParaRPr>
          </a:p>
        </p:txBody>
      </p:sp>
      <p:sp>
        <p:nvSpPr>
          <p:cNvPr id="59" name="Rechteck 58"/>
          <p:cNvSpPr/>
          <p:nvPr>
            <p:custDataLst>
              <p:tags r:id="rId5"/>
            </p:custDataLst>
          </p:nvPr>
        </p:nvSpPr>
        <p:spPr bwMode="gray">
          <a:xfrm>
            <a:off x="7164554" y="987574"/>
            <a:ext cx="1728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ru-RU" sz="1000" dirty="0" smtClean="0">
                <a:solidFill>
                  <a:srgbClr val="FF0000"/>
                </a:solidFill>
              </a:rPr>
              <a:t>Система хранения данных уровня предприятия</a:t>
            </a:r>
            <a:endParaRPr lang="ru-RU" sz="1000" dirty="0">
              <a:solidFill>
                <a:srgbClr val="FF0000"/>
              </a:solidFill>
            </a:endParaRPr>
          </a:p>
        </p:txBody>
      </p:sp>
      <p:sp>
        <p:nvSpPr>
          <p:cNvPr id="60" name="Freihandform 59"/>
          <p:cNvSpPr/>
          <p:nvPr/>
        </p:nvSpPr>
        <p:spPr bwMode="gray">
          <a:xfrm>
            <a:off x="7165438" y="1347614"/>
            <a:ext cx="1728000" cy="0"/>
          </a:xfrm>
          <a:custGeom>
            <a:avLst/>
            <a:gdLst>
              <a:gd name="connsiteX0" fmla="*/ 0 w 1958340"/>
              <a:gd name="connsiteY0" fmla="*/ 0 h 289560"/>
              <a:gd name="connsiteX1" fmla="*/ 1958340 w 1958340"/>
              <a:gd name="connsiteY1" fmla="*/ 0 h 289560"/>
              <a:gd name="connsiteX2" fmla="*/ 1958340 w 1958340"/>
              <a:gd name="connsiteY2" fmla="*/ 289560 h 289560"/>
              <a:gd name="connsiteX0" fmla="*/ 0 w 1958340"/>
              <a:gd name="connsiteY0" fmla="*/ 0 h 289560"/>
              <a:gd name="connsiteX1" fmla="*/ 1958340 w 1958340"/>
              <a:gd name="connsiteY1" fmla="*/ 0 h 289560"/>
              <a:gd name="connsiteX2" fmla="*/ 1958340 w 1958340"/>
              <a:gd name="connsiteY2" fmla="*/ 289560 h 289560"/>
              <a:gd name="connsiteX0" fmla="*/ 0 w 1958340"/>
              <a:gd name="connsiteY0" fmla="*/ 0 h 0"/>
              <a:gd name="connsiteX1" fmla="*/ 1958340 w 1958340"/>
              <a:gd name="connsiteY1" fmla="*/ 0 h 0"/>
            </a:gdLst>
            <a:ahLst/>
            <a:cxnLst>
              <a:cxn ang="0">
                <a:pos x="connsiteX0" y="connsiteY0"/>
              </a:cxn>
              <a:cxn ang="0">
                <a:pos x="connsiteX1" y="connsiteY1"/>
              </a:cxn>
            </a:cxnLst>
            <a:rect l="l" t="t" r="r" b="b"/>
            <a:pathLst>
              <a:path w="1958340">
                <a:moveTo>
                  <a:pt x="0" y="0"/>
                </a:moveTo>
                <a:lnTo>
                  <a:pt x="1958340" y="0"/>
                </a:lnTo>
              </a:path>
            </a:pathLst>
          </a:custGeom>
          <a:ln cap="rnd">
            <a:solidFill>
              <a:schemeClr val="accent1"/>
            </a:solidFill>
            <a:prstDash val="sysDot"/>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solidFill>
                <a:srgbClr val="000000"/>
              </a:solidFill>
            </a:endParaRPr>
          </a:p>
        </p:txBody>
      </p:sp>
      <p:sp>
        <p:nvSpPr>
          <p:cNvPr id="61" name="Rechteck 60"/>
          <p:cNvSpPr/>
          <p:nvPr>
            <p:custDataLst>
              <p:tags r:id="rId6"/>
            </p:custDataLst>
          </p:nvPr>
        </p:nvSpPr>
        <p:spPr bwMode="gray">
          <a:xfrm>
            <a:off x="251520" y="1347616"/>
            <a:ext cx="1116000" cy="1044116"/>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ctr" anchorCtr="0"/>
          <a:lstStyle/>
          <a:p>
            <a:pPr>
              <a:spcAft>
                <a:spcPts val="1200"/>
              </a:spcAft>
              <a:buClr>
                <a:srgbClr val="A30B1A"/>
              </a:buClr>
            </a:pPr>
            <a:r>
              <a:rPr lang="ru-RU" sz="1200" dirty="0" smtClean="0">
                <a:solidFill>
                  <a:srgbClr val="000000"/>
                </a:solidFill>
              </a:rPr>
              <a:t>Архитектура аппаратного обеспечения</a:t>
            </a:r>
            <a:endParaRPr lang="ru-RU" sz="1200" dirty="0">
              <a:solidFill>
                <a:srgbClr val="000000"/>
              </a:solidFill>
            </a:endParaRPr>
          </a:p>
        </p:txBody>
      </p:sp>
      <p:grpSp>
        <p:nvGrpSpPr>
          <p:cNvPr id="63" name="Gruppieren 62"/>
          <p:cNvGrpSpPr/>
          <p:nvPr>
            <p:custDataLst>
              <p:tags r:id="rId7"/>
            </p:custDataLst>
          </p:nvPr>
        </p:nvGrpSpPr>
        <p:grpSpPr bwMode="gray">
          <a:xfrm rot="16200000">
            <a:off x="1926494" y="1383619"/>
            <a:ext cx="972108" cy="972108"/>
            <a:chOff x="2987704" y="1057541"/>
            <a:chExt cx="1296264" cy="1296264"/>
          </a:xfrm>
        </p:grpSpPr>
        <p:sp>
          <p:nvSpPr>
            <p:cNvPr id="75" name="Ellipse 74"/>
            <p:cNvSpPr/>
            <p:nvPr/>
          </p:nvSpPr>
          <p:spPr bwMode="gray">
            <a:xfrm>
              <a:off x="2987704" y="1057541"/>
              <a:ext cx="1296264" cy="1296264"/>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76" name="Ellipse 75"/>
            <p:cNvSpPr/>
            <p:nvPr/>
          </p:nvSpPr>
          <p:spPr bwMode="gray">
            <a:xfrm>
              <a:off x="3023708" y="1093545"/>
              <a:ext cx="1224256" cy="1224256"/>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77" name="Ellipse 76"/>
            <p:cNvSpPr/>
            <p:nvPr/>
          </p:nvSpPr>
          <p:spPr bwMode="gray">
            <a:xfrm>
              <a:off x="3059712" y="1129549"/>
              <a:ext cx="1152248" cy="1152248"/>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78" name="Ellipse 77"/>
            <p:cNvSpPr/>
            <p:nvPr/>
          </p:nvSpPr>
          <p:spPr bwMode="gray">
            <a:xfrm>
              <a:off x="3095836" y="1165673"/>
              <a:ext cx="1080000" cy="108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tIns="72000" bIns="0" rtlCol="0" anchor="t" anchorCtr="0"/>
            <a:lstStyle/>
            <a:p>
              <a:pPr algn="ctr"/>
              <a:endParaRPr lang="ru-RU" sz="1300" smtClean="0">
                <a:solidFill>
                  <a:srgbClr val="FFFFFF"/>
                </a:solidFill>
              </a:endParaRPr>
            </a:p>
          </p:txBody>
        </p:sp>
      </p:grpSp>
      <p:sp>
        <p:nvSpPr>
          <p:cNvPr id="79" name="Rechteck 78"/>
          <p:cNvSpPr/>
          <p:nvPr>
            <p:custDataLst>
              <p:tags r:id="rId8"/>
            </p:custDataLst>
          </p:nvPr>
        </p:nvSpPr>
        <p:spPr bwMode="gray">
          <a:xfrm>
            <a:off x="251520" y="2481742"/>
            <a:ext cx="1116000" cy="1044116"/>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46800" rIns="72000" bIns="46800" rtlCol="0" anchor="ctr" anchorCtr="0"/>
          <a:lstStyle/>
          <a:p>
            <a:pPr>
              <a:spcAft>
                <a:spcPts val="1200"/>
              </a:spcAft>
              <a:buClr>
                <a:srgbClr val="A30B1A"/>
              </a:buClr>
            </a:pPr>
            <a:r>
              <a:rPr lang="ru-RU" sz="1200" dirty="0" smtClean="0">
                <a:solidFill>
                  <a:srgbClr val="000000"/>
                </a:solidFill>
              </a:rPr>
              <a:t>Системное ПО</a:t>
            </a:r>
            <a:endParaRPr lang="ru-RU" sz="1200" dirty="0">
              <a:solidFill>
                <a:srgbClr val="000000"/>
              </a:solidFill>
            </a:endParaRPr>
          </a:p>
        </p:txBody>
      </p:sp>
      <p:grpSp>
        <p:nvGrpSpPr>
          <p:cNvPr id="80" name="Gruppieren 79"/>
          <p:cNvGrpSpPr/>
          <p:nvPr>
            <p:custDataLst>
              <p:tags r:id="rId9"/>
            </p:custDataLst>
          </p:nvPr>
        </p:nvGrpSpPr>
        <p:grpSpPr bwMode="gray">
          <a:xfrm rot="16200000">
            <a:off x="1926494" y="2517745"/>
            <a:ext cx="972108" cy="972108"/>
            <a:chOff x="2987704" y="1057541"/>
            <a:chExt cx="1296264" cy="1296264"/>
          </a:xfrm>
        </p:grpSpPr>
        <p:sp>
          <p:nvSpPr>
            <p:cNvPr id="81" name="Ellipse 80"/>
            <p:cNvSpPr/>
            <p:nvPr/>
          </p:nvSpPr>
          <p:spPr bwMode="gray">
            <a:xfrm>
              <a:off x="2987704" y="1057541"/>
              <a:ext cx="1296264" cy="1296264"/>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82" name="Ellipse 81"/>
            <p:cNvSpPr/>
            <p:nvPr/>
          </p:nvSpPr>
          <p:spPr bwMode="gray">
            <a:xfrm>
              <a:off x="3023708" y="1093545"/>
              <a:ext cx="1224256" cy="1224256"/>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83" name="Ellipse 82"/>
            <p:cNvSpPr/>
            <p:nvPr/>
          </p:nvSpPr>
          <p:spPr bwMode="gray">
            <a:xfrm>
              <a:off x="3059712" y="1129549"/>
              <a:ext cx="1152248" cy="1152248"/>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84" name="Ellipse 83"/>
            <p:cNvSpPr/>
            <p:nvPr/>
          </p:nvSpPr>
          <p:spPr bwMode="gray">
            <a:xfrm>
              <a:off x="3095836" y="1165673"/>
              <a:ext cx="1080000" cy="108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tIns="72000" bIns="0" rtlCol="0" anchor="t" anchorCtr="0"/>
            <a:lstStyle/>
            <a:p>
              <a:pPr algn="ctr"/>
              <a:endParaRPr lang="ru-RU" sz="1300" smtClean="0">
                <a:solidFill>
                  <a:srgbClr val="FFFFFF"/>
                </a:solidFill>
              </a:endParaRPr>
            </a:p>
          </p:txBody>
        </p:sp>
      </p:grpSp>
      <p:grpSp>
        <p:nvGrpSpPr>
          <p:cNvPr id="85" name="Gruppieren 84"/>
          <p:cNvGrpSpPr/>
          <p:nvPr>
            <p:custDataLst>
              <p:tags r:id="rId10"/>
            </p:custDataLst>
          </p:nvPr>
        </p:nvGrpSpPr>
        <p:grpSpPr bwMode="gray">
          <a:xfrm rot="16200000">
            <a:off x="3798084" y="1383619"/>
            <a:ext cx="972108" cy="972108"/>
            <a:chOff x="2987704" y="1057541"/>
            <a:chExt cx="1296264" cy="1296264"/>
          </a:xfrm>
        </p:grpSpPr>
        <p:sp>
          <p:nvSpPr>
            <p:cNvPr id="86" name="Ellipse 85"/>
            <p:cNvSpPr/>
            <p:nvPr/>
          </p:nvSpPr>
          <p:spPr bwMode="gray">
            <a:xfrm>
              <a:off x="2987704" y="1057541"/>
              <a:ext cx="1296264" cy="1296264"/>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87" name="Ellipse 86"/>
            <p:cNvSpPr/>
            <p:nvPr/>
          </p:nvSpPr>
          <p:spPr bwMode="gray">
            <a:xfrm>
              <a:off x="3023708" y="1093545"/>
              <a:ext cx="1224256" cy="1224256"/>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88" name="Ellipse 87"/>
            <p:cNvSpPr/>
            <p:nvPr/>
          </p:nvSpPr>
          <p:spPr bwMode="gray">
            <a:xfrm>
              <a:off x="3059712" y="1129549"/>
              <a:ext cx="1152248" cy="1152248"/>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89" name="Ellipse 88"/>
            <p:cNvSpPr/>
            <p:nvPr/>
          </p:nvSpPr>
          <p:spPr bwMode="gray">
            <a:xfrm>
              <a:off x="3095836" y="1165673"/>
              <a:ext cx="1080000" cy="108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tIns="72000" bIns="0" rtlCol="0" anchor="t" anchorCtr="0"/>
            <a:lstStyle/>
            <a:p>
              <a:pPr algn="ctr"/>
              <a:endParaRPr lang="ru-RU" sz="1300" smtClean="0">
                <a:solidFill>
                  <a:srgbClr val="FFFFFF"/>
                </a:solidFill>
              </a:endParaRPr>
            </a:p>
          </p:txBody>
        </p:sp>
      </p:grpSp>
      <p:grpSp>
        <p:nvGrpSpPr>
          <p:cNvPr id="91" name="Gruppieren 90"/>
          <p:cNvGrpSpPr/>
          <p:nvPr>
            <p:custDataLst>
              <p:tags r:id="rId11"/>
            </p:custDataLst>
          </p:nvPr>
        </p:nvGrpSpPr>
        <p:grpSpPr bwMode="gray">
          <a:xfrm rot="16200000">
            <a:off x="3798084" y="2517745"/>
            <a:ext cx="972108" cy="972108"/>
            <a:chOff x="2987704" y="1057541"/>
            <a:chExt cx="1296264" cy="1296264"/>
          </a:xfrm>
        </p:grpSpPr>
        <p:sp>
          <p:nvSpPr>
            <p:cNvPr id="92" name="Ellipse 91"/>
            <p:cNvSpPr/>
            <p:nvPr/>
          </p:nvSpPr>
          <p:spPr bwMode="gray">
            <a:xfrm>
              <a:off x="2987704" y="1057541"/>
              <a:ext cx="1296264" cy="1296264"/>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93" name="Ellipse 92"/>
            <p:cNvSpPr/>
            <p:nvPr/>
          </p:nvSpPr>
          <p:spPr bwMode="gray">
            <a:xfrm>
              <a:off x="3023708" y="1093545"/>
              <a:ext cx="1224256" cy="1224256"/>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94" name="Ellipse 93"/>
            <p:cNvSpPr/>
            <p:nvPr/>
          </p:nvSpPr>
          <p:spPr bwMode="gray">
            <a:xfrm>
              <a:off x="3059712" y="1129549"/>
              <a:ext cx="1152248" cy="1152248"/>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95" name="Ellipse 94"/>
            <p:cNvSpPr/>
            <p:nvPr/>
          </p:nvSpPr>
          <p:spPr bwMode="gray">
            <a:xfrm>
              <a:off x="3095836" y="1165673"/>
              <a:ext cx="1080000" cy="108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tIns="72000" bIns="0" rtlCol="0" anchor="t" anchorCtr="0"/>
            <a:lstStyle/>
            <a:p>
              <a:pPr algn="ctr"/>
              <a:endParaRPr lang="ru-RU" sz="1300" smtClean="0">
                <a:solidFill>
                  <a:srgbClr val="FFFFFF"/>
                </a:solidFill>
              </a:endParaRPr>
            </a:p>
          </p:txBody>
        </p:sp>
      </p:grpSp>
      <p:grpSp>
        <p:nvGrpSpPr>
          <p:cNvPr id="96" name="Gruppieren 95"/>
          <p:cNvGrpSpPr/>
          <p:nvPr>
            <p:custDataLst>
              <p:tags r:id="rId12"/>
            </p:custDataLst>
          </p:nvPr>
        </p:nvGrpSpPr>
        <p:grpSpPr bwMode="gray">
          <a:xfrm rot="16200000">
            <a:off x="5670292" y="1383619"/>
            <a:ext cx="972108" cy="972108"/>
            <a:chOff x="2987704" y="1057541"/>
            <a:chExt cx="1296264" cy="1296264"/>
          </a:xfrm>
        </p:grpSpPr>
        <p:sp>
          <p:nvSpPr>
            <p:cNvPr id="97" name="Ellipse 96"/>
            <p:cNvSpPr/>
            <p:nvPr/>
          </p:nvSpPr>
          <p:spPr bwMode="gray">
            <a:xfrm>
              <a:off x="2987704" y="1057541"/>
              <a:ext cx="1296264" cy="1296264"/>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98" name="Ellipse 97"/>
            <p:cNvSpPr/>
            <p:nvPr/>
          </p:nvSpPr>
          <p:spPr bwMode="gray">
            <a:xfrm>
              <a:off x="3023708" y="1093545"/>
              <a:ext cx="1224256" cy="1224256"/>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99" name="Ellipse 98"/>
            <p:cNvSpPr/>
            <p:nvPr/>
          </p:nvSpPr>
          <p:spPr bwMode="gray">
            <a:xfrm>
              <a:off x="3059712" y="1129549"/>
              <a:ext cx="1152248" cy="1152248"/>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100" name="Ellipse 99"/>
            <p:cNvSpPr/>
            <p:nvPr/>
          </p:nvSpPr>
          <p:spPr bwMode="gray">
            <a:xfrm>
              <a:off x="3095836" y="1165673"/>
              <a:ext cx="1080000" cy="108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tIns="72000" bIns="0" rtlCol="0" anchor="t" anchorCtr="0"/>
            <a:lstStyle/>
            <a:p>
              <a:pPr algn="ctr"/>
              <a:endParaRPr lang="ru-RU" sz="1300" smtClean="0">
                <a:solidFill>
                  <a:srgbClr val="FFFFFF"/>
                </a:solidFill>
              </a:endParaRPr>
            </a:p>
          </p:txBody>
        </p:sp>
      </p:grpSp>
      <p:grpSp>
        <p:nvGrpSpPr>
          <p:cNvPr id="101" name="Gruppieren 100"/>
          <p:cNvGrpSpPr/>
          <p:nvPr>
            <p:custDataLst>
              <p:tags r:id="rId13"/>
            </p:custDataLst>
          </p:nvPr>
        </p:nvGrpSpPr>
        <p:grpSpPr bwMode="gray">
          <a:xfrm rot="16200000">
            <a:off x="5670292" y="2517745"/>
            <a:ext cx="972108" cy="972108"/>
            <a:chOff x="2987704" y="1057541"/>
            <a:chExt cx="1296264" cy="1296264"/>
          </a:xfrm>
        </p:grpSpPr>
        <p:sp>
          <p:nvSpPr>
            <p:cNvPr id="102" name="Ellipse 101"/>
            <p:cNvSpPr/>
            <p:nvPr/>
          </p:nvSpPr>
          <p:spPr bwMode="gray">
            <a:xfrm>
              <a:off x="2987704" y="1057541"/>
              <a:ext cx="1296264" cy="1296264"/>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103" name="Ellipse 102"/>
            <p:cNvSpPr/>
            <p:nvPr/>
          </p:nvSpPr>
          <p:spPr bwMode="gray">
            <a:xfrm>
              <a:off x="3023708" y="1093545"/>
              <a:ext cx="1224256" cy="1224256"/>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104" name="Ellipse 103"/>
            <p:cNvSpPr/>
            <p:nvPr/>
          </p:nvSpPr>
          <p:spPr bwMode="gray">
            <a:xfrm>
              <a:off x="3059712" y="1129549"/>
              <a:ext cx="1152248" cy="1152248"/>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105" name="Ellipse 104"/>
            <p:cNvSpPr/>
            <p:nvPr/>
          </p:nvSpPr>
          <p:spPr bwMode="gray">
            <a:xfrm>
              <a:off x="3095836" y="1165673"/>
              <a:ext cx="1080000" cy="108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tIns="72000" bIns="0" rtlCol="0" anchor="t" anchorCtr="0"/>
            <a:lstStyle/>
            <a:p>
              <a:pPr algn="ctr"/>
              <a:endParaRPr lang="ru-RU" sz="1300" smtClean="0">
                <a:solidFill>
                  <a:srgbClr val="FFFFFF"/>
                </a:solidFill>
              </a:endParaRPr>
            </a:p>
          </p:txBody>
        </p:sp>
      </p:grpSp>
      <p:grpSp>
        <p:nvGrpSpPr>
          <p:cNvPr id="106" name="Gruppieren 105"/>
          <p:cNvGrpSpPr/>
          <p:nvPr>
            <p:custDataLst>
              <p:tags r:id="rId14"/>
            </p:custDataLst>
          </p:nvPr>
        </p:nvGrpSpPr>
        <p:grpSpPr bwMode="gray">
          <a:xfrm rot="16200000">
            <a:off x="7542500" y="1383619"/>
            <a:ext cx="972108" cy="972108"/>
            <a:chOff x="2987704" y="1057541"/>
            <a:chExt cx="1296264" cy="1296264"/>
          </a:xfrm>
        </p:grpSpPr>
        <p:sp>
          <p:nvSpPr>
            <p:cNvPr id="107" name="Ellipse 106"/>
            <p:cNvSpPr/>
            <p:nvPr/>
          </p:nvSpPr>
          <p:spPr bwMode="gray">
            <a:xfrm>
              <a:off x="2987704" y="1057541"/>
              <a:ext cx="1296264" cy="1296264"/>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108" name="Ellipse 107"/>
            <p:cNvSpPr/>
            <p:nvPr/>
          </p:nvSpPr>
          <p:spPr bwMode="gray">
            <a:xfrm>
              <a:off x="3023708" y="1093545"/>
              <a:ext cx="1224256" cy="1224256"/>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109" name="Ellipse 108"/>
            <p:cNvSpPr/>
            <p:nvPr/>
          </p:nvSpPr>
          <p:spPr bwMode="gray">
            <a:xfrm>
              <a:off x="3059712" y="1129549"/>
              <a:ext cx="1152248" cy="1152248"/>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110" name="Ellipse 109"/>
            <p:cNvSpPr/>
            <p:nvPr/>
          </p:nvSpPr>
          <p:spPr bwMode="gray">
            <a:xfrm>
              <a:off x="3095836" y="1165673"/>
              <a:ext cx="1080000" cy="108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tIns="72000" bIns="0" rtlCol="0" anchor="t" anchorCtr="0"/>
            <a:lstStyle/>
            <a:p>
              <a:pPr algn="ctr"/>
              <a:endParaRPr lang="ru-RU" sz="1300" smtClean="0">
                <a:solidFill>
                  <a:srgbClr val="FFFFFF"/>
                </a:solidFill>
              </a:endParaRPr>
            </a:p>
          </p:txBody>
        </p:sp>
      </p:grpSp>
      <p:grpSp>
        <p:nvGrpSpPr>
          <p:cNvPr id="111" name="Gruppieren 110"/>
          <p:cNvGrpSpPr/>
          <p:nvPr>
            <p:custDataLst>
              <p:tags r:id="rId15"/>
            </p:custDataLst>
          </p:nvPr>
        </p:nvGrpSpPr>
        <p:grpSpPr bwMode="gray">
          <a:xfrm rot="16200000">
            <a:off x="7542500" y="2517745"/>
            <a:ext cx="972108" cy="972108"/>
            <a:chOff x="2987704" y="1057541"/>
            <a:chExt cx="1296264" cy="1296264"/>
          </a:xfrm>
        </p:grpSpPr>
        <p:sp>
          <p:nvSpPr>
            <p:cNvPr id="112" name="Ellipse 111"/>
            <p:cNvSpPr/>
            <p:nvPr/>
          </p:nvSpPr>
          <p:spPr bwMode="gray">
            <a:xfrm>
              <a:off x="2987704" y="1057541"/>
              <a:ext cx="1296264" cy="1296264"/>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113" name="Ellipse 112"/>
            <p:cNvSpPr/>
            <p:nvPr/>
          </p:nvSpPr>
          <p:spPr bwMode="gray">
            <a:xfrm>
              <a:off x="3023708" y="1093545"/>
              <a:ext cx="1224256" cy="1224256"/>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114" name="Ellipse 113"/>
            <p:cNvSpPr/>
            <p:nvPr/>
          </p:nvSpPr>
          <p:spPr bwMode="gray">
            <a:xfrm>
              <a:off x="3059712" y="1129549"/>
              <a:ext cx="1152248" cy="1152248"/>
            </a:xfrm>
            <a:prstGeom prst="ellips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115" name="Ellipse 114"/>
            <p:cNvSpPr/>
            <p:nvPr/>
          </p:nvSpPr>
          <p:spPr bwMode="gray">
            <a:xfrm>
              <a:off x="3095836" y="1165673"/>
              <a:ext cx="1080000" cy="1080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tIns="72000" bIns="0" rtlCol="0" anchor="t" anchorCtr="0"/>
            <a:lstStyle/>
            <a:p>
              <a:pPr algn="ctr"/>
              <a:endParaRPr lang="ru-RU" sz="1300" smtClean="0">
                <a:solidFill>
                  <a:srgbClr val="FFFFFF"/>
                </a:solidFill>
              </a:endParaRPr>
            </a:p>
          </p:txBody>
        </p:sp>
      </p:grpSp>
      <p:sp>
        <p:nvSpPr>
          <p:cNvPr id="116" name="Gleichschenkliges Dreieck 115"/>
          <p:cNvSpPr/>
          <p:nvPr>
            <p:custDataLst>
              <p:tags r:id="rId16"/>
            </p:custDataLst>
          </p:nvPr>
        </p:nvSpPr>
        <p:spPr bwMode="gray">
          <a:xfrm>
            <a:off x="2124548" y="1653672"/>
            <a:ext cx="576000" cy="432000"/>
          </a:xfrm>
          <a:prstGeom prst="triangl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117" name="Ellipse 116"/>
          <p:cNvSpPr/>
          <p:nvPr>
            <p:custDataLst>
              <p:tags r:id="rId17"/>
            </p:custDataLst>
          </p:nvPr>
        </p:nvSpPr>
        <p:spPr bwMode="gray">
          <a:xfrm>
            <a:off x="4071387" y="1656922"/>
            <a:ext cx="425502" cy="425502"/>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118" name="Rechteck 117"/>
          <p:cNvSpPr/>
          <p:nvPr>
            <p:custDataLst>
              <p:tags r:id="rId18"/>
            </p:custDataLst>
          </p:nvPr>
        </p:nvSpPr>
        <p:spPr bwMode="gray">
          <a:xfrm>
            <a:off x="5964870" y="1678198"/>
            <a:ext cx="382952" cy="38295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a:solidFill>
                <a:srgbClr val="000000"/>
              </a:solidFill>
            </a:endParaRPr>
          </a:p>
        </p:txBody>
      </p:sp>
      <p:sp>
        <p:nvSpPr>
          <p:cNvPr id="119" name="Stern mit 5 Zacken 118"/>
          <p:cNvSpPr/>
          <p:nvPr>
            <p:custDataLst>
              <p:tags r:id="rId19"/>
            </p:custDataLst>
          </p:nvPr>
        </p:nvSpPr>
        <p:spPr bwMode="gray">
          <a:xfrm>
            <a:off x="7794528" y="1635648"/>
            <a:ext cx="468052" cy="468052"/>
          </a:xfrm>
          <a:prstGeom prst="star5">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a:solidFill>
                <a:srgbClr val="000000"/>
              </a:solidFill>
            </a:endParaRPr>
          </a:p>
        </p:txBody>
      </p:sp>
      <p:sp>
        <p:nvSpPr>
          <p:cNvPr id="120" name="Gleichschenkliges Dreieck 119"/>
          <p:cNvSpPr/>
          <p:nvPr>
            <p:custDataLst>
              <p:tags r:id="rId20"/>
            </p:custDataLst>
          </p:nvPr>
        </p:nvSpPr>
        <p:spPr bwMode="gray">
          <a:xfrm>
            <a:off x="2124548" y="2787798"/>
            <a:ext cx="576000" cy="432000"/>
          </a:xfrm>
          <a:prstGeom prst="triangl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121" name="Ellipse 120"/>
          <p:cNvSpPr/>
          <p:nvPr>
            <p:custDataLst>
              <p:tags r:id="rId21"/>
            </p:custDataLst>
          </p:nvPr>
        </p:nvSpPr>
        <p:spPr bwMode="gray">
          <a:xfrm>
            <a:off x="4071387" y="2791047"/>
            <a:ext cx="425502" cy="425502"/>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smtClean="0">
              <a:solidFill>
                <a:srgbClr val="000000"/>
              </a:solidFill>
            </a:endParaRPr>
          </a:p>
        </p:txBody>
      </p:sp>
      <p:sp>
        <p:nvSpPr>
          <p:cNvPr id="122" name="Rechteck 121"/>
          <p:cNvSpPr/>
          <p:nvPr>
            <p:custDataLst>
              <p:tags r:id="rId22"/>
            </p:custDataLst>
          </p:nvPr>
        </p:nvSpPr>
        <p:spPr bwMode="gray">
          <a:xfrm>
            <a:off x="5964870" y="2812324"/>
            <a:ext cx="382952" cy="38295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a:solidFill>
                <a:srgbClr val="000000"/>
              </a:solidFill>
            </a:endParaRPr>
          </a:p>
        </p:txBody>
      </p:sp>
      <p:sp>
        <p:nvSpPr>
          <p:cNvPr id="123" name="Stern mit 5 Zacken 122"/>
          <p:cNvSpPr/>
          <p:nvPr>
            <p:custDataLst>
              <p:tags r:id="rId23"/>
            </p:custDataLst>
          </p:nvPr>
        </p:nvSpPr>
        <p:spPr bwMode="gray">
          <a:xfrm>
            <a:off x="7794528" y="2769774"/>
            <a:ext cx="468052" cy="468052"/>
          </a:xfrm>
          <a:prstGeom prst="star5">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ru-RU">
              <a:solidFill>
                <a:srgbClr val="000000"/>
              </a:solidFill>
            </a:endParaRPr>
          </a:p>
        </p:txBody>
      </p:sp>
      <p:sp>
        <p:nvSpPr>
          <p:cNvPr id="65" name="Textplatzhalter 50"/>
          <p:cNvSpPr txBox="1">
            <a:spLocks/>
          </p:cNvSpPr>
          <p:nvPr/>
        </p:nvSpPr>
        <p:spPr>
          <a:xfrm>
            <a:off x="250825" y="3651881"/>
            <a:ext cx="8642350" cy="1151905"/>
          </a:xfrm>
          <a:prstGeom prst="rect">
            <a:avLst/>
          </a:prstGeom>
        </p:spPr>
        <p:txBody>
          <a:bodyPr/>
          <a:lst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mn-lt"/>
                <a:ea typeface="+mn-ea"/>
                <a:cs typeface="+mn-c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mn-lt"/>
                <a:ea typeface="+mn-ea"/>
                <a:cs typeface="+mn-c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mn-lt"/>
                <a:ea typeface="+mn-ea"/>
                <a:cs typeface="+mn-c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mn-lt"/>
                <a:ea typeface="+mn-ea"/>
                <a:cs typeface="+mn-c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A30B1A"/>
              </a:buClr>
            </a:pPr>
            <a:r>
              <a:rPr lang="ru-RU" sz="1600" dirty="0" smtClean="0">
                <a:solidFill>
                  <a:srgbClr val="000000"/>
                </a:solidFill>
              </a:rPr>
              <a:t>Большинство поставщиков предлагают абсолютно разные архитектуры систем хранения в сегменте профессиональных решений</a:t>
            </a:r>
          </a:p>
          <a:p>
            <a:pPr>
              <a:buClr>
                <a:srgbClr val="A30B1A"/>
              </a:buClr>
            </a:pPr>
            <a:r>
              <a:rPr lang="ru-RU" sz="1600" dirty="0" smtClean="0">
                <a:solidFill>
                  <a:srgbClr val="000000"/>
                </a:solidFill>
              </a:rPr>
              <a:t>Увеличение эксплуатационных расходов при использовании систем различного размера</a:t>
            </a:r>
            <a:endParaRPr lang="ru-RU" sz="1600" dirty="0">
              <a:solidFill>
                <a:srgbClr val="000000"/>
              </a:solidFill>
            </a:endParaRPr>
          </a:p>
        </p:txBody>
      </p:sp>
    </p:spTree>
    <p:extLst>
      <p:ext uri="{BB962C8B-B14F-4D97-AF65-F5344CB8AC3E}">
        <p14:creationId xmlns:p14="http://schemas.microsoft.com/office/powerpoint/2010/main" val="19187857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Результаты независимого тестирования производительности схд</a:t>
            </a:r>
            <a:endParaRPr lang="en-US" dirty="0"/>
          </a:p>
        </p:txBody>
      </p:sp>
      <p:pic>
        <p:nvPicPr>
          <p:cNvPr id="2662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499990" y="878681"/>
            <a:ext cx="4115052" cy="38742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250824" y="987530"/>
            <a:ext cx="4681225" cy="1323439"/>
          </a:xfrm>
          <a:prstGeom prst="rect">
            <a:avLst/>
          </a:prstGeom>
          <a:noFill/>
        </p:spPr>
        <p:txBody>
          <a:bodyPr wrap="square" rtlCol="0">
            <a:spAutoFit/>
          </a:bodyPr>
          <a:lstStyle/>
          <a:p>
            <a:r>
              <a:rPr lang="ru-RU" sz="1600" dirty="0"/>
              <a:t>Тест </a:t>
            </a:r>
            <a:r>
              <a:rPr lang="en-US" sz="1600" dirty="0"/>
              <a:t>SPC-1 </a:t>
            </a:r>
            <a:endParaRPr lang="ru-RU" sz="1600" dirty="0"/>
          </a:p>
          <a:p>
            <a:r>
              <a:rPr lang="ru-RU" sz="1600" dirty="0"/>
              <a:t>о</a:t>
            </a:r>
            <a:r>
              <a:rPr lang="ru-RU" sz="1600" dirty="0" smtClean="0"/>
              <a:t>публикованные результаты </a:t>
            </a:r>
            <a:r>
              <a:rPr lang="ru-RU" sz="1600" dirty="0"/>
              <a:t>производительности среди дисковых массивов стоимостью менее </a:t>
            </a:r>
            <a:r>
              <a:rPr lang="en-US" sz="1600" dirty="0"/>
              <a:t>250 000 </a:t>
            </a:r>
            <a:r>
              <a:rPr lang="en-US" sz="1600" dirty="0" smtClean="0"/>
              <a:t>USD</a:t>
            </a:r>
            <a:endParaRPr lang="ru-RU" sz="1600" dirty="0" smtClean="0"/>
          </a:p>
          <a:p>
            <a:r>
              <a:rPr lang="en-US" sz="1600" dirty="0" smtClean="0"/>
              <a:t>Storageperformance.org </a:t>
            </a:r>
            <a:endParaRPr lang="ru-RU" sz="1600" dirty="0" smtClean="0"/>
          </a:p>
        </p:txBody>
      </p:sp>
      <p:sp>
        <p:nvSpPr>
          <p:cNvPr id="5" name="Rectangle 4"/>
          <p:cNvSpPr/>
          <p:nvPr/>
        </p:nvSpPr>
        <p:spPr>
          <a:xfrm>
            <a:off x="6804310" y="4629849"/>
            <a:ext cx="1794081" cy="246221"/>
          </a:xfrm>
          <a:prstGeom prst="rect">
            <a:avLst/>
          </a:prstGeom>
        </p:spPr>
        <p:txBody>
          <a:bodyPr wrap="none">
            <a:spAutoFit/>
          </a:bodyPr>
          <a:lstStyle/>
          <a:p>
            <a:r>
              <a:rPr lang="ru-RU" sz="1000" dirty="0" smtClean="0">
                <a:solidFill>
                  <a:srgbClr val="000000"/>
                </a:solidFill>
              </a:rPr>
              <a:t>Источник</a:t>
            </a:r>
            <a:r>
              <a:rPr lang="en-US" sz="1000" dirty="0" smtClean="0">
                <a:solidFill>
                  <a:srgbClr val="000000"/>
                </a:solidFill>
              </a:rPr>
              <a:t>: Theregister.co.uk</a:t>
            </a:r>
            <a:endParaRPr lang="en-US" sz="1000" dirty="0"/>
          </a:p>
        </p:txBody>
      </p:sp>
      <p:pic>
        <p:nvPicPr>
          <p:cNvPr id="296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370" y="2571750"/>
            <a:ext cx="4724400" cy="1771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7584165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dirty="0" smtClean="0"/>
              <a:t>ETERNUS CS</a:t>
            </a:r>
            <a:r>
              <a:rPr lang="ru-RU" dirty="0" smtClean="0"/>
              <a:t>8</a:t>
            </a:r>
            <a:r>
              <a:rPr lang="en-US" dirty="0" smtClean="0"/>
              <a:t>00 – </a:t>
            </a:r>
            <a:r>
              <a:rPr lang="ru-RU" dirty="0" smtClean="0"/>
              <a:t>универсальное решение для резервного копирования на диск</a:t>
            </a:r>
            <a:endParaRPr lang="ru-RU" dirty="0"/>
          </a:p>
        </p:txBody>
      </p:sp>
      <p:pic>
        <p:nvPicPr>
          <p:cNvPr id="2220034" name="Picture 2"/>
          <p:cNvPicPr>
            <a:picLocks noChangeAspect="1" noChangeArrowheads="1"/>
          </p:cNvPicPr>
          <p:nvPr>
            <p:custDataLst>
              <p:tags r:id="rId1"/>
            </p:custDataLst>
          </p:nvPr>
        </p:nvPicPr>
        <p:blipFill rotWithShape="1">
          <a:blip r:embed="rId5" cstate="screen">
            <a:extLst>
              <a:ext uri="{28A0092B-C50C-407E-A947-70E740481C1C}">
                <a14:useLocalDpi xmlns:a14="http://schemas.microsoft.com/office/drawing/2010/main"/>
              </a:ext>
            </a:extLst>
          </a:blip>
          <a:srcRect/>
          <a:stretch/>
        </p:blipFill>
        <p:spPr bwMode="gray">
          <a:xfrm>
            <a:off x="6372250" y="3291850"/>
            <a:ext cx="2520350" cy="1512210"/>
          </a:xfrm>
          <a:prstGeom prst="round1Rect">
            <a:avLst>
              <a:gd name="adj" fmla="val 25195"/>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Untertitel 2"/>
          <p:cNvSpPr txBox="1">
            <a:spLocks/>
          </p:cNvSpPr>
          <p:nvPr>
            <p:custDataLst>
              <p:tags r:id="rId2"/>
            </p:custDataLst>
          </p:nvPr>
        </p:nvSpPr>
        <p:spPr bwMode="gray">
          <a:xfrm>
            <a:off x="251842" y="3364060"/>
            <a:ext cx="5184278" cy="144000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marL="0" indent="0" algn="l" defTabSz="457200" rtl="0" eaLnBrk="1" fontAlgn="base" latinLnBrk="0" hangingPunct="1">
              <a:lnSpc>
                <a:spcPct val="110000"/>
              </a:lnSpc>
              <a:spcBef>
                <a:spcPts val="500"/>
              </a:spcBef>
              <a:spcAft>
                <a:spcPts val="200"/>
              </a:spcAft>
              <a:buClr>
                <a:srgbClr val="A30B1A"/>
              </a:buClr>
              <a:buFont typeface="Wingdings" pitchFamily="2" charset="2"/>
              <a:buNone/>
              <a:defRPr kumimoji="1" lang="en-US" altLang="ja-JP" sz="2000" b="0" kern="1200" noProof="0" dirty="0" smtClean="0">
                <a:solidFill>
                  <a:schemeClr val="bg1"/>
                </a:solidFill>
                <a:latin typeface="+mn-lt"/>
                <a:ea typeface="+mn-ea"/>
                <a:cs typeface="+mn-cs"/>
              </a:defRPr>
            </a:lvl1pPr>
            <a:lvl2pPr marL="0" indent="0" algn="l" defTabSz="914400" rtl="0" eaLnBrk="1" latinLnBrk="0" hangingPunct="1">
              <a:lnSpc>
                <a:spcPct val="110000"/>
              </a:lnSpc>
              <a:spcBef>
                <a:spcPts val="0"/>
              </a:spcBef>
              <a:spcAft>
                <a:spcPts val="0"/>
              </a:spcAft>
              <a:buClr>
                <a:schemeClr val="tx2"/>
              </a:buClr>
              <a:buFont typeface="Wingdings" pitchFamily="2" charset="2"/>
              <a:buNone/>
              <a:defRPr sz="2400" kern="1200">
                <a:solidFill>
                  <a:schemeClr val="tx1"/>
                </a:solidFill>
                <a:latin typeface="+mn-lt"/>
                <a:ea typeface="+mn-ea"/>
                <a:cs typeface="+mn-cs"/>
              </a:defRPr>
            </a:lvl2pPr>
            <a:lvl3pPr marL="0" indent="0" algn="l" defTabSz="914400" rtl="0" eaLnBrk="1" latinLnBrk="0" hangingPunct="1">
              <a:lnSpc>
                <a:spcPct val="110000"/>
              </a:lnSpc>
              <a:spcBef>
                <a:spcPts val="0"/>
              </a:spcBef>
              <a:spcAft>
                <a:spcPts val="0"/>
              </a:spcAft>
              <a:buClr>
                <a:schemeClr val="tx2"/>
              </a:buClr>
              <a:buFont typeface="Arial" pitchFamily="34" charset="0"/>
              <a:buNone/>
              <a:tabLst/>
              <a:defRPr sz="2400" kern="1200">
                <a:solidFill>
                  <a:schemeClr val="tx1"/>
                </a:solidFill>
                <a:latin typeface="+mn-lt"/>
                <a:ea typeface="+mn-ea"/>
                <a:cs typeface="+mn-cs"/>
              </a:defRPr>
            </a:lvl3pPr>
            <a:lvl4pPr marL="0" indent="0" algn="l" defTabSz="896938" rtl="0" eaLnBrk="1" latinLnBrk="0" hangingPunct="1">
              <a:lnSpc>
                <a:spcPct val="110000"/>
              </a:lnSpc>
              <a:spcBef>
                <a:spcPts val="0"/>
              </a:spcBef>
              <a:spcAft>
                <a:spcPts val="0"/>
              </a:spcAft>
              <a:buClr>
                <a:schemeClr val="tx2"/>
              </a:buClr>
              <a:buFont typeface="Arial" pitchFamily="34" charset="0"/>
              <a:buNone/>
              <a:defRPr sz="2400" kern="1200">
                <a:solidFill>
                  <a:schemeClr val="tx1"/>
                </a:solidFill>
                <a:latin typeface="+mn-lt"/>
                <a:ea typeface="+mn-ea"/>
                <a:cs typeface="+mn-cs"/>
              </a:defRPr>
            </a:lvl4pPr>
            <a:lvl5pPr marL="0" indent="0" algn="l" defTabSz="914400" rtl="0" eaLnBrk="1" latinLnBrk="0" hangingPunct="1">
              <a:lnSpc>
                <a:spcPct val="110000"/>
              </a:lnSpc>
              <a:spcBef>
                <a:spcPts val="0"/>
              </a:spcBef>
              <a:spcAft>
                <a:spcPts val="0"/>
              </a:spcAft>
              <a:buClr>
                <a:schemeClr val="tx2"/>
              </a:buClr>
              <a:buFont typeface="Arial" pitchFamily="34" charset="0"/>
              <a:buNone/>
              <a:defRPr sz="2400" kern="1200">
                <a:solidFill>
                  <a:schemeClr val="tx1"/>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spcBef>
                <a:spcPts val="0"/>
              </a:spcBef>
              <a:spcAft>
                <a:spcPts val="0"/>
              </a:spcAft>
            </a:pPr>
            <a:endParaRPr lang="ru-RU" sz="1800">
              <a:solidFill>
                <a:srgbClr val="000000"/>
              </a:solidFill>
            </a:endParaRPr>
          </a:p>
        </p:txBody>
      </p:sp>
    </p:spTree>
    <p:extLst>
      <p:ext uri="{BB962C8B-B14F-4D97-AF65-F5344CB8AC3E}">
        <p14:creationId xmlns:p14="http://schemas.microsoft.com/office/powerpoint/2010/main" val="5810151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ru-RU" dirty="0" smtClean="0">
                <a:latin typeface="+mj-lt"/>
              </a:rPr>
              <a:t>Требования к защите данных могут быть различными</a:t>
            </a:r>
            <a:endParaRPr lang="en-US" dirty="0">
              <a:latin typeface="+mj-lt"/>
            </a:endParaRPr>
          </a:p>
        </p:txBody>
      </p:sp>
      <p:sp>
        <p:nvSpPr>
          <p:cNvPr id="35" name="Fußzeilenplatzhalter 3"/>
          <p:cNvSpPr>
            <a:spLocks noGrp="1"/>
          </p:cNvSpPr>
          <p:nvPr>
            <p:ph type="ftr" sz="quarter" idx="4294967295"/>
          </p:nvPr>
        </p:nvSpPr>
        <p:spPr>
          <a:xfrm>
            <a:off x="4929575" y="4937125"/>
            <a:ext cx="3963600" cy="201600"/>
          </a:xfrm>
          <a:prstGeom prst="rect">
            <a:avLst/>
          </a:prstGeom>
        </p:spPr>
        <p:txBody>
          <a:bodyPr/>
          <a:lstStyle/>
          <a:p>
            <a:pPr algn="r" fontAlgn="base"/>
            <a:endParaRPr lang="de-DE" dirty="0">
              <a:solidFill>
                <a:srgbClr val="000000"/>
              </a:solidFill>
            </a:endParaRPr>
          </a:p>
        </p:txBody>
      </p:sp>
      <p:sp>
        <p:nvSpPr>
          <p:cNvPr id="36" name="Rechteck 35"/>
          <p:cNvSpPr/>
          <p:nvPr>
            <p:custDataLst>
              <p:tags r:id="rId1"/>
            </p:custDataLst>
          </p:nvPr>
        </p:nvSpPr>
        <p:spPr bwMode="gray">
          <a:xfrm>
            <a:off x="251520" y="2427957"/>
            <a:ext cx="2736000" cy="2375817"/>
          </a:xfrm>
          <a:prstGeom prst="rect">
            <a:avLst/>
          </a:prstGeom>
          <a:noFill/>
          <a:ln w="9525"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288000" rIns="36000" bIns="82800" rtlCol="0" anchor="t" anchorCtr="0"/>
          <a:lstStyle/>
          <a:p>
            <a:pPr algn="ctr">
              <a:spcBef>
                <a:spcPts val="600"/>
              </a:spcBef>
              <a:buClr>
                <a:srgbClr val="A30B1A"/>
              </a:buClr>
            </a:pPr>
            <a:r>
              <a:rPr lang="en-US" sz="2000" b="1" dirty="0" smtClean="0">
                <a:solidFill>
                  <a:srgbClr val="C07000"/>
                </a:solidFill>
              </a:rPr>
              <a:t>BRONZE</a:t>
            </a:r>
            <a:endParaRPr lang="en-US" sz="2000" dirty="0">
              <a:solidFill>
                <a:srgbClr val="C07000"/>
              </a:solidFill>
            </a:endParaRPr>
          </a:p>
        </p:txBody>
      </p:sp>
      <p:sp>
        <p:nvSpPr>
          <p:cNvPr id="37" name="Textfeld 36"/>
          <p:cNvSpPr txBox="1"/>
          <p:nvPr>
            <p:custDataLst>
              <p:tags r:id="rId2"/>
            </p:custDataLst>
          </p:nvPr>
        </p:nvSpPr>
        <p:spPr bwMode="gray">
          <a:xfrm>
            <a:off x="323696" y="4083960"/>
            <a:ext cx="2592120" cy="648030"/>
          </a:xfrm>
          <a:prstGeom prst="rect">
            <a:avLst/>
          </a:prstGeom>
          <a:solidFill>
            <a:schemeClr val="tx2">
              <a:lumMod val="20000"/>
              <a:lumOff val="80000"/>
            </a:schemeClr>
          </a:solidFill>
          <a:ln>
            <a:solidFill>
              <a:schemeClr val="bg1"/>
            </a:solidFill>
          </a:ln>
        </p:spPr>
        <p:txBody>
          <a:bodyPr wrap="square" tIns="82800" bIns="82800" rtlCol="0" anchor="t">
            <a:noAutofit/>
          </a:bodyPr>
          <a:lstStyle/>
          <a:p>
            <a:pPr algn="ctr">
              <a:buClr>
                <a:srgbClr val="A30B1A"/>
              </a:buClr>
            </a:pPr>
            <a:r>
              <a:rPr lang="ru-RU" sz="1200" b="1" dirty="0" smtClean="0">
                <a:solidFill>
                  <a:srgbClr val="FF0000"/>
                </a:solidFill>
                <a:ea typeface="ＭＳ Ｐゴシック" charset="-128"/>
              </a:rPr>
              <a:t>Низкий</a:t>
            </a:r>
            <a:r>
              <a:rPr lang="en-US" sz="1200" b="1" dirty="0" smtClean="0">
                <a:solidFill>
                  <a:srgbClr val="FF0000"/>
                </a:solidFill>
                <a:ea typeface="ＭＳ Ｐゴシック" charset="-128"/>
              </a:rPr>
              <a:t> </a:t>
            </a:r>
            <a:r>
              <a:rPr lang="en-US" sz="1200" b="1" dirty="0">
                <a:solidFill>
                  <a:srgbClr val="FF0000"/>
                </a:solidFill>
                <a:ea typeface="ＭＳ Ｐゴシック" charset="-128"/>
              </a:rPr>
              <a:t>SLA:</a:t>
            </a:r>
            <a:br>
              <a:rPr lang="en-US" sz="1200" b="1" dirty="0">
                <a:solidFill>
                  <a:srgbClr val="FF0000"/>
                </a:solidFill>
                <a:ea typeface="ＭＳ Ｐゴシック" charset="-128"/>
              </a:rPr>
            </a:br>
            <a:r>
              <a:rPr lang="ru-RU" sz="1200" dirty="0" smtClean="0">
                <a:solidFill>
                  <a:srgbClr val="FF0000"/>
                </a:solidFill>
                <a:ea typeface="ＭＳ Ｐゴシック" charset="-128"/>
              </a:rPr>
              <a:t>фокус на быстрой процедуре резервного копирования</a:t>
            </a:r>
            <a:endParaRPr lang="en-US" sz="1200" dirty="0">
              <a:solidFill>
                <a:srgbClr val="000000"/>
              </a:solidFill>
              <a:ea typeface="ＭＳ Ｐゴシック" charset="-128"/>
            </a:endParaRPr>
          </a:p>
        </p:txBody>
      </p:sp>
      <p:sp>
        <p:nvSpPr>
          <p:cNvPr id="38" name="Rechteck 37"/>
          <p:cNvSpPr/>
          <p:nvPr>
            <p:custDataLst>
              <p:tags r:id="rId3"/>
            </p:custDataLst>
          </p:nvPr>
        </p:nvSpPr>
        <p:spPr bwMode="gray">
          <a:xfrm flipH="1">
            <a:off x="251519" y="1058863"/>
            <a:ext cx="8641655"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ru-RU" sz="1600" dirty="0" smtClean="0">
                <a:solidFill>
                  <a:srgbClr val="FF0000"/>
                </a:solidFill>
              </a:rPr>
              <a:t>Пример классификации </a:t>
            </a:r>
            <a:endParaRPr lang="en-US" sz="1600" dirty="0">
              <a:solidFill>
                <a:srgbClr val="FF0000"/>
              </a:solidFill>
            </a:endParaRPr>
          </a:p>
        </p:txBody>
      </p:sp>
      <p:cxnSp>
        <p:nvCxnSpPr>
          <p:cNvPr id="39" name="Gerade Verbindung 38"/>
          <p:cNvCxnSpPr/>
          <p:nvPr>
            <p:custDataLst>
              <p:tags r:id="rId4"/>
            </p:custDataLst>
          </p:nvPr>
        </p:nvCxnSpPr>
        <p:spPr bwMode="gray">
          <a:xfrm>
            <a:off x="251520" y="1346863"/>
            <a:ext cx="8640000" cy="0"/>
          </a:xfrm>
          <a:prstGeom prst="line">
            <a:avLst/>
          </a:prstGeom>
          <a:ln cap="rnd">
            <a:solidFill>
              <a:schemeClr val="accent1"/>
            </a:solidFill>
            <a:prstDash val="sysDot"/>
            <a:tailEnd type="oval" w="sm" len="sm"/>
          </a:ln>
        </p:spPr>
        <p:style>
          <a:lnRef idx="1">
            <a:schemeClr val="accent1"/>
          </a:lnRef>
          <a:fillRef idx="0">
            <a:schemeClr val="accent1"/>
          </a:fillRef>
          <a:effectRef idx="0">
            <a:schemeClr val="accent1"/>
          </a:effectRef>
          <a:fontRef idx="minor">
            <a:schemeClr val="tx1"/>
          </a:fontRef>
        </p:style>
      </p:cxnSp>
      <p:sp>
        <p:nvSpPr>
          <p:cNvPr id="40" name="Rechteck 39"/>
          <p:cNvSpPr/>
          <p:nvPr>
            <p:custDataLst>
              <p:tags r:id="rId5"/>
            </p:custDataLst>
          </p:nvPr>
        </p:nvSpPr>
        <p:spPr bwMode="gray">
          <a:xfrm>
            <a:off x="3204000" y="2067917"/>
            <a:ext cx="2736000" cy="2735857"/>
          </a:xfrm>
          <a:prstGeom prst="rect">
            <a:avLst/>
          </a:prstGeom>
          <a:noFill/>
          <a:ln w="9525"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288000" rIns="36000" bIns="82800" rtlCol="0" anchor="t" anchorCtr="0"/>
          <a:lstStyle/>
          <a:p>
            <a:pPr algn="ctr">
              <a:spcBef>
                <a:spcPts val="600"/>
              </a:spcBef>
              <a:buClr>
                <a:srgbClr val="A30B1A"/>
              </a:buClr>
            </a:pPr>
            <a:r>
              <a:rPr lang="en-US" sz="2000" b="1" dirty="0" smtClean="0">
                <a:solidFill>
                  <a:srgbClr val="7E7D76"/>
                </a:solidFill>
              </a:rPr>
              <a:t>SILVER</a:t>
            </a:r>
            <a:endParaRPr lang="en-US" sz="2000" dirty="0">
              <a:solidFill>
                <a:srgbClr val="7E7D76"/>
              </a:solidFill>
            </a:endParaRPr>
          </a:p>
        </p:txBody>
      </p:sp>
      <p:sp>
        <p:nvSpPr>
          <p:cNvPr id="41" name="Rechteck 40"/>
          <p:cNvSpPr/>
          <p:nvPr>
            <p:custDataLst>
              <p:tags r:id="rId6"/>
            </p:custDataLst>
          </p:nvPr>
        </p:nvSpPr>
        <p:spPr bwMode="gray">
          <a:xfrm>
            <a:off x="6156480" y="1707653"/>
            <a:ext cx="2736000" cy="3096121"/>
          </a:xfrm>
          <a:prstGeom prst="rect">
            <a:avLst/>
          </a:prstGeom>
          <a:noFill/>
          <a:ln w="9525"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288000" rIns="36000" bIns="82800" rtlCol="0" anchor="t" anchorCtr="0"/>
          <a:lstStyle/>
          <a:p>
            <a:pPr algn="ctr">
              <a:spcBef>
                <a:spcPts val="600"/>
              </a:spcBef>
              <a:buClr>
                <a:srgbClr val="A30B1A"/>
              </a:buClr>
            </a:pPr>
            <a:r>
              <a:rPr lang="en-US" sz="2000" b="1" dirty="0" smtClean="0">
                <a:solidFill>
                  <a:srgbClr val="FFC000"/>
                </a:solidFill>
              </a:rPr>
              <a:t>GOLD</a:t>
            </a:r>
            <a:endParaRPr lang="en-US" sz="2000" dirty="0">
              <a:solidFill>
                <a:srgbClr val="FFC000"/>
              </a:solidFill>
            </a:endParaRPr>
          </a:p>
        </p:txBody>
      </p:sp>
      <p:sp>
        <p:nvSpPr>
          <p:cNvPr id="42" name="Textfeld 41"/>
          <p:cNvSpPr txBox="1"/>
          <p:nvPr>
            <p:custDataLst>
              <p:tags r:id="rId7"/>
            </p:custDataLst>
          </p:nvPr>
        </p:nvSpPr>
        <p:spPr bwMode="gray">
          <a:xfrm>
            <a:off x="3275856" y="3867990"/>
            <a:ext cx="2592120" cy="864000"/>
          </a:xfrm>
          <a:prstGeom prst="rect">
            <a:avLst/>
          </a:prstGeom>
          <a:solidFill>
            <a:schemeClr val="tx2">
              <a:lumMod val="20000"/>
              <a:lumOff val="80000"/>
            </a:schemeClr>
          </a:solidFill>
          <a:ln>
            <a:solidFill>
              <a:schemeClr val="bg1"/>
            </a:solidFill>
          </a:ln>
        </p:spPr>
        <p:txBody>
          <a:bodyPr wrap="square" tIns="82800" bIns="82800" rtlCol="0" anchor="t">
            <a:noAutofit/>
          </a:bodyPr>
          <a:lstStyle/>
          <a:p>
            <a:pPr algn="ctr">
              <a:buClr>
                <a:srgbClr val="A30B1A"/>
              </a:buClr>
            </a:pPr>
            <a:r>
              <a:rPr lang="ru-RU" sz="1200" b="1" dirty="0" smtClean="0">
                <a:solidFill>
                  <a:srgbClr val="FF0000"/>
                </a:solidFill>
                <a:ea typeface="ＭＳ Ｐゴシック" charset="-128"/>
              </a:rPr>
              <a:t>Высокий</a:t>
            </a:r>
            <a:r>
              <a:rPr lang="en-US" sz="1200" b="1" dirty="0" smtClean="0">
                <a:solidFill>
                  <a:srgbClr val="FF0000"/>
                </a:solidFill>
                <a:ea typeface="ＭＳ Ｐゴシック" charset="-128"/>
              </a:rPr>
              <a:t> </a:t>
            </a:r>
            <a:r>
              <a:rPr lang="en-US" sz="1200" b="1" dirty="0">
                <a:solidFill>
                  <a:srgbClr val="FF0000"/>
                </a:solidFill>
                <a:ea typeface="ＭＳ Ｐゴシック" charset="-128"/>
              </a:rPr>
              <a:t>SLA</a:t>
            </a:r>
            <a:r>
              <a:rPr lang="en-US" sz="1200" b="1" dirty="0" smtClean="0">
                <a:solidFill>
                  <a:srgbClr val="FF0000"/>
                </a:solidFill>
                <a:ea typeface="ＭＳ Ｐゴシック" charset="-128"/>
              </a:rPr>
              <a:t>:</a:t>
            </a:r>
            <a:endParaRPr lang="ru-RU" sz="1200" b="1" dirty="0" smtClean="0">
              <a:solidFill>
                <a:srgbClr val="FF0000"/>
              </a:solidFill>
              <a:ea typeface="ＭＳ Ｐゴシック" charset="-128"/>
            </a:endParaRPr>
          </a:p>
          <a:p>
            <a:pPr algn="ctr">
              <a:buClr>
                <a:srgbClr val="A30B1A"/>
              </a:buClr>
            </a:pPr>
            <a:r>
              <a:rPr lang="ru-RU" sz="1200" dirty="0" smtClean="0">
                <a:solidFill>
                  <a:srgbClr val="FF0000"/>
                </a:solidFill>
                <a:ea typeface="ＭＳ Ｐゴシック" charset="-128"/>
              </a:rPr>
              <a:t>Рассматриваем и копирование, и восстановление</a:t>
            </a:r>
            <a:r>
              <a:rPr lang="en-US" sz="1200" b="1" dirty="0">
                <a:solidFill>
                  <a:srgbClr val="FF0000"/>
                </a:solidFill>
                <a:ea typeface="ＭＳ Ｐゴシック" charset="-128"/>
              </a:rPr>
              <a:t/>
            </a:r>
            <a:br>
              <a:rPr lang="en-US" sz="1200" b="1" dirty="0">
                <a:solidFill>
                  <a:srgbClr val="FF0000"/>
                </a:solidFill>
                <a:ea typeface="ＭＳ Ｐゴシック" charset="-128"/>
              </a:rPr>
            </a:br>
            <a:endParaRPr lang="en-US" sz="1200" dirty="0">
              <a:solidFill>
                <a:srgbClr val="000000"/>
              </a:solidFill>
              <a:ea typeface="ＭＳ Ｐゴシック" charset="-128"/>
            </a:endParaRPr>
          </a:p>
        </p:txBody>
      </p:sp>
      <p:sp>
        <p:nvSpPr>
          <p:cNvPr id="43" name="Textfeld 42"/>
          <p:cNvSpPr txBox="1"/>
          <p:nvPr>
            <p:custDataLst>
              <p:tags r:id="rId8"/>
            </p:custDataLst>
          </p:nvPr>
        </p:nvSpPr>
        <p:spPr bwMode="gray">
          <a:xfrm>
            <a:off x="6228184" y="3615865"/>
            <a:ext cx="2592120" cy="1116125"/>
          </a:xfrm>
          <a:prstGeom prst="rect">
            <a:avLst/>
          </a:prstGeom>
          <a:solidFill>
            <a:schemeClr val="tx2">
              <a:lumMod val="20000"/>
              <a:lumOff val="80000"/>
            </a:schemeClr>
          </a:solidFill>
          <a:ln>
            <a:solidFill>
              <a:schemeClr val="bg1"/>
            </a:solidFill>
          </a:ln>
        </p:spPr>
        <p:txBody>
          <a:bodyPr wrap="square" tIns="82800" bIns="82800" rtlCol="0" anchor="t">
            <a:noAutofit/>
          </a:bodyPr>
          <a:lstStyle/>
          <a:p>
            <a:pPr algn="ctr">
              <a:buClr>
                <a:srgbClr val="A30B1A"/>
              </a:buClr>
            </a:pPr>
            <a:r>
              <a:rPr lang="ru-RU" sz="1200" b="1" dirty="0" smtClean="0">
                <a:solidFill>
                  <a:srgbClr val="FF0000"/>
                </a:solidFill>
                <a:ea typeface="ＭＳ Ｐゴシック" charset="-128"/>
              </a:rPr>
              <a:t>Высочайший</a:t>
            </a:r>
            <a:r>
              <a:rPr lang="en-US" sz="1200" b="1" dirty="0" smtClean="0">
                <a:solidFill>
                  <a:srgbClr val="FF0000"/>
                </a:solidFill>
                <a:ea typeface="ＭＳ Ｐゴシック" charset="-128"/>
              </a:rPr>
              <a:t> </a:t>
            </a:r>
            <a:r>
              <a:rPr lang="en-US" sz="1200" b="1" dirty="0">
                <a:solidFill>
                  <a:srgbClr val="FF0000"/>
                </a:solidFill>
                <a:ea typeface="ＭＳ Ｐゴシック" charset="-128"/>
              </a:rPr>
              <a:t>SLA:</a:t>
            </a:r>
            <a:br>
              <a:rPr lang="en-US" sz="1200" b="1" dirty="0">
                <a:solidFill>
                  <a:srgbClr val="FF0000"/>
                </a:solidFill>
                <a:ea typeface="ＭＳ Ｐゴシック" charset="-128"/>
              </a:rPr>
            </a:br>
            <a:r>
              <a:rPr lang="ru-RU" sz="1200" dirty="0" smtClean="0">
                <a:solidFill>
                  <a:srgbClr val="FF0000"/>
                </a:solidFill>
                <a:ea typeface="ＭＳ Ｐゴシック" charset="-128"/>
              </a:rPr>
              <a:t>Фокус на максимальной доступности и защищенности данных при быстром восстановлении</a:t>
            </a:r>
            <a:endParaRPr lang="en-US" sz="1200" dirty="0">
              <a:solidFill>
                <a:srgbClr val="000000"/>
              </a:solidFill>
              <a:ea typeface="ＭＳ Ｐゴシック" charset="-128"/>
            </a:endParaRPr>
          </a:p>
        </p:txBody>
      </p:sp>
      <p:grpSp>
        <p:nvGrpSpPr>
          <p:cNvPr id="44" name="Gruppieren 43"/>
          <p:cNvGrpSpPr/>
          <p:nvPr>
            <p:custDataLst>
              <p:tags r:id="rId9"/>
            </p:custDataLst>
          </p:nvPr>
        </p:nvGrpSpPr>
        <p:grpSpPr bwMode="gray">
          <a:xfrm>
            <a:off x="1367492" y="2139702"/>
            <a:ext cx="504056" cy="511199"/>
            <a:chOff x="1367492" y="2139702"/>
            <a:chExt cx="504056" cy="511199"/>
          </a:xfrm>
        </p:grpSpPr>
        <p:grpSp>
          <p:nvGrpSpPr>
            <p:cNvPr id="45" name="Gruppieren 44"/>
            <p:cNvGrpSpPr/>
            <p:nvPr>
              <p:custDataLst>
                <p:tags r:id="rId37"/>
              </p:custDataLst>
            </p:nvPr>
          </p:nvGrpSpPr>
          <p:grpSpPr bwMode="gray">
            <a:xfrm>
              <a:off x="1367492" y="2139702"/>
              <a:ext cx="504056" cy="511199"/>
              <a:chOff x="-1133500" y="2266926"/>
              <a:chExt cx="792000" cy="803223"/>
            </a:xfrm>
          </p:grpSpPr>
          <p:sp>
            <p:nvSpPr>
              <p:cNvPr id="47" name="Ellipse 46"/>
              <p:cNvSpPr/>
              <p:nvPr>
                <p:custDataLst>
                  <p:tags r:id="rId39"/>
                </p:custDataLst>
              </p:nvPr>
            </p:nvSpPr>
            <p:spPr bwMode="gray">
              <a:xfrm rot="10800000">
                <a:off x="-1133500" y="2266926"/>
                <a:ext cx="792000" cy="79192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ctr" anchorCtr="0"/>
              <a:lstStyle/>
              <a:p>
                <a:pPr algn="ctr"/>
                <a:endParaRPr lang="en-US" sz="1100" dirty="0" smtClean="0">
                  <a:solidFill>
                    <a:srgbClr val="000000"/>
                  </a:solidFill>
                </a:endParaRPr>
              </a:p>
            </p:txBody>
          </p:sp>
          <p:sp>
            <p:nvSpPr>
              <p:cNvPr id="48" name="Ellipse 47"/>
              <p:cNvSpPr/>
              <p:nvPr>
                <p:custDataLst>
                  <p:tags r:id="rId40"/>
                </p:custDataLst>
              </p:nvPr>
            </p:nvSpPr>
            <p:spPr bwMode="gray">
              <a:xfrm rot="10800000" flipV="1">
                <a:off x="-1098624" y="2301726"/>
                <a:ext cx="720000" cy="720000"/>
              </a:xfrm>
              <a:prstGeom prst="ellipse">
                <a:avLst/>
              </a:prstGeom>
              <a:solidFill>
                <a:schemeClr val="bg1"/>
              </a:solidFill>
              <a:ln w="635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00" dirty="0" smtClean="0">
                  <a:solidFill>
                    <a:srgbClr val="000000"/>
                  </a:solidFill>
                </a:endParaRPr>
              </a:p>
            </p:txBody>
          </p:sp>
          <p:sp>
            <p:nvSpPr>
              <p:cNvPr id="49" name="Ellipse 48"/>
              <p:cNvSpPr/>
              <p:nvPr>
                <p:custDataLst>
                  <p:tags r:id="rId41"/>
                </p:custDataLst>
              </p:nvPr>
            </p:nvSpPr>
            <p:spPr bwMode="gray">
              <a:xfrm rot="10800000" flipV="1">
                <a:off x="-1080624" y="2319726"/>
                <a:ext cx="684000" cy="684000"/>
              </a:xfrm>
              <a:prstGeom prst="ellipse">
                <a:avLst/>
              </a:prstGeom>
              <a:solidFill>
                <a:schemeClr val="bg1"/>
              </a:solidFill>
              <a:ln w="635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00" dirty="0" smtClean="0">
                  <a:solidFill>
                    <a:srgbClr val="000000"/>
                  </a:solidFill>
                </a:endParaRPr>
              </a:p>
            </p:txBody>
          </p:sp>
          <p:sp>
            <p:nvSpPr>
              <p:cNvPr id="50" name="Ellipse 49"/>
              <p:cNvSpPr/>
              <p:nvPr>
                <p:custDataLst>
                  <p:tags r:id="rId42"/>
                </p:custDataLst>
              </p:nvPr>
            </p:nvSpPr>
            <p:spPr bwMode="gray">
              <a:xfrm rot="10800000" flipV="1">
                <a:off x="-1062624" y="2337726"/>
                <a:ext cx="648000" cy="648000"/>
              </a:xfrm>
              <a:prstGeom prst="ellipse">
                <a:avLst/>
              </a:prstGeom>
              <a:solidFill>
                <a:schemeClr val="bg1"/>
              </a:solidFill>
              <a:ln w="635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00" dirty="0" smtClean="0">
                  <a:solidFill>
                    <a:srgbClr val="000000"/>
                  </a:solidFill>
                </a:endParaRPr>
              </a:p>
            </p:txBody>
          </p:sp>
          <p:sp>
            <p:nvSpPr>
              <p:cNvPr id="51" name="Gleichschenkliges Dreieck 50"/>
              <p:cNvSpPr/>
              <p:nvPr/>
            </p:nvSpPr>
            <p:spPr bwMode="gray">
              <a:xfrm rot="10800000" flipH="1">
                <a:off x="-799374" y="2934558"/>
                <a:ext cx="123750" cy="113130"/>
              </a:xfrm>
              <a:prstGeom prst="triangle">
                <a:avLst/>
              </a:prstGeom>
              <a:solidFill>
                <a:schemeClr val="bg1"/>
              </a:solidFill>
              <a:ln w="762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00" dirty="0" smtClean="0">
                  <a:solidFill>
                    <a:srgbClr val="000000"/>
                  </a:solidFill>
                </a:endParaRPr>
              </a:p>
            </p:txBody>
          </p:sp>
          <p:sp>
            <p:nvSpPr>
              <p:cNvPr id="52" name="Gleichschenkliges Dreieck 51"/>
              <p:cNvSpPr/>
              <p:nvPr>
                <p:custDataLst>
                  <p:tags r:id="rId43"/>
                </p:custDataLst>
              </p:nvPr>
            </p:nvSpPr>
            <p:spPr bwMode="gray">
              <a:xfrm rot="10800000" flipH="1">
                <a:off x="-799374" y="2957019"/>
                <a:ext cx="123750" cy="113130"/>
              </a:xfrm>
              <a:prstGeom prst="triangle">
                <a:avLst/>
              </a:prstGeom>
              <a:solidFill>
                <a:srgbClr val="C07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00" dirty="0" smtClean="0">
                  <a:solidFill>
                    <a:srgbClr val="000000"/>
                  </a:solidFill>
                </a:endParaRPr>
              </a:p>
            </p:txBody>
          </p:sp>
          <p:sp>
            <p:nvSpPr>
              <p:cNvPr id="53" name="Ellipse 52"/>
              <p:cNvSpPr/>
              <p:nvPr>
                <p:custDataLst>
                  <p:tags r:id="rId44"/>
                </p:custDataLst>
              </p:nvPr>
            </p:nvSpPr>
            <p:spPr bwMode="gray">
              <a:xfrm rot="10800000" flipV="1">
                <a:off x="-1044624" y="2355726"/>
                <a:ext cx="612000" cy="612000"/>
              </a:xfrm>
              <a:prstGeom prst="ellipse">
                <a:avLst/>
              </a:prstGeom>
              <a:solidFill>
                <a:srgbClr val="C07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endParaRPr lang="en-US" b="1" dirty="0">
                  <a:solidFill>
                    <a:srgbClr val="FFFFFF"/>
                  </a:solidFill>
                </a:endParaRPr>
              </a:p>
            </p:txBody>
          </p:sp>
          <p:sp>
            <p:nvSpPr>
              <p:cNvPr id="54" name="Ellipse 53"/>
              <p:cNvSpPr/>
              <p:nvPr>
                <p:custDataLst>
                  <p:tags r:id="rId45"/>
                </p:custDataLst>
              </p:nvPr>
            </p:nvSpPr>
            <p:spPr bwMode="gray">
              <a:xfrm>
                <a:off x="-1062461" y="2346675"/>
                <a:ext cx="647672" cy="630103"/>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endParaRPr lang="en-US" sz="1100" dirty="0">
                  <a:solidFill>
                    <a:srgbClr val="FFFFFF"/>
                  </a:solidFill>
                </a:endParaRPr>
              </a:p>
            </p:txBody>
          </p:sp>
        </p:grpSp>
        <p:sp>
          <p:nvSpPr>
            <p:cNvPr id="46" name="Freeform 56"/>
            <p:cNvSpPr>
              <a:spLocks noEditPoints="1"/>
            </p:cNvSpPr>
            <p:nvPr>
              <p:custDataLst>
                <p:tags r:id="rId38"/>
              </p:custDataLst>
            </p:nvPr>
          </p:nvSpPr>
          <p:spPr bwMode="gray">
            <a:xfrm>
              <a:off x="1534337" y="2271785"/>
              <a:ext cx="170366" cy="247032"/>
            </a:xfrm>
            <a:custGeom>
              <a:avLst/>
              <a:gdLst>
                <a:gd name="T0" fmla="*/ 81 w 102"/>
                <a:gd name="T1" fmla="*/ 133 h 148"/>
                <a:gd name="T2" fmla="*/ 34 w 102"/>
                <a:gd name="T3" fmla="*/ 148 h 148"/>
                <a:gd name="T4" fmla="*/ 19 w 102"/>
                <a:gd name="T5" fmla="*/ 94 h 148"/>
                <a:gd name="T6" fmla="*/ 27 w 102"/>
                <a:gd name="T7" fmla="*/ 102 h 148"/>
                <a:gd name="T8" fmla="*/ 42 w 102"/>
                <a:gd name="T9" fmla="*/ 105 h 148"/>
                <a:gd name="T10" fmla="*/ 61 w 102"/>
                <a:gd name="T11" fmla="*/ 102 h 148"/>
                <a:gd name="T12" fmla="*/ 79 w 102"/>
                <a:gd name="T13" fmla="*/ 98 h 148"/>
                <a:gd name="T14" fmla="*/ 83 w 102"/>
                <a:gd name="T15" fmla="*/ 94 h 148"/>
                <a:gd name="T16" fmla="*/ 83 w 102"/>
                <a:gd name="T17" fmla="*/ 57 h 148"/>
                <a:gd name="T18" fmla="*/ 97 w 102"/>
                <a:gd name="T19" fmla="*/ 64 h 148"/>
                <a:gd name="T20" fmla="*/ 79 w 102"/>
                <a:gd name="T21" fmla="*/ 69 h 148"/>
                <a:gd name="T22" fmla="*/ 88 w 102"/>
                <a:gd name="T23" fmla="*/ 81 h 148"/>
                <a:gd name="T24" fmla="*/ 69 w 102"/>
                <a:gd name="T25" fmla="*/ 78 h 148"/>
                <a:gd name="T26" fmla="*/ 74 w 102"/>
                <a:gd name="T27" fmla="*/ 93 h 148"/>
                <a:gd name="T28" fmla="*/ 57 w 102"/>
                <a:gd name="T29" fmla="*/ 83 h 148"/>
                <a:gd name="T30" fmla="*/ 55 w 102"/>
                <a:gd name="T31" fmla="*/ 99 h 148"/>
                <a:gd name="T32" fmla="*/ 44 w 102"/>
                <a:gd name="T33" fmla="*/ 83 h 148"/>
                <a:gd name="T34" fmla="*/ 35 w 102"/>
                <a:gd name="T35" fmla="*/ 97 h 148"/>
                <a:gd name="T36" fmla="*/ 31 w 102"/>
                <a:gd name="T37" fmla="*/ 79 h 148"/>
                <a:gd name="T38" fmla="*/ 21 w 102"/>
                <a:gd name="T39" fmla="*/ 88 h 148"/>
                <a:gd name="T40" fmla="*/ 22 w 102"/>
                <a:gd name="T41" fmla="*/ 69 h 148"/>
                <a:gd name="T42" fmla="*/ 11 w 102"/>
                <a:gd name="T43" fmla="*/ 75 h 148"/>
                <a:gd name="T44" fmla="*/ 17 w 102"/>
                <a:gd name="T45" fmla="*/ 57 h 148"/>
                <a:gd name="T46" fmla="*/ 2 w 102"/>
                <a:gd name="T47" fmla="*/ 55 h 148"/>
                <a:gd name="T48" fmla="*/ 17 w 102"/>
                <a:gd name="T49" fmla="*/ 44 h 148"/>
                <a:gd name="T50" fmla="*/ 3 w 102"/>
                <a:gd name="T51" fmla="*/ 36 h 148"/>
                <a:gd name="T52" fmla="*/ 22 w 102"/>
                <a:gd name="T53" fmla="*/ 31 h 148"/>
                <a:gd name="T54" fmla="*/ 12 w 102"/>
                <a:gd name="T55" fmla="*/ 19 h 148"/>
                <a:gd name="T56" fmla="*/ 31 w 102"/>
                <a:gd name="T57" fmla="*/ 22 h 148"/>
                <a:gd name="T58" fmla="*/ 27 w 102"/>
                <a:gd name="T59" fmla="*/ 7 h 148"/>
                <a:gd name="T60" fmla="*/ 43 w 102"/>
                <a:gd name="T61" fmla="*/ 17 h 148"/>
                <a:gd name="T62" fmla="*/ 45 w 102"/>
                <a:gd name="T63" fmla="*/ 1 h 148"/>
                <a:gd name="T64" fmla="*/ 57 w 102"/>
                <a:gd name="T65" fmla="*/ 17 h 148"/>
                <a:gd name="T66" fmla="*/ 65 w 102"/>
                <a:gd name="T67" fmla="*/ 3 h 148"/>
                <a:gd name="T68" fmla="*/ 69 w 102"/>
                <a:gd name="T69" fmla="*/ 22 h 148"/>
                <a:gd name="T70" fmla="*/ 79 w 102"/>
                <a:gd name="T71" fmla="*/ 12 h 148"/>
                <a:gd name="T72" fmla="*/ 78 w 102"/>
                <a:gd name="T73" fmla="*/ 31 h 148"/>
                <a:gd name="T74" fmla="*/ 89 w 102"/>
                <a:gd name="T75" fmla="*/ 26 h 148"/>
                <a:gd name="T76" fmla="*/ 83 w 102"/>
                <a:gd name="T77" fmla="*/ 43 h 148"/>
                <a:gd name="T78" fmla="*/ 99 w 102"/>
                <a:gd name="T79" fmla="*/ 45 h 148"/>
                <a:gd name="T80" fmla="*/ 50 w 102"/>
                <a:gd name="T81" fmla="*/ 18 h 148"/>
                <a:gd name="T82" fmla="*/ 82 w 102"/>
                <a:gd name="T83" fmla="*/ 50 h 148"/>
                <a:gd name="T84" fmla="*/ 25 w 102"/>
                <a:gd name="T85" fmla="*/ 50 h 1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2" h="148">
                  <a:moveTo>
                    <a:pt x="83" y="94"/>
                  </a:moveTo>
                  <a:cubicBezTo>
                    <a:pt x="102" y="131"/>
                    <a:pt x="102" y="131"/>
                    <a:pt x="102" y="131"/>
                  </a:cubicBezTo>
                  <a:cubicBezTo>
                    <a:pt x="81" y="133"/>
                    <a:pt x="81" y="133"/>
                    <a:pt x="81" y="133"/>
                  </a:cubicBezTo>
                  <a:cubicBezTo>
                    <a:pt x="68" y="148"/>
                    <a:pt x="68" y="148"/>
                    <a:pt x="68" y="148"/>
                  </a:cubicBezTo>
                  <a:cubicBezTo>
                    <a:pt x="51" y="121"/>
                    <a:pt x="51" y="121"/>
                    <a:pt x="51" y="121"/>
                  </a:cubicBezTo>
                  <a:cubicBezTo>
                    <a:pt x="34" y="148"/>
                    <a:pt x="34" y="148"/>
                    <a:pt x="34" y="148"/>
                  </a:cubicBezTo>
                  <a:cubicBezTo>
                    <a:pt x="20" y="133"/>
                    <a:pt x="20" y="133"/>
                    <a:pt x="20" y="133"/>
                  </a:cubicBezTo>
                  <a:cubicBezTo>
                    <a:pt x="0" y="131"/>
                    <a:pt x="0" y="131"/>
                    <a:pt x="0" y="131"/>
                  </a:cubicBezTo>
                  <a:cubicBezTo>
                    <a:pt x="19" y="94"/>
                    <a:pt x="19" y="94"/>
                    <a:pt x="19" y="94"/>
                  </a:cubicBezTo>
                  <a:cubicBezTo>
                    <a:pt x="19" y="94"/>
                    <a:pt x="19" y="94"/>
                    <a:pt x="19" y="94"/>
                  </a:cubicBezTo>
                  <a:cubicBezTo>
                    <a:pt x="20" y="95"/>
                    <a:pt x="20" y="96"/>
                    <a:pt x="21" y="98"/>
                  </a:cubicBezTo>
                  <a:cubicBezTo>
                    <a:pt x="22" y="100"/>
                    <a:pt x="25" y="101"/>
                    <a:pt x="27" y="102"/>
                  </a:cubicBezTo>
                  <a:cubicBezTo>
                    <a:pt x="30" y="103"/>
                    <a:pt x="32" y="104"/>
                    <a:pt x="34" y="104"/>
                  </a:cubicBezTo>
                  <a:cubicBezTo>
                    <a:pt x="36" y="104"/>
                    <a:pt x="38" y="103"/>
                    <a:pt x="39" y="102"/>
                  </a:cubicBezTo>
                  <a:cubicBezTo>
                    <a:pt x="40" y="103"/>
                    <a:pt x="41" y="104"/>
                    <a:pt x="42" y="105"/>
                  </a:cubicBezTo>
                  <a:cubicBezTo>
                    <a:pt x="44" y="106"/>
                    <a:pt x="47" y="107"/>
                    <a:pt x="50" y="107"/>
                  </a:cubicBezTo>
                  <a:cubicBezTo>
                    <a:pt x="53" y="107"/>
                    <a:pt x="56" y="106"/>
                    <a:pt x="58" y="105"/>
                  </a:cubicBezTo>
                  <a:cubicBezTo>
                    <a:pt x="59" y="104"/>
                    <a:pt x="60" y="103"/>
                    <a:pt x="61" y="102"/>
                  </a:cubicBezTo>
                  <a:cubicBezTo>
                    <a:pt x="63" y="103"/>
                    <a:pt x="65" y="104"/>
                    <a:pt x="67" y="104"/>
                  </a:cubicBezTo>
                  <a:cubicBezTo>
                    <a:pt x="69" y="104"/>
                    <a:pt x="70" y="103"/>
                    <a:pt x="73" y="102"/>
                  </a:cubicBezTo>
                  <a:cubicBezTo>
                    <a:pt x="76" y="101"/>
                    <a:pt x="78" y="100"/>
                    <a:pt x="79" y="98"/>
                  </a:cubicBezTo>
                  <a:cubicBezTo>
                    <a:pt x="80" y="96"/>
                    <a:pt x="81" y="95"/>
                    <a:pt x="81" y="94"/>
                  </a:cubicBezTo>
                  <a:cubicBezTo>
                    <a:pt x="82" y="94"/>
                    <a:pt x="82" y="94"/>
                    <a:pt x="82" y="94"/>
                  </a:cubicBezTo>
                  <a:cubicBezTo>
                    <a:pt x="82" y="94"/>
                    <a:pt x="82" y="94"/>
                    <a:pt x="83" y="94"/>
                  </a:cubicBezTo>
                  <a:close/>
                  <a:moveTo>
                    <a:pt x="100" y="50"/>
                  </a:moveTo>
                  <a:cubicBezTo>
                    <a:pt x="100" y="52"/>
                    <a:pt x="100" y="54"/>
                    <a:pt x="99" y="55"/>
                  </a:cubicBezTo>
                  <a:cubicBezTo>
                    <a:pt x="98" y="57"/>
                    <a:pt x="86" y="57"/>
                    <a:pt x="83" y="57"/>
                  </a:cubicBezTo>
                  <a:cubicBezTo>
                    <a:pt x="83" y="57"/>
                    <a:pt x="83" y="57"/>
                    <a:pt x="83" y="57"/>
                  </a:cubicBezTo>
                  <a:cubicBezTo>
                    <a:pt x="83" y="57"/>
                    <a:pt x="83" y="57"/>
                    <a:pt x="83" y="57"/>
                  </a:cubicBezTo>
                  <a:cubicBezTo>
                    <a:pt x="85" y="58"/>
                    <a:pt x="97" y="62"/>
                    <a:pt x="97" y="64"/>
                  </a:cubicBezTo>
                  <a:cubicBezTo>
                    <a:pt x="97" y="65"/>
                    <a:pt x="97" y="67"/>
                    <a:pt x="96" y="69"/>
                  </a:cubicBezTo>
                  <a:cubicBezTo>
                    <a:pt x="94" y="74"/>
                    <a:pt x="91" y="75"/>
                    <a:pt x="89" y="75"/>
                  </a:cubicBezTo>
                  <a:cubicBezTo>
                    <a:pt x="88" y="75"/>
                    <a:pt x="79" y="69"/>
                    <a:pt x="79" y="69"/>
                  </a:cubicBezTo>
                  <a:cubicBezTo>
                    <a:pt x="78" y="69"/>
                    <a:pt x="78" y="69"/>
                    <a:pt x="78" y="69"/>
                  </a:cubicBezTo>
                  <a:cubicBezTo>
                    <a:pt x="78" y="69"/>
                    <a:pt x="78" y="69"/>
                    <a:pt x="78" y="69"/>
                  </a:cubicBezTo>
                  <a:cubicBezTo>
                    <a:pt x="79" y="70"/>
                    <a:pt x="89" y="79"/>
                    <a:pt x="88" y="81"/>
                  </a:cubicBezTo>
                  <a:cubicBezTo>
                    <a:pt x="88" y="82"/>
                    <a:pt x="87" y="84"/>
                    <a:pt x="85" y="85"/>
                  </a:cubicBezTo>
                  <a:cubicBezTo>
                    <a:pt x="83" y="87"/>
                    <a:pt x="82" y="88"/>
                    <a:pt x="79" y="88"/>
                  </a:cubicBezTo>
                  <a:cubicBezTo>
                    <a:pt x="78" y="88"/>
                    <a:pt x="70" y="79"/>
                    <a:pt x="69" y="78"/>
                  </a:cubicBezTo>
                  <a:cubicBezTo>
                    <a:pt x="69" y="78"/>
                    <a:pt x="69" y="78"/>
                    <a:pt x="69" y="78"/>
                  </a:cubicBezTo>
                  <a:cubicBezTo>
                    <a:pt x="69" y="79"/>
                    <a:pt x="69" y="79"/>
                    <a:pt x="69" y="79"/>
                  </a:cubicBezTo>
                  <a:cubicBezTo>
                    <a:pt x="70" y="80"/>
                    <a:pt x="75" y="91"/>
                    <a:pt x="74" y="93"/>
                  </a:cubicBezTo>
                  <a:cubicBezTo>
                    <a:pt x="73" y="94"/>
                    <a:pt x="71" y="95"/>
                    <a:pt x="69" y="96"/>
                  </a:cubicBezTo>
                  <a:cubicBezTo>
                    <a:pt x="68" y="97"/>
                    <a:pt x="66" y="97"/>
                    <a:pt x="65" y="97"/>
                  </a:cubicBezTo>
                  <a:cubicBezTo>
                    <a:pt x="62" y="97"/>
                    <a:pt x="58" y="85"/>
                    <a:pt x="57" y="83"/>
                  </a:cubicBezTo>
                  <a:cubicBezTo>
                    <a:pt x="57" y="83"/>
                    <a:pt x="57" y="83"/>
                    <a:pt x="57" y="83"/>
                  </a:cubicBezTo>
                  <a:cubicBezTo>
                    <a:pt x="57" y="83"/>
                    <a:pt x="57" y="83"/>
                    <a:pt x="57" y="83"/>
                  </a:cubicBezTo>
                  <a:cubicBezTo>
                    <a:pt x="57" y="85"/>
                    <a:pt x="57" y="98"/>
                    <a:pt x="55" y="99"/>
                  </a:cubicBezTo>
                  <a:cubicBezTo>
                    <a:pt x="54" y="100"/>
                    <a:pt x="52" y="100"/>
                    <a:pt x="50" y="100"/>
                  </a:cubicBezTo>
                  <a:cubicBezTo>
                    <a:pt x="48" y="100"/>
                    <a:pt x="46" y="100"/>
                    <a:pt x="45" y="99"/>
                  </a:cubicBezTo>
                  <a:cubicBezTo>
                    <a:pt x="43" y="98"/>
                    <a:pt x="44" y="85"/>
                    <a:pt x="44" y="83"/>
                  </a:cubicBezTo>
                  <a:cubicBezTo>
                    <a:pt x="44" y="83"/>
                    <a:pt x="44" y="83"/>
                    <a:pt x="44" y="83"/>
                  </a:cubicBezTo>
                  <a:cubicBezTo>
                    <a:pt x="43" y="83"/>
                    <a:pt x="43" y="83"/>
                    <a:pt x="43" y="83"/>
                  </a:cubicBezTo>
                  <a:cubicBezTo>
                    <a:pt x="43" y="85"/>
                    <a:pt x="38" y="97"/>
                    <a:pt x="35" y="97"/>
                  </a:cubicBezTo>
                  <a:cubicBezTo>
                    <a:pt x="34" y="97"/>
                    <a:pt x="33" y="97"/>
                    <a:pt x="31" y="96"/>
                  </a:cubicBezTo>
                  <a:cubicBezTo>
                    <a:pt x="29" y="95"/>
                    <a:pt x="28" y="94"/>
                    <a:pt x="27" y="93"/>
                  </a:cubicBezTo>
                  <a:cubicBezTo>
                    <a:pt x="25" y="91"/>
                    <a:pt x="31" y="80"/>
                    <a:pt x="31" y="79"/>
                  </a:cubicBezTo>
                  <a:cubicBezTo>
                    <a:pt x="32" y="78"/>
                    <a:pt x="32" y="78"/>
                    <a:pt x="32" y="78"/>
                  </a:cubicBezTo>
                  <a:cubicBezTo>
                    <a:pt x="31" y="78"/>
                    <a:pt x="31" y="78"/>
                    <a:pt x="31" y="78"/>
                  </a:cubicBezTo>
                  <a:cubicBezTo>
                    <a:pt x="30" y="79"/>
                    <a:pt x="22" y="88"/>
                    <a:pt x="21" y="88"/>
                  </a:cubicBezTo>
                  <a:cubicBezTo>
                    <a:pt x="19" y="88"/>
                    <a:pt x="17" y="87"/>
                    <a:pt x="15" y="85"/>
                  </a:cubicBezTo>
                  <a:cubicBezTo>
                    <a:pt x="14" y="84"/>
                    <a:pt x="12" y="82"/>
                    <a:pt x="12" y="81"/>
                  </a:cubicBezTo>
                  <a:cubicBezTo>
                    <a:pt x="12" y="79"/>
                    <a:pt x="21" y="70"/>
                    <a:pt x="22" y="69"/>
                  </a:cubicBezTo>
                  <a:cubicBezTo>
                    <a:pt x="22" y="69"/>
                    <a:pt x="22" y="69"/>
                    <a:pt x="22" y="69"/>
                  </a:cubicBezTo>
                  <a:cubicBezTo>
                    <a:pt x="22" y="69"/>
                    <a:pt x="22" y="69"/>
                    <a:pt x="22" y="69"/>
                  </a:cubicBezTo>
                  <a:cubicBezTo>
                    <a:pt x="21" y="69"/>
                    <a:pt x="12" y="75"/>
                    <a:pt x="11" y="75"/>
                  </a:cubicBezTo>
                  <a:cubicBezTo>
                    <a:pt x="9" y="75"/>
                    <a:pt x="6" y="74"/>
                    <a:pt x="4" y="69"/>
                  </a:cubicBezTo>
                  <a:cubicBezTo>
                    <a:pt x="3" y="67"/>
                    <a:pt x="3" y="65"/>
                    <a:pt x="3" y="64"/>
                  </a:cubicBezTo>
                  <a:cubicBezTo>
                    <a:pt x="4" y="62"/>
                    <a:pt x="15" y="58"/>
                    <a:pt x="17" y="57"/>
                  </a:cubicBezTo>
                  <a:cubicBezTo>
                    <a:pt x="17" y="57"/>
                    <a:pt x="17" y="57"/>
                    <a:pt x="17" y="57"/>
                  </a:cubicBezTo>
                  <a:cubicBezTo>
                    <a:pt x="17" y="57"/>
                    <a:pt x="17" y="57"/>
                    <a:pt x="17" y="57"/>
                  </a:cubicBezTo>
                  <a:cubicBezTo>
                    <a:pt x="15" y="57"/>
                    <a:pt x="3" y="57"/>
                    <a:pt x="2" y="55"/>
                  </a:cubicBezTo>
                  <a:cubicBezTo>
                    <a:pt x="1" y="54"/>
                    <a:pt x="0" y="52"/>
                    <a:pt x="0" y="50"/>
                  </a:cubicBezTo>
                  <a:cubicBezTo>
                    <a:pt x="0" y="48"/>
                    <a:pt x="1" y="46"/>
                    <a:pt x="2" y="45"/>
                  </a:cubicBezTo>
                  <a:cubicBezTo>
                    <a:pt x="3" y="43"/>
                    <a:pt x="15" y="44"/>
                    <a:pt x="17" y="44"/>
                  </a:cubicBezTo>
                  <a:cubicBezTo>
                    <a:pt x="17" y="44"/>
                    <a:pt x="17" y="44"/>
                    <a:pt x="17" y="44"/>
                  </a:cubicBezTo>
                  <a:cubicBezTo>
                    <a:pt x="17" y="43"/>
                    <a:pt x="17" y="43"/>
                    <a:pt x="17" y="43"/>
                  </a:cubicBezTo>
                  <a:cubicBezTo>
                    <a:pt x="15" y="43"/>
                    <a:pt x="4" y="39"/>
                    <a:pt x="3" y="36"/>
                  </a:cubicBezTo>
                  <a:cubicBezTo>
                    <a:pt x="3" y="35"/>
                    <a:pt x="3" y="33"/>
                    <a:pt x="4" y="31"/>
                  </a:cubicBezTo>
                  <a:cubicBezTo>
                    <a:pt x="6" y="26"/>
                    <a:pt x="9" y="26"/>
                    <a:pt x="11" y="26"/>
                  </a:cubicBezTo>
                  <a:cubicBezTo>
                    <a:pt x="12" y="26"/>
                    <a:pt x="21" y="31"/>
                    <a:pt x="22" y="31"/>
                  </a:cubicBezTo>
                  <a:cubicBezTo>
                    <a:pt x="22" y="32"/>
                    <a:pt x="22" y="32"/>
                    <a:pt x="22" y="32"/>
                  </a:cubicBezTo>
                  <a:cubicBezTo>
                    <a:pt x="22" y="31"/>
                    <a:pt x="22" y="31"/>
                    <a:pt x="22" y="31"/>
                  </a:cubicBezTo>
                  <a:cubicBezTo>
                    <a:pt x="21" y="30"/>
                    <a:pt x="12" y="22"/>
                    <a:pt x="12" y="19"/>
                  </a:cubicBezTo>
                  <a:cubicBezTo>
                    <a:pt x="12" y="18"/>
                    <a:pt x="14" y="16"/>
                    <a:pt x="15" y="15"/>
                  </a:cubicBezTo>
                  <a:cubicBezTo>
                    <a:pt x="17" y="13"/>
                    <a:pt x="19" y="12"/>
                    <a:pt x="21" y="12"/>
                  </a:cubicBezTo>
                  <a:cubicBezTo>
                    <a:pt x="22" y="12"/>
                    <a:pt x="30" y="20"/>
                    <a:pt x="31" y="22"/>
                  </a:cubicBezTo>
                  <a:cubicBezTo>
                    <a:pt x="32" y="22"/>
                    <a:pt x="32" y="22"/>
                    <a:pt x="32" y="22"/>
                  </a:cubicBezTo>
                  <a:cubicBezTo>
                    <a:pt x="31" y="22"/>
                    <a:pt x="31" y="22"/>
                    <a:pt x="31" y="22"/>
                  </a:cubicBezTo>
                  <a:cubicBezTo>
                    <a:pt x="31" y="20"/>
                    <a:pt x="25" y="9"/>
                    <a:pt x="27" y="7"/>
                  </a:cubicBezTo>
                  <a:cubicBezTo>
                    <a:pt x="28" y="6"/>
                    <a:pt x="29" y="5"/>
                    <a:pt x="31" y="4"/>
                  </a:cubicBezTo>
                  <a:cubicBezTo>
                    <a:pt x="33" y="3"/>
                    <a:pt x="34" y="3"/>
                    <a:pt x="35" y="3"/>
                  </a:cubicBezTo>
                  <a:cubicBezTo>
                    <a:pt x="38" y="3"/>
                    <a:pt x="43" y="15"/>
                    <a:pt x="43" y="17"/>
                  </a:cubicBezTo>
                  <a:cubicBezTo>
                    <a:pt x="44" y="17"/>
                    <a:pt x="44" y="17"/>
                    <a:pt x="44" y="17"/>
                  </a:cubicBezTo>
                  <a:cubicBezTo>
                    <a:pt x="44" y="17"/>
                    <a:pt x="44" y="17"/>
                    <a:pt x="44" y="17"/>
                  </a:cubicBezTo>
                  <a:cubicBezTo>
                    <a:pt x="44" y="15"/>
                    <a:pt x="43" y="3"/>
                    <a:pt x="45" y="1"/>
                  </a:cubicBezTo>
                  <a:cubicBezTo>
                    <a:pt x="46" y="1"/>
                    <a:pt x="48" y="0"/>
                    <a:pt x="50" y="0"/>
                  </a:cubicBezTo>
                  <a:cubicBezTo>
                    <a:pt x="52" y="0"/>
                    <a:pt x="54" y="1"/>
                    <a:pt x="55" y="1"/>
                  </a:cubicBezTo>
                  <a:cubicBezTo>
                    <a:pt x="57" y="3"/>
                    <a:pt x="57" y="15"/>
                    <a:pt x="57" y="17"/>
                  </a:cubicBezTo>
                  <a:cubicBezTo>
                    <a:pt x="57" y="17"/>
                    <a:pt x="57" y="17"/>
                    <a:pt x="57" y="17"/>
                  </a:cubicBezTo>
                  <a:cubicBezTo>
                    <a:pt x="57" y="17"/>
                    <a:pt x="57" y="17"/>
                    <a:pt x="57" y="17"/>
                  </a:cubicBezTo>
                  <a:cubicBezTo>
                    <a:pt x="58" y="15"/>
                    <a:pt x="62" y="3"/>
                    <a:pt x="65" y="3"/>
                  </a:cubicBezTo>
                  <a:cubicBezTo>
                    <a:pt x="66" y="3"/>
                    <a:pt x="68" y="3"/>
                    <a:pt x="69" y="4"/>
                  </a:cubicBezTo>
                  <a:cubicBezTo>
                    <a:pt x="71" y="5"/>
                    <a:pt x="73" y="6"/>
                    <a:pt x="74" y="7"/>
                  </a:cubicBezTo>
                  <a:cubicBezTo>
                    <a:pt x="75" y="9"/>
                    <a:pt x="70" y="20"/>
                    <a:pt x="69" y="22"/>
                  </a:cubicBezTo>
                  <a:cubicBezTo>
                    <a:pt x="69" y="22"/>
                    <a:pt x="69" y="22"/>
                    <a:pt x="69" y="22"/>
                  </a:cubicBezTo>
                  <a:cubicBezTo>
                    <a:pt x="69" y="22"/>
                    <a:pt x="69" y="22"/>
                    <a:pt x="69" y="22"/>
                  </a:cubicBezTo>
                  <a:cubicBezTo>
                    <a:pt x="70" y="20"/>
                    <a:pt x="78" y="12"/>
                    <a:pt x="79" y="12"/>
                  </a:cubicBezTo>
                  <a:cubicBezTo>
                    <a:pt x="82" y="12"/>
                    <a:pt x="83" y="13"/>
                    <a:pt x="85" y="15"/>
                  </a:cubicBezTo>
                  <a:cubicBezTo>
                    <a:pt x="87" y="16"/>
                    <a:pt x="88" y="18"/>
                    <a:pt x="88" y="19"/>
                  </a:cubicBezTo>
                  <a:cubicBezTo>
                    <a:pt x="89" y="22"/>
                    <a:pt x="79" y="30"/>
                    <a:pt x="78" y="31"/>
                  </a:cubicBezTo>
                  <a:cubicBezTo>
                    <a:pt x="78" y="32"/>
                    <a:pt x="78" y="32"/>
                    <a:pt x="78" y="32"/>
                  </a:cubicBezTo>
                  <a:cubicBezTo>
                    <a:pt x="79" y="31"/>
                    <a:pt x="79" y="31"/>
                    <a:pt x="79" y="31"/>
                  </a:cubicBezTo>
                  <a:cubicBezTo>
                    <a:pt x="79" y="31"/>
                    <a:pt x="88" y="26"/>
                    <a:pt x="89" y="26"/>
                  </a:cubicBezTo>
                  <a:cubicBezTo>
                    <a:pt x="91" y="26"/>
                    <a:pt x="94" y="26"/>
                    <a:pt x="96" y="31"/>
                  </a:cubicBezTo>
                  <a:cubicBezTo>
                    <a:pt x="97" y="33"/>
                    <a:pt x="97" y="35"/>
                    <a:pt x="97" y="36"/>
                  </a:cubicBezTo>
                  <a:cubicBezTo>
                    <a:pt x="97" y="39"/>
                    <a:pt x="85" y="43"/>
                    <a:pt x="83" y="43"/>
                  </a:cubicBezTo>
                  <a:cubicBezTo>
                    <a:pt x="83" y="44"/>
                    <a:pt x="83" y="44"/>
                    <a:pt x="83" y="44"/>
                  </a:cubicBezTo>
                  <a:cubicBezTo>
                    <a:pt x="83" y="44"/>
                    <a:pt x="83" y="44"/>
                    <a:pt x="83" y="44"/>
                  </a:cubicBezTo>
                  <a:cubicBezTo>
                    <a:pt x="86" y="44"/>
                    <a:pt x="98" y="43"/>
                    <a:pt x="99" y="45"/>
                  </a:cubicBezTo>
                  <a:cubicBezTo>
                    <a:pt x="100" y="46"/>
                    <a:pt x="100" y="48"/>
                    <a:pt x="100" y="50"/>
                  </a:cubicBezTo>
                  <a:close/>
                  <a:moveTo>
                    <a:pt x="82" y="50"/>
                  </a:moveTo>
                  <a:cubicBezTo>
                    <a:pt x="82" y="32"/>
                    <a:pt x="68" y="18"/>
                    <a:pt x="50" y="18"/>
                  </a:cubicBezTo>
                  <a:cubicBezTo>
                    <a:pt x="32" y="18"/>
                    <a:pt x="18" y="32"/>
                    <a:pt x="18" y="50"/>
                  </a:cubicBezTo>
                  <a:cubicBezTo>
                    <a:pt x="18" y="68"/>
                    <a:pt x="32" y="82"/>
                    <a:pt x="50" y="82"/>
                  </a:cubicBezTo>
                  <a:cubicBezTo>
                    <a:pt x="68" y="82"/>
                    <a:pt x="82" y="68"/>
                    <a:pt x="82" y="50"/>
                  </a:cubicBezTo>
                  <a:close/>
                  <a:moveTo>
                    <a:pt x="75" y="50"/>
                  </a:moveTo>
                  <a:cubicBezTo>
                    <a:pt x="75" y="36"/>
                    <a:pt x="64" y="25"/>
                    <a:pt x="50" y="25"/>
                  </a:cubicBezTo>
                  <a:cubicBezTo>
                    <a:pt x="36" y="25"/>
                    <a:pt x="25" y="36"/>
                    <a:pt x="25" y="50"/>
                  </a:cubicBezTo>
                  <a:cubicBezTo>
                    <a:pt x="25" y="64"/>
                    <a:pt x="36" y="75"/>
                    <a:pt x="50" y="75"/>
                  </a:cubicBezTo>
                  <a:cubicBezTo>
                    <a:pt x="64" y="75"/>
                    <a:pt x="75" y="64"/>
                    <a:pt x="75" y="50"/>
                  </a:cubicBezTo>
                  <a:close/>
                </a:path>
              </a:pathLst>
            </a:custGeom>
            <a:solidFill>
              <a:schemeClr val="bg1"/>
            </a:solidFill>
            <a:ln>
              <a:noFill/>
            </a:ln>
            <a:extLst/>
          </p:spPr>
          <p:txBody>
            <a:bodyPr/>
            <a:lstStyle/>
            <a:p>
              <a:endParaRPr lang="en-CA" dirty="0">
                <a:solidFill>
                  <a:srgbClr val="000000"/>
                </a:solidFill>
              </a:endParaRPr>
            </a:p>
          </p:txBody>
        </p:sp>
      </p:grpSp>
      <p:grpSp>
        <p:nvGrpSpPr>
          <p:cNvPr id="55" name="Gruppieren 54"/>
          <p:cNvGrpSpPr/>
          <p:nvPr>
            <p:custDataLst>
              <p:tags r:id="rId10"/>
            </p:custDataLst>
          </p:nvPr>
        </p:nvGrpSpPr>
        <p:grpSpPr bwMode="gray">
          <a:xfrm>
            <a:off x="4319972" y="1779662"/>
            <a:ext cx="504056" cy="511199"/>
            <a:chOff x="4319972" y="1779662"/>
            <a:chExt cx="504056" cy="511199"/>
          </a:xfrm>
        </p:grpSpPr>
        <p:grpSp>
          <p:nvGrpSpPr>
            <p:cNvPr id="56" name="Gruppieren 55"/>
            <p:cNvGrpSpPr/>
            <p:nvPr>
              <p:custDataLst>
                <p:tags r:id="rId28"/>
              </p:custDataLst>
            </p:nvPr>
          </p:nvGrpSpPr>
          <p:grpSpPr bwMode="gray">
            <a:xfrm>
              <a:off x="4319972" y="1779662"/>
              <a:ext cx="504056" cy="511199"/>
              <a:chOff x="-1133500" y="2266926"/>
              <a:chExt cx="792000" cy="803223"/>
            </a:xfrm>
          </p:grpSpPr>
          <p:sp>
            <p:nvSpPr>
              <p:cNvPr id="58" name="Ellipse 57"/>
              <p:cNvSpPr/>
              <p:nvPr>
                <p:custDataLst>
                  <p:tags r:id="rId30"/>
                </p:custDataLst>
              </p:nvPr>
            </p:nvSpPr>
            <p:spPr bwMode="gray">
              <a:xfrm rot="10800000">
                <a:off x="-1133500" y="2266926"/>
                <a:ext cx="792000" cy="79192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ctr" anchorCtr="0"/>
              <a:lstStyle/>
              <a:p>
                <a:pPr algn="ctr"/>
                <a:endParaRPr lang="en-US" sz="1100" dirty="0" smtClean="0">
                  <a:solidFill>
                    <a:srgbClr val="000000"/>
                  </a:solidFill>
                </a:endParaRPr>
              </a:p>
            </p:txBody>
          </p:sp>
          <p:sp>
            <p:nvSpPr>
              <p:cNvPr id="59" name="Ellipse 58"/>
              <p:cNvSpPr/>
              <p:nvPr>
                <p:custDataLst>
                  <p:tags r:id="rId31"/>
                </p:custDataLst>
              </p:nvPr>
            </p:nvSpPr>
            <p:spPr bwMode="gray">
              <a:xfrm rot="10800000" flipV="1">
                <a:off x="-1098624" y="2301726"/>
                <a:ext cx="720000" cy="720000"/>
              </a:xfrm>
              <a:prstGeom prst="ellipse">
                <a:avLst/>
              </a:prstGeom>
              <a:solidFill>
                <a:schemeClr val="bg1"/>
              </a:solidFill>
              <a:ln w="635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00" dirty="0" smtClean="0">
                  <a:solidFill>
                    <a:srgbClr val="000000"/>
                  </a:solidFill>
                </a:endParaRPr>
              </a:p>
            </p:txBody>
          </p:sp>
          <p:sp>
            <p:nvSpPr>
              <p:cNvPr id="60" name="Ellipse 59"/>
              <p:cNvSpPr/>
              <p:nvPr>
                <p:custDataLst>
                  <p:tags r:id="rId32"/>
                </p:custDataLst>
              </p:nvPr>
            </p:nvSpPr>
            <p:spPr bwMode="gray">
              <a:xfrm rot="10800000" flipV="1">
                <a:off x="-1080624" y="2319726"/>
                <a:ext cx="684000" cy="684000"/>
              </a:xfrm>
              <a:prstGeom prst="ellipse">
                <a:avLst/>
              </a:prstGeom>
              <a:solidFill>
                <a:schemeClr val="bg1"/>
              </a:solidFill>
              <a:ln w="635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00" dirty="0" smtClean="0">
                  <a:solidFill>
                    <a:srgbClr val="000000"/>
                  </a:solidFill>
                </a:endParaRPr>
              </a:p>
            </p:txBody>
          </p:sp>
          <p:sp>
            <p:nvSpPr>
              <p:cNvPr id="61" name="Ellipse 60"/>
              <p:cNvSpPr/>
              <p:nvPr>
                <p:custDataLst>
                  <p:tags r:id="rId33"/>
                </p:custDataLst>
              </p:nvPr>
            </p:nvSpPr>
            <p:spPr bwMode="gray">
              <a:xfrm rot="10800000" flipV="1">
                <a:off x="-1062624" y="2337726"/>
                <a:ext cx="648000" cy="648000"/>
              </a:xfrm>
              <a:prstGeom prst="ellipse">
                <a:avLst/>
              </a:prstGeom>
              <a:solidFill>
                <a:schemeClr val="bg1"/>
              </a:solidFill>
              <a:ln w="635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00" dirty="0" smtClean="0">
                  <a:solidFill>
                    <a:srgbClr val="000000"/>
                  </a:solidFill>
                </a:endParaRPr>
              </a:p>
            </p:txBody>
          </p:sp>
          <p:sp>
            <p:nvSpPr>
              <p:cNvPr id="62" name="Gleichschenkliges Dreieck 61"/>
              <p:cNvSpPr/>
              <p:nvPr/>
            </p:nvSpPr>
            <p:spPr bwMode="gray">
              <a:xfrm rot="10800000" flipH="1">
                <a:off x="-799374" y="2934558"/>
                <a:ext cx="123750" cy="113130"/>
              </a:xfrm>
              <a:prstGeom prst="triangle">
                <a:avLst/>
              </a:prstGeom>
              <a:solidFill>
                <a:schemeClr val="bg1"/>
              </a:solidFill>
              <a:ln w="762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00" dirty="0" smtClean="0">
                  <a:solidFill>
                    <a:srgbClr val="000000"/>
                  </a:solidFill>
                </a:endParaRPr>
              </a:p>
            </p:txBody>
          </p:sp>
          <p:sp>
            <p:nvSpPr>
              <p:cNvPr id="63" name="Gleichschenkliges Dreieck 62"/>
              <p:cNvSpPr/>
              <p:nvPr>
                <p:custDataLst>
                  <p:tags r:id="rId34"/>
                </p:custDataLst>
              </p:nvPr>
            </p:nvSpPr>
            <p:spPr bwMode="gray">
              <a:xfrm rot="10800000" flipH="1">
                <a:off x="-799374" y="2957019"/>
                <a:ext cx="123750" cy="113130"/>
              </a:xfrm>
              <a:prstGeom prst="triangle">
                <a:avLst/>
              </a:prstGeom>
              <a:solidFill>
                <a:srgbClr val="7E7D7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00" dirty="0" smtClean="0">
                  <a:solidFill>
                    <a:srgbClr val="000000"/>
                  </a:solidFill>
                </a:endParaRPr>
              </a:p>
            </p:txBody>
          </p:sp>
          <p:sp>
            <p:nvSpPr>
              <p:cNvPr id="64" name="Ellipse 63"/>
              <p:cNvSpPr/>
              <p:nvPr>
                <p:custDataLst>
                  <p:tags r:id="rId35"/>
                </p:custDataLst>
              </p:nvPr>
            </p:nvSpPr>
            <p:spPr bwMode="gray">
              <a:xfrm rot="10800000" flipV="1">
                <a:off x="-1044624" y="2355726"/>
                <a:ext cx="612000" cy="612000"/>
              </a:xfrm>
              <a:prstGeom prst="ellipse">
                <a:avLst/>
              </a:prstGeom>
              <a:solidFill>
                <a:srgbClr val="7E7D7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endParaRPr lang="en-US" b="1" dirty="0">
                  <a:solidFill>
                    <a:srgbClr val="FFFFFF"/>
                  </a:solidFill>
                </a:endParaRPr>
              </a:p>
            </p:txBody>
          </p:sp>
          <p:sp>
            <p:nvSpPr>
              <p:cNvPr id="65" name="Ellipse 64"/>
              <p:cNvSpPr/>
              <p:nvPr>
                <p:custDataLst>
                  <p:tags r:id="rId36"/>
                </p:custDataLst>
              </p:nvPr>
            </p:nvSpPr>
            <p:spPr bwMode="gray">
              <a:xfrm>
                <a:off x="-1062461" y="2346675"/>
                <a:ext cx="647672" cy="630103"/>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endParaRPr lang="en-US" sz="1100" dirty="0">
                  <a:solidFill>
                    <a:srgbClr val="FFFFFF"/>
                  </a:solidFill>
                </a:endParaRPr>
              </a:p>
            </p:txBody>
          </p:sp>
        </p:grpSp>
        <p:sp>
          <p:nvSpPr>
            <p:cNvPr id="57" name="Freeform 56"/>
            <p:cNvSpPr>
              <a:spLocks noEditPoints="1"/>
            </p:cNvSpPr>
            <p:nvPr>
              <p:custDataLst>
                <p:tags r:id="rId29"/>
              </p:custDataLst>
            </p:nvPr>
          </p:nvSpPr>
          <p:spPr bwMode="gray">
            <a:xfrm>
              <a:off x="4486817" y="1911745"/>
              <a:ext cx="170366" cy="247032"/>
            </a:xfrm>
            <a:custGeom>
              <a:avLst/>
              <a:gdLst>
                <a:gd name="T0" fmla="*/ 81 w 102"/>
                <a:gd name="T1" fmla="*/ 133 h 148"/>
                <a:gd name="T2" fmla="*/ 34 w 102"/>
                <a:gd name="T3" fmla="*/ 148 h 148"/>
                <a:gd name="T4" fmla="*/ 19 w 102"/>
                <a:gd name="T5" fmla="*/ 94 h 148"/>
                <a:gd name="T6" fmla="*/ 27 w 102"/>
                <a:gd name="T7" fmla="*/ 102 h 148"/>
                <a:gd name="T8" fmla="*/ 42 w 102"/>
                <a:gd name="T9" fmla="*/ 105 h 148"/>
                <a:gd name="T10" fmla="*/ 61 w 102"/>
                <a:gd name="T11" fmla="*/ 102 h 148"/>
                <a:gd name="T12" fmla="*/ 79 w 102"/>
                <a:gd name="T13" fmla="*/ 98 h 148"/>
                <a:gd name="T14" fmla="*/ 83 w 102"/>
                <a:gd name="T15" fmla="*/ 94 h 148"/>
                <a:gd name="T16" fmla="*/ 83 w 102"/>
                <a:gd name="T17" fmla="*/ 57 h 148"/>
                <a:gd name="T18" fmla="*/ 97 w 102"/>
                <a:gd name="T19" fmla="*/ 64 h 148"/>
                <a:gd name="T20" fmla="*/ 79 w 102"/>
                <a:gd name="T21" fmla="*/ 69 h 148"/>
                <a:gd name="T22" fmla="*/ 88 w 102"/>
                <a:gd name="T23" fmla="*/ 81 h 148"/>
                <a:gd name="T24" fmla="*/ 69 w 102"/>
                <a:gd name="T25" fmla="*/ 78 h 148"/>
                <a:gd name="T26" fmla="*/ 74 w 102"/>
                <a:gd name="T27" fmla="*/ 93 h 148"/>
                <a:gd name="T28" fmla="*/ 57 w 102"/>
                <a:gd name="T29" fmla="*/ 83 h 148"/>
                <a:gd name="T30" fmla="*/ 55 w 102"/>
                <a:gd name="T31" fmla="*/ 99 h 148"/>
                <a:gd name="T32" fmla="*/ 44 w 102"/>
                <a:gd name="T33" fmla="*/ 83 h 148"/>
                <a:gd name="T34" fmla="*/ 35 w 102"/>
                <a:gd name="T35" fmla="*/ 97 h 148"/>
                <a:gd name="T36" fmla="*/ 31 w 102"/>
                <a:gd name="T37" fmla="*/ 79 h 148"/>
                <a:gd name="T38" fmla="*/ 21 w 102"/>
                <a:gd name="T39" fmla="*/ 88 h 148"/>
                <a:gd name="T40" fmla="*/ 22 w 102"/>
                <a:gd name="T41" fmla="*/ 69 h 148"/>
                <a:gd name="T42" fmla="*/ 11 w 102"/>
                <a:gd name="T43" fmla="*/ 75 h 148"/>
                <a:gd name="T44" fmla="*/ 17 w 102"/>
                <a:gd name="T45" fmla="*/ 57 h 148"/>
                <a:gd name="T46" fmla="*/ 2 w 102"/>
                <a:gd name="T47" fmla="*/ 55 h 148"/>
                <a:gd name="T48" fmla="*/ 17 w 102"/>
                <a:gd name="T49" fmla="*/ 44 h 148"/>
                <a:gd name="T50" fmla="*/ 3 w 102"/>
                <a:gd name="T51" fmla="*/ 36 h 148"/>
                <a:gd name="T52" fmla="*/ 22 w 102"/>
                <a:gd name="T53" fmla="*/ 31 h 148"/>
                <a:gd name="T54" fmla="*/ 12 w 102"/>
                <a:gd name="T55" fmla="*/ 19 h 148"/>
                <a:gd name="T56" fmla="*/ 31 w 102"/>
                <a:gd name="T57" fmla="*/ 22 h 148"/>
                <a:gd name="T58" fmla="*/ 27 w 102"/>
                <a:gd name="T59" fmla="*/ 7 h 148"/>
                <a:gd name="T60" fmla="*/ 43 w 102"/>
                <a:gd name="T61" fmla="*/ 17 h 148"/>
                <a:gd name="T62" fmla="*/ 45 w 102"/>
                <a:gd name="T63" fmla="*/ 1 h 148"/>
                <a:gd name="T64" fmla="*/ 57 w 102"/>
                <a:gd name="T65" fmla="*/ 17 h 148"/>
                <a:gd name="T66" fmla="*/ 65 w 102"/>
                <a:gd name="T67" fmla="*/ 3 h 148"/>
                <a:gd name="T68" fmla="*/ 69 w 102"/>
                <a:gd name="T69" fmla="*/ 22 h 148"/>
                <a:gd name="T70" fmla="*/ 79 w 102"/>
                <a:gd name="T71" fmla="*/ 12 h 148"/>
                <a:gd name="T72" fmla="*/ 78 w 102"/>
                <a:gd name="T73" fmla="*/ 31 h 148"/>
                <a:gd name="T74" fmla="*/ 89 w 102"/>
                <a:gd name="T75" fmla="*/ 26 h 148"/>
                <a:gd name="T76" fmla="*/ 83 w 102"/>
                <a:gd name="T77" fmla="*/ 43 h 148"/>
                <a:gd name="T78" fmla="*/ 99 w 102"/>
                <a:gd name="T79" fmla="*/ 45 h 148"/>
                <a:gd name="T80" fmla="*/ 50 w 102"/>
                <a:gd name="T81" fmla="*/ 18 h 148"/>
                <a:gd name="T82" fmla="*/ 82 w 102"/>
                <a:gd name="T83" fmla="*/ 50 h 148"/>
                <a:gd name="T84" fmla="*/ 25 w 102"/>
                <a:gd name="T85" fmla="*/ 50 h 1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2" h="148">
                  <a:moveTo>
                    <a:pt x="83" y="94"/>
                  </a:moveTo>
                  <a:cubicBezTo>
                    <a:pt x="102" y="131"/>
                    <a:pt x="102" y="131"/>
                    <a:pt x="102" y="131"/>
                  </a:cubicBezTo>
                  <a:cubicBezTo>
                    <a:pt x="81" y="133"/>
                    <a:pt x="81" y="133"/>
                    <a:pt x="81" y="133"/>
                  </a:cubicBezTo>
                  <a:cubicBezTo>
                    <a:pt x="68" y="148"/>
                    <a:pt x="68" y="148"/>
                    <a:pt x="68" y="148"/>
                  </a:cubicBezTo>
                  <a:cubicBezTo>
                    <a:pt x="51" y="121"/>
                    <a:pt x="51" y="121"/>
                    <a:pt x="51" y="121"/>
                  </a:cubicBezTo>
                  <a:cubicBezTo>
                    <a:pt x="34" y="148"/>
                    <a:pt x="34" y="148"/>
                    <a:pt x="34" y="148"/>
                  </a:cubicBezTo>
                  <a:cubicBezTo>
                    <a:pt x="20" y="133"/>
                    <a:pt x="20" y="133"/>
                    <a:pt x="20" y="133"/>
                  </a:cubicBezTo>
                  <a:cubicBezTo>
                    <a:pt x="0" y="131"/>
                    <a:pt x="0" y="131"/>
                    <a:pt x="0" y="131"/>
                  </a:cubicBezTo>
                  <a:cubicBezTo>
                    <a:pt x="19" y="94"/>
                    <a:pt x="19" y="94"/>
                    <a:pt x="19" y="94"/>
                  </a:cubicBezTo>
                  <a:cubicBezTo>
                    <a:pt x="19" y="94"/>
                    <a:pt x="19" y="94"/>
                    <a:pt x="19" y="94"/>
                  </a:cubicBezTo>
                  <a:cubicBezTo>
                    <a:pt x="20" y="95"/>
                    <a:pt x="20" y="96"/>
                    <a:pt x="21" y="98"/>
                  </a:cubicBezTo>
                  <a:cubicBezTo>
                    <a:pt x="22" y="100"/>
                    <a:pt x="25" y="101"/>
                    <a:pt x="27" y="102"/>
                  </a:cubicBezTo>
                  <a:cubicBezTo>
                    <a:pt x="30" y="103"/>
                    <a:pt x="32" y="104"/>
                    <a:pt x="34" y="104"/>
                  </a:cubicBezTo>
                  <a:cubicBezTo>
                    <a:pt x="36" y="104"/>
                    <a:pt x="38" y="103"/>
                    <a:pt x="39" y="102"/>
                  </a:cubicBezTo>
                  <a:cubicBezTo>
                    <a:pt x="40" y="103"/>
                    <a:pt x="41" y="104"/>
                    <a:pt x="42" y="105"/>
                  </a:cubicBezTo>
                  <a:cubicBezTo>
                    <a:pt x="44" y="106"/>
                    <a:pt x="47" y="107"/>
                    <a:pt x="50" y="107"/>
                  </a:cubicBezTo>
                  <a:cubicBezTo>
                    <a:pt x="53" y="107"/>
                    <a:pt x="56" y="106"/>
                    <a:pt x="58" y="105"/>
                  </a:cubicBezTo>
                  <a:cubicBezTo>
                    <a:pt x="59" y="104"/>
                    <a:pt x="60" y="103"/>
                    <a:pt x="61" y="102"/>
                  </a:cubicBezTo>
                  <a:cubicBezTo>
                    <a:pt x="63" y="103"/>
                    <a:pt x="65" y="104"/>
                    <a:pt x="67" y="104"/>
                  </a:cubicBezTo>
                  <a:cubicBezTo>
                    <a:pt x="69" y="104"/>
                    <a:pt x="70" y="103"/>
                    <a:pt x="73" y="102"/>
                  </a:cubicBezTo>
                  <a:cubicBezTo>
                    <a:pt x="76" y="101"/>
                    <a:pt x="78" y="100"/>
                    <a:pt x="79" y="98"/>
                  </a:cubicBezTo>
                  <a:cubicBezTo>
                    <a:pt x="80" y="96"/>
                    <a:pt x="81" y="95"/>
                    <a:pt x="81" y="94"/>
                  </a:cubicBezTo>
                  <a:cubicBezTo>
                    <a:pt x="82" y="94"/>
                    <a:pt x="82" y="94"/>
                    <a:pt x="82" y="94"/>
                  </a:cubicBezTo>
                  <a:cubicBezTo>
                    <a:pt x="82" y="94"/>
                    <a:pt x="82" y="94"/>
                    <a:pt x="83" y="94"/>
                  </a:cubicBezTo>
                  <a:close/>
                  <a:moveTo>
                    <a:pt x="100" y="50"/>
                  </a:moveTo>
                  <a:cubicBezTo>
                    <a:pt x="100" y="52"/>
                    <a:pt x="100" y="54"/>
                    <a:pt x="99" y="55"/>
                  </a:cubicBezTo>
                  <a:cubicBezTo>
                    <a:pt x="98" y="57"/>
                    <a:pt x="86" y="57"/>
                    <a:pt x="83" y="57"/>
                  </a:cubicBezTo>
                  <a:cubicBezTo>
                    <a:pt x="83" y="57"/>
                    <a:pt x="83" y="57"/>
                    <a:pt x="83" y="57"/>
                  </a:cubicBezTo>
                  <a:cubicBezTo>
                    <a:pt x="83" y="57"/>
                    <a:pt x="83" y="57"/>
                    <a:pt x="83" y="57"/>
                  </a:cubicBezTo>
                  <a:cubicBezTo>
                    <a:pt x="85" y="58"/>
                    <a:pt x="97" y="62"/>
                    <a:pt x="97" y="64"/>
                  </a:cubicBezTo>
                  <a:cubicBezTo>
                    <a:pt x="97" y="65"/>
                    <a:pt x="97" y="67"/>
                    <a:pt x="96" y="69"/>
                  </a:cubicBezTo>
                  <a:cubicBezTo>
                    <a:pt x="94" y="74"/>
                    <a:pt x="91" y="75"/>
                    <a:pt x="89" y="75"/>
                  </a:cubicBezTo>
                  <a:cubicBezTo>
                    <a:pt x="88" y="75"/>
                    <a:pt x="79" y="69"/>
                    <a:pt x="79" y="69"/>
                  </a:cubicBezTo>
                  <a:cubicBezTo>
                    <a:pt x="78" y="69"/>
                    <a:pt x="78" y="69"/>
                    <a:pt x="78" y="69"/>
                  </a:cubicBezTo>
                  <a:cubicBezTo>
                    <a:pt x="78" y="69"/>
                    <a:pt x="78" y="69"/>
                    <a:pt x="78" y="69"/>
                  </a:cubicBezTo>
                  <a:cubicBezTo>
                    <a:pt x="79" y="70"/>
                    <a:pt x="89" y="79"/>
                    <a:pt x="88" y="81"/>
                  </a:cubicBezTo>
                  <a:cubicBezTo>
                    <a:pt x="88" y="82"/>
                    <a:pt x="87" y="84"/>
                    <a:pt x="85" y="85"/>
                  </a:cubicBezTo>
                  <a:cubicBezTo>
                    <a:pt x="83" y="87"/>
                    <a:pt x="82" y="88"/>
                    <a:pt x="79" y="88"/>
                  </a:cubicBezTo>
                  <a:cubicBezTo>
                    <a:pt x="78" y="88"/>
                    <a:pt x="70" y="79"/>
                    <a:pt x="69" y="78"/>
                  </a:cubicBezTo>
                  <a:cubicBezTo>
                    <a:pt x="69" y="78"/>
                    <a:pt x="69" y="78"/>
                    <a:pt x="69" y="78"/>
                  </a:cubicBezTo>
                  <a:cubicBezTo>
                    <a:pt x="69" y="79"/>
                    <a:pt x="69" y="79"/>
                    <a:pt x="69" y="79"/>
                  </a:cubicBezTo>
                  <a:cubicBezTo>
                    <a:pt x="70" y="80"/>
                    <a:pt x="75" y="91"/>
                    <a:pt x="74" y="93"/>
                  </a:cubicBezTo>
                  <a:cubicBezTo>
                    <a:pt x="73" y="94"/>
                    <a:pt x="71" y="95"/>
                    <a:pt x="69" y="96"/>
                  </a:cubicBezTo>
                  <a:cubicBezTo>
                    <a:pt x="68" y="97"/>
                    <a:pt x="66" y="97"/>
                    <a:pt x="65" y="97"/>
                  </a:cubicBezTo>
                  <a:cubicBezTo>
                    <a:pt x="62" y="97"/>
                    <a:pt x="58" y="85"/>
                    <a:pt x="57" y="83"/>
                  </a:cubicBezTo>
                  <a:cubicBezTo>
                    <a:pt x="57" y="83"/>
                    <a:pt x="57" y="83"/>
                    <a:pt x="57" y="83"/>
                  </a:cubicBezTo>
                  <a:cubicBezTo>
                    <a:pt x="57" y="83"/>
                    <a:pt x="57" y="83"/>
                    <a:pt x="57" y="83"/>
                  </a:cubicBezTo>
                  <a:cubicBezTo>
                    <a:pt x="57" y="85"/>
                    <a:pt x="57" y="98"/>
                    <a:pt x="55" y="99"/>
                  </a:cubicBezTo>
                  <a:cubicBezTo>
                    <a:pt x="54" y="100"/>
                    <a:pt x="52" y="100"/>
                    <a:pt x="50" y="100"/>
                  </a:cubicBezTo>
                  <a:cubicBezTo>
                    <a:pt x="48" y="100"/>
                    <a:pt x="46" y="100"/>
                    <a:pt x="45" y="99"/>
                  </a:cubicBezTo>
                  <a:cubicBezTo>
                    <a:pt x="43" y="98"/>
                    <a:pt x="44" y="85"/>
                    <a:pt x="44" y="83"/>
                  </a:cubicBezTo>
                  <a:cubicBezTo>
                    <a:pt x="44" y="83"/>
                    <a:pt x="44" y="83"/>
                    <a:pt x="44" y="83"/>
                  </a:cubicBezTo>
                  <a:cubicBezTo>
                    <a:pt x="43" y="83"/>
                    <a:pt x="43" y="83"/>
                    <a:pt x="43" y="83"/>
                  </a:cubicBezTo>
                  <a:cubicBezTo>
                    <a:pt x="43" y="85"/>
                    <a:pt x="38" y="97"/>
                    <a:pt x="35" y="97"/>
                  </a:cubicBezTo>
                  <a:cubicBezTo>
                    <a:pt x="34" y="97"/>
                    <a:pt x="33" y="97"/>
                    <a:pt x="31" y="96"/>
                  </a:cubicBezTo>
                  <a:cubicBezTo>
                    <a:pt x="29" y="95"/>
                    <a:pt x="28" y="94"/>
                    <a:pt x="27" y="93"/>
                  </a:cubicBezTo>
                  <a:cubicBezTo>
                    <a:pt x="25" y="91"/>
                    <a:pt x="31" y="80"/>
                    <a:pt x="31" y="79"/>
                  </a:cubicBezTo>
                  <a:cubicBezTo>
                    <a:pt x="32" y="78"/>
                    <a:pt x="32" y="78"/>
                    <a:pt x="32" y="78"/>
                  </a:cubicBezTo>
                  <a:cubicBezTo>
                    <a:pt x="31" y="78"/>
                    <a:pt x="31" y="78"/>
                    <a:pt x="31" y="78"/>
                  </a:cubicBezTo>
                  <a:cubicBezTo>
                    <a:pt x="30" y="79"/>
                    <a:pt x="22" y="88"/>
                    <a:pt x="21" y="88"/>
                  </a:cubicBezTo>
                  <a:cubicBezTo>
                    <a:pt x="19" y="88"/>
                    <a:pt x="17" y="87"/>
                    <a:pt x="15" y="85"/>
                  </a:cubicBezTo>
                  <a:cubicBezTo>
                    <a:pt x="14" y="84"/>
                    <a:pt x="12" y="82"/>
                    <a:pt x="12" y="81"/>
                  </a:cubicBezTo>
                  <a:cubicBezTo>
                    <a:pt x="12" y="79"/>
                    <a:pt x="21" y="70"/>
                    <a:pt x="22" y="69"/>
                  </a:cubicBezTo>
                  <a:cubicBezTo>
                    <a:pt x="22" y="69"/>
                    <a:pt x="22" y="69"/>
                    <a:pt x="22" y="69"/>
                  </a:cubicBezTo>
                  <a:cubicBezTo>
                    <a:pt x="22" y="69"/>
                    <a:pt x="22" y="69"/>
                    <a:pt x="22" y="69"/>
                  </a:cubicBezTo>
                  <a:cubicBezTo>
                    <a:pt x="21" y="69"/>
                    <a:pt x="12" y="75"/>
                    <a:pt x="11" y="75"/>
                  </a:cubicBezTo>
                  <a:cubicBezTo>
                    <a:pt x="9" y="75"/>
                    <a:pt x="6" y="74"/>
                    <a:pt x="4" y="69"/>
                  </a:cubicBezTo>
                  <a:cubicBezTo>
                    <a:pt x="3" y="67"/>
                    <a:pt x="3" y="65"/>
                    <a:pt x="3" y="64"/>
                  </a:cubicBezTo>
                  <a:cubicBezTo>
                    <a:pt x="4" y="62"/>
                    <a:pt x="15" y="58"/>
                    <a:pt x="17" y="57"/>
                  </a:cubicBezTo>
                  <a:cubicBezTo>
                    <a:pt x="17" y="57"/>
                    <a:pt x="17" y="57"/>
                    <a:pt x="17" y="57"/>
                  </a:cubicBezTo>
                  <a:cubicBezTo>
                    <a:pt x="17" y="57"/>
                    <a:pt x="17" y="57"/>
                    <a:pt x="17" y="57"/>
                  </a:cubicBezTo>
                  <a:cubicBezTo>
                    <a:pt x="15" y="57"/>
                    <a:pt x="3" y="57"/>
                    <a:pt x="2" y="55"/>
                  </a:cubicBezTo>
                  <a:cubicBezTo>
                    <a:pt x="1" y="54"/>
                    <a:pt x="0" y="52"/>
                    <a:pt x="0" y="50"/>
                  </a:cubicBezTo>
                  <a:cubicBezTo>
                    <a:pt x="0" y="48"/>
                    <a:pt x="1" y="46"/>
                    <a:pt x="2" y="45"/>
                  </a:cubicBezTo>
                  <a:cubicBezTo>
                    <a:pt x="3" y="43"/>
                    <a:pt x="15" y="44"/>
                    <a:pt x="17" y="44"/>
                  </a:cubicBezTo>
                  <a:cubicBezTo>
                    <a:pt x="17" y="44"/>
                    <a:pt x="17" y="44"/>
                    <a:pt x="17" y="44"/>
                  </a:cubicBezTo>
                  <a:cubicBezTo>
                    <a:pt x="17" y="43"/>
                    <a:pt x="17" y="43"/>
                    <a:pt x="17" y="43"/>
                  </a:cubicBezTo>
                  <a:cubicBezTo>
                    <a:pt x="15" y="43"/>
                    <a:pt x="4" y="39"/>
                    <a:pt x="3" y="36"/>
                  </a:cubicBezTo>
                  <a:cubicBezTo>
                    <a:pt x="3" y="35"/>
                    <a:pt x="3" y="33"/>
                    <a:pt x="4" y="31"/>
                  </a:cubicBezTo>
                  <a:cubicBezTo>
                    <a:pt x="6" y="26"/>
                    <a:pt x="9" y="26"/>
                    <a:pt x="11" y="26"/>
                  </a:cubicBezTo>
                  <a:cubicBezTo>
                    <a:pt x="12" y="26"/>
                    <a:pt x="21" y="31"/>
                    <a:pt x="22" y="31"/>
                  </a:cubicBezTo>
                  <a:cubicBezTo>
                    <a:pt x="22" y="32"/>
                    <a:pt x="22" y="32"/>
                    <a:pt x="22" y="32"/>
                  </a:cubicBezTo>
                  <a:cubicBezTo>
                    <a:pt x="22" y="31"/>
                    <a:pt x="22" y="31"/>
                    <a:pt x="22" y="31"/>
                  </a:cubicBezTo>
                  <a:cubicBezTo>
                    <a:pt x="21" y="30"/>
                    <a:pt x="12" y="22"/>
                    <a:pt x="12" y="19"/>
                  </a:cubicBezTo>
                  <a:cubicBezTo>
                    <a:pt x="12" y="18"/>
                    <a:pt x="14" y="16"/>
                    <a:pt x="15" y="15"/>
                  </a:cubicBezTo>
                  <a:cubicBezTo>
                    <a:pt x="17" y="13"/>
                    <a:pt x="19" y="12"/>
                    <a:pt x="21" y="12"/>
                  </a:cubicBezTo>
                  <a:cubicBezTo>
                    <a:pt x="22" y="12"/>
                    <a:pt x="30" y="20"/>
                    <a:pt x="31" y="22"/>
                  </a:cubicBezTo>
                  <a:cubicBezTo>
                    <a:pt x="32" y="22"/>
                    <a:pt x="32" y="22"/>
                    <a:pt x="32" y="22"/>
                  </a:cubicBezTo>
                  <a:cubicBezTo>
                    <a:pt x="31" y="22"/>
                    <a:pt x="31" y="22"/>
                    <a:pt x="31" y="22"/>
                  </a:cubicBezTo>
                  <a:cubicBezTo>
                    <a:pt x="31" y="20"/>
                    <a:pt x="25" y="9"/>
                    <a:pt x="27" y="7"/>
                  </a:cubicBezTo>
                  <a:cubicBezTo>
                    <a:pt x="28" y="6"/>
                    <a:pt x="29" y="5"/>
                    <a:pt x="31" y="4"/>
                  </a:cubicBezTo>
                  <a:cubicBezTo>
                    <a:pt x="33" y="3"/>
                    <a:pt x="34" y="3"/>
                    <a:pt x="35" y="3"/>
                  </a:cubicBezTo>
                  <a:cubicBezTo>
                    <a:pt x="38" y="3"/>
                    <a:pt x="43" y="15"/>
                    <a:pt x="43" y="17"/>
                  </a:cubicBezTo>
                  <a:cubicBezTo>
                    <a:pt x="44" y="17"/>
                    <a:pt x="44" y="17"/>
                    <a:pt x="44" y="17"/>
                  </a:cubicBezTo>
                  <a:cubicBezTo>
                    <a:pt x="44" y="17"/>
                    <a:pt x="44" y="17"/>
                    <a:pt x="44" y="17"/>
                  </a:cubicBezTo>
                  <a:cubicBezTo>
                    <a:pt x="44" y="15"/>
                    <a:pt x="43" y="3"/>
                    <a:pt x="45" y="1"/>
                  </a:cubicBezTo>
                  <a:cubicBezTo>
                    <a:pt x="46" y="1"/>
                    <a:pt x="48" y="0"/>
                    <a:pt x="50" y="0"/>
                  </a:cubicBezTo>
                  <a:cubicBezTo>
                    <a:pt x="52" y="0"/>
                    <a:pt x="54" y="1"/>
                    <a:pt x="55" y="1"/>
                  </a:cubicBezTo>
                  <a:cubicBezTo>
                    <a:pt x="57" y="3"/>
                    <a:pt x="57" y="15"/>
                    <a:pt x="57" y="17"/>
                  </a:cubicBezTo>
                  <a:cubicBezTo>
                    <a:pt x="57" y="17"/>
                    <a:pt x="57" y="17"/>
                    <a:pt x="57" y="17"/>
                  </a:cubicBezTo>
                  <a:cubicBezTo>
                    <a:pt x="57" y="17"/>
                    <a:pt x="57" y="17"/>
                    <a:pt x="57" y="17"/>
                  </a:cubicBezTo>
                  <a:cubicBezTo>
                    <a:pt x="58" y="15"/>
                    <a:pt x="62" y="3"/>
                    <a:pt x="65" y="3"/>
                  </a:cubicBezTo>
                  <a:cubicBezTo>
                    <a:pt x="66" y="3"/>
                    <a:pt x="68" y="3"/>
                    <a:pt x="69" y="4"/>
                  </a:cubicBezTo>
                  <a:cubicBezTo>
                    <a:pt x="71" y="5"/>
                    <a:pt x="73" y="6"/>
                    <a:pt x="74" y="7"/>
                  </a:cubicBezTo>
                  <a:cubicBezTo>
                    <a:pt x="75" y="9"/>
                    <a:pt x="70" y="20"/>
                    <a:pt x="69" y="22"/>
                  </a:cubicBezTo>
                  <a:cubicBezTo>
                    <a:pt x="69" y="22"/>
                    <a:pt x="69" y="22"/>
                    <a:pt x="69" y="22"/>
                  </a:cubicBezTo>
                  <a:cubicBezTo>
                    <a:pt x="69" y="22"/>
                    <a:pt x="69" y="22"/>
                    <a:pt x="69" y="22"/>
                  </a:cubicBezTo>
                  <a:cubicBezTo>
                    <a:pt x="70" y="20"/>
                    <a:pt x="78" y="12"/>
                    <a:pt x="79" y="12"/>
                  </a:cubicBezTo>
                  <a:cubicBezTo>
                    <a:pt x="82" y="12"/>
                    <a:pt x="83" y="13"/>
                    <a:pt x="85" y="15"/>
                  </a:cubicBezTo>
                  <a:cubicBezTo>
                    <a:pt x="87" y="16"/>
                    <a:pt x="88" y="18"/>
                    <a:pt x="88" y="19"/>
                  </a:cubicBezTo>
                  <a:cubicBezTo>
                    <a:pt x="89" y="22"/>
                    <a:pt x="79" y="30"/>
                    <a:pt x="78" y="31"/>
                  </a:cubicBezTo>
                  <a:cubicBezTo>
                    <a:pt x="78" y="32"/>
                    <a:pt x="78" y="32"/>
                    <a:pt x="78" y="32"/>
                  </a:cubicBezTo>
                  <a:cubicBezTo>
                    <a:pt x="79" y="31"/>
                    <a:pt x="79" y="31"/>
                    <a:pt x="79" y="31"/>
                  </a:cubicBezTo>
                  <a:cubicBezTo>
                    <a:pt x="79" y="31"/>
                    <a:pt x="88" y="26"/>
                    <a:pt x="89" y="26"/>
                  </a:cubicBezTo>
                  <a:cubicBezTo>
                    <a:pt x="91" y="26"/>
                    <a:pt x="94" y="26"/>
                    <a:pt x="96" y="31"/>
                  </a:cubicBezTo>
                  <a:cubicBezTo>
                    <a:pt x="97" y="33"/>
                    <a:pt x="97" y="35"/>
                    <a:pt x="97" y="36"/>
                  </a:cubicBezTo>
                  <a:cubicBezTo>
                    <a:pt x="97" y="39"/>
                    <a:pt x="85" y="43"/>
                    <a:pt x="83" y="43"/>
                  </a:cubicBezTo>
                  <a:cubicBezTo>
                    <a:pt x="83" y="44"/>
                    <a:pt x="83" y="44"/>
                    <a:pt x="83" y="44"/>
                  </a:cubicBezTo>
                  <a:cubicBezTo>
                    <a:pt x="83" y="44"/>
                    <a:pt x="83" y="44"/>
                    <a:pt x="83" y="44"/>
                  </a:cubicBezTo>
                  <a:cubicBezTo>
                    <a:pt x="86" y="44"/>
                    <a:pt x="98" y="43"/>
                    <a:pt x="99" y="45"/>
                  </a:cubicBezTo>
                  <a:cubicBezTo>
                    <a:pt x="100" y="46"/>
                    <a:pt x="100" y="48"/>
                    <a:pt x="100" y="50"/>
                  </a:cubicBezTo>
                  <a:close/>
                  <a:moveTo>
                    <a:pt x="82" y="50"/>
                  </a:moveTo>
                  <a:cubicBezTo>
                    <a:pt x="82" y="32"/>
                    <a:pt x="68" y="18"/>
                    <a:pt x="50" y="18"/>
                  </a:cubicBezTo>
                  <a:cubicBezTo>
                    <a:pt x="32" y="18"/>
                    <a:pt x="18" y="32"/>
                    <a:pt x="18" y="50"/>
                  </a:cubicBezTo>
                  <a:cubicBezTo>
                    <a:pt x="18" y="68"/>
                    <a:pt x="32" y="82"/>
                    <a:pt x="50" y="82"/>
                  </a:cubicBezTo>
                  <a:cubicBezTo>
                    <a:pt x="68" y="82"/>
                    <a:pt x="82" y="68"/>
                    <a:pt x="82" y="50"/>
                  </a:cubicBezTo>
                  <a:close/>
                  <a:moveTo>
                    <a:pt x="75" y="50"/>
                  </a:moveTo>
                  <a:cubicBezTo>
                    <a:pt x="75" y="36"/>
                    <a:pt x="64" y="25"/>
                    <a:pt x="50" y="25"/>
                  </a:cubicBezTo>
                  <a:cubicBezTo>
                    <a:pt x="36" y="25"/>
                    <a:pt x="25" y="36"/>
                    <a:pt x="25" y="50"/>
                  </a:cubicBezTo>
                  <a:cubicBezTo>
                    <a:pt x="25" y="64"/>
                    <a:pt x="36" y="75"/>
                    <a:pt x="50" y="75"/>
                  </a:cubicBezTo>
                  <a:cubicBezTo>
                    <a:pt x="64" y="75"/>
                    <a:pt x="75" y="64"/>
                    <a:pt x="75" y="50"/>
                  </a:cubicBezTo>
                  <a:close/>
                </a:path>
              </a:pathLst>
            </a:custGeom>
            <a:solidFill>
              <a:schemeClr val="bg1"/>
            </a:solidFill>
            <a:ln>
              <a:noFill/>
            </a:ln>
            <a:extLst/>
          </p:spPr>
          <p:txBody>
            <a:bodyPr/>
            <a:lstStyle/>
            <a:p>
              <a:endParaRPr lang="en-CA" dirty="0">
                <a:solidFill>
                  <a:srgbClr val="000000"/>
                </a:solidFill>
              </a:endParaRPr>
            </a:p>
          </p:txBody>
        </p:sp>
      </p:grpSp>
      <p:grpSp>
        <p:nvGrpSpPr>
          <p:cNvPr id="66" name="Gruppieren 65"/>
          <p:cNvGrpSpPr/>
          <p:nvPr>
            <p:custDataLst>
              <p:tags r:id="rId11"/>
            </p:custDataLst>
          </p:nvPr>
        </p:nvGrpSpPr>
        <p:grpSpPr bwMode="gray">
          <a:xfrm>
            <a:off x="7272452" y="1419398"/>
            <a:ext cx="504056" cy="511199"/>
            <a:chOff x="7272452" y="1419398"/>
            <a:chExt cx="504056" cy="511199"/>
          </a:xfrm>
        </p:grpSpPr>
        <p:grpSp>
          <p:nvGrpSpPr>
            <p:cNvPr id="67" name="Gruppieren 66"/>
            <p:cNvGrpSpPr/>
            <p:nvPr>
              <p:custDataLst>
                <p:tags r:id="rId19"/>
              </p:custDataLst>
            </p:nvPr>
          </p:nvGrpSpPr>
          <p:grpSpPr bwMode="gray">
            <a:xfrm>
              <a:off x="7272452" y="1419398"/>
              <a:ext cx="504056" cy="511199"/>
              <a:chOff x="-1133500" y="2266926"/>
              <a:chExt cx="792000" cy="803223"/>
            </a:xfrm>
          </p:grpSpPr>
          <p:sp>
            <p:nvSpPr>
              <p:cNvPr id="69" name="Ellipse 68"/>
              <p:cNvSpPr/>
              <p:nvPr>
                <p:custDataLst>
                  <p:tags r:id="rId21"/>
                </p:custDataLst>
              </p:nvPr>
            </p:nvSpPr>
            <p:spPr bwMode="gray">
              <a:xfrm rot="10800000">
                <a:off x="-1133500" y="2266926"/>
                <a:ext cx="792000" cy="79192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ctr" anchorCtr="0"/>
              <a:lstStyle/>
              <a:p>
                <a:pPr algn="ctr"/>
                <a:endParaRPr lang="en-US" sz="1100" dirty="0" smtClean="0">
                  <a:solidFill>
                    <a:srgbClr val="000000"/>
                  </a:solidFill>
                </a:endParaRPr>
              </a:p>
            </p:txBody>
          </p:sp>
          <p:sp>
            <p:nvSpPr>
              <p:cNvPr id="70" name="Ellipse 69"/>
              <p:cNvSpPr/>
              <p:nvPr>
                <p:custDataLst>
                  <p:tags r:id="rId22"/>
                </p:custDataLst>
              </p:nvPr>
            </p:nvSpPr>
            <p:spPr bwMode="gray">
              <a:xfrm rot="10800000" flipV="1">
                <a:off x="-1098624" y="2301726"/>
                <a:ext cx="720000" cy="720000"/>
              </a:xfrm>
              <a:prstGeom prst="ellipse">
                <a:avLst/>
              </a:prstGeom>
              <a:solidFill>
                <a:schemeClr val="bg1"/>
              </a:solidFill>
              <a:ln w="635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00" dirty="0" smtClean="0">
                  <a:solidFill>
                    <a:srgbClr val="000000"/>
                  </a:solidFill>
                </a:endParaRPr>
              </a:p>
            </p:txBody>
          </p:sp>
          <p:sp>
            <p:nvSpPr>
              <p:cNvPr id="71" name="Ellipse 70"/>
              <p:cNvSpPr/>
              <p:nvPr>
                <p:custDataLst>
                  <p:tags r:id="rId23"/>
                </p:custDataLst>
              </p:nvPr>
            </p:nvSpPr>
            <p:spPr bwMode="gray">
              <a:xfrm rot="10800000" flipV="1">
                <a:off x="-1080624" y="2319726"/>
                <a:ext cx="684000" cy="684000"/>
              </a:xfrm>
              <a:prstGeom prst="ellipse">
                <a:avLst/>
              </a:prstGeom>
              <a:solidFill>
                <a:schemeClr val="bg1"/>
              </a:solidFill>
              <a:ln w="635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00" dirty="0" smtClean="0">
                  <a:solidFill>
                    <a:srgbClr val="000000"/>
                  </a:solidFill>
                </a:endParaRPr>
              </a:p>
            </p:txBody>
          </p:sp>
          <p:sp>
            <p:nvSpPr>
              <p:cNvPr id="72" name="Ellipse 71"/>
              <p:cNvSpPr/>
              <p:nvPr>
                <p:custDataLst>
                  <p:tags r:id="rId24"/>
                </p:custDataLst>
              </p:nvPr>
            </p:nvSpPr>
            <p:spPr bwMode="gray">
              <a:xfrm rot="10800000" flipV="1">
                <a:off x="-1062624" y="2337726"/>
                <a:ext cx="648000" cy="648000"/>
              </a:xfrm>
              <a:prstGeom prst="ellipse">
                <a:avLst/>
              </a:prstGeom>
              <a:solidFill>
                <a:schemeClr val="bg1"/>
              </a:solidFill>
              <a:ln w="635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00" dirty="0" smtClean="0">
                  <a:solidFill>
                    <a:srgbClr val="000000"/>
                  </a:solidFill>
                </a:endParaRPr>
              </a:p>
            </p:txBody>
          </p:sp>
          <p:sp>
            <p:nvSpPr>
              <p:cNvPr id="73" name="Gleichschenkliges Dreieck 72"/>
              <p:cNvSpPr/>
              <p:nvPr/>
            </p:nvSpPr>
            <p:spPr bwMode="gray">
              <a:xfrm rot="10800000" flipH="1">
                <a:off x="-799374" y="2934558"/>
                <a:ext cx="123750" cy="113130"/>
              </a:xfrm>
              <a:prstGeom prst="triangle">
                <a:avLst/>
              </a:prstGeom>
              <a:solidFill>
                <a:schemeClr val="bg1"/>
              </a:solidFill>
              <a:ln w="762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00" dirty="0" smtClean="0">
                  <a:solidFill>
                    <a:srgbClr val="000000"/>
                  </a:solidFill>
                </a:endParaRPr>
              </a:p>
            </p:txBody>
          </p:sp>
          <p:sp>
            <p:nvSpPr>
              <p:cNvPr id="74" name="Gleichschenkliges Dreieck 73"/>
              <p:cNvSpPr/>
              <p:nvPr>
                <p:custDataLst>
                  <p:tags r:id="rId25"/>
                </p:custDataLst>
              </p:nvPr>
            </p:nvSpPr>
            <p:spPr bwMode="gray">
              <a:xfrm rot="10800000" flipH="1">
                <a:off x="-799374" y="2957019"/>
                <a:ext cx="123750" cy="113130"/>
              </a:xfrm>
              <a:prstGeom prst="triangl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00" dirty="0" smtClean="0">
                  <a:solidFill>
                    <a:srgbClr val="000000"/>
                  </a:solidFill>
                </a:endParaRPr>
              </a:p>
            </p:txBody>
          </p:sp>
          <p:sp>
            <p:nvSpPr>
              <p:cNvPr id="75" name="Ellipse 74"/>
              <p:cNvSpPr/>
              <p:nvPr>
                <p:custDataLst>
                  <p:tags r:id="rId26"/>
                </p:custDataLst>
              </p:nvPr>
            </p:nvSpPr>
            <p:spPr bwMode="gray">
              <a:xfrm rot="10800000" flipV="1">
                <a:off x="-1044624" y="2355726"/>
                <a:ext cx="612000" cy="612000"/>
              </a:xfrm>
              <a:prstGeom prst="ellipse">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endParaRPr lang="en-US" b="1" dirty="0">
                  <a:solidFill>
                    <a:srgbClr val="FFFFFF"/>
                  </a:solidFill>
                </a:endParaRPr>
              </a:p>
            </p:txBody>
          </p:sp>
          <p:sp>
            <p:nvSpPr>
              <p:cNvPr id="76" name="Ellipse 75"/>
              <p:cNvSpPr/>
              <p:nvPr>
                <p:custDataLst>
                  <p:tags r:id="rId27"/>
                </p:custDataLst>
              </p:nvPr>
            </p:nvSpPr>
            <p:spPr bwMode="gray">
              <a:xfrm>
                <a:off x="-1062461" y="2346675"/>
                <a:ext cx="647672" cy="630103"/>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endParaRPr lang="en-US" sz="1100" dirty="0">
                  <a:solidFill>
                    <a:srgbClr val="FFFFFF"/>
                  </a:solidFill>
                </a:endParaRPr>
              </a:p>
            </p:txBody>
          </p:sp>
        </p:grpSp>
        <p:sp>
          <p:nvSpPr>
            <p:cNvPr id="68" name="Freeform 56"/>
            <p:cNvSpPr>
              <a:spLocks noEditPoints="1"/>
            </p:cNvSpPr>
            <p:nvPr>
              <p:custDataLst>
                <p:tags r:id="rId20"/>
              </p:custDataLst>
            </p:nvPr>
          </p:nvSpPr>
          <p:spPr bwMode="gray">
            <a:xfrm>
              <a:off x="7439297" y="1551481"/>
              <a:ext cx="170366" cy="247032"/>
            </a:xfrm>
            <a:custGeom>
              <a:avLst/>
              <a:gdLst>
                <a:gd name="T0" fmla="*/ 81 w 102"/>
                <a:gd name="T1" fmla="*/ 133 h 148"/>
                <a:gd name="T2" fmla="*/ 34 w 102"/>
                <a:gd name="T3" fmla="*/ 148 h 148"/>
                <a:gd name="T4" fmla="*/ 19 w 102"/>
                <a:gd name="T5" fmla="*/ 94 h 148"/>
                <a:gd name="T6" fmla="*/ 27 w 102"/>
                <a:gd name="T7" fmla="*/ 102 h 148"/>
                <a:gd name="T8" fmla="*/ 42 w 102"/>
                <a:gd name="T9" fmla="*/ 105 h 148"/>
                <a:gd name="T10" fmla="*/ 61 w 102"/>
                <a:gd name="T11" fmla="*/ 102 h 148"/>
                <a:gd name="T12" fmla="*/ 79 w 102"/>
                <a:gd name="T13" fmla="*/ 98 h 148"/>
                <a:gd name="T14" fmla="*/ 83 w 102"/>
                <a:gd name="T15" fmla="*/ 94 h 148"/>
                <a:gd name="T16" fmla="*/ 83 w 102"/>
                <a:gd name="T17" fmla="*/ 57 h 148"/>
                <a:gd name="T18" fmla="*/ 97 w 102"/>
                <a:gd name="T19" fmla="*/ 64 h 148"/>
                <a:gd name="T20" fmla="*/ 79 w 102"/>
                <a:gd name="T21" fmla="*/ 69 h 148"/>
                <a:gd name="T22" fmla="*/ 88 w 102"/>
                <a:gd name="T23" fmla="*/ 81 h 148"/>
                <a:gd name="T24" fmla="*/ 69 w 102"/>
                <a:gd name="T25" fmla="*/ 78 h 148"/>
                <a:gd name="T26" fmla="*/ 74 w 102"/>
                <a:gd name="T27" fmla="*/ 93 h 148"/>
                <a:gd name="T28" fmla="*/ 57 w 102"/>
                <a:gd name="T29" fmla="*/ 83 h 148"/>
                <a:gd name="T30" fmla="*/ 55 w 102"/>
                <a:gd name="T31" fmla="*/ 99 h 148"/>
                <a:gd name="T32" fmla="*/ 44 w 102"/>
                <a:gd name="T33" fmla="*/ 83 h 148"/>
                <a:gd name="T34" fmla="*/ 35 w 102"/>
                <a:gd name="T35" fmla="*/ 97 h 148"/>
                <a:gd name="T36" fmla="*/ 31 w 102"/>
                <a:gd name="T37" fmla="*/ 79 h 148"/>
                <a:gd name="T38" fmla="*/ 21 w 102"/>
                <a:gd name="T39" fmla="*/ 88 h 148"/>
                <a:gd name="T40" fmla="*/ 22 w 102"/>
                <a:gd name="T41" fmla="*/ 69 h 148"/>
                <a:gd name="T42" fmla="*/ 11 w 102"/>
                <a:gd name="T43" fmla="*/ 75 h 148"/>
                <a:gd name="T44" fmla="*/ 17 w 102"/>
                <a:gd name="T45" fmla="*/ 57 h 148"/>
                <a:gd name="T46" fmla="*/ 2 w 102"/>
                <a:gd name="T47" fmla="*/ 55 h 148"/>
                <a:gd name="T48" fmla="*/ 17 w 102"/>
                <a:gd name="T49" fmla="*/ 44 h 148"/>
                <a:gd name="T50" fmla="*/ 3 w 102"/>
                <a:gd name="T51" fmla="*/ 36 h 148"/>
                <a:gd name="T52" fmla="*/ 22 w 102"/>
                <a:gd name="T53" fmla="*/ 31 h 148"/>
                <a:gd name="T54" fmla="*/ 12 w 102"/>
                <a:gd name="T55" fmla="*/ 19 h 148"/>
                <a:gd name="T56" fmla="*/ 31 w 102"/>
                <a:gd name="T57" fmla="*/ 22 h 148"/>
                <a:gd name="T58" fmla="*/ 27 w 102"/>
                <a:gd name="T59" fmla="*/ 7 h 148"/>
                <a:gd name="T60" fmla="*/ 43 w 102"/>
                <a:gd name="T61" fmla="*/ 17 h 148"/>
                <a:gd name="T62" fmla="*/ 45 w 102"/>
                <a:gd name="T63" fmla="*/ 1 h 148"/>
                <a:gd name="T64" fmla="*/ 57 w 102"/>
                <a:gd name="T65" fmla="*/ 17 h 148"/>
                <a:gd name="T66" fmla="*/ 65 w 102"/>
                <a:gd name="T67" fmla="*/ 3 h 148"/>
                <a:gd name="T68" fmla="*/ 69 w 102"/>
                <a:gd name="T69" fmla="*/ 22 h 148"/>
                <a:gd name="T70" fmla="*/ 79 w 102"/>
                <a:gd name="T71" fmla="*/ 12 h 148"/>
                <a:gd name="T72" fmla="*/ 78 w 102"/>
                <a:gd name="T73" fmla="*/ 31 h 148"/>
                <a:gd name="T74" fmla="*/ 89 w 102"/>
                <a:gd name="T75" fmla="*/ 26 h 148"/>
                <a:gd name="T76" fmla="*/ 83 w 102"/>
                <a:gd name="T77" fmla="*/ 43 h 148"/>
                <a:gd name="T78" fmla="*/ 99 w 102"/>
                <a:gd name="T79" fmla="*/ 45 h 148"/>
                <a:gd name="T80" fmla="*/ 50 w 102"/>
                <a:gd name="T81" fmla="*/ 18 h 148"/>
                <a:gd name="T82" fmla="*/ 82 w 102"/>
                <a:gd name="T83" fmla="*/ 50 h 148"/>
                <a:gd name="T84" fmla="*/ 25 w 102"/>
                <a:gd name="T85" fmla="*/ 50 h 1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2" h="148">
                  <a:moveTo>
                    <a:pt x="83" y="94"/>
                  </a:moveTo>
                  <a:cubicBezTo>
                    <a:pt x="102" y="131"/>
                    <a:pt x="102" y="131"/>
                    <a:pt x="102" y="131"/>
                  </a:cubicBezTo>
                  <a:cubicBezTo>
                    <a:pt x="81" y="133"/>
                    <a:pt x="81" y="133"/>
                    <a:pt x="81" y="133"/>
                  </a:cubicBezTo>
                  <a:cubicBezTo>
                    <a:pt x="68" y="148"/>
                    <a:pt x="68" y="148"/>
                    <a:pt x="68" y="148"/>
                  </a:cubicBezTo>
                  <a:cubicBezTo>
                    <a:pt x="51" y="121"/>
                    <a:pt x="51" y="121"/>
                    <a:pt x="51" y="121"/>
                  </a:cubicBezTo>
                  <a:cubicBezTo>
                    <a:pt x="34" y="148"/>
                    <a:pt x="34" y="148"/>
                    <a:pt x="34" y="148"/>
                  </a:cubicBezTo>
                  <a:cubicBezTo>
                    <a:pt x="20" y="133"/>
                    <a:pt x="20" y="133"/>
                    <a:pt x="20" y="133"/>
                  </a:cubicBezTo>
                  <a:cubicBezTo>
                    <a:pt x="0" y="131"/>
                    <a:pt x="0" y="131"/>
                    <a:pt x="0" y="131"/>
                  </a:cubicBezTo>
                  <a:cubicBezTo>
                    <a:pt x="19" y="94"/>
                    <a:pt x="19" y="94"/>
                    <a:pt x="19" y="94"/>
                  </a:cubicBezTo>
                  <a:cubicBezTo>
                    <a:pt x="19" y="94"/>
                    <a:pt x="19" y="94"/>
                    <a:pt x="19" y="94"/>
                  </a:cubicBezTo>
                  <a:cubicBezTo>
                    <a:pt x="20" y="95"/>
                    <a:pt x="20" y="96"/>
                    <a:pt x="21" y="98"/>
                  </a:cubicBezTo>
                  <a:cubicBezTo>
                    <a:pt x="22" y="100"/>
                    <a:pt x="25" y="101"/>
                    <a:pt x="27" y="102"/>
                  </a:cubicBezTo>
                  <a:cubicBezTo>
                    <a:pt x="30" y="103"/>
                    <a:pt x="32" y="104"/>
                    <a:pt x="34" y="104"/>
                  </a:cubicBezTo>
                  <a:cubicBezTo>
                    <a:pt x="36" y="104"/>
                    <a:pt x="38" y="103"/>
                    <a:pt x="39" y="102"/>
                  </a:cubicBezTo>
                  <a:cubicBezTo>
                    <a:pt x="40" y="103"/>
                    <a:pt x="41" y="104"/>
                    <a:pt x="42" y="105"/>
                  </a:cubicBezTo>
                  <a:cubicBezTo>
                    <a:pt x="44" y="106"/>
                    <a:pt x="47" y="107"/>
                    <a:pt x="50" y="107"/>
                  </a:cubicBezTo>
                  <a:cubicBezTo>
                    <a:pt x="53" y="107"/>
                    <a:pt x="56" y="106"/>
                    <a:pt x="58" y="105"/>
                  </a:cubicBezTo>
                  <a:cubicBezTo>
                    <a:pt x="59" y="104"/>
                    <a:pt x="60" y="103"/>
                    <a:pt x="61" y="102"/>
                  </a:cubicBezTo>
                  <a:cubicBezTo>
                    <a:pt x="63" y="103"/>
                    <a:pt x="65" y="104"/>
                    <a:pt x="67" y="104"/>
                  </a:cubicBezTo>
                  <a:cubicBezTo>
                    <a:pt x="69" y="104"/>
                    <a:pt x="70" y="103"/>
                    <a:pt x="73" y="102"/>
                  </a:cubicBezTo>
                  <a:cubicBezTo>
                    <a:pt x="76" y="101"/>
                    <a:pt x="78" y="100"/>
                    <a:pt x="79" y="98"/>
                  </a:cubicBezTo>
                  <a:cubicBezTo>
                    <a:pt x="80" y="96"/>
                    <a:pt x="81" y="95"/>
                    <a:pt x="81" y="94"/>
                  </a:cubicBezTo>
                  <a:cubicBezTo>
                    <a:pt x="82" y="94"/>
                    <a:pt x="82" y="94"/>
                    <a:pt x="82" y="94"/>
                  </a:cubicBezTo>
                  <a:cubicBezTo>
                    <a:pt x="82" y="94"/>
                    <a:pt x="82" y="94"/>
                    <a:pt x="83" y="94"/>
                  </a:cubicBezTo>
                  <a:close/>
                  <a:moveTo>
                    <a:pt x="100" y="50"/>
                  </a:moveTo>
                  <a:cubicBezTo>
                    <a:pt x="100" y="52"/>
                    <a:pt x="100" y="54"/>
                    <a:pt x="99" y="55"/>
                  </a:cubicBezTo>
                  <a:cubicBezTo>
                    <a:pt x="98" y="57"/>
                    <a:pt x="86" y="57"/>
                    <a:pt x="83" y="57"/>
                  </a:cubicBezTo>
                  <a:cubicBezTo>
                    <a:pt x="83" y="57"/>
                    <a:pt x="83" y="57"/>
                    <a:pt x="83" y="57"/>
                  </a:cubicBezTo>
                  <a:cubicBezTo>
                    <a:pt x="83" y="57"/>
                    <a:pt x="83" y="57"/>
                    <a:pt x="83" y="57"/>
                  </a:cubicBezTo>
                  <a:cubicBezTo>
                    <a:pt x="85" y="58"/>
                    <a:pt x="97" y="62"/>
                    <a:pt x="97" y="64"/>
                  </a:cubicBezTo>
                  <a:cubicBezTo>
                    <a:pt x="97" y="65"/>
                    <a:pt x="97" y="67"/>
                    <a:pt x="96" y="69"/>
                  </a:cubicBezTo>
                  <a:cubicBezTo>
                    <a:pt x="94" y="74"/>
                    <a:pt x="91" y="75"/>
                    <a:pt x="89" y="75"/>
                  </a:cubicBezTo>
                  <a:cubicBezTo>
                    <a:pt x="88" y="75"/>
                    <a:pt x="79" y="69"/>
                    <a:pt x="79" y="69"/>
                  </a:cubicBezTo>
                  <a:cubicBezTo>
                    <a:pt x="78" y="69"/>
                    <a:pt x="78" y="69"/>
                    <a:pt x="78" y="69"/>
                  </a:cubicBezTo>
                  <a:cubicBezTo>
                    <a:pt x="78" y="69"/>
                    <a:pt x="78" y="69"/>
                    <a:pt x="78" y="69"/>
                  </a:cubicBezTo>
                  <a:cubicBezTo>
                    <a:pt x="79" y="70"/>
                    <a:pt x="89" y="79"/>
                    <a:pt x="88" y="81"/>
                  </a:cubicBezTo>
                  <a:cubicBezTo>
                    <a:pt x="88" y="82"/>
                    <a:pt x="87" y="84"/>
                    <a:pt x="85" y="85"/>
                  </a:cubicBezTo>
                  <a:cubicBezTo>
                    <a:pt x="83" y="87"/>
                    <a:pt x="82" y="88"/>
                    <a:pt x="79" y="88"/>
                  </a:cubicBezTo>
                  <a:cubicBezTo>
                    <a:pt x="78" y="88"/>
                    <a:pt x="70" y="79"/>
                    <a:pt x="69" y="78"/>
                  </a:cubicBezTo>
                  <a:cubicBezTo>
                    <a:pt x="69" y="78"/>
                    <a:pt x="69" y="78"/>
                    <a:pt x="69" y="78"/>
                  </a:cubicBezTo>
                  <a:cubicBezTo>
                    <a:pt x="69" y="79"/>
                    <a:pt x="69" y="79"/>
                    <a:pt x="69" y="79"/>
                  </a:cubicBezTo>
                  <a:cubicBezTo>
                    <a:pt x="70" y="80"/>
                    <a:pt x="75" y="91"/>
                    <a:pt x="74" y="93"/>
                  </a:cubicBezTo>
                  <a:cubicBezTo>
                    <a:pt x="73" y="94"/>
                    <a:pt x="71" y="95"/>
                    <a:pt x="69" y="96"/>
                  </a:cubicBezTo>
                  <a:cubicBezTo>
                    <a:pt x="68" y="97"/>
                    <a:pt x="66" y="97"/>
                    <a:pt x="65" y="97"/>
                  </a:cubicBezTo>
                  <a:cubicBezTo>
                    <a:pt x="62" y="97"/>
                    <a:pt x="58" y="85"/>
                    <a:pt x="57" y="83"/>
                  </a:cubicBezTo>
                  <a:cubicBezTo>
                    <a:pt x="57" y="83"/>
                    <a:pt x="57" y="83"/>
                    <a:pt x="57" y="83"/>
                  </a:cubicBezTo>
                  <a:cubicBezTo>
                    <a:pt x="57" y="83"/>
                    <a:pt x="57" y="83"/>
                    <a:pt x="57" y="83"/>
                  </a:cubicBezTo>
                  <a:cubicBezTo>
                    <a:pt x="57" y="85"/>
                    <a:pt x="57" y="98"/>
                    <a:pt x="55" y="99"/>
                  </a:cubicBezTo>
                  <a:cubicBezTo>
                    <a:pt x="54" y="100"/>
                    <a:pt x="52" y="100"/>
                    <a:pt x="50" y="100"/>
                  </a:cubicBezTo>
                  <a:cubicBezTo>
                    <a:pt x="48" y="100"/>
                    <a:pt x="46" y="100"/>
                    <a:pt x="45" y="99"/>
                  </a:cubicBezTo>
                  <a:cubicBezTo>
                    <a:pt x="43" y="98"/>
                    <a:pt x="44" y="85"/>
                    <a:pt x="44" y="83"/>
                  </a:cubicBezTo>
                  <a:cubicBezTo>
                    <a:pt x="44" y="83"/>
                    <a:pt x="44" y="83"/>
                    <a:pt x="44" y="83"/>
                  </a:cubicBezTo>
                  <a:cubicBezTo>
                    <a:pt x="43" y="83"/>
                    <a:pt x="43" y="83"/>
                    <a:pt x="43" y="83"/>
                  </a:cubicBezTo>
                  <a:cubicBezTo>
                    <a:pt x="43" y="85"/>
                    <a:pt x="38" y="97"/>
                    <a:pt x="35" y="97"/>
                  </a:cubicBezTo>
                  <a:cubicBezTo>
                    <a:pt x="34" y="97"/>
                    <a:pt x="33" y="97"/>
                    <a:pt x="31" y="96"/>
                  </a:cubicBezTo>
                  <a:cubicBezTo>
                    <a:pt x="29" y="95"/>
                    <a:pt x="28" y="94"/>
                    <a:pt x="27" y="93"/>
                  </a:cubicBezTo>
                  <a:cubicBezTo>
                    <a:pt x="25" y="91"/>
                    <a:pt x="31" y="80"/>
                    <a:pt x="31" y="79"/>
                  </a:cubicBezTo>
                  <a:cubicBezTo>
                    <a:pt x="32" y="78"/>
                    <a:pt x="32" y="78"/>
                    <a:pt x="32" y="78"/>
                  </a:cubicBezTo>
                  <a:cubicBezTo>
                    <a:pt x="31" y="78"/>
                    <a:pt x="31" y="78"/>
                    <a:pt x="31" y="78"/>
                  </a:cubicBezTo>
                  <a:cubicBezTo>
                    <a:pt x="30" y="79"/>
                    <a:pt x="22" y="88"/>
                    <a:pt x="21" y="88"/>
                  </a:cubicBezTo>
                  <a:cubicBezTo>
                    <a:pt x="19" y="88"/>
                    <a:pt x="17" y="87"/>
                    <a:pt x="15" y="85"/>
                  </a:cubicBezTo>
                  <a:cubicBezTo>
                    <a:pt x="14" y="84"/>
                    <a:pt x="12" y="82"/>
                    <a:pt x="12" y="81"/>
                  </a:cubicBezTo>
                  <a:cubicBezTo>
                    <a:pt x="12" y="79"/>
                    <a:pt x="21" y="70"/>
                    <a:pt x="22" y="69"/>
                  </a:cubicBezTo>
                  <a:cubicBezTo>
                    <a:pt x="22" y="69"/>
                    <a:pt x="22" y="69"/>
                    <a:pt x="22" y="69"/>
                  </a:cubicBezTo>
                  <a:cubicBezTo>
                    <a:pt x="22" y="69"/>
                    <a:pt x="22" y="69"/>
                    <a:pt x="22" y="69"/>
                  </a:cubicBezTo>
                  <a:cubicBezTo>
                    <a:pt x="21" y="69"/>
                    <a:pt x="12" y="75"/>
                    <a:pt x="11" y="75"/>
                  </a:cubicBezTo>
                  <a:cubicBezTo>
                    <a:pt x="9" y="75"/>
                    <a:pt x="6" y="74"/>
                    <a:pt x="4" y="69"/>
                  </a:cubicBezTo>
                  <a:cubicBezTo>
                    <a:pt x="3" y="67"/>
                    <a:pt x="3" y="65"/>
                    <a:pt x="3" y="64"/>
                  </a:cubicBezTo>
                  <a:cubicBezTo>
                    <a:pt x="4" y="62"/>
                    <a:pt x="15" y="58"/>
                    <a:pt x="17" y="57"/>
                  </a:cubicBezTo>
                  <a:cubicBezTo>
                    <a:pt x="17" y="57"/>
                    <a:pt x="17" y="57"/>
                    <a:pt x="17" y="57"/>
                  </a:cubicBezTo>
                  <a:cubicBezTo>
                    <a:pt x="17" y="57"/>
                    <a:pt x="17" y="57"/>
                    <a:pt x="17" y="57"/>
                  </a:cubicBezTo>
                  <a:cubicBezTo>
                    <a:pt x="15" y="57"/>
                    <a:pt x="3" y="57"/>
                    <a:pt x="2" y="55"/>
                  </a:cubicBezTo>
                  <a:cubicBezTo>
                    <a:pt x="1" y="54"/>
                    <a:pt x="0" y="52"/>
                    <a:pt x="0" y="50"/>
                  </a:cubicBezTo>
                  <a:cubicBezTo>
                    <a:pt x="0" y="48"/>
                    <a:pt x="1" y="46"/>
                    <a:pt x="2" y="45"/>
                  </a:cubicBezTo>
                  <a:cubicBezTo>
                    <a:pt x="3" y="43"/>
                    <a:pt x="15" y="44"/>
                    <a:pt x="17" y="44"/>
                  </a:cubicBezTo>
                  <a:cubicBezTo>
                    <a:pt x="17" y="44"/>
                    <a:pt x="17" y="44"/>
                    <a:pt x="17" y="44"/>
                  </a:cubicBezTo>
                  <a:cubicBezTo>
                    <a:pt x="17" y="43"/>
                    <a:pt x="17" y="43"/>
                    <a:pt x="17" y="43"/>
                  </a:cubicBezTo>
                  <a:cubicBezTo>
                    <a:pt x="15" y="43"/>
                    <a:pt x="4" y="39"/>
                    <a:pt x="3" y="36"/>
                  </a:cubicBezTo>
                  <a:cubicBezTo>
                    <a:pt x="3" y="35"/>
                    <a:pt x="3" y="33"/>
                    <a:pt x="4" y="31"/>
                  </a:cubicBezTo>
                  <a:cubicBezTo>
                    <a:pt x="6" y="26"/>
                    <a:pt x="9" y="26"/>
                    <a:pt x="11" y="26"/>
                  </a:cubicBezTo>
                  <a:cubicBezTo>
                    <a:pt x="12" y="26"/>
                    <a:pt x="21" y="31"/>
                    <a:pt x="22" y="31"/>
                  </a:cubicBezTo>
                  <a:cubicBezTo>
                    <a:pt x="22" y="32"/>
                    <a:pt x="22" y="32"/>
                    <a:pt x="22" y="32"/>
                  </a:cubicBezTo>
                  <a:cubicBezTo>
                    <a:pt x="22" y="31"/>
                    <a:pt x="22" y="31"/>
                    <a:pt x="22" y="31"/>
                  </a:cubicBezTo>
                  <a:cubicBezTo>
                    <a:pt x="21" y="30"/>
                    <a:pt x="12" y="22"/>
                    <a:pt x="12" y="19"/>
                  </a:cubicBezTo>
                  <a:cubicBezTo>
                    <a:pt x="12" y="18"/>
                    <a:pt x="14" y="16"/>
                    <a:pt x="15" y="15"/>
                  </a:cubicBezTo>
                  <a:cubicBezTo>
                    <a:pt x="17" y="13"/>
                    <a:pt x="19" y="12"/>
                    <a:pt x="21" y="12"/>
                  </a:cubicBezTo>
                  <a:cubicBezTo>
                    <a:pt x="22" y="12"/>
                    <a:pt x="30" y="20"/>
                    <a:pt x="31" y="22"/>
                  </a:cubicBezTo>
                  <a:cubicBezTo>
                    <a:pt x="32" y="22"/>
                    <a:pt x="32" y="22"/>
                    <a:pt x="32" y="22"/>
                  </a:cubicBezTo>
                  <a:cubicBezTo>
                    <a:pt x="31" y="22"/>
                    <a:pt x="31" y="22"/>
                    <a:pt x="31" y="22"/>
                  </a:cubicBezTo>
                  <a:cubicBezTo>
                    <a:pt x="31" y="20"/>
                    <a:pt x="25" y="9"/>
                    <a:pt x="27" y="7"/>
                  </a:cubicBezTo>
                  <a:cubicBezTo>
                    <a:pt x="28" y="6"/>
                    <a:pt x="29" y="5"/>
                    <a:pt x="31" y="4"/>
                  </a:cubicBezTo>
                  <a:cubicBezTo>
                    <a:pt x="33" y="3"/>
                    <a:pt x="34" y="3"/>
                    <a:pt x="35" y="3"/>
                  </a:cubicBezTo>
                  <a:cubicBezTo>
                    <a:pt x="38" y="3"/>
                    <a:pt x="43" y="15"/>
                    <a:pt x="43" y="17"/>
                  </a:cubicBezTo>
                  <a:cubicBezTo>
                    <a:pt x="44" y="17"/>
                    <a:pt x="44" y="17"/>
                    <a:pt x="44" y="17"/>
                  </a:cubicBezTo>
                  <a:cubicBezTo>
                    <a:pt x="44" y="17"/>
                    <a:pt x="44" y="17"/>
                    <a:pt x="44" y="17"/>
                  </a:cubicBezTo>
                  <a:cubicBezTo>
                    <a:pt x="44" y="15"/>
                    <a:pt x="43" y="3"/>
                    <a:pt x="45" y="1"/>
                  </a:cubicBezTo>
                  <a:cubicBezTo>
                    <a:pt x="46" y="1"/>
                    <a:pt x="48" y="0"/>
                    <a:pt x="50" y="0"/>
                  </a:cubicBezTo>
                  <a:cubicBezTo>
                    <a:pt x="52" y="0"/>
                    <a:pt x="54" y="1"/>
                    <a:pt x="55" y="1"/>
                  </a:cubicBezTo>
                  <a:cubicBezTo>
                    <a:pt x="57" y="3"/>
                    <a:pt x="57" y="15"/>
                    <a:pt x="57" y="17"/>
                  </a:cubicBezTo>
                  <a:cubicBezTo>
                    <a:pt x="57" y="17"/>
                    <a:pt x="57" y="17"/>
                    <a:pt x="57" y="17"/>
                  </a:cubicBezTo>
                  <a:cubicBezTo>
                    <a:pt x="57" y="17"/>
                    <a:pt x="57" y="17"/>
                    <a:pt x="57" y="17"/>
                  </a:cubicBezTo>
                  <a:cubicBezTo>
                    <a:pt x="58" y="15"/>
                    <a:pt x="62" y="3"/>
                    <a:pt x="65" y="3"/>
                  </a:cubicBezTo>
                  <a:cubicBezTo>
                    <a:pt x="66" y="3"/>
                    <a:pt x="68" y="3"/>
                    <a:pt x="69" y="4"/>
                  </a:cubicBezTo>
                  <a:cubicBezTo>
                    <a:pt x="71" y="5"/>
                    <a:pt x="73" y="6"/>
                    <a:pt x="74" y="7"/>
                  </a:cubicBezTo>
                  <a:cubicBezTo>
                    <a:pt x="75" y="9"/>
                    <a:pt x="70" y="20"/>
                    <a:pt x="69" y="22"/>
                  </a:cubicBezTo>
                  <a:cubicBezTo>
                    <a:pt x="69" y="22"/>
                    <a:pt x="69" y="22"/>
                    <a:pt x="69" y="22"/>
                  </a:cubicBezTo>
                  <a:cubicBezTo>
                    <a:pt x="69" y="22"/>
                    <a:pt x="69" y="22"/>
                    <a:pt x="69" y="22"/>
                  </a:cubicBezTo>
                  <a:cubicBezTo>
                    <a:pt x="70" y="20"/>
                    <a:pt x="78" y="12"/>
                    <a:pt x="79" y="12"/>
                  </a:cubicBezTo>
                  <a:cubicBezTo>
                    <a:pt x="82" y="12"/>
                    <a:pt x="83" y="13"/>
                    <a:pt x="85" y="15"/>
                  </a:cubicBezTo>
                  <a:cubicBezTo>
                    <a:pt x="87" y="16"/>
                    <a:pt x="88" y="18"/>
                    <a:pt x="88" y="19"/>
                  </a:cubicBezTo>
                  <a:cubicBezTo>
                    <a:pt x="89" y="22"/>
                    <a:pt x="79" y="30"/>
                    <a:pt x="78" y="31"/>
                  </a:cubicBezTo>
                  <a:cubicBezTo>
                    <a:pt x="78" y="32"/>
                    <a:pt x="78" y="32"/>
                    <a:pt x="78" y="32"/>
                  </a:cubicBezTo>
                  <a:cubicBezTo>
                    <a:pt x="79" y="31"/>
                    <a:pt x="79" y="31"/>
                    <a:pt x="79" y="31"/>
                  </a:cubicBezTo>
                  <a:cubicBezTo>
                    <a:pt x="79" y="31"/>
                    <a:pt x="88" y="26"/>
                    <a:pt x="89" y="26"/>
                  </a:cubicBezTo>
                  <a:cubicBezTo>
                    <a:pt x="91" y="26"/>
                    <a:pt x="94" y="26"/>
                    <a:pt x="96" y="31"/>
                  </a:cubicBezTo>
                  <a:cubicBezTo>
                    <a:pt x="97" y="33"/>
                    <a:pt x="97" y="35"/>
                    <a:pt x="97" y="36"/>
                  </a:cubicBezTo>
                  <a:cubicBezTo>
                    <a:pt x="97" y="39"/>
                    <a:pt x="85" y="43"/>
                    <a:pt x="83" y="43"/>
                  </a:cubicBezTo>
                  <a:cubicBezTo>
                    <a:pt x="83" y="44"/>
                    <a:pt x="83" y="44"/>
                    <a:pt x="83" y="44"/>
                  </a:cubicBezTo>
                  <a:cubicBezTo>
                    <a:pt x="83" y="44"/>
                    <a:pt x="83" y="44"/>
                    <a:pt x="83" y="44"/>
                  </a:cubicBezTo>
                  <a:cubicBezTo>
                    <a:pt x="86" y="44"/>
                    <a:pt x="98" y="43"/>
                    <a:pt x="99" y="45"/>
                  </a:cubicBezTo>
                  <a:cubicBezTo>
                    <a:pt x="100" y="46"/>
                    <a:pt x="100" y="48"/>
                    <a:pt x="100" y="50"/>
                  </a:cubicBezTo>
                  <a:close/>
                  <a:moveTo>
                    <a:pt x="82" y="50"/>
                  </a:moveTo>
                  <a:cubicBezTo>
                    <a:pt x="82" y="32"/>
                    <a:pt x="68" y="18"/>
                    <a:pt x="50" y="18"/>
                  </a:cubicBezTo>
                  <a:cubicBezTo>
                    <a:pt x="32" y="18"/>
                    <a:pt x="18" y="32"/>
                    <a:pt x="18" y="50"/>
                  </a:cubicBezTo>
                  <a:cubicBezTo>
                    <a:pt x="18" y="68"/>
                    <a:pt x="32" y="82"/>
                    <a:pt x="50" y="82"/>
                  </a:cubicBezTo>
                  <a:cubicBezTo>
                    <a:pt x="68" y="82"/>
                    <a:pt x="82" y="68"/>
                    <a:pt x="82" y="50"/>
                  </a:cubicBezTo>
                  <a:close/>
                  <a:moveTo>
                    <a:pt x="75" y="50"/>
                  </a:moveTo>
                  <a:cubicBezTo>
                    <a:pt x="75" y="36"/>
                    <a:pt x="64" y="25"/>
                    <a:pt x="50" y="25"/>
                  </a:cubicBezTo>
                  <a:cubicBezTo>
                    <a:pt x="36" y="25"/>
                    <a:pt x="25" y="36"/>
                    <a:pt x="25" y="50"/>
                  </a:cubicBezTo>
                  <a:cubicBezTo>
                    <a:pt x="25" y="64"/>
                    <a:pt x="36" y="75"/>
                    <a:pt x="50" y="75"/>
                  </a:cubicBezTo>
                  <a:cubicBezTo>
                    <a:pt x="64" y="75"/>
                    <a:pt x="75" y="64"/>
                    <a:pt x="75" y="50"/>
                  </a:cubicBezTo>
                  <a:close/>
                </a:path>
              </a:pathLst>
            </a:custGeom>
            <a:solidFill>
              <a:schemeClr val="bg1"/>
            </a:solidFill>
            <a:ln>
              <a:noFill/>
            </a:ln>
            <a:extLst/>
          </p:spPr>
          <p:txBody>
            <a:bodyPr/>
            <a:lstStyle/>
            <a:p>
              <a:endParaRPr lang="en-CA" dirty="0">
                <a:solidFill>
                  <a:srgbClr val="000000"/>
                </a:solidFill>
              </a:endParaRPr>
            </a:p>
          </p:txBody>
        </p:sp>
      </p:grpSp>
      <p:grpSp>
        <p:nvGrpSpPr>
          <p:cNvPr id="77" name="Gruppieren 76"/>
          <p:cNvGrpSpPr/>
          <p:nvPr>
            <p:custDataLst>
              <p:tags r:id="rId12"/>
            </p:custDataLst>
          </p:nvPr>
        </p:nvGrpSpPr>
        <p:grpSpPr bwMode="gray">
          <a:xfrm>
            <a:off x="251520" y="3111810"/>
            <a:ext cx="2736000" cy="1080120"/>
            <a:chOff x="251520" y="3111810"/>
            <a:chExt cx="2736000" cy="1080120"/>
          </a:xfrm>
        </p:grpSpPr>
        <p:sp>
          <p:nvSpPr>
            <p:cNvPr id="78" name="Rechteck 77"/>
            <p:cNvSpPr/>
            <p:nvPr>
              <p:custDataLst>
                <p:tags r:id="rId17"/>
              </p:custDataLst>
            </p:nvPr>
          </p:nvSpPr>
          <p:spPr bwMode="gray">
            <a:xfrm>
              <a:off x="251520" y="3111810"/>
              <a:ext cx="2736000" cy="1080120"/>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108000" tIns="64800" rIns="108000" bIns="64800" rtlCol="0" anchor="t" anchorCtr="0"/>
            <a:lstStyle/>
            <a:p>
              <a:pPr>
                <a:spcBef>
                  <a:spcPts val="200"/>
                </a:spcBef>
                <a:buClr>
                  <a:srgbClr val="A30B1A"/>
                </a:buClr>
              </a:pPr>
              <a:r>
                <a:rPr lang="ru-RU" sz="1200" b="1" dirty="0" smtClean="0">
                  <a:solidFill>
                    <a:srgbClr val="FF0000"/>
                  </a:solidFill>
                </a:rPr>
                <a:t>Топология резервного копирования</a:t>
              </a:r>
              <a:endParaRPr lang="en-US" sz="1200" b="1" dirty="0" smtClean="0">
                <a:solidFill>
                  <a:srgbClr val="FF0000"/>
                </a:solidFill>
              </a:endParaRPr>
            </a:p>
            <a:p>
              <a:pPr marL="144000">
                <a:spcBef>
                  <a:spcPts val="200"/>
                </a:spcBef>
                <a:buClr>
                  <a:srgbClr val="A30B1A"/>
                </a:buClr>
              </a:pPr>
              <a:r>
                <a:rPr lang="en-US" sz="1200" dirty="0" smtClean="0">
                  <a:solidFill>
                    <a:srgbClr val="000000"/>
                  </a:solidFill>
                </a:rPr>
                <a:t>1 </a:t>
              </a:r>
              <a:r>
                <a:rPr lang="ru-RU" sz="1200" dirty="0" smtClean="0">
                  <a:solidFill>
                    <a:srgbClr val="000000"/>
                  </a:solidFill>
                </a:rPr>
                <a:t>площадка</a:t>
              </a:r>
              <a:endParaRPr lang="en-US" sz="1200" dirty="0" smtClean="0">
                <a:solidFill>
                  <a:srgbClr val="000000"/>
                </a:solidFill>
              </a:endParaRPr>
            </a:p>
            <a:p>
              <a:pPr marL="144000">
                <a:spcBef>
                  <a:spcPts val="200"/>
                </a:spcBef>
                <a:buClr>
                  <a:srgbClr val="A30B1A"/>
                </a:buClr>
              </a:pPr>
              <a:r>
                <a:rPr lang="en-US" sz="1200" dirty="0" smtClean="0">
                  <a:solidFill>
                    <a:srgbClr val="000000"/>
                  </a:solidFill>
                </a:rPr>
                <a:t>1 </a:t>
              </a:r>
              <a:r>
                <a:rPr lang="ru-RU" sz="1200" dirty="0" smtClean="0">
                  <a:solidFill>
                    <a:srgbClr val="000000"/>
                  </a:solidFill>
                </a:rPr>
                <a:t>копия (на диске или ленте)</a:t>
              </a:r>
              <a:endParaRPr lang="en-US" sz="1200" dirty="0" smtClean="0">
                <a:solidFill>
                  <a:srgbClr val="000000"/>
                </a:solidFill>
              </a:endParaRPr>
            </a:p>
          </p:txBody>
        </p:sp>
        <p:cxnSp>
          <p:nvCxnSpPr>
            <p:cNvPr id="79" name="Gerade Verbindung 78"/>
            <p:cNvCxnSpPr/>
            <p:nvPr>
              <p:custDataLst>
                <p:tags r:id="rId18"/>
              </p:custDataLst>
            </p:nvPr>
          </p:nvCxnSpPr>
          <p:spPr bwMode="gray">
            <a:xfrm>
              <a:off x="359532" y="3111810"/>
              <a:ext cx="2520000" cy="0"/>
            </a:xfrm>
            <a:prstGeom prst="line">
              <a:avLst/>
            </a:prstGeom>
            <a:noFill/>
            <a:ln w="9525"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80" name="Gruppieren 79"/>
          <p:cNvGrpSpPr/>
          <p:nvPr/>
        </p:nvGrpSpPr>
        <p:grpSpPr bwMode="gray">
          <a:xfrm>
            <a:off x="3203848" y="2751770"/>
            <a:ext cx="2736000" cy="1080120"/>
            <a:chOff x="3203848" y="2751770"/>
            <a:chExt cx="2736000" cy="1080120"/>
          </a:xfrm>
        </p:grpSpPr>
        <p:sp>
          <p:nvSpPr>
            <p:cNvPr id="81" name="Rechteck 80"/>
            <p:cNvSpPr/>
            <p:nvPr>
              <p:custDataLst>
                <p:tags r:id="rId15"/>
              </p:custDataLst>
            </p:nvPr>
          </p:nvSpPr>
          <p:spPr bwMode="gray">
            <a:xfrm>
              <a:off x="3203848" y="2751770"/>
              <a:ext cx="2736000" cy="1080120"/>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108000" tIns="64800" rIns="108000" bIns="64800" rtlCol="0" anchor="t" anchorCtr="0"/>
            <a:lstStyle/>
            <a:p>
              <a:pPr>
                <a:spcBef>
                  <a:spcPts val="200"/>
                </a:spcBef>
                <a:buClr>
                  <a:srgbClr val="A30B1A"/>
                </a:buClr>
              </a:pPr>
              <a:r>
                <a:rPr lang="ru-RU" sz="1200" b="1" dirty="0" smtClean="0">
                  <a:solidFill>
                    <a:srgbClr val="FF0000"/>
                  </a:solidFill>
                </a:rPr>
                <a:t>Топология резервного копирования</a:t>
              </a:r>
              <a:endParaRPr lang="en-US" sz="1200" b="1" dirty="0" smtClean="0">
                <a:solidFill>
                  <a:srgbClr val="FF0000"/>
                </a:solidFill>
              </a:endParaRPr>
            </a:p>
            <a:p>
              <a:pPr marL="144000">
                <a:spcBef>
                  <a:spcPts val="200"/>
                </a:spcBef>
                <a:buClr>
                  <a:srgbClr val="A30B1A"/>
                </a:buClr>
              </a:pPr>
              <a:r>
                <a:rPr lang="en-US" sz="1200" dirty="0" smtClean="0">
                  <a:solidFill>
                    <a:srgbClr val="000000"/>
                  </a:solidFill>
                </a:rPr>
                <a:t>1 </a:t>
              </a:r>
              <a:r>
                <a:rPr lang="ru-RU" sz="1200" dirty="0" smtClean="0">
                  <a:solidFill>
                    <a:srgbClr val="000000"/>
                  </a:solidFill>
                </a:rPr>
                <a:t>или</a:t>
              </a:r>
              <a:r>
                <a:rPr lang="en-US" sz="1200" dirty="0" smtClean="0">
                  <a:solidFill>
                    <a:srgbClr val="000000"/>
                  </a:solidFill>
                </a:rPr>
                <a:t> 2 </a:t>
              </a:r>
              <a:r>
                <a:rPr lang="ru-RU" sz="1200" dirty="0" smtClean="0">
                  <a:solidFill>
                    <a:srgbClr val="000000"/>
                  </a:solidFill>
                </a:rPr>
                <a:t>площадки</a:t>
              </a:r>
              <a:endParaRPr lang="en-US" sz="1200" dirty="0">
                <a:solidFill>
                  <a:srgbClr val="000000"/>
                </a:solidFill>
              </a:endParaRPr>
            </a:p>
            <a:p>
              <a:pPr marL="144000">
                <a:spcBef>
                  <a:spcPts val="200"/>
                </a:spcBef>
                <a:buClr>
                  <a:srgbClr val="A30B1A"/>
                </a:buClr>
              </a:pPr>
              <a:r>
                <a:rPr lang="en-US" sz="1200" dirty="0">
                  <a:solidFill>
                    <a:srgbClr val="000000"/>
                  </a:solidFill>
                </a:rPr>
                <a:t>1 </a:t>
              </a:r>
              <a:r>
                <a:rPr lang="ru-RU" sz="1200" dirty="0" smtClean="0">
                  <a:solidFill>
                    <a:srgbClr val="000000"/>
                  </a:solidFill>
                </a:rPr>
                <a:t>или</a:t>
              </a:r>
              <a:r>
                <a:rPr lang="en-US" sz="1200" dirty="0" smtClean="0">
                  <a:solidFill>
                    <a:srgbClr val="000000"/>
                  </a:solidFill>
                </a:rPr>
                <a:t> 2 </a:t>
              </a:r>
              <a:r>
                <a:rPr lang="ru-RU" sz="1200" dirty="0" smtClean="0">
                  <a:solidFill>
                    <a:srgbClr val="000000"/>
                  </a:solidFill>
                </a:rPr>
                <a:t>копии на дисках</a:t>
              </a:r>
              <a:endParaRPr lang="en-US" sz="1200" dirty="0" smtClean="0">
                <a:solidFill>
                  <a:srgbClr val="000000"/>
                </a:solidFill>
              </a:endParaRPr>
            </a:p>
            <a:p>
              <a:pPr marL="144000">
                <a:spcBef>
                  <a:spcPts val="200"/>
                </a:spcBef>
                <a:buClr>
                  <a:srgbClr val="A30B1A"/>
                </a:buClr>
              </a:pPr>
              <a:r>
                <a:rPr lang="ru-RU" sz="1200" dirty="0" smtClean="0">
                  <a:solidFill>
                    <a:srgbClr val="000000"/>
                  </a:solidFill>
                </a:rPr>
                <a:t>Как минимум </a:t>
              </a:r>
              <a:r>
                <a:rPr lang="en-US" sz="1200" dirty="0" smtClean="0">
                  <a:solidFill>
                    <a:srgbClr val="000000"/>
                  </a:solidFill>
                </a:rPr>
                <a:t>1 </a:t>
              </a:r>
              <a:r>
                <a:rPr lang="ru-RU" sz="1200" dirty="0" smtClean="0">
                  <a:solidFill>
                    <a:srgbClr val="000000"/>
                  </a:solidFill>
                </a:rPr>
                <a:t>копия на ленте</a:t>
              </a:r>
              <a:endParaRPr lang="en-US" sz="1200" dirty="0" smtClean="0">
                <a:solidFill>
                  <a:srgbClr val="000000"/>
                </a:solidFill>
              </a:endParaRPr>
            </a:p>
          </p:txBody>
        </p:sp>
        <p:cxnSp>
          <p:nvCxnSpPr>
            <p:cNvPr id="82" name="Gerade Verbindung 81"/>
            <p:cNvCxnSpPr/>
            <p:nvPr>
              <p:custDataLst>
                <p:tags r:id="rId16"/>
              </p:custDataLst>
            </p:nvPr>
          </p:nvCxnSpPr>
          <p:spPr bwMode="gray">
            <a:xfrm>
              <a:off x="3311860" y="2751770"/>
              <a:ext cx="2520000" cy="0"/>
            </a:xfrm>
            <a:prstGeom prst="line">
              <a:avLst/>
            </a:prstGeom>
            <a:noFill/>
            <a:ln w="9525"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83" name="Gruppieren 82"/>
          <p:cNvGrpSpPr/>
          <p:nvPr/>
        </p:nvGrpSpPr>
        <p:grpSpPr bwMode="gray">
          <a:xfrm>
            <a:off x="6156480" y="2391730"/>
            <a:ext cx="2736000" cy="1080120"/>
            <a:chOff x="6156480" y="2391730"/>
            <a:chExt cx="2736000" cy="1080120"/>
          </a:xfrm>
        </p:grpSpPr>
        <p:sp>
          <p:nvSpPr>
            <p:cNvPr id="84" name="Rechteck 83"/>
            <p:cNvSpPr/>
            <p:nvPr>
              <p:custDataLst>
                <p:tags r:id="rId13"/>
              </p:custDataLst>
            </p:nvPr>
          </p:nvSpPr>
          <p:spPr bwMode="gray">
            <a:xfrm>
              <a:off x="6156480" y="2391730"/>
              <a:ext cx="2736000" cy="1080120"/>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108000" tIns="64800" rIns="108000" bIns="64800" rtlCol="0" anchor="t" anchorCtr="0"/>
            <a:lstStyle/>
            <a:p>
              <a:pPr>
                <a:spcBef>
                  <a:spcPts val="200"/>
                </a:spcBef>
                <a:buClr>
                  <a:srgbClr val="A30B1A"/>
                </a:buClr>
              </a:pPr>
              <a:r>
                <a:rPr lang="ru-RU" sz="1200" b="1" dirty="0" smtClean="0">
                  <a:solidFill>
                    <a:srgbClr val="FF0000"/>
                  </a:solidFill>
                </a:rPr>
                <a:t>Топология резервного копирования</a:t>
              </a:r>
              <a:endParaRPr lang="en-US" sz="1200" b="1" dirty="0">
                <a:solidFill>
                  <a:srgbClr val="FF0000"/>
                </a:solidFill>
              </a:endParaRPr>
            </a:p>
            <a:p>
              <a:pPr marL="144000">
                <a:spcBef>
                  <a:spcPts val="200"/>
                </a:spcBef>
                <a:buClr>
                  <a:srgbClr val="A30B1A"/>
                </a:buClr>
              </a:pPr>
              <a:r>
                <a:rPr lang="en-US" sz="1200" dirty="0" smtClean="0">
                  <a:solidFill>
                    <a:srgbClr val="000000"/>
                  </a:solidFill>
                </a:rPr>
                <a:t>2 </a:t>
              </a:r>
              <a:r>
                <a:rPr lang="ru-RU" sz="1200" dirty="0" smtClean="0">
                  <a:solidFill>
                    <a:srgbClr val="000000"/>
                  </a:solidFill>
                </a:rPr>
                <a:t>площадки (или больше)</a:t>
              </a:r>
              <a:endParaRPr lang="en-US" sz="1200" dirty="0">
                <a:solidFill>
                  <a:srgbClr val="000000"/>
                </a:solidFill>
              </a:endParaRPr>
            </a:p>
            <a:p>
              <a:pPr marL="144000">
                <a:spcBef>
                  <a:spcPts val="200"/>
                </a:spcBef>
                <a:buClr>
                  <a:srgbClr val="A30B1A"/>
                </a:buClr>
              </a:pPr>
              <a:r>
                <a:rPr lang="ru-RU" sz="1200" dirty="0" smtClean="0">
                  <a:solidFill>
                    <a:srgbClr val="000000"/>
                  </a:solidFill>
                </a:rPr>
                <a:t>Не меньше </a:t>
              </a:r>
              <a:r>
                <a:rPr lang="en-US" sz="1200" dirty="0" smtClean="0">
                  <a:solidFill>
                    <a:srgbClr val="000000"/>
                  </a:solidFill>
                </a:rPr>
                <a:t>2 </a:t>
              </a:r>
              <a:r>
                <a:rPr lang="ru-RU" sz="1200" dirty="0" smtClean="0">
                  <a:solidFill>
                    <a:srgbClr val="000000"/>
                  </a:solidFill>
                </a:rPr>
                <a:t>копий на дисках</a:t>
              </a:r>
              <a:endParaRPr lang="en-US" sz="1200" dirty="0">
                <a:solidFill>
                  <a:srgbClr val="000000"/>
                </a:solidFill>
              </a:endParaRPr>
            </a:p>
            <a:p>
              <a:pPr marL="144000">
                <a:spcBef>
                  <a:spcPts val="200"/>
                </a:spcBef>
                <a:buClr>
                  <a:srgbClr val="A30B1A"/>
                </a:buClr>
              </a:pPr>
              <a:r>
                <a:rPr lang="ru-RU" sz="1200" dirty="0" smtClean="0">
                  <a:solidFill>
                    <a:srgbClr val="000000"/>
                  </a:solidFill>
                </a:rPr>
                <a:t>Не меньше</a:t>
              </a:r>
              <a:r>
                <a:rPr lang="en-US" sz="1200" dirty="0" smtClean="0">
                  <a:solidFill>
                    <a:srgbClr val="000000"/>
                  </a:solidFill>
                </a:rPr>
                <a:t> 2 </a:t>
              </a:r>
              <a:r>
                <a:rPr lang="ru-RU" sz="1200" dirty="0" smtClean="0">
                  <a:solidFill>
                    <a:srgbClr val="000000"/>
                  </a:solidFill>
                </a:rPr>
                <a:t>копий на лентах с отчуждением 1 ленты</a:t>
              </a:r>
              <a:endParaRPr lang="en-US" sz="1200" dirty="0" smtClean="0">
                <a:solidFill>
                  <a:srgbClr val="000000"/>
                </a:solidFill>
              </a:endParaRPr>
            </a:p>
          </p:txBody>
        </p:sp>
        <p:cxnSp>
          <p:nvCxnSpPr>
            <p:cNvPr id="85" name="Gerade Verbindung 84"/>
            <p:cNvCxnSpPr/>
            <p:nvPr>
              <p:custDataLst>
                <p:tags r:id="rId14"/>
              </p:custDataLst>
            </p:nvPr>
          </p:nvCxnSpPr>
          <p:spPr bwMode="gray">
            <a:xfrm>
              <a:off x="6264480" y="2391730"/>
              <a:ext cx="2520000" cy="0"/>
            </a:xfrm>
            <a:prstGeom prst="line">
              <a:avLst/>
            </a:prstGeom>
            <a:noFill/>
            <a:ln w="9525"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91671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fade">
                                      <p:cBhvr>
                                        <p:cTn id="15" dur="500"/>
                                        <p:tgtEl>
                                          <p:spTgt spid="40"/>
                                        </p:tgtEl>
                                      </p:cBhvr>
                                    </p:animEffect>
                                  </p:childTnLst>
                                </p:cTn>
                              </p:par>
                              <p:par>
                                <p:cTn id="16" presetID="10" presetClass="entr" presetSubtype="0" fill="hold" nodeType="withEffect">
                                  <p:stCondLst>
                                    <p:cond delay="0"/>
                                  </p:stCondLst>
                                  <p:childTnLst>
                                    <p:set>
                                      <p:cBhvr>
                                        <p:cTn id="17" dur="1" fill="hold">
                                          <p:stCondLst>
                                            <p:cond delay="0"/>
                                          </p:stCondLst>
                                        </p:cTn>
                                        <p:tgtEl>
                                          <p:spTgt spid="55"/>
                                        </p:tgtEl>
                                        <p:attrNameLst>
                                          <p:attrName>style.visibility</p:attrName>
                                        </p:attrNameLst>
                                      </p:cBhvr>
                                      <p:to>
                                        <p:strVal val="visible"/>
                                      </p:to>
                                    </p:set>
                                    <p:animEffect transition="in" filter="fade">
                                      <p:cBhvr>
                                        <p:cTn id="18" dur="500"/>
                                        <p:tgtEl>
                                          <p:spTgt spid="5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1"/>
                                        </p:tgtEl>
                                        <p:attrNameLst>
                                          <p:attrName>style.visibility</p:attrName>
                                        </p:attrNameLst>
                                      </p:cBhvr>
                                      <p:to>
                                        <p:strVal val="visible"/>
                                      </p:to>
                                    </p:set>
                                    <p:animEffect transition="in" filter="fade">
                                      <p:cBhvr>
                                        <p:cTn id="23" dur="500"/>
                                        <p:tgtEl>
                                          <p:spTgt spid="41"/>
                                        </p:tgtEl>
                                      </p:cBhvr>
                                    </p:animEffect>
                                  </p:childTnLst>
                                </p:cTn>
                              </p:par>
                              <p:par>
                                <p:cTn id="24" presetID="10" presetClass="entr" presetSubtype="0" fill="hold" nodeType="withEffect">
                                  <p:stCondLst>
                                    <p:cond delay="0"/>
                                  </p:stCondLst>
                                  <p:childTnLst>
                                    <p:set>
                                      <p:cBhvr>
                                        <p:cTn id="25" dur="1" fill="hold">
                                          <p:stCondLst>
                                            <p:cond delay="0"/>
                                          </p:stCondLst>
                                        </p:cTn>
                                        <p:tgtEl>
                                          <p:spTgt spid="66"/>
                                        </p:tgtEl>
                                        <p:attrNameLst>
                                          <p:attrName>style.visibility</p:attrName>
                                        </p:attrNameLst>
                                      </p:cBhvr>
                                      <p:to>
                                        <p:strVal val="visible"/>
                                      </p:to>
                                    </p:set>
                                    <p:animEffect transition="in" filter="fade">
                                      <p:cBhvr>
                                        <p:cTn id="26" dur="500"/>
                                        <p:tgtEl>
                                          <p:spTgt spid="6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77"/>
                                        </p:tgtEl>
                                        <p:attrNameLst>
                                          <p:attrName>style.visibility</p:attrName>
                                        </p:attrNameLst>
                                      </p:cBhvr>
                                      <p:to>
                                        <p:strVal val="visible"/>
                                      </p:to>
                                    </p:set>
                                    <p:animEffect transition="in" filter="fade">
                                      <p:cBhvr>
                                        <p:cTn id="31" dur="500"/>
                                        <p:tgtEl>
                                          <p:spTgt spid="77"/>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80"/>
                                        </p:tgtEl>
                                        <p:attrNameLst>
                                          <p:attrName>style.visibility</p:attrName>
                                        </p:attrNameLst>
                                      </p:cBhvr>
                                      <p:to>
                                        <p:strVal val="visible"/>
                                      </p:to>
                                    </p:set>
                                    <p:animEffect transition="in" filter="fade">
                                      <p:cBhvr>
                                        <p:cTn id="36" dur="500"/>
                                        <p:tgtEl>
                                          <p:spTgt spid="80"/>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83"/>
                                        </p:tgtEl>
                                        <p:attrNameLst>
                                          <p:attrName>style.visibility</p:attrName>
                                        </p:attrNameLst>
                                      </p:cBhvr>
                                      <p:to>
                                        <p:strVal val="visible"/>
                                      </p:to>
                                    </p:set>
                                    <p:animEffect transition="in" filter="fade">
                                      <p:cBhvr>
                                        <p:cTn id="41" dur="500"/>
                                        <p:tgtEl>
                                          <p:spTgt spid="83"/>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37"/>
                                        </p:tgtEl>
                                        <p:attrNameLst>
                                          <p:attrName>style.visibility</p:attrName>
                                        </p:attrNameLst>
                                      </p:cBhvr>
                                      <p:to>
                                        <p:strVal val="visible"/>
                                      </p:to>
                                    </p:set>
                                    <p:animEffect transition="in" filter="fade">
                                      <p:cBhvr>
                                        <p:cTn id="46" dur="500"/>
                                        <p:tgtEl>
                                          <p:spTgt spid="37"/>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2"/>
                                        </p:tgtEl>
                                        <p:attrNameLst>
                                          <p:attrName>style.visibility</p:attrName>
                                        </p:attrNameLst>
                                      </p:cBhvr>
                                      <p:to>
                                        <p:strVal val="visible"/>
                                      </p:to>
                                    </p:set>
                                    <p:animEffect transition="in" filter="fade">
                                      <p:cBhvr>
                                        <p:cTn id="51" dur="500"/>
                                        <p:tgtEl>
                                          <p:spTgt spid="42"/>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43"/>
                                        </p:tgtEl>
                                        <p:attrNameLst>
                                          <p:attrName>style.visibility</p:attrName>
                                        </p:attrNameLst>
                                      </p:cBhvr>
                                      <p:to>
                                        <p:strVal val="visible"/>
                                      </p:to>
                                    </p:set>
                                    <p:animEffect transition="in" filter="fade">
                                      <p:cBhvr>
                                        <p:cTn id="56"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40" grpId="0" animBg="1"/>
      <p:bldP spid="41" grpId="0" animBg="1"/>
      <p:bldP spid="42" grpId="0" animBg="1"/>
      <p:bldP spid="4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1371768292"/>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28696" name="think-cell Folie" r:id="rId19" imgW="270" imgH="270" progId="TCLayout.ActiveDocument.1">
                  <p:embed/>
                </p:oleObj>
              </mc:Choice>
              <mc:Fallback>
                <p:oleObj name="think-cell Folie" r:id="rId19" imgW="270" imgH="270" progId="TCLayout.ActiveDocument.1">
                  <p:embed/>
                  <p:pic>
                    <p:nvPicPr>
                      <p:cNvPr id="0" name=""/>
                      <p:cNvPicPr/>
                      <p:nvPr/>
                    </p:nvPicPr>
                    <p:blipFill>
                      <a:blip r:embed="rId20"/>
                      <a:stretch>
                        <a:fillRect/>
                      </a:stretch>
                    </p:blipFill>
                    <p:spPr>
                      <a:xfrm>
                        <a:off x="1591" y="1589"/>
                        <a:ext cx="1587" cy="1587"/>
                      </a:xfrm>
                      <a:prstGeom prst="rect">
                        <a:avLst/>
                      </a:prstGeom>
                    </p:spPr>
                  </p:pic>
                </p:oleObj>
              </mc:Fallback>
            </mc:AlternateContent>
          </a:graphicData>
        </a:graphic>
      </p:graphicFrame>
      <p:sp>
        <p:nvSpPr>
          <p:cNvPr id="4" name="Titel 3"/>
          <p:cNvSpPr>
            <a:spLocks noGrp="1"/>
          </p:cNvSpPr>
          <p:nvPr>
            <p:ph type="title"/>
            <p:custDataLst>
              <p:tags r:id="rId3"/>
            </p:custDataLst>
          </p:nvPr>
        </p:nvSpPr>
        <p:spPr bwMode="gray"/>
        <p:txBody>
          <a:bodyPr/>
          <a:lstStyle/>
          <a:p>
            <a:r>
              <a:rPr lang="en-US" altLang="ja-JP" sz="2400" dirty="0"/>
              <a:t>ETERNUS CS800 – </a:t>
            </a:r>
            <a:r>
              <a:rPr lang="ru-RU" altLang="ja-JP" sz="2400" dirty="0"/>
              <a:t>резервное копирование на диск</a:t>
            </a:r>
            <a:endParaRPr lang="en-US" altLang="ja-JP" sz="2400" dirty="0"/>
          </a:p>
        </p:txBody>
      </p:sp>
      <p:sp>
        <p:nvSpPr>
          <p:cNvPr id="38" name="Bogen 37"/>
          <p:cNvSpPr/>
          <p:nvPr/>
        </p:nvSpPr>
        <p:spPr bwMode="gray">
          <a:xfrm>
            <a:off x="5940596" y="1059582"/>
            <a:ext cx="1512000" cy="1512000"/>
          </a:xfrm>
          <a:prstGeom prst="arc">
            <a:avLst>
              <a:gd name="adj1" fmla="val 10875061"/>
              <a:gd name="adj2" fmla="val 21526451"/>
            </a:avLst>
          </a:prstGeom>
          <a:solidFill>
            <a:schemeClr val="bg1"/>
          </a:solidFill>
          <a:ln w="19050" cap="rnd">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nchorCtr="0"/>
          <a:lstStyle/>
          <a:p>
            <a:pPr marL="85725" algn="ctr">
              <a:buClr>
                <a:srgbClr val="A30B1A"/>
              </a:buClr>
            </a:pPr>
            <a:endParaRPr lang="en-US" sz="2400" b="1" dirty="0" smtClean="0">
              <a:solidFill>
                <a:srgbClr val="FFFFFF"/>
              </a:solidFill>
            </a:endParaRPr>
          </a:p>
        </p:txBody>
      </p:sp>
      <p:sp>
        <p:nvSpPr>
          <p:cNvPr id="39" name="Auf der gleichen Seite des Rechtecks liegende Ecken abrunden 38"/>
          <p:cNvSpPr/>
          <p:nvPr>
            <p:custDataLst>
              <p:tags r:id="rId4"/>
            </p:custDataLst>
          </p:nvPr>
        </p:nvSpPr>
        <p:spPr bwMode="gray">
          <a:xfrm>
            <a:off x="5292800" y="1851681"/>
            <a:ext cx="2807592" cy="2988221"/>
          </a:xfrm>
          <a:prstGeom prst="round2SameRect">
            <a:avLst>
              <a:gd name="adj1" fmla="val 4523"/>
              <a:gd name="adj2" fmla="val 0"/>
            </a:avLst>
          </a:prstGeom>
          <a:gradFill flip="none" rotWithShape="1">
            <a:gsLst>
              <a:gs pos="0">
                <a:schemeClr val="bg2"/>
              </a:gs>
              <a:gs pos="50000">
                <a:schemeClr val="bg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tIns="90000" rIns="54000" bIns="90000" rtlCol="0" anchor="t" anchorCtr="0"/>
          <a:lstStyle/>
          <a:p>
            <a:pPr>
              <a:spcBef>
                <a:spcPts val="400"/>
              </a:spcBef>
              <a:spcAft>
                <a:spcPts val="400"/>
              </a:spcAft>
              <a:buClr>
                <a:srgbClr val="A30B1A"/>
              </a:buClr>
            </a:pPr>
            <a:endParaRPr lang="en-US" sz="1600" dirty="0" smtClean="0">
              <a:solidFill>
                <a:srgbClr val="FF0000"/>
              </a:solidFill>
            </a:endParaRPr>
          </a:p>
        </p:txBody>
      </p:sp>
      <p:sp>
        <p:nvSpPr>
          <p:cNvPr id="40" name="Ellipse 39"/>
          <p:cNvSpPr/>
          <p:nvPr>
            <p:custDataLst>
              <p:tags r:id="rId5"/>
            </p:custDataLst>
          </p:nvPr>
        </p:nvSpPr>
        <p:spPr bwMode="gray">
          <a:xfrm>
            <a:off x="6012596" y="1131750"/>
            <a:ext cx="1368000" cy="1368000"/>
          </a:xfrm>
          <a:prstGeom prst="ellipse">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lstStyle/>
          <a:p>
            <a:pPr algn="ctr">
              <a:buClr>
                <a:srgbClr val="A30B1A"/>
              </a:buClr>
            </a:pPr>
            <a:r>
              <a:rPr lang="en-US" sz="1600" dirty="0" smtClean="0">
                <a:solidFill>
                  <a:srgbClr val="FFFFFF"/>
                </a:solidFill>
              </a:rPr>
              <a:t>ETERNUS CS800</a:t>
            </a:r>
          </a:p>
        </p:txBody>
      </p:sp>
      <p:sp>
        <p:nvSpPr>
          <p:cNvPr id="41" name="Auf der gleichen Seite des Rechtecks liegende Ecken abrunden 40"/>
          <p:cNvSpPr/>
          <p:nvPr>
            <p:custDataLst>
              <p:tags r:id="rId6"/>
            </p:custDataLst>
          </p:nvPr>
        </p:nvSpPr>
        <p:spPr bwMode="gray">
          <a:xfrm>
            <a:off x="5364097" y="2643757"/>
            <a:ext cx="2663825" cy="900000"/>
          </a:xfrm>
          <a:prstGeom prst="round2SameRect">
            <a:avLst>
              <a:gd name="adj1" fmla="val 14111"/>
              <a:gd name="adj2" fmla="val 0"/>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t" anchorCtr="0"/>
          <a:lstStyle/>
          <a:p>
            <a:pPr indent="-266700">
              <a:spcBef>
                <a:spcPts val="400"/>
              </a:spcBef>
              <a:spcAft>
                <a:spcPts val="200"/>
              </a:spcAft>
              <a:buClr>
                <a:srgbClr val="A30B1A"/>
              </a:buClr>
            </a:pPr>
            <a:endParaRPr lang="en-US" sz="1400" dirty="0" smtClean="0">
              <a:solidFill>
                <a:srgbClr val="000000"/>
              </a:solidFill>
            </a:endParaRPr>
          </a:p>
        </p:txBody>
      </p:sp>
      <p:sp>
        <p:nvSpPr>
          <p:cNvPr id="42" name="Auf der gleichen Seite des Rechtecks liegende Ecken abrunden 41"/>
          <p:cNvSpPr/>
          <p:nvPr>
            <p:custDataLst>
              <p:tags r:id="rId7"/>
            </p:custDataLst>
          </p:nvPr>
        </p:nvSpPr>
        <p:spPr bwMode="gray">
          <a:xfrm>
            <a:off x="5364097" y="2643758"/>
            <a:ext cx="2663825" cy="900000"/>
          </a:xfrm>
          <a:prstGeom prst="round2SameRect">
            <a:avLst>
              <a:gd name="adj1" fmla="val 14111"/>
              <a:gd name="adj2" fmla="val 0"/>
            </a:avLst>
          </a:prstGeom>
          <a:solidFill>
            <a:schemeClr val="bg1"/>
          </a:solidFill>
          <a:ln w="9525">
            <a:gradFill>
              <a:gsLst>
                <a:gs pos="0">
                  <a:schemeClr val="accent1"/>
                </a:gs>
                <a:gs pos="50000">
                  <a:schemeClr val="accent1">
                    <a:lumMod val="20000"/>
                    <a:lumOff val="80000"/>
                  </a:schemeClr>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marL="177800" indent="-177800">
              <a:spcBef>
                <a:spcPts val="400"/>
              </a:spcBef>
              <a:spcAft>
                <a:spcPts val="200"/>
              </a:spcAft>
              <a:buClr>
                <a:srgbClr val="A30B1A"/>
              </a:buClr>
              <a:buFont typeface="Wingdings" pitchFamily="2" charset="2"/>
              <a:buChar char="n"/>
            </a:pPr>
            <a:endParaRPr lang="en-US" sz="1900" dirty="0" smtClean="0">
              <a:solidFill>
                <a:srgbClr val="000000"/>
              </a:solidFill>
            </a:endParaRPr>
          </a:p>
        </p:txBody>
      </p:sp>
      <p:sp>
        <p:nvSpPr>
          <p:cNvPr id="43" name="Abgerundetes Rechteck 42"/>
          <p:cNvSpPr/>
          <p:nvPr>
            <p:custDataLst>
              <p:tags r:id="rId8"/>
            </p:custDataLst>
          </p:nvPr>
        </p:nvSpPr>
        <p:spPr bwMode="gray">
          <a:xfrm>
            <a:off x="5400623" y="3723910"/>
            <a:ext cx="2592387" cy="288000"/>
          </a:xfrm>
          <a:prstGeom prst="roundRect">
            <a:avLst>
              <a:gd name="adj" fmla="val 44097"/>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6800" rtlCol="0" anchor="ctr" anchorCtr="0"/>
          <a:lstStyle/>
          <a:p>
            <a:pPr>
              <a:defRPr/>
            </a:pPr>
            <a:r>
              <a:rPr lang="en-US" sz="1200" kern="0" dirty="0" smtClean="0">
                <a:solidFill>
                  <a:sysClr val="windowText" lastClr="000000"/>
                </a:solidFill>
              </a:rPr>
              <a:t>Backup to disk (NAS/VTL)</a:t>
            </a:r>
          </a:p>
        </p:txBody>
      </p:sp>
      <p:sp>
        <p:nvSpPr>
          <p:cNvPr id="44" name="Abgerundetes Rechteck 43"/>
          <p:cNvSpPr/>
          <p:nvPr>
            <p:custDataLst>
              <p:tags r:id="rId9"/>
            </p:custDataLst>
          </p:nvPr>
        </p:nvSpPr>
        <p:spPr bwMode="gray">
          <a:xfrm>
            <a:off x="5400602" y="4443990"/>
            <a:ext cx="2592386" cy="288000"/>
          </a:xfrm>
          <a:prstGeom prst="roundRect">
            <a:avLst>
              <a:gd name="adj" fmla="val 44097"/>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6800" rtlCol="0" anchor="ctr" anchorCtr="0"/>
          <a:lstStyle/>
          <a:p>
            <a:pPr>
              <a:defRPr/>
            </a:pPr>
            <a:r>
              <a:rPr lang="en-US" sz="1200" kern="0" dirty="0" smtClean="0">
                <a:solidFill>
                  <a:sysClr val="windowText" lastClr="000000"/>
                </a:solidFill>
              </a:rPr>
              <a:t>Replication</a:t>
            </a:r>
          </a:p>
        </p:txBody>
      </p:sp>
      <p:sp>
        <p:nvSpPr>
          <p:cNvPr id="53" name="Abgerundetes Rechteck 52"/>
          <p:cNvSpPr/>
          <p:nvPr>
            <p:custDataLst>
              <p:tags r:id="rId10"/>
            </p:custDataLst>
          </p:nvPr>
        </p:nvSpPr>
        <p:spPr bwMode="gray">
          <a:xfrm>
            <a:off x="5400602" y="4083918"/>
            <a:ext cx="2592386" cy="288000"/>
          </a:xfrm>
          <a:prstGeom prst="roundRect">
            <a:avLst>
              <a:gd name="adj" fmla="val 44097"/>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6800" rtlCol="0" anchor="ctr" anchorCtr="0"/>
          <a:lstStyle/>
          <a:p>
            <a:pPr>
              <a:defRPr/>
            </a:pPr>
            <a:r>
              <a:rPr lang="en-US" sz="1200" kern="0" dirty="0">
                <a:solidFill>
                  <a:sysClr val="windowText" lastClr="000000"/>
                </a:solidFill>
              </a:rPr>
              <a:t>D</a:t>
            </a:r>
            <a:r>
              <a:rPr lang="en-US" sz="1200" kern="0" dirty="0" smtClean="0">
                <a:solidFill>
                  <a:sysClr val="windowText" lastClr="000000"/>
                </a:solidFill>
              </a:rPr>
              <a:t>eduplication</a:t>
            </a:r>
          </a:p>
        </p:txBody>
      </p:sp>
      <p:pic>
        <p:nvPicPr>
          <p:cNvPr id="54" name="Picture 2" descr="C:\Users\ABGKSCHN\Desktop\cs800-s4-size-xs.jpg"/>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gray">
          <a:xfrm>
            <a:off x="5670227" y="2699604"/>
            <a:ext cx="2069976" cy="988270"/>
          </a:xfrm>
          <a:prstGeom prst="rect">
            <a:avLst/>
          </a:prstGeom>
          <a:noFill/>
          <a:extLst>
            <a:ext uri="{909E8E84-426E-40DD-AFC4-6F175D3DCCD1}">
              <a14:hiddenFill xmlns:a14="http://schemas.microsoft.com/office/drawing/2010/main">
                <a:solidFill>
                  <a:srgbClr val="FFFFFF"/>
                </a:solidFill>
              </a14:hiddenFill>
            </a:ext>
          </a:extLst>
        </p:spPr>
      </p:pic>
      <p:sp>
        <p:nvSpPr>
          <p:cNvPr id="34" name="Abgerundetes Rechteck 33"/>
          <p:cNvSpPr/>
          <p:nvPr>
            <p:custDataLst>
              <p:tags r:id="rId11"/>
            </p:custDataLst>
          </p:nvPr>
        </p:nvSpPr>
        <p:spPr bwMode="gray">
          <a:xfrm>
            <a:off x="251532" y="1058863"/>
            <a:ext cx="4104455" cy="3744000"/>
          </a:xfrm>
          <a:prstGeom prst="roundRect">
            <a:avLst>
              <a:gd name="adj" fmla="val 3392"/>
            </a:avLst>
          </a:prstGeom>
          <a:gradFill flip="none" rotWithShape="1">
            <a:gsLst>
              <a:gs pos="0">
                <a:schemeClr val="bg2"/>
              </a:gs>
              <a:gs pos="50000">
                <a:schemeClr val="bg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tIns="90000" rIns="54000" bIns="90000" rtlCol="0" anchor="t" anchorCtr="0"/>
          <a:lstStyle/>
          <a:p>
            <a:pPr marL="269875" indent="-1588">
              <a:spcAft>
                <a:spcPts val="1200"/>
              </a:spcAft>
              <a:buClr>
                <a:srgbClr val="A30B1A"/>
              </a:buClr>
            </a:pPr>
            <a:r>
              <a:rPr lang="ru-RU" sz="1600" dirty="0" smtClean="0">
                <a:solidFill>
                  <a:srgbClr val="000000"/>
                </a:solidFill>
              </a:rPr>
              <a:t>Предельно просто</a:t>
            </a:r>
            <a:endParaRPr lang="en-US" sz="1600" dirty="0" smtClean="0">
              <a:solidFill>
                <a:srgbClr val="000000"/>
              </a:solidFill>
            </a:endParaRPr>
          </a:p>
          <a:p>
            <a:pPr marL="269875" indent="-1588">
              <a:spcAft>
                <a:spcPts val="1200"/>
              </a:spcAft>
              <a:buClr>
                <a:srgbClr val="A30B1A"/>
              </a:buClr>
            </a:pPr>
            <a:r>
              <a:rPr lang="ru-RU" sz="1600" dirty="0" smtClean="0">
                <a:solidFill>
                  <a:srgbClr val="000000"/>
                </a:solidFill>
              </a:rPr>
              <a:t>Легкость внедрения</a:t>
            </a:r>
            <a:endParaRPr lang="en-US" sz="1600" dirty="0" smtClean="0">
              <a:solidFill>
                <a:srgbClr val="000000"/>
              </a:solidFill>
            </a:endParaRPr>
          </a:p>
          <a:p>
            <a:pPr marL="269875" indent="-1588">
              <a:spcAft>
                <a:spcPts val="1200"/>
              </a:spcAft>
              <a:buClr>
                <a:srgbClr val="A30B1A"/>
              </a:buClr>
            </a:pPr>
            <a:r>
              <a:rPr lang="ru-RU" sz="1600" dirty="0" smtClean="0">
                <a:solidFill>
                  <a:srgbClr val="000000"/>
                </a:solidFill>
              </a:rPr>
              <a:t>Эффективные механизмы </a:t>
            </a:r>
            <a:r>
              <a:rPr lang="ru-RU" sz="1600" dirty="0" err="1" smtClean="0">
                <a:solidFill>
                  <a:srgbClr val="000000"/>
                </a:solidFill>
              </a:rPr>
              <a:t>дедупликации</a:t>
            </a:r>
            <a:endParaRPr lang="en-US" sz="1600" dirty="0" smtClean="0">
              <a:solidFill>
                <a:srgbClr val="000000"/>
              </a:solidFill>
            </a:endParaRPr>
          </a:p>
          <a:p>
            <a:pPr marL="269875" indent="-1588">
              <a:spcAft>
                <a:spcPts val="1200"/>
              </a:spcAft>
              <a:buClr>
                <a:srgbClr val="A30B1A"/>
              </a:buClr>
            </a:pPr>
            <a:r>
              <a:rPr lang="ru-RU" sz="1600" dirty="0" err="1" smtClean="0">
                <a:solidFill>
                  <a:srgbClr val="000000"/>
                </a:solidFill>
              </a:rPr>
              <a:t>Катастрофоустойчивые</a:t>
            </a:r>
            <a:r>
              <a:rPr lang="ru-RU" sz="1600" dirty="0" smtClean="0">
                <a:solidFill>
                  <a:srgbClr val="000000"/>
                </a:solidFill>
              </a:rPr>
              <a:t> конфигурации</a:t>
            </a:r>
            <a:endParaRPr lang="en-US" sz="1600" dirty="0" smtClean="0">
              <a:solidFill>
                <a:srgbClr val="000000"/>
              </a:solidFill>
            </a:endParaRPr>
          </a:p>
          <a:p>
            <a:pPr marL="269875" indent="-1588">
              <a:spcAft>
                <a:spcPts val="1200"/>
              </a:spcAft>
              <a:buClr>
                <a:srgbClr val="A30B1A"/>
              </a:buClr>
            </a:pPr>
            <a:r>
              <a:rPr lang="ru-RU" sz="1600" dirty="0" smtClean="0">
                <a:solidFill>
                  <a:srgbClr val="000000"/>
                </a:solidFill>
              </a:rPr>
              <a:t>Возможность подключения лент для долговременного хранения</a:t>
            </a:r>
            <a:endParaRPr lang="en-US" sz="1600" dirty="0">
              <a:solidFill>
                <a:srgbClr val="000000"/>
              </a:solidFill>
            </a:endParaRPr>
          </a:p>
        </p:txBody>
      </p:sp>
      <p:grpSp>
        <p:nvGrpSpPr>
          <p:cNvPr id="35" name="Gruppieren 10"/>
          <p:cNvGrpSpPr/>
          <p:nvPr>
            <p:custDataLst>
              <p:tags r:id="rId12"/>
            </p:custDataLst>
          </p:nvPr>
        </p:nvGrpSpPr>
        <p:grpSpPr bwMode="gray">
          <a:xfrm>
            <a:off x="323528" y="1563638"/>
            <a:ext cx="252000" cy="252000"/>
            <a:chOff x="503548" y="5502039"/>
            <a:chExt cx="360040" cy="360040"/>
          </a:xfrm>
        </p:grpSpPr>
        <p:sp>
          <p:nvSpPr>
            <p:cNvPr id="36" name="Ellipse 35"/>
            <p:cNvSpPr/>
            <p:nvPr/>
          </p:nvSpPr>
          <p:spPr bwMode="gray">
            <a:xfrm>
              <a:off x="575444" y="5573625"/>
              <a:ext cx="218304" cy="218304"/>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a:no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buClr>
                  <a:srgbClr val="A30B1A"/>
                </a:buClr>
              </a:pPr>
              <a:r>
                <a:rPr lang="en-US" sz="900" b="1" dirty="0" smtClean="0">
                  <a:solidFill>
                    <a:srgbClr val="FFFFFF"/>
                  </a:solidFill>
                  <a:sym typeface="Wingdings 3"/>
                </a:rPr>
                <a:t></a:t>
              </a:r>
              <a:endParaRPr lang="en-US" sz="900" b="1" dirty="0" smtClean="0">
                <a:solidFill>
                  <a:srgbClr val="FFFFFF"/>
                </a:solidFill>
              </a:endParaRPr>
            </a:p>
          </p:txBody>
        </p:sp>
        <p:sp>
          <p:nvSpPr>
            <p:cNvPr id="37" name="Bogen 36"/>
            <p:cNvSpPr/>
            <p:nvPr/>
          </p:nvSpPr>
          <p:spPr bwMode="gray">
            <a:xfrm flipH="1">
              <a:off x="539552" y="5538043"/>
              <a:ext cx="288032" cy="288032"/>
            </a:xfrm>
            <a:prstGeom prst="arc">
              <a:avLst>
                <a:gd name="adj1" fmla="val 12218654"/>
                <a:gd name="adj2" fmla="val 10410118"/>
              </a:avLst>
            </a:prstGeom>
            <a:ln>
              <a:gradFill flip="none" rotWithShape="1">
                <a:gsLst>
                  <a:gs pos="0">
                    <a:schemeClr val="bg1">
                      <a:alpha val="0"/>
                    </a:schemeClr>
                  </a:gs>
                  <a:gs pos="50000">
                    <a:schemeClr val="accent1">
                      <a:lumMod val="20000"/>
                      <a:lumOff val="80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sp>
          <p:nvSpPr>
            <p:cNvPr id="45" name="Bogen 44"/>
            <p:cNvSpPr/>
            <p:nvPr/>
          </p:nvSpPr>
          <p:spPr bwMode="gray">
            <a:xfrm rot="14984501">
              <a:off x="503548" y="5502039"/>
              <a:ext cx="360040" cy="360040"/>
            </a:xfrm>
            <a:prstGeom prst="arc">
              <a:avLst>
                <a:gd name="adj1" fmla="val 6966319"/>
                <a:gd name="adj2" fmla="val 6153321"/>
              </a:avLst>
            </a:prstGeom>
            <a:ln>
              <a:gradFill flip="none" rotWithShape="1">
                <a:gsLst>
                  <a:gs pos="0">
                    <a:schemeClr val="bg1">
                      <a:alpha val="0"/>
                    </a:schemeClr>
                  </a:gs>
                  <a:gs pos="50000">
                    <a:schemeClr val="accent1">
                      <a:lumMod val="20000"/>
                      <a:lumOff val="80000"/>
                    </a:schemeClr>
                  </a:gs>
                  <a:gs pos="100000">
                    <a:schemeClr val="accent1"/>
                  </a:gs>
                </a:gsLst>
                <a:lin ang="15600000" scaled="0"/>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grpSp>
      <p:grpSp>
        <p:nvGrpSpPr>
          <p:cNvPr id="46" name="Gruppieren 10"/>
          <p:cNvGrpSpPr/>
          <p:nvPr>
            <p:custDataLst>
              <p:tags r:id="rId13"/>
            </p:custDataLst>
          </p:nvPr>
        </p:nvGrpSpPr>
        <p:grpSpPr bwMode="gray">
          <a:xfrm>
            <a:off x="323528" y="1959710"/>
            <a:ext cx="252000" cy="252000"/>
            <a:chOff x="503548" y="5502039"/>
            <a:chExt cx="360040" cy="360040"/>
          </a:xfrm>
        </p:grpSpPr>
        <p:sp>
          <p:nvSpPr>
            <p:cNvPr id="47" name="Ellipse 46"/>
            <p:cNvSpPr/>
            <p:nvPr/>
          </p:nvSpPr>
          <p:spPr bwMode="gray">
            <a:xfrm>
              <a:off x="575444" y="5573625"/>
              <a:ext cx="218304" cy="218304"/>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a:no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buClr>
                  <a:srgbClr val="A30B1A"/>
                </a:buClr>
              </a:pPr>
              <a:r>
                <a:rPr lang="en-US" sz="900" b="1" dirty="0" smtClean="0">
                  <a:solidFill>
                    <a:srgbClr val="FFFFFF"/>
                  </a:solidFill>
                  <a:sym typeface="Wingdings 3"/>
                </a:rPr>
                <a:t></a:t>
              </a:r>
              <a:endParaRPr lang="en-US" sz="900" b="1" dirty="0" smtClean="0">
                <a:solidFill>
                  <a:srgbClr val="FFFFFF"/>
                </a:solidFill>
              </a:endParaRPr>
            </a:p>
          </p:txBody>
        </p:sp>
        <p:sp>
          <p:nvSpPr>
            <p:cNvPr id="48" name="Bogen 47"/>
            <p:cNvSpPr/>
            <p:nvPr/>
          </p:nvSpPr>
          <p:spPr bwMode="gray">
            <a:xfrm flipH="1">
              <a:off x="539552" y="5538043"/>
              <a:ext cx="288032" cy="288032"/>
            </a:xfrm>
            <a:prstGeom prst="arc">
              <a:avLst>
                <a:gd name="adj1" fmla="val 12218654"/>
                <a:gd name="adj2" fmla="val 10410118"/>
              </a:avLst>
            </a:prstGeom>
            <a:ln>
              <a:gradFill flip="none" rotWithShape="1">
                <a:gsLst>
                  <a:gs pos="0">
                    <a:schemeClr val="bg1">
                      <a:alpha val="0"/>
                    </a:schemeClr>
                  </a:gs>
                  <a:gs pos="50000">
                    <a:schemeClr val="accent1">
                      <a:lumMod val="20000"/>
                      <a:lumOff val="80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sp>
          <p:nvSpPr>
            <p:cNvPr id="49" name="Bogen 48"/>
            <p:cNvSpPr/>
            <p:nvPr/>
          </p:nvSpPr>
          <p:spPr bwMode="gray">
            <a:xfrm rot="14984501">
              <a:off x="503548" y="5502039"/>
              <a:ext cx="360040" cy="360040"/>
            </a:xfrm>
            <a:prstGeom prst="arc">
              <a:avLst>
                <a:gd name="adj1" fmla="val 6966319"/>
                <a:gd name="adj2" fmla="val 6153321"/>
              </a:avLst>
            </a:prstGeom>
            <a:ln>
              <a:gradFill flip="none" rotWithShape="1">
                <a:gsLst>
                  <a:gs pos="0">
                    <a:schemeClr val="bg1">
                      <a:alpha val="0"/>
                    </a:schemeClr>
                  </a:gs>
                  <a:gs pos="50000">
                    <a:schemeClr val="accent1">
                      <a:lumMod val="20000"/>
                      <a:lumOff val="80000"/>
                    </a:schemeClr>
                  </a:gs>
                  <a:gs pos="100000">
                    <a:schemeClr val="accent1"/>
                  </a:gs>
                </a:gsLst>
                <a:lin ang="15600000" scaled="0"/>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grpSp>
      <p:grpSp>
        <p:nvGrpSpPr>
          <p:cNvPr id="50" name="Gruppieren 10"/>
          <p:cNvGrpSpPr/>
          <p:nvPr>
            <p:custDataLst>
              <p:tags r:id="rId14"/>
            </p:custDataLst>
          </p:nvPr>
        </p:nvGrpSpPr>
        <p:grpSpPr bwMode="gray">
          <a:xfrm>
            <a:off x="324248" y="2652573"/>
            <a:ext cx="252000" cy="252000"/>
            <a:chOff x="503548" y="5502039"/>
            <a:chExt cx="360040" cy="360040"/>
          </a:xfrm>
        </p:grpSpPr>
        <p:sp>
          <p:nvSpPr>
            <p:cNvPr id="51" name="Ellipse 50"/>
            <p:cNvSpPr/>
            <p:nvPr/>
          </p:nvSpPr>
          <p:spPr bwMode="gray">
            <a:xfrm>
              <a:off x="575444" y="5573625"/>
              <a:ext cx="218304" cy="218304"/>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a:no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buClr>
                  <a:srgbClr val="A30B1A"/>
                </a:buClr>
              </a:pPr>
              <a:r>
                <a:rPr lang="en-US" sz="900" b="1" dirty="0" smtClean="0">
                  <a:solidFill>
                    <a:srgbClr val="FFFFFF"/>
                  </a:solidFill>
                  <a:sym typeface="Wingdings 3"/>
                </a:rPr>
                <a:t></a:t>
              </a:r>
              <a:endParaRPr lang="en-US" sz="900" b="1" dirty="0" smtClean="0">
                <a:solidFill>
                  <a:srgbClr val="FFFFFF"/>
                </a:solidFill>
              </a:endParaRPr>
            </a:p>
          </p:txBody>
        </p:sp>
        <p:sp>
          <p:nvSpPr>
            <p:cNvPr id="52" name="Bogen 51"/>
            <p:cNvSpPr/>
            <p:nvPr/>
          </p:nvSpPr>
          <p:spPr bwMode="gray">
            <a:xfrm flipH="1">
              <a:off x="539552" y="5538043"/>
              <a:ext cx="288032" cy="288032"/>
            </a:xfrm>
            <a:prstGeom prst="arc">
              <a:avLst>
                <a:gd name="adj1" fmla="val 12218654"/>
                <a:gd name="adj2" fmla="val 10410118"/>
              </a:avLst>
            </a:prstGeom>
            <a:ln>
              <a:gradFill flip="none" rotWithShape="1">
                <a:gsLst>
                  <a:gs pos="0">
                    <a:schemeClr val="bg1">
                      <a:alpha val="0"/>
                    </a:schemeClr>
                  </a:gs>
                  <a:gs pos="50000">
                    <a:schemeClr val="accent1">
                      <a:lumMod val="20000"/>
                      <a:lumOff val="80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sp>
          <p:nvSpPr>
            <p:cNvPr id="57" name="Bogen 56"/>
            <p:cNvSpPr/>
            <p:nvPr/>
          </p:nvSpPr>
          <p:spPr bwMode="gray">
            <a:xfrm rot="14984501">
              <a:off x="503548" y="5502039"/>
              <a:ext cx="360040" cy="360040"/>
            </a:xfrm>
            <a:prstGeom prst="arc">
              <a:avLst>
                <a:gd name="adj1" fmla="val 6966319"/>
                <a:gd name="adj2" fmla="val 6153321"/>
              </a:avLst>
            </a:prstGeom>
            <a:ln>
              <a:gradFill flip="none" rotWithShape="1">
                <a:gsLst>
                  <a:gs pos="0">
                    <a:schemeClr val="bg1">
                      <a:alpha val="0"/>
                    </a:schemeClr>
                  </a:gs>
                  <a:gs pos="50000">
                    <a:schemeClr val="accent1">
                      <a:lumMod val="20000"/>
                      <a:lumOff val="80000"/>
                    </a:schemeClr>
                  </a:gs>
                  <a:gs pos="100000">
                    <a:schemeClr val="accent1"/>
                  </a:gs>
                </a:gsLst>
                <a:lin ang="15600000" scaled="0"/>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grpSp>
      <p:grpSp>
        <p:nvGrpSpPr>
          <p:cNvPr id="58" name="Gruppieren 10"/>
          <p:cNvGrpSpPr/>
          <p:nvPr>
            <p:custDataLst>
              <p:tags r:id="rId15"/>
            </p:custDataLst>
          </p:nvPr>
        </p:nvGrpSpPr>
        <p:grpSpPr bwMode="gray">
          <a:xfrm>
            <a:off x="323528" y="1167622"/>
            <a:ext cx="252000" cy="252000"/>
            <a:chOff x="503548" y="5502039"/>
            <a:chExt cx="360040" cy="360040"/>
          </a:xfrm>
        </p:grpSpPr>
        <p:sp>
          <p:nvSpPr>
            <p:cNvPr id="59" name="Ellipse 58"/>
            <p:cNvSpPr/>
            <p:nvPr/>
          </p:nvSpPr>
          <p:spPr bwMode="gray">
            <a:xfrm>
              <a:off x="575444" y="5573625"/>
              <a:ext cx="218304" cy="218304"/>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a:no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buClr>
                  <a:srgbClr val="A30B1A"/>
                </a:buClr>
              </a:pPr>
              <a:r>
                <a:rPr lang="en-US" sz="900" b="1" dirty="0" smtClean="0">
                  <a:solidFill>
                    <a:srgbClr val="FFFFFF"/>
                  </a:solidFill>
                  <a:sym typeface="Wingdings 3"/>
                </a:rPr>
                <a:t></a:t>
              </a:r>
              <a:endParaRPr lang="en-US" sz="900" b="1" dirty="0" smtClean="0">
                <a:solidFill>
                  <a:srgbClr val="FFFFFF"/>
                </a:solidFill>
              </a:endParaRPr>
            </a:p>
          </p:txBody>
        </p:sp>
        <p:sp>
          <p:nvSpPr>
            <p:cNvPr id="60" name="Bogen 59"/>
            <p:cNvSpPr/>
            <p:nvPr/>
          </p:nvSpPr>
          <p:spPr bwMode="gray">
            <a:xfrm flipH="1">
              <a:off x="539552" y="5538043"/>
              <a:ext cx="288032" cy="288032"/>
            </a:xfrm>
            <a:prstGeom prst="arc">
              <a:avLst>
                <a:gd name="adj1" fmla="val 12218654"/>
                <a:gd name="adj2" fmla="val 10410118"/>
              </a:avLst>
            </a:prstGeom>
            <a:ln>
              <a:gradFill flip="none" rotWithShape="1">
                <a:gsLst>
                  <a:gs pos="0">
                    <a:schemeClr val="bg1">
                      <a:alpha val="0"/>
                    </a:schemeClr>
                  </a:gs>
                  <a:gs pos="50000">
                    <a:schemeClr val="accent1">
                      <a:lumMod val="20000"/>
                      <a:lumOff val="80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sp>
          <p:nvSpPr>
            <p:cNvPr id="61" name="Bogen 60"/>
            <p:cNvSpPr/>
            <p:nvPr/>
          </p:nvSpPr>
          <p:spPr bwMode="gray">
            <a:xfrm rot="14984501">
              <a:off x="503548" y="5502039"/>
              <a:ext cx="360040" cy="360040"/>
            </a:xfrm>
            <a:prstGeom prst="arc">
              <a:avLst>
                <a:gd name="adj1" fmla="val 6966319"/>
                <a:gd name="adj2" fmla="val 6153321"/>
              </a:avLst>
            </a:prstGeom>
            <a:ln>
              <a:gradFill flip="none" rotWithShape="1">
                <a:gsLst>
                  <a:gs pos="0">
                    <a:schemeClr val="bg1">
                      <a:alpha val="0"/>
                    </a:schemeClr>
                  </a:gs>
                  <a:gs pos="50000">
                    <a:schemeClr val="accent1">
                      <a:lumMod val="20000"/>
                      <a:lumOff val="80000"/>
                    </a:schemeClr>
                  </a:gs>
                  <a:gs pos="100000">
                    <a:schemeClr val="accent1"/>
                  </a:gs>
                </a:gsLst>
                <a:lin ang="15600000" scaled="0"/>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grpSp>
      <p:grpSp>
        <p:nvGrpSpPr>
          <p:cNvPr id="62" name="Gruppieren 10"/>
          <p:cNvGrpSpPr/>
          <p:nvPr>
            <p:custDataLst>
              <p:tags r:id="rId16"/>
            </p:custDataLst>
          </p:nvPr>
        </p:nvGrpSpPr>
        <p:grpSpPr bwMode="gray">
          <a:xfrm>
            <a:off x="267066" y="3355724"/>
            <a:ext cx="252000" cy="252000"/>
            <a:chOff x="503548" y="5502039"/>
            <a:chExt cx="360040" cy="360040"/>
          </a:xfrm>
        </p:grpSpPr>
        <p:sp>
          <p:nvSpPr>
            <p:cNvPr id="63" name="Ellipse 62"/>
            <p:cNvSpPr/>
            <p:nvPr/>
          </p:nvSpPr>
          <p:spPr bwMode="gray">
            <a:xfrm>
              <a:off x="575444" y="5573625"/>
              <a:ext cx="218304" cy="218304"/>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a:no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buClr>
                  <a:srgbClr val="A30B1A"/>
                </a:buClr>
              </a:pPr>
              <a:r>
                <a:rPr lang="en-US" sz="900" b="1" dirty="0" smtClean="0">
                  <a:solidFill>
                    <a:srgbClr val="FFFFFF"/>
                  </a:solidFill>
                  <a:sym typeface="Wingdings 3"/>
                </a:rPr>
                <a:t></a:t>
              </a:r>
              <a:endParaRPr lang="en-US" sz="900" b="1" dirty="0" smtClean="0">
                <a:solidFill>
                  <a:srgbClr val="FFFFFF"/>
                </a:solidFill>
              </a:endParaRPr>
            </a:p>
          </p:txBody>
        </p:sp>
        <p:sp>
          <p:nvSpPr>
            <p:cNvPr id="64" name="Bogen 63"/>
            <p:cNvSpPr/>
            <p:nvPr/>
          </p:nvSpPr>
          <p:spPr bwMode="gray">
            <a:xfrm flipH="1">
              <a:off x="539552" y="5538043"/>
              <a:ext cx="288032" cy="288032"/>
            </a:xfrm>
            <a:prstGeom prst="arc">
              <a:avLst>
                <a:gd name="adj1" fmla="val 12218654"/>
                <a:gd name="adj2" fmla="val 10410118"/>
              </a:avLst>
            </a:prstGeom>
            <a:ln>
              <a:gradFill flip="none" rotWithShape="1">
                <a:gsLst>
                  <a:gs pos="0">
                    <a:schemeClr val="bg1">
                      <a:alpha val="0"/>
                    </a:schemeClr>
                  </a:gs>
                  <a:gs pos="50000">
                    <a:schemeClr val="accent1">
                      <a:lumMod val="20000"/>
                      <a:lumOff val="80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sp>
          <p:nvSpPr>
            <p:cNvPr id="65" name="Bogen 64"/>
            <p:cNvSpPr/>
            <p:nvPr/>
          </p:nvSpPr>
          <p:spPr bwMode="gray">
            <a:xfrm rot="14984501">
              <a:off x="503548" y="5502039"/>
              <a:ext cx="360040" cy="360040"/>
            </a:xfrm>
            <a:prstGeom prst="arc">
              <a:avLst>
                <a:gd name="adj1" fmla="val 6966319"/>
                <a:gd name="adj2" fmla="val 6153321"/>
              </a:avLst>
            </a:prstGeom>
            <a:ln>
              <a:gradFill flip="none" rotWithShape="1">
                <a:gsLst>
                  <a:gs pos="0">
                    <a:schemeClr val="bg1">
                      <a:alpha val="0"/>
                    </a:schemeClr>
                  </a:gs>
                  <a:gs pos="50000">
                    <a:schemeClr val="accent1">
                      <a:lumMod val="20000"/>
                      <a:lumOff val="80000"/>
                    </a:schemeClr>
                  </a:gs>
                  <a:gs pos="100000">
                    <a:schemeClr val="accent1"/>
                  </a:gs>
                </a:gsLst>
                <a:lin ang="15600000" scaled="0"/>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dirty="0">
                <a:solidFill>
                  <a:srgbClr val="000000"/>
                </a:solidFill>
              </a:endParaRPr>
            </a:p>
          </p:txBody>
        </p:sp>
      </p:grpSp>
    </p:spTree>
    <p:extLst>
      <p:ext uri="{BB962C8B-B14F-4D97-AF65-F5344CB8AC3E}">
        <p14:creationId xmlns:p14="http://schemas.microsoft.com/office/powerpoint/2010/main" val="38240188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8"/>
                                        </p:tgtEl>
                                        <p:attrNameLst>
                                          <p:attrName>style.visibility</p:attrName>
                                        </p:attrNameLst>
                                      </p:cBhvr>
                                      <p:to>
                                        <p:strVal val="visible"/>
                                      </p:to>
                                    </p:set>
                                    <p:animEffect transition="in" filter="fade">
                                      <p:cBhvr>
                                        <p:cTn id="10" dur="500"/>
                                        <p:tgtEl>
                                          <p:spTgt spid="5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4">
                                            <p:txEl>
                                              <p:pRg st="1" end="1"/>
                                            </p:txEl>
                                          </p:spTgt>
                                        </p:tgtEl>
                                        <p:attrNameLst>
                                          <p:attrName>style.visibility</p:attrName>
                                        </p:attrNameLst>
                                      </p:cBhvr>
                                      <p:to>
                                        <p:strVal val="visible"/>
                                      </p:to>
                                    </p:set>
                                    <p:animEffect transition="in" filter="fade">
                                      <p:cBhvr>
                                        <p:cTn id="15" dur="500"/>
                                        <p:tgtEl>
                                          <p:spTgt spid="34">
                                            <p:txEl>
                                              <p:pRg st="1" end="1"/>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3"/>
                                        </p:tgtEl>
                                        <p:attrNameLst>
                                          <p:attrName>style.visibility</p:attrName>
                                        </p:attrNameLst>
                                      </p:cBhvr>
                                      <p:to>
                                        <p:strVal val="visible"/>
                                      </p:to>
                                    </p:set>
                                    <p:animEffect transition="in" filter="fade">
                                      <p:cBhvr>
                                        <p:cTn id="18" dur="500"/>
                                        <p:tgtEl>
                                          <p:spTgt spid="43"/>
                                        </p:tgtEl>
                                      </p:cBhvr>
                                    </p:animEffect>
                                  </p:childTnLst>
                                </p:cTn>
                              </p:par>
                              <p:par>
                                <p:cTn id="19" presetID="10" presetClass="entr" presetSubtype="0" fill="hold" nodeType="with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fade">
                                      <p:cBhvr>
                                        <p:cTn id="21" dur="500"/>
                                        <p:tgtEl>
                                          <p:spTgt spid="3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4">
                                            <p:txEl>
                                              <p:pRg st="2" end="2"/>
                                            </p:txEl>
                                          </p:spTgt>
                                        </p:tgtEl>
                                        <p:attrNameLst>
                                          <p:attrName>style.visibility</p:attrName>
                                        </p:attrNameLst>
                                      </p:cBhvr>
                                      <p:to>
                                        <p:strVal val="visible"/>
                                      </p:to>
                                    </p:set>
                                    <p:animEffect transition="in" filter="fade">
                                      <p:cBhvr>
                                        <p:cTn id="26" dur="500"/>
                                        <p:tgtEl>
                                          <p:spTgt spid="34">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53"/>
                                        </p:tgtEl>
                                        <p:attrNameLst>
                                          <p:attrName>style.visibility</p:attrName>
                                        </p:attrNameLst>
                                      </p:cBhvr>
                                      <p:to>
                                        <p:strVal val="visible"/>
                                      </p:to>
                                    </p:set>
                                    <p:animEffect transition="in" filter="fade">
                                      <p:cBhvr>
                                        <p:cTn id="29" dur="500"/>
                                        <p:tgtEl>
                                          <p:spTgt spid="53"/>
                                        </p:tgtEl>
                                      </p:cBhvr>
                                    </p:animEffect>
                                  </p:childTnLst>
                                </p:cTn>
                              </p:par>
                              <p:par>
                                <p:cTn id="30" presetID="10" presetClass="entr" presetSubtype="0" fill="hold" nodeType="withEffect">
                                  <p:stCondLst>
                                    <p:cond delay="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500"/>
                                        <p:tgtEl>
                                          <p:spTgt spid="4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0"/>
                                        </p:tgtEl>
                                        <p:attrNameLst>
                                          <p:attrName>style.visibility</p:attrName>
                                        </p:attrNameLst>
                                      </p:cBhvr>
                                      <p:to>
                                        <p:strVal val="visible"/>
                                      </p:to>
                                    </p:set>
                                    <p:animEffect transition="in" filter="fade">
                                      <p:cBhvr>
                                        <p:cTn id="37" dur="500"/>
                                        <p:tgtEl>
                                          <p:spTgt spid="5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4"/>
                                        </p:tgtEl>
                                        <p:attrNameLst>
                                          <p:attrName>style.visibility</p:attrName>
                                        </p:attrNameLst>
                                      </p:cBhvr>
                                      <p:to>
                                        <p:strVal val="visible"/>
                                      </p:to>
                                    </p:set>
                                    <p:animEffect transition="in" filter="fade">
                                      <p:cBhvr>
                                        <p:cTn id="40" dur="500"/>
                                        <p:tgtEl>
                                          <p:spTgt spid="44"/>
                                        </p:tgtEl>
                                      </p:cBhvr>
                                    </p:animEffect>
                                  </p:childTnLst>
                                </p:cTn>
                              </p:par>
                              <p:par>
                                <p:cTn id="41" presetID="10" presetClass="entr" presetSubtype="0" fill="hold" nodeType="withEffect">
                                  <p:stCondLst>
                                    <p:cond delay="0"/>
                                  </p:stCondLst>
                                  <p:childTnLst>
                                    <p:set>
                                      <p:cBhvr>
                                        <p:cTn id="42" dur="1" fill="hold">
                                          <p:stCondLst>
                                            <p:cond delay="0"/>
                                          </p:stCondLst>
                                        </p:cTn>
                                        <p:tgtEl>
                                          <p:spTgt spid="34">
                                            <p:txEl>
                                              <p:pRg st="3" end="3"/>
                                            </p:txEl>
                                          </p:spTgt>
                                        </p:tgtEl>
                                        <p:attrNameLst>
                                          <p:attrName>style.visibility</p:attrName>
                                        </p:attrNameLst>
                                      </p:cBhvr>
                                      <p:to>
                                        <p:strVal val="visible"/>
                                      </p:to>
                                    </p:set>
                                    <p:animEffect transition="in" filter="fade">
                                      <p:cBhvr>
                                        <p:cTn id="43" dur="500"/>
                                        <p:tgtEl>
                                          <p:spTgt spid="34">
                                            <p:txEl>
                                              <p:pRg st="3" end="3"/>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34">
                                            <p:txEl>
                                              <p:pRg st="4" end="4"/>
                                            </p:txEl>
                                          </p:spTgt>
                                        </p:tgtEl>
                                        <p:attrNameLst>
                                          <p:attrName>style.visibility</p:attrName>
                                        </p:attrNameLst>
                                      </p:cBhvr>
                                      <p:to>
                                        <p:strVal val="visible"/>
                                      </p:to>
                                    </p:set>
                                    <p:animEffect transition="in" filter="fade">
                                      <p:cBhvr>
                                        <p:cTn id="48" dur="500"/>
                                        <p:tgtEl>
                                          <p:spTgt spid="34">
                                            <p:txEl>
                                              <p:pRg st="4" end="4"/>
                                            </p:txEl>
                                          </p:spTgt>
                                        </p:tgtEl>
                                      </p:cBhvr>
                                    </p:animEffect>
                                  </p:childTnLst>
                                </p:cTn>
                              </p:par>
                              <p:par>
                                <p:cTn id="49" presetID="10" presetClass="entr" presetSubtype="0" fill="hold" nodeType="withEffect">
                                  <p:stCondLst>
                                    <p:cond delay="0"/>
                                  </p:stCondLst>
                                  <p:childTnLst>
                                    <p:set>
                                      <p:cBhvr>
                                        <p:cTn id="50" dur="1" fill="hold">
                                          <p:stCondLst>
                                            <p:cond delay="0"/>
                                          </p:stCondLst>
                                        </p:cTn>
                                        <p:tgtEl>
                                          <p:spTgt spid="62"/>
                                        </p:tgtEl>
                                        <p:attrNameLst>
                                          <p:attrName>style.visibility</p:attrName>
                                        </p:attrNameLst>
                                      </p:cBhvr>
                                      <p:to>
                                        <p:strVal val="visible"/>
                                      </p:to>
                                    </p:set>
                                    <p:animEffect transition="in" filter="fade">
                                      <p:cBhvr>
                                        <p:cTn id="51"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5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VCT_ADJUSTSHAPES_ARROWANGLE" val="45"/>
  <p:tag name="VCT_ADJUSTSHAPES_CHEVRONANGLE" val="60"/>
  <p:tag name="VCT_ADJUSTSHAPES_ROUNDRECTPOINTS" val="30"/>
</p:tagLst>
</file>

<file path=ppt/tags/tag10.xml><?xml version="1.0" encoding="utf-8"?>
<p:tagLst xmlns:a="http://schemas.openxmlformats.org/drawingml/2006/main" xmlns:r="http://schemas.openxmlformats.org/officeDocument/2006/relationships" xmlns:p="http://schemas.openxmlformats.org/presentationml/2006/main">
  <p:tag name="VCT-RADIUS" val="30"/>
</p:tagLst>
</file>

<file path=ppt/tags/tag100.xml><?xml version="1.0" encoding="utf-8"?>
<p:tagLst xmlns:a="http://schemas.openxmlformats.org/drawingml/2006/main" xmlns:r="http://schemas.openxmlformats.org/officeDocument/2006/relationships" xmlns:p="http://schemas.openxmlformats.org/presentationml/2006/main">
  <p:tag name="VCT-RADIUS" val="30"/>
</p:tagLst>
</file>

<file path=ppt/tags/tag101.xml><?xml version="1.0" encoding="utf-8"?>
<p:tagLst xmlns:a="http://schemas.openxmlformats.org/drawingml/2006/main" xmlns:r="http://schemas.openxmlformats.org/officeDocument/2006/relationships" xmlns:p="http://schemas.openxmlformats.org/presentationml/2006/main">
  <p:tag name="VCT-RADIUS" val="30"/>
</p:tagLst>
</file>

<file path=ppt/tags/tag102.xml><?xml version="1.0" encoding="utf-8"?>
<p:tagLst xmlns:a="http://schemas.openxmlformats.org/drawingml/2006/main" xmlns:r="http://schemas.openxmlformats.org/officeDocument/2006/relationships" xmlns:p="http://schemas.openxmlformats.org/presentationml/2006/main">
  <p:tag name="VCT-RADIUS" val="30"/>
</p:tagLst>
</file>

<file path=ppt/tags/tag103.xml><?xml version="1.0" encoding="utf-8"?>
<p:tagLst xmlns:a="http://schemas.openxmlformats.org/drawingml/2006/main" xmlns:r="http://schemas.openxmlformats.org/officeDocument/2006/relationships" xmlns:p="http://schemas.openxmlformats.org/presentationml/2006/main">
  <p:tag name="VCT-RADIUS" val="30"/>
</p:tagLst>
</file>

<file path=ppt/tags/tag104.xml><?xml version="1.0" encoding="utf-8"?>
<p:tagLst xmlns:a="http://schemas.openxmlformats.org/drawingml/2006/main" xmlns:r="http://schemas.openxmlformats.org/officeDocument/2006/relationships" xmlns:p="http://schemas.openxmlformats.org/presentationml/2006/main">
  <p:tag name="VCT-RADIUS" val="30"/>
</p:tagLst>
</file>

<file path=ppt/tags/tag105.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TEMPLATE" val="Master 16-9_red.potx"/>
  <p:tag name="VCTMASTER" val="Fujitsu Master 16-9 red"/>
  <p:tag name="VCTORDER" val="1"/>
</p:tagLst>
</file>

<file path=ppt/tags/tag106.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107.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108.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109.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11.xml><?xml version="1.0" encoding="utf-8"?>
<p:tagLst xmlns:a="http://schemas.openxmlformats.org/drawingml/2006/main" xmlns:r="http://schemas.openxmlformats.org/officeDocument/2006/relationships" xmlns:p="http://schemas.openxmlformats.org/presentationml/2006/main">
  <p:tag name="VCT-RADIUS" val="30"/>
</p:tagLst>
</file>

<file path=ppt/tags/tag110.xml><?xml version="1.0" encoding="utf-8"?>
<p:tagLst xmlns:a="http://schemas.openxmlformats.org/drawingml/2006/main" xmlns:r="http://schemas.openxmlformats.org/officeDocument/2006/relationships" xmlns:p="http://schemas.openxmlformats.org/presentationml/2006/main">
  <p:tag name="VCT-RADIUS" val="30"/>
</p:tagLst>
</file>

<file path=ppt/tags/tag111.xml><?xml version="1.0" encoding="utf-8"?>
<p:tagLst xmlns:a="http://schemas.openxmlformats.org/drawingml/2006/main" xmlns:r="http://schemas.openxmlformats.org/officeDocument/2006/relationships" xmlns:p="http://schemas.openxmlformats.org/presentationml/2006/main">
  <p:tag name="VCT-RADIUS" val="30"/>
</p:tagLst>
</file>

<file path=ppt/tags/tag112.xml><?xml version="1.0" encoding="utf-8"?>
<p:tagLst xmlns:a="http://schemas.openxmlformats.org/drawingml/2006/main" xmlns:r="http://schemas.openxmlformats.org/officeDocument/2006/relationships" xmlns:p="http://schemas.openxmlformats.org/presentationml/2006/main">
  <p:tag name="VCT-RADIUS" val="30"/>
</p:tagLst>
</file>

<file path=ppt/tags/tag113.xml><?xml version="1.0" encoding="utf-8"?>
<p:tagLst xmlns:a="http://schemas.openxmlformats.org/drawingml/2006/main" xmlns:r="http://schemas.openxmlformats.org/officeDocument/2006/relationships" xmlns:p="http://schemas.openxmlformats.org/presentationml/2006/main">
  <p:tag name="VCT-RADIUS" val="30"/>
</p:tagLst>
</file>

<file path=ppt/tags/tag114.xml><?xml version="1.0" encoding="utf-8"?>
<p:tagLst xmlns:a="http://schemas.openxmlformats.org/drawingml/2006/main" xmlns:r="http://schemas.openxmlformats.org/officeDocument/2006/relationships" xmlns:p="http://schemas.openxmlformats.org/presentationml/2006/main">
  <p:tag name="VCT-RADIUS" val="30"/>
</p:tagLst>
</file>

<file path=ppt/tags/tag115.xml><?xml version="1.0" encoding="utf-8"?>
<p:tagLst xmlns:a="http://schemas.openxmlformats.org/drawingml/2006/main" xmlns:r="http://schemas.openxmlformats.org/officeDocument/2006/relationships" xmlns:p="http://schemas.openxmlformats.org/presentationml/2006/main">
  <p:tag name="VCT-RADIUS" val="30"/>
</p:tagLst>
</file>

<file path=ppt/tags/tag116.xml><?xml version="1.0" encoding="utf-8"?>
<p:tagLst xmlns:a="http://schemas.openxmlformats.org/drawingml/2006/main" xmlns:r="http://schemas.openxmlformats.org/officeDocument/2006/relationships" xmlns:p="http://schemas.openxmlformats.org/presentationml/2006/main">
  <p:tag name="VCT-RADIUS" val="30"/>
</p:tagLst>
</file>

<file path=ppt/tags/tag117.xml><?xml version="1.0" encoding="utf-8"?>
<p:tagLst xmlns:a="http://schemas.openxmlformats.org/drawingml/2006/main" xmlns:r="http://schemas.openxmlformats.org/officeDocument/2006/relationships" xmlns:p="http://schemas.openxmlformats.org/presentationml/2006/main">
  <p:tag name="VCT-RADIUS" val="30"/>
</p:tagLst>
</file>

<file path=ppt/tags/tag118.xml><?xml version="1.0" encoding="utf-8"?>
<p:tagLst xmlns:a="http://schemas.openxmlformats.org/drawingml/2006/main" xmlns:r="http://schemas.openxmlformats.org/officeDocument/2006/relationships" xmlns:p="http://schemas.openxmlformats.org/presentationml/2006/main">
  <p:tag name="VCT-RADIUS" val="30"/>
</p:tagLst>
</file>

<file path=ppt/tags/tag119.xml><?xml version="1.0" encoding="utf-8"?>
<p:tagLst xmlns:a="http://schemas.openxmlformats.org/drawingml/2006/main" xmlns:r="http://schemas.openxmlformats.org/officeDocument/2006/relationships" xmlns:p="http://schemas.openxmlformats.org/presentationml/2006/main">
  <p:tag name="VCT-RADIUS" val="30"/>
</p:tagLst>
</file>

<file path=ppt/tags/tag12.xml><?xml version="1.0" encoding="utf-8"?>
<p:tagLst xmlns:a="http://schemas.openxmlformats.org/drawingml/2006/main" xmlns:r="http://schemas.openxmlformats.org/officeDocument/2006/relationships" xmlns:p="http://schemas.openxmlformats.org/presentationml/2006/main">
  <p:tag name="VCT-RADIUS" val="30"/>
</p:tagLst>
</file>

<file path=ppt/tags/tag120.xml><?xml version="1.0" encoding="utf-8"?>
<p:tagLst xmlns:a="http://schemas.openxmlformats.org/drawingml/2006/main" xmlns:r="http://schemas.openxmlformats.org/officeDocument/2006/relationships" xmlns:p="http://schemas.openxmlformats.org/presentationml/2006/main">
  <p:tag name="VCT-RADIUS" val="30"/>
</p:tagLst>
</file>

<file path=ppt/tags/tag121.xml><?xml version="1.0" encoding="utf-8"?>
<p:tagLst xmlns:a="http://schemas.openxmlformats.org/drawingml/2006/main" xmlns:r="http://schemas.openxmlformats.org/officeDocument/2006/relationships" xmlns:p="http://schemas.openxmlformats.org/presentationml/2006/main">
  <p:tag name="VCT-RADIUS" val="30"/>
</p:tagLst>
</file>

<file path=ppt/tags/tag122.xml><?xml version="1.0" encoding="utf-8"?>
<p:tagLst xmlns:a="http://schemas.openxmlformats.org/drawingml/2006/main" xmlns:r="http://schemas.openxmlformats.org/officeDocument/2006/relationships" xmlns:p="http://schemas.openxmlformats.org/presentationml/2006/main">
  <p:tag name="VCT-RADIUS" val="30"/>
</p:tagLst>
</file>

<file path=ppt/tags/tag123.xml><?xml version="1.0" encoding="utf-8"?>
<p:tagLst xmlns:a="http://schemas.openxmlformats.org/drawingml/2006/main" xmlns:r="http://schemas.openxmlformats.org/officeDocument/2006/relationships" xmlns:p="http://schemas.openxmlformats.org/presentationml/2006/main">
  <p:tag name="VCT-RADIUS" val="30"/>
</p:tagLst>
</file>

<file path=ppt/tags/tag124.xml><?xml version="1.0" encoding="utf-8"?>
<p:tagLst xmlns:a="http://schemas.openxmlformats.org/drawingml/2006/main" xmlns:r="http://schemas.openxmlformats.org/officeDocument/2006/relationships" xmlns:p="http://schemas.openxmlformats.org/presentationml/2006/main">
  <p:tag name="VCT-RADIUS" val="30"/>
</p:tagLst>
</file>

<file path=ppt/tags/tag125.xml><?xml version="1.0" encoding="utf-8"?>
<p:tagLst xmlns:a="http://schemas.openxmlformats.org/drawingml/2006/main" xmlns:r="http://schemas.openxmlformats.org/officeDocument/2006/relationships" xmlns:p="http://schemas.openxmlformats.org/presentationml/2006/main">
  <p:tag name="VCT-RADIUS" val="30"/>
</p:tagLst>
</file>

<file path=ppt/tags/tag126.xml><?xml version="1.0" encoding="utf-8"?>
<p:tagLst xmlns:a="http://schemas.openxmlformats.org/drawingml/2006/main" xmlns:r="http://schemas.openxmlformats.org/officeDocument/2006/relationships" xmlns:p="http://schemas.openxmlformats.org/presentationml/2006/main">
  <p:tag name="VCT-RADIUS" val="30"/>
</p:tagLst>
</file>

<file path=ppt/tags/tag127.xml><?xml version="1.0" encoding="utf-8"?>
<p:tagLst xmlns:a="http://schemas.openxmlformats.org/drawingml/2006/main" xmlns:r="http://schemas.openxmlformats.org/officeDocument/2006/relationships" xmlns:p="http://schemas.openxmlformats.org/presentationml/2006/main">
  <p:tag name="VCT-RADIUS" val="30"/>
</p:tagLst>
</file>

<file path=ppt/tags/tag128.xml><?xml version="1.0" encoding="utf-8"?>
<p:tagLst xmlns:a="http://schemas.openxmlformats.org/drawingml/2006/main" xmlns:r="http://schemas.openxmlformats.org/officeDocument/2006/relationships" xmlns:p="http://schemas.openxmlformats.org/presentationml/2006/main">
  <p:tag name="VCT-RADIUS" val="30"/>
</p:tagLst>
</file>

<file path=ppt/tags/tag129.xml><?xml version="1.0" encoding="utf-8"?>
<p:tagLst xmlns:a="http://schemas.openxmlformats.org/drawingml/2006/main" xmlns:r="http://schemas.openxmlformats.org/officeDocument/2006/relationships" xmlns:p="http://schemas.openxmlformats.org/presentationml/2006/main">
  <p:tag name="VCT-RADIUS" val="30"/>
</p:tagLst>
</file>

<file path=ppt/tags/tag13.xml><?xml version="1.0" encoding="utf-8"?>
<p:tagLst xmlns:a="http://schemas.openxmlformats.org/drawingml/2006/main" xmlns:r="http://schemas.openxmlformats.org/officeDocument/2006/relationships" xmlns:p="http://schemas.openxmlformats.org/presentationml/2006/main">
  <p:tag name="VCT-RADIUS" val="30"/>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132.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133.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134.xml><?xml version="1.0" encoding="utf-8"?>
<p:tagLst xmlns:a="http://schemas.openxmlformats.org/drawingml/2006/main" xmlns:r="http://schemas.openxmlformats.org/officeDocument/2006/relationships" xmlns:p="http://schemas.openxmlformats.org/presentationml/2006/main">
  <p:tag name="VCT-RADIUS" val="30"/>
</p:tagLst>
</file>

<file path=ppt/tags/tag135.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TEMPLATE" val="Master 16-9_red.potx"/>
  <p:tag name="VCTMASTER" val="Fujitsu Master 16-9 red"/>
  <p:tag name="VCTORDER" val="1"/>
</p:tagLst>
</file>

<file path=ppt/tags/tag136.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137.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138.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139.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14.xml><?xml version="1.0" encoding="utf-8"?>
<p:tagLst xmlns:a="http://schemas.openxmlformats.org/drawingml/2006/main" xmlns:r="http://schemas.openxmlformats.org/officeDocument/2006/relationships" xmlns:p="http://schemas.openxmlformats.org/presentationml/2006/main">
  <p:tag name="VCT-RADIUS" val="30"/>
</p:tagLst>
</file>

<file path=ppt/tags/tag140.xml><?xml version="1.0" encoding="utf-8"?>
<p:tagLst xmlns:a="http://schemas.openxmlformats.org/drawingml/2006/main" xmlns:r="http://schemas.openxmlformats.org/officeDocument/2006/relationships" xmlns:p="http://schemas.openxmlformats.org/presentationml/2006/main">
  <p:tag name="VCT-RADIUS" val="30"/>
</p:tagLst>
</file>

<file path=ppt/tags/tag141.xml><?xml version="1.0" encoding="utf-8"?>
<p:tagLst xmlns:a="http://schemas.openxmlformats.org/drawingml/2006/main" xmlns:r="http://schemas.openxmlformats.org/officeDocument/2006/relationships" xmlns:p="http://schemas.openxmlformats.org/presentationml/2006/main">
  <p:tag name="VCT-RADIUS" val="30"/>
</p:tagLst>
</file>

<file path=ppt/tags/tag142.xml><?xml version="1.0" encoding="utf-8"?>
<p:tagLst xmlns:a="http://schemas.openxmlformats.org/drawingml/2006/main" xmlns:r="http://schemas.openxmlformats.org/officeDocument/2006/relationships" xmlns:p="http://schemas.openxmlformats.org/presentationml/2006/main">
  <p:tag name="VCT-RADIUS" val="30"/>
</p:tagLst>
</file>

<file path=ppt/tags/tag143.xml><?xml version="1.0" encoding="utf-8"?>
<p:tagLst xmlns:a="http://schemas.openxmlformats.org/drawingml/2006/main" xmlns:r="http://schemas.openxmlformats.org/officeDocument/2006/relationships" xmlns:p="http://schemas.openxmlformats.org/presentationml/2006/main">
  <p:tag name="VCT-RADIUS" val="30"/>
</p:tagLst>
</file>

<file path=ppt/tags/tag144.xml><?xml version="1.0" encoding="utf-8"?>
<p:tagLst xmlns:a="http://schemas.openxmlformats.org/drawingml/2006/main" xmlns:r="http://schemas.openxmlformats.org/officeDocument/2006/relationships" xmlns:p="http://schemas.openxmlformats.org/presentationml/2006/main">
  <p:tag name="VCT-RADIUS" val="30"/>
</p:tagLst>
</file>

<file path=ppt/tags/tag145.xml><?xml version="1.0" encoding="utf-8"?>
<p:tagLst xmlns:a="http://schemas.openxmlformats.org/drawingml/2006/main" xmlns:r="http://schemas.openxmlformats.org/officeDocument/2006/relationships" xmlns:p="http://schemas.openxmlformats.org/presentationml/2006/main">
  <p:tag name="VCT-RADIUS" val="30"/>
</p:tagLst>
</file>

<file path=ppt/tags/tag146.xml><?xml version="1.0" encoding="utf-8"?>
<p:tagLst xmlns:a="http://schemas.openxmlformats.org/drawingml/2006/main" xmlns:r="http://schemas.openxmlformats.org/officeDocument/2006/relationships" xmlns:p="http://schemas.openxmlformats.org/presentationml/2006/main">
  <p:tag name="VCT-RADIUS" val="30"/>
</p:tagLst>
</file>

<file path=ppt/tags/tag147.xml><?xml version="1.0" encoding="utf-8"?>
<p:tagLst xmlns:a="http://schemas.openxmlformats.org/drawingml/2006/main" xmlns:r="http://schemas.openxmlformats.org/officeDocument/2006/relationships" xmlns:p="http://schemas.openxmlformats.org/presentationml/2006/main">
  <p:tag name="VCT-RADIUS" val="30"/>
</p:tagLst>
</file>

<file path=ppt/tags/tag148.xml><?xml version="1.0" encoding="utf-8"?>
<p:tagLst xmlns:a="http://schemas.openxmlformats.org/drawingml/2006/main" xmlns:r="http://schemas.openxmlformats.org/officeDocument/2006/relationships" xmlns:p="http://schemas.openxmlformats.org/presentationml/2006/main">
  <p:tag name="VCT-RADIUS" val="30"/>
</p:tagLst>
</file>

<file path=ppt/tags/tag149.xml><?xml version="1.0" encoding="utf-8"?>
<p:tagLst xmlns:a="http://schemas.openxmlformats.org/drawingml/2006/main" xmlns:r="http://schemas.openxmlformats.org/officeDocument/2006/relationships" xmlns:p="http://schemas.openxmlformats.org/presentationml/2006/main">
  <p:tag name="VCT-RADIUS" val="30"/>
</p:tagLst>
</file>

<file path=ppt/tags/tag15.xml><?xml version="1.0" encoding="utf-8"?>
<p:tagLst xmlns:a="http://schemas.openxmlformats.org/drawingml/2006/main" xmlns:r="http://schemas.openxmlformats.org/officeDocument/2006/relationships" xmlns:p="http://schemas.openxmlformats.org/presentationml/2006/main">
  <p:tag name="VCT-RADIUS" val="30"/>
</p:tagLst>
</file>

<file path=ppt/tags/tag150.xml><?xml version="1.0" encoding="utf-8"?>
<p:tagLst xmlns:a="http://schemas.openxmlformats.org/drawingml/2006/main" xmlns:r="http://schemas.openxmlformats.org/officeDocument/2006/relationships" xmlns:p="http://schemas.openxmlformats.org/presentationml/2006/main">
  <p:tag name="VCT-RADIUS" val="30"/>
</p:tagLst>
</file>

<file path=ppt/tags/tag151.xml><?xml version="1.0" encoding="utf-8"?>
<p:tagLst xmlns:a="http://schemas.openxmlformats.org/drawingml/2006/main" xmlns:r="http://schemas.openxmlformats.org/officeDocument/2006/relationships" xmlns:p="http://schemas.openxmlformats.org/presentationml/2006/main">
  <p:tag name="VCT-RADIUS" val="30"/>
</p:tagLst>
</file>

<file path=ppt/tags/tag152.xml><?xml version="1.0" encoding="utf-8"?>
<p:tagLst xmlns:a="http://schemas.openxmlformats.org/drawingml/2006/main" xmlns:r="http://schemas.openxmlformats.org/officeDocument/2006/relationships" xmlns:p="http://schemas.openxmlformats.org/presentationml/2006/main">
  <p:tag name="VCT-RADIUS" val="30"/>
</p:tagLst>
</file>

<file path=ppt/tags/tag153.xml><?xml version="1.0" encoding="utf-8"?>
<p:tagLst xmlns:a="http://schemas.openxmlformats.org/drawingml/2006/main" xmlns:r="http://schemas.openxmlformats.org/officeDocument/2006/relationships" xmlns:p="http://schemas.openxmlformats.org/presentationml/2006/main">
  <p:tag name="VCT-RADIUS" val="30"/>
</p:tagLst>
</file>

<file path=ppt/tags/tag154.xml><?xml version="1.0" encoding="utf-8"?>
<p:tagLst xmlns:a="http://schemas.openxmlformats.org/drawingml/2006/main" xmlns:r="http://schemas.openxmlformats.org/officeDocument/2006/relationships" xmlns:p="http://schemas.openxmlformats.org/presentationml/2006/main">
  <p:tag name="VCT-RADIUS" val="30"/>
</p:tagLst>
</file>

<file path=ppt/tags/tag155.xml><?xml version="1.0" encoding="utf-8"?>
<p:tagLst xmlns:a="http://schemas.openxmlformats.org/drawingml/2006/main" xmlns:r="http://schemas.openxmlformats.org/officeDocument/2006/relationships" xmlns:p="http://schemas.openxmlformats.org/presentationml/2006/main">
  <p:tag name="VCT-RADIUS" val="30"/>
</p:tagLst>
</file>

<file path=ppt/tags/tag156.xml><?xml version="1.0" encoding="utf-8"?>
<p:tagLst xmlns:a="http://schemas.openxmlformats.org/drawingml/2006/main" xmlns:r="http://schemas.openxmlformats.org/officeDocument/2006/relationships" xmlns:p="http://schemas.openxmlformats.org/presentationml/2006/main">
  <p:tag name="VCT-RADIUS" val="30"/>
</p:tagLst>
</file>

<file path=ppt/tags/tag157.xml><?xml version="1.0" encoding="utf-8"?>
<p:tagLst xmlns:a="http://schemas.openxmlformats.org/drawingml/2006/main" xmlns:r="http://schemas.openxmlformats.org/officeDocument/2006/relationships" xmlns:p="http://schemas.openxmlformats.org/presentationml/2006/main">
  <p:tag name="VCT-RADIUS" val="30"/>
</p:tagLst>
</file>

<file path=ppt/tags/tag158.xml><?xml version="1.0" encoding="utf-8"?>
<p:tagLst xmlns:a="http://schemas.openxmlformats.org/drawingml/2006/main" xmlns:r="http://schemas.openxmlformats.org/officeDocument/2006/relationships" xmlns:p="http://schemas.openxmlformats.org/presentationml/2006/main">
  <p:tag name="VCT-RADIUS" val="30"/>
</p:tagLst>
</file>

<file path=ppt/tags/tag159.xml><?xml version="1.0" encoding="utf-8"?>
<p:tagLst xmlns:a="http://schemas.openxmlformats.org/drawingml/2006/main" xmlns:r="http://schemas.openxmlformats.org/officeDocument/2006/relationships" xmlns:p="http://schemas.openxmlformats.org/presentationml/2006/main">
  <p:tag name="VCT-RADIUS" val="30"/>
</p:tagLst>
</file>

<file path=ppt/tags/tag16.xml><?xml version="1.0" encoding="utf-8"?>
<p:tagLst xmlns:a="http://schemas.openxmlformats.org/drawingml/2006/main" xmlns:r="http://schemas.openxmlformats.org/officeDocument/2006/relationships" xmlns:p="http://schemas.openxmlformats.org/presentationml/2006/main">
  <p:tag name="VCT-RADIUS" val="30"/>
</p:tagLst>
</file>

<file path=ppt/tags/tag160.xml><?xml version="1.0" encoding="utf-8"?>
<p:tagLst xmlns:a="http://schemas.openxmlformats.org/drawingml/2006/main" xmlns:r="http://schemas.openxmlformats.org/officeDocument/2006/relationships" xmlns:p="http://schemas.openxmlformats.org/presentationml/2006/main">
  <p:tag name="VCT-RADIUS" val="30"/>
</p:tagLst>
</file>

<file path=ppt/tags/tag161.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162.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163.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164.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TEMPLATE" val="Master 16-9_red.potx"/>
  <p:tag name="VCTMASTER" val="Fujitsu Master 16-9 red"/>
  <p:tag name="VCTORDER" val="1"/>
</p:tagLst>
</file>

<file path=ppt/tags/tag165.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166.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167.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168.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169.xml><?xml version="1.0" encoding="utf-8"?>
<p:tagLst xmlns:a="http://schemas.openxmlformats.org/drawingml/2006/main" xmlns:r="http://schemas.openxmlformats.org/officeDocument/2006/relationships" xmlns:p="http://schemas.openxmlformats.org/presentationml/2006/main">
  <p:tag name="VCT-RADIUS" val="30"/>
</p:tagLst>
</file>

<file path=ppt/tags/tag17.xml><?xml version="1.0" encoding="utf-8"?>
<p:tagLst xmlns:a="http://schemas.openxmlformats.org/drawingml/2006/main" xmlns:r="http://schemas.openxmlformats.org/officeDocument/2006/relationships" xmlns:p="http://schemas.openxmlformats.org/presentationml/2006/main">
  <p:tag name="VCT-RADIUS" val="30"/>
</p:tagLst>
</file>

<file path=ppt/tags/tag170.xml><?xml version="1.0" encoding="utf-8"?>
<p:tagLst xmlns:a="http://schemas.openxmlformats.org/drawingml/2006/main" xmlns:r="http://schemas.openxmlformats.org/officeDocument/2006/relationships" xmlns:p="http://schemas.openxmlformats.org/presentationml/2006/main">
  <p:tag name="VCT-RADIUS" val="30"/>
</p:tagLst>
</file>

<file path=ppt/tags/tag171.xml><?xml version="1.0" encoding="utf-8"?>
<p:tagLst xmlns:a="http://schemas.openxmlformats.org/drawingml/2006/main" xmlns:r="http://schemas.openxmlformats.org/officeDocument/2006/relationships" xmlns:p="http://schemas.openxmlformats.org/presentationml/2006/main">
  <p:tag name="VCT-RADIUS" val="30"/>
</p:tagLst>
</file>

<file path=ppt/tags/tag172.xml><?xml version="1.0" encoding="utf-8"?>
<p:tagLst xmlns:a="http://schemas.openxmlformats.org/drawingml/2006/main" xmlns:r="http://schemas.openxmlformats.org/officeDocument/2006/relationships" xmlns:p="http://schemas.openxmlformats.org/presentationml/2006/main">
  <p:tag name="VCT-RADIUS" val="30"/>
</p:tagLst>
</file>

<file path=ppt/tags/tag173.xml><?xml version="1.0" encoding="utf-8"?>
<p:tagLst xmlns:a="http://schemas.openxmlformats.org/drawingml/2006/main" xmlns:r="http://schemas.openxmlformats.org/officeDocument/2006/relationships" xmlns:p="http://schemas.openxmlformats.org/presentationml/2006/main">
  <p:tag name="VCT-RADIUS" val="30"/>
</p:tagLst>
</file>

<file path=ppt/tags/tag174.xml><?xml version="1.0" encoding="utf-8"?>
<p:tagLst xmlns:a="http://schemas.openxmlformats.org/drawingml/2006/main" xmlns:r="http://schemas.openxmlformats.org/officeDocument/2006/relationships" xmlns:p="http://schemas.openxmlformats.org/presentationml/2006/main">
  <p:tag name="VCT-RADIUS" val="30"/>
</p:tagLst>
</file>

<file path=ppt/tags/tag175.xml><?xml version="1.0" encoding="utf-8"?>
<p:tagLst xmlns:a="http://schemas.openxmlformats.org/drawingml/2006/main" xmlns:r="http://schemas.openxmlformats.org/officeDocument/2006/relationships" xmlns:p="http://schemas.openxmlformats.org/presentationml/2006/main">
  <p:tag name="VCT-RADIUS" val="30"/>
</p:tagLst>
</file>

<file path=ppt/tags/tag176.xml><?xml version="1.0" encoding="utf-8"?>
<p:tagLst xmlns:a="http://schemas.openxmlformats.org/drawingml/2006/main" xmlns:r="http://schemas.openxmlformats.org/officeDocument/2006/relationships" xmlns:p="http://schemas.openxmlformats.org/presentationml/2006/main">
  <p:tag name="VCT-RADIUS" val="30"/>
</p:tagLst>
</file>

<file path=ppt/tags/tag177.xml><?xml version="1.0" encoding="utf-8"?>
<p:tagLst xmlns:a="http://schemas.openxmlformats.org/drawingml/2006/main" xmlns:r="http://schemas.openxmlformats.org/officeDocument/2006/relationships" xmlns:p="http://schemas.openxmlformats.org/presentationml/2006/main">
  <p:tag name="VCT-RADIUS" val="30"/>
</p:tagLst>
</file>

<file path=ppt/tags/tag178.xml><?xml version="1.0" encoding="utf-8"?>
<p:tagLst xmlns:a="http://schemas.openxmlformats.org/drawingml/2006/main" xmlns:r="http://schemas.openxmlformats.org/officeDocument/2006/relationships" xmlns:p="http://schemas.openxmlformats.org/presentationml/2006/main">
  <p:tag name="VCT-RADIUS" val="30"/>
</p:tagLst>
</file>

<file path=ppt/tags/tag179.xml><?xml version="1.0" encoding="utf-8"?>
<p:tagLst xmlns:a="http://schemas.openxmlformats.org/drawingml/2006/main" xmlns:r="http://schemas.openxmlformats.org/officeDocument/2006/relationships" xmlns:p="http://schemas.openxmlformats.org/presentationml/2006/main">
  <p:tag name="VCT-RADIUS" val="30"/>
</p:tagLst>
</file>

<file path=ppt/tags/tag18.xml><?xml version="1.0" encoding="utf-8"?>
<p:tagLst xmlns:a="http://schemas.openxmlformats.org/drawingml/2006/main" xmlns:r="http://schemas.openxmlformats.org/officeDocument/2006/relationships" xmlns:p="http://schemas.openxmlformats.org/presentationml/2006/main">
  <p:tag name="VCT-RADIUS" val="30"/>
</p:tagLst>
</file>

<file path=ppt/tags/tag180.xml><?xml version="1.0" encoding="utf-8"?>
<p:tagLst xmlns:a="http://schemas.openxmlformats.org/drawingml/2006/main" xmlns:r="http://schemas.openxmlformats.org/officeDocument/2006/relationships" xmlns:p="http://schemas.openxmlformats.org/presentationml/2006/main">
  <p:tag name="VCT-RADIUS" val="30"/>
</p:tagLst>
</file>

<file path=ppt/tags/tag181.xml><?xml version="1.0" encoding="utf-8"?>
<p:tagLst xmlns:a="http://schemas.openxmlformats.org/drawingml/2006/main" xmlns:r="http://schemas.openxmlformats.org/officeDocument/2006/relationships" xmlns:p="http://schemas.openxmlformats.org/presentationml/2006/main">
  <p:tag name="VCT-RADIUS" val="30"/>
</p:tagLst>
</file>

<file path=ppt/tags/tag182.xml><?xml version="1.0" encoding="utf-8"?>
<p:tagLst xmlns:a="http://schemas.openxmlformats.org/drawingml/2006/main" xmlns:r="http://schemas.openxmlformats.org/officeDocument/2006/relationships" xmlns:p="http://schemas.openxmlformats.org/presentationml/2006/main">
  <p:tag name="VCT-RADIUS" val="30"/>
</p:tagLst>
</file>

<file path=ppt/tags/tag183.xml><?xml version="1.0" encoding="utf-8"?>
<p:tagLst xmlns:a="http://schemas.openxmlformats.org/drawingml/2006/main" xmlns:r="http://schemas.openxmlformats.org/officeDocument/2006/relationships" xmlns:p="http://schemas.openxmlformats.org/presentationml/2006/main">
  <p:tag name="VCT-RADIUS" val="30"/>
</p:tagLst>
</file>

<file path=ppt/tags/tag184.xml><?xml version="1.0" encoding="utf-8"?>
<p:tagLst xmlns:a="http://schemas.openxmlformats.org/drawingml/2006/main" xmlns:r="http://schemas.openxmlformats.org/officeDocument/2006/relationships" xmlns:p="http://schemas.openxmlformats.org/presentationml/2006/main">
  <p:tag name="VCT-RADIUS" val="30"/>
</p:tagLst>
</file>

<file path=ppt/tags/tag185.xml><?xml version="1.0" encoding="utf-8"?>
<p:tagLst xmlns:a="http://schemas.openxmlformats.org/drawingml/2006/main" xmlns:r="http://schemas.openxmlformats.org/officeDocument/2006/relationships" xmlns:p="http://schemas.openxmlformats.org/presentationml/2006/main">
  <p:tag name="VCT-RADIUS" val="30"/>
</p:tagLst>
</file>

<file path=ppt/tags/tag186.xml><?xml version="1.0" encoding="utf-8"?>
<p:tagLst xmlns:a="http://schemas.openxmlformats.org/drawingml/2006/main" xmlns:r="http://schemas.openxmlformats.org/officeDocument/2006/relationships" xmlns:p="http://schemas.openxmlformats.org/presentationml/2006/main">
  <p:tag name="VCT-RADIUS" val="30"/>
</p:tagLst>
</file>

<file path=ppt/tags/tag187.xml><?xml version="1.0" encoding="utf-8"?>
<p:tagLst xmlns:a="http://schemas.openxmlformats.org/drawingml/2006/main" xmlns:r="http://schemas.openxmlformats.org/officeDocument/2006/relationships" xmlns:p="http://schemas.openxmlformats.org/presentationml/2006/main">
  <p:tag name="VCT-RADIUS" val="30"/>
</p:tagLst>
</file>

<file path=ppt/tags/tag188.xml><?xml version="1.0" encoding="utf-8"?>
<p:tagLst xmlns:a="http://schemas.openxmlformats.org/drawingml/2006/main" xmlns:r="http://schemas.openxmlformats.org/officeDocument/2006/relationships" xmlns:p="http://schemas.openxmlformats.org/presentationml/2006/main">
  <p:tag name="VCT-RADIUS" val="30"/>
</p:tagLst>
</file>

<file path=ppt/tags/tag189.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19.xml><?xml version="1.0" encoding="utf-8"?>
<p:tagLst xmlns:a="http://schemas.openxmlformats.org/drawingml/2006/main" xmlns:r="http://schemas.openxmlformats.org/officeDocument/2006/relationships" xmlns:p="http://schemas.openxmlformats.org/presentationml/2006/main">
  <p:tag name="VCT-RADIUS" val="30"/>
</p:tagLst>
</file>

<file path=ppt/tags/tag190.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191.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192.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TEMPLATE" val="Master 16-9_red.potx"/>
  <p:tag name="VCTMASTER" val="Fujitsu Master 16-9 red"/>
  <p:tag name="VCTORDER" val="1"/>
</p:tagLst>
</file>

<file path=ppt/tags/tag193.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194.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195.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196.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197.xml><?xml version="1.0" encoding="utf-8"?>
<p:tagLst xmlns:a="http://schemas.openxmlformats.org/drawingml/2006/main" xmlns:r="http://schemas.openxmlformats.org/officeDocument/2006/relationships" xmlns:p="http://schemas.openxmlformats.org/presentationml/2006/main">
  <p:tag name="VCT-RADIUS" val="30"/>
</p:tagLst>
</file>

<file path=ppt/tags/tag198.xml><?xml version="1.0" encoding="utf-8"?>
<p:tagLst xmlns:a="http://schemas.openxmlformats.org/drawingml/2006/main" xmlns:r="http://schemas.openxmlformats.org/officeDocument/2006/relationships" xmlns:p="http://schemas.openxmlformats.org/presentationml/2006/main">
  <p:tag name="VCT-RADIUS" val="30"/>
</p:tagLst>
</file>

<file path=ppt/tags/tag199.xml><?xml version="1.0" encoding="utf-8"?>
<p:tagLst xmlns:a="http://schemas.openxmlformats.org/drawingml/2006/main" xmlns:r="http://schemas.openxmlformats.org/officeDocument/2006/relationships" xmlns:p="http://schemas.openxmlformats.org/presentationml/2006/main">
  <p:tag name="VCT-RADIUS" val="30"/>
</p:tagLst>
</file>

<file path=ppt/tags/tag2.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TEMPLATE" val="Master 16-9_red.potx"/>
  <p:tag name="VCTMASTER" val="Fujitsu Master 16-9 red"/>
  <p:tag name="VCTORDER" val="1"/>
</p:tagLst>
</file>

<file path=ppt/tags/tag20.xml><?xml version="1.0" encoding="utf-8"?>
<p:tagLst xmlns:a="http://schemas.openxmlformats.org/drawingml/2006/main" xmlns:r="http://schemas.openxmlformats.org/officeDocument/2006/relationships" xmlns:p="http://schemas.openxmlformats.org/presentationml/2006/main">
  <p:tag name="VCT-RADIUS" val="30"/>
</p:tagLst>
</file>

<file path=ppt/tags/tag200.xml><?xml version="1.0" encoding="utf-8"?>
<p:tagLst xmlns:a="http://schemas.openxmlformats.org/drawingml/2006/main" xmlns:r="http://schemas.openxmlformats.org/officeDocument/2006/relationships" xmlns:p="http://schemas.openxmlformats.org/presentationml/2006/main">
  <p:tag name="VCT-RADIUS" val="30"/>
</p:tagLst>
</file>

<file path=ppt/tags/tag201.xml><?xml version="1.0" encoding="utf-8"?>
<p:tagLst xmlns:a="http://schemas.openxmlformats.org/drawingml/2006/main" xmlns:r="http://schemas.openxmlformats.org/officeDocument/2006/relationships" xmlns:p="http://schemas.openxmlformats.org/presentationml/2006/main">
  <p:tag name="VCT-RADIUS" val="30"/>
</p:tagLst>
</file>

<file path=ppt/tags/tag202.xml><?xml version="1.0" encoding="utf-8"?>
<p:tagLst xmlns:a="http://schemas.openxmlformats.org/drawingml/2006/main" xmlns:r="http://schemas.openxmlformats.org/officeDocument/2006/relationships" xmlns:p="http://schemas.openxmlformats.org/presentationml/2006/main">
  <p:tag name="VCT-RADIUS" val="30"/>
</p:tagLst>
</file>

<file path=ppt/tags/tag203.xml><?xml version="1.0" encoding="utf-8"?>
<p:tagLst xmlns:a="http://schemas.openxmlformats.org/drawingml/2006/main" xmlns:r="http://schemas.openxmlformats.org/officeDocument/2006/relationships" xmlns:p="http://schemas.openxmlformats.org/presentationml/2006/main">
  <p:tag name="VCT-RADIUS" val="30"/>
</p:tagLst>
</file>

<file path=ppt/tags/tag204.xml><?xml version="1.0" encoding="utf-8"?>
<p:tagLst xmlns:a="http://schemas.openxmlformats.org/drawingml/2006/main" xmlns:r="http://schemas.openxmlformats.org/officeDocument/2006/relationships" xmlns:p="http://schemas.openxmlformats.org/presentationml/2006/main">
  <p:tag name="VCT-RADIUS" val="30"/>
</p:tagLst>
</file>

<file path=ppt/tags/tag205.xml><?xml version="1.0" encoding="utf-8"?>
<p:tagLst xmlns:a="http://schemas.openxmlformats.org/drawingml/2006/main" xmlns:r="http://schemas.openxmlformats.org/officeDocument/2006/relationships" xmlns:p="http://schemas.openxmlformats.org/presentationml/2006/main">
  <p:tag name="VCT-RADIUS" val="30"/>
</p:tagLst>
</file>

<file path=ppt/tags/tag206.xml><?xml version="1.0" encoding="utf-8"?>
<p:tagLst xmlns:a="http://schemas.openxmlformats.org/drawingml/2006/main" xmlns:r="http://schemas.openxmlformats.org/officeDocument/2006/relationships" xmlns:p="http://schemas.openxmlformats.org/presentationml/2006/main">
  <p:tag name="VCT-RADIUS" val="30"/>
</p:tagLst>
</file>

<file path=ppt/tags/tag207.xml><?xml version="1.0" encoding="utf-8"?>
<p:tagLst xmlns:a="http://schemas.openxmlformats.org/drawingml/2006/main" xmlns:r="http://schemas.openxmlformats.org/officeDocument/2006/relationships" xmlns:p="http://schemas.openxmlformats.org/presentationml/2006/main">
  <p:tag name="VCT-RADIUS" val="30"/>
</p:tagLst>
</file>

<file path=ppt/tags/tag208.xml><?xml version="1.0" encoding="utf-8"?>
<p:tagLst xmlns:a="http://schemas.openxmlformats.org/drawingml/2006/main" xmlns:r="http://schemas.openxmlformats.org/officeDocument/2006/relationships" xmlns:p="http://schemas.openxmlformats.org/presentationml/2006/main">
  <p:tag name="VCT-RADIUS" val="30"/>
</p:tagLst>
</file>

<file path=ppt/tags/tag209.xml><?xml version="1.0" encoding="utf-8"?>
<p:tagLst xmlns:a="http://schemas.openxmlformats.org/drawingml/2006/main" xmlns:r="http://schemas.openxmlformats.org/officeDocument/2006/relationships" xmlns:p="http://schemas.openxmlformats.org/presentationml/2006/main">
  <p:tag name="VCT-RADIUS" val="30"/>
</p:tagLst>
</file>

<file path=ppt/tags/tag21.xml><?xml version="1.0" encoding="utf-8"?>
<p:tagLst xmlns:a="http://schemas.openxmlformats.org/drawingml/2006/main" xmlns:r="http://schemas.openxmlformats.org/officeDocument/2006/relationships" xmlns:p="http://schemas.openxmlformats.org/presentationml/2006/main">
  <p:tag name="VCT-RADIUS" val="30"/>
</p:tagLst>
</file>

<file path=ppt/tags/tag210.xml><?xml version="1.0" encoding="utf-8"?>
<p:tagLst xmlns:a="http://schemas.openxmlformats.org/drawingml/2006/main" xmlns:r="http://schemas.openxmlformats.org/officeDocument/2006/relationships" xmlns:p="http://schemas.openxmlformats.org/presentationml/2006/main">
  <p:tag name="VCT-RADIUS" val="30"/>
</p:tagLst>
</file>

<file path=ppt/tags/tag211.xml><?xml version="1.0" encoding="utf-8"?>
<p:tagLst xmlns:a="http://schemas.openxmlformats.org/drawingml/2006/main" xmlns:r="http://schemas.openxmlformats.org/officeDocument/2006/relationships" xmlns:p="http://schemas.openxmlformats.org/presentationml/2006/main">
  <p:tag name="VCT-RADIUS" val="30"/>
</p:tagLst>
</file>

<file path=ppt/tags/tag212.xml><?xml version="1.0" encoding="utf-8"?>
<p:tagLst xmlns:a="http://schemas.openxmlformats.org/drawingml/2006/main" xmlns:r="http://schemas.openxmlformats.org/officeDocument/2006/relationships" xmlns:p="http://schemas.openxmlformats.org/presentationml/2006/main">
  <p:tag name="VCT-RADIUS" val="30"/>
</p:tagLst>
</file>

<file path=ppt/tags/tag213.xml><?xml version="1.0" encoding="utf-8"?>
<p:tagLst xmlns:a="http://schemas.openxmlformats.org/drawingml/2006/main" xmlns:r="http://schemas.openxmlformats.org/officeDocument/2006/relationships" xmlns:p="http://schemas.openxmlformats.org/presentationml/2006/main">
  <p:tag name="VCT-RADIUS" val="30"/>
</p:tagLst>
</file>

<file path=ppt/tags/tag214.xml><?xml version="1.0" encoding="utf-8"?>
<p:tagLst xmlns:a="http://schemas.openxmlformats.org/drawingml/2006/main" xmlns:r="http://schemas.openxmlformats.org/officeDocument/2006/relationships" xmlns:p="http://schemas.openxmlformats.org/presentationml/2006/main">
  <p:tag name="VCT-RADIUS" val="30"/>
</p:tagLst>
</file>

<file path=ppt/tags/tag215.xml><?xml version="1.0" encoding="utf-8"?>
<p:tagLst xmlns:a="http://schemas.openxmlformats.org/drawingml/2006/main" xmlns:r="http://schemas.openxmlformats.org/officeDocument/2006/relationships" xmlns:p="http://schemas.openxmlformats.org/presentationml/2006/main">
  <p:tag name="VCT-RADIUS" val="30"/>
</p:tagLst>
</file>

<file path=ppt/tags/tag216.xml><?xml version="1.0" encoding="utf-8"?>
<p:tagLst xmlns:a="http://schemas.openxmlformats.org/drawingml/2006/main" xmlns:r="http://schemas.openxmlformats.org/officeDocument/2006/relationships" xmlns:p="http://schemas.openxmlformats.org/presentationml/2006/main">
  <p:tag name="VCT-RADIUS" val="30"/>
</p:tagLst>
</file>

<file path=ppt/tags/tag217.xml><?xml version="1.0" encoding="utf-8"?>
<p:tagLst xmlns:a="http://schemas.openxmlformats.org/drawingml/2006/main" xmlns:r="http://schemas.openxmlformats.org/officeDocument/2006/relationships" xmlns:p="http://schemas.openxmlformats.org/presentationml/2006/main">
  <p:tag name="VCT-RADIUS" val="7"/>
  <p:tag name="THINKCELLSHAPEDONOTDELETE" val="piWnKM.bDv0KXaExM9P0Ql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VCT-RADIUS" val="30"/>
</p:tagLst>
</file>

<file path=ppt/tags/tag2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RADIUS" val="30"/>
</p:tagLst>
</file>

<file path=ppt/tags/tag2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RADIUS" val="30"/>
</p:tagLst>
</file>

<file path=ppt/tags/tag2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RADIUS" val="30"/>
</p:tagLst>
</file>

<file path=ppt/tags/tag2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RADIUS" val="30"/>
</p:tagLst>
</file>

<file path=ppt/tags/tag2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5.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266.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267.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268.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269.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TEMPLATE" val="Master 16-9_red.potx"/>
  <p:tag name="VCTMASTER" val="Fujitsu Master 16-9 red"/>
  <p:tag name="VCTORDER" val="1"/>
</p:tagLst>
</file>

<file path=ppt/tags/tag2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1.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2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2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7.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2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9.xml><?xml version="1.0" encoding="utf-8"?>
<p:tagLst xmlns:a="http://schemas.openxmlformats.org/drawingml/2006/main" xmlns:r="http://schemas.openxmlformats.org/officeDocument/2006/relationships" xmlns:p="http://schemas.openxmlformats.org/presentationml/2006/main">
  <p:tag name="VCTCREATESHAPEHANDLED" val="0"/>
  <p:tag name="VCT-RADIUS" val="7"/>
</p:tagLst>
</file>

<file path=ppt/tags/tag29.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2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3.xml><?xml version="1.0" encoding="utf-8"?>
<p:tagLst xmlns:a="http://schemas.openxmlformats.org/drawingml/2006/main" xmlns:r="http://schemas.openxmlformats.org/officeDocument/2006/relationships" xmlns:p="http://schemas.openxmlformats.org/presentationml/2006/main">
  <p:tag name="VCTCREATESHAPEHANDLED" val="0"/>
  <p:tag name="VCT-RADIUS" val="7"/>
</p:tagLst>
</file>

<file path=ppt/tags/tag294.xml><?xml version="1.0" encoding="utf-8"?>
<p:tagLst xmlns:a="http://schemas.openxmlformats.org/drawingml/2006/main" xmlns:r="http://schemas.openxmlformats.org/officeDocument/2006/relationships" xmlns:p="http://schemas.openxmlformats.org/presentationml/2006/main">
  <p:tag name="VCTCREATESHAPEHANDLED" val="0"/>
  <p:tag name="VCT-RADIUS" val="7"/>
</p:tagLst>
</file>

<file path=ppt/tags/tag2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30.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3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1.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3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3.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3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5.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3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3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RADIUS" val="30"/>
</p:tagLst>
</file>

<file path=ppt/tags/tag3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RADIUS" val="30"/>
</p:tagLst>
</file>

<file path=ppt/tags/tag3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6.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3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8.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339.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34.xml><?xml version="1.0" encoding="utf-8"?>
<p:tagLst xmlns:a="http://schemas.openxmlformats.org/drawingml/2006/main" xmlns:r="http://schemas.openxmlformats.org/officeDocument/2006/relationships" xmlns:p="http://schemas.openxmlformats.org/presentationml/2006/main">
  <p:tag name="VCT-RADIUS" val="30"/>
</p:tagLst>
</file>

<file path=ppt/tags/tag340.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341.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342.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343.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3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VCT-RADIUS" val="30"/>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qXvaBVibBECCAdSNsMQKB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31Co2msb_0OnB9WM2gQHrg"/>
</p:tagLst>
</file>

<file path=ppt/tags/tag352.xml><?xml version="1.0" encoding="utf-8"?>
<p:tagLst xmlns:a="http://schemas.openxmlformats.org/drawingml/2006/main" xmlns:r="http://schemas.openxmlformats.org/officeDocument/2006/relationships" xmlns:p="http://schemas.openxmlformats.org/presentationml/2006/main">
  <p:tag name="VCT-RADIUS" val="10"/>
  <p:tag name="THINKCELLSHAPEDONOTDELETE" val="pDLeoOlxw00C0eb0n3Hoke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gNgtrIZ302_YuTg5iIjhg"/>
  <p:tag name="VCTCREATESHAPEHANDLED" val="0"/>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_N1emPVm4kSHchWrn7D7i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yJ0j.3XU3kKj.894774Qw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_N1emPVm4kSHchWrn7D7iQ"/>
  <p:tag name="VCTCREATESHAPEHANDLED" val="0"/>
</p:tagLst>
</file>

<file path=ppt/tags/tag357.xml><?xml version="1.0" encoding="utf-8"?>
<p:tagLst xmlns:a="http://schemas.openxmlformats.org/drawingml/2006/main" xmlns:r="http://schemas.openxmlformats.org/officeDocument/2006/relationships" xmlns:p="http://schemas.openxmlformats.org/presentationml/2006/main">
  <p:tag name="VCT-RADIUS" val="10"/>
  <p:tag name="THINKCELLSHAPEDONOTDELETE" val="pDLeoOlxw00C0eb0n3HokeQ"/>
  <p:tag name="VCTCREATESHAPEHANDLED" val="0"/>
</p:tagLst>
</file>

<file path=ppt/tags/tag358.xml><?xml version="1.0" encoding="utf-8"?>
<p:tagLst xmlns:a="http://schemas.openxmlformats.org/drawingml/2006/main" xmlns:r="http://schemas.openxmlformats.org/officeDocument/2006/relationships" xmlns:p="http://schemas.openxmlformats.org/presentationml/2006/main">
  <p:tag name="VCT-BEGINARROWHEAD" val="222"/>
  <p:tag name="VCT-ENDARROWHEAD" val="222"/>
  <p:tag name="VCTCREATESHAPEHANDLED" val="1"/>
</p:tagLst>
</file>

<file path=ppt/tags/tag359.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36.xml><?xml version="1.0" encoding="utf-8"?>
<p:tagLst xmlns:a="http://schemas.openxmlformats.org/drawingml/2006/main" xmlns:r="http://schemas.openxmlformats.org/officeDocument/2006/relationships" xmlns:p="http://schemas.openxmlformats.org/presentationml/2006/main">
  <p:tag name="VCT-RADIUS" val="30"/>
</p:tagLst>
</file>

<file path=ppt/tags/tag360.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361.xml><?xml version="1.0" encoding="utf-8"?>
<p:tagLst xmlns:a="http://schemas.openxmlformats.org/drawingml/2006/main" xmlns:r="http://schemas.openxmlformats.org/officeDocument/2006/relationships" xmlns:p="http://schemas.openxmlformats.org/presentationml/2006/main">
  <p:tag name="VCT-RADIUS" val="10"/>
</p:tagLst>
</file>

<file path=ppt/tags/tag3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yJ0j.3XU3kKj.894774Qw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yJ0j.3XU3kKj.894774Qwg"/>
</p:tagLst>
</file>

<file path=ppt/tags/tag366.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367.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3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LcEftJLuFUegN7bvUKZrJQ"/>
  <p:tag name="VCT-RADIUS" val="10"/>
</p:tagLst>
</file>

<file path=ppt/tags/tag37.xml><?xml version="1.0" encoding="utf-8"?>
<p:tagLst xmlns:a="http://schemas.openxmlformats.org/drawingml/2006/main" xmlns:r="http://schemas.openxmlformats.org/officeDocument/2006/relationships" xmlns:p="http://schemas.openxmlformats.org/presentationml/2006/main">
  <p:tag name="VCT-RADIUS" val="30"/>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oEQNwR9InEC7ukxDajSmLw"/>
  <p:tag name="VCT-RADIUS" val="10"/>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YOdgCuiM9E.bk7ElUoa0V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gT9UqA8c1Ei0aIsOulZ2w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_t2JKla5dkCZbaGQCcEWj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_t2JKla5dkCZbaGQCcEWj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_t2JKla5dkCZbaGQCcEWj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UXnQhDTDkqUAFimAs3KAg"/>
  <p:tag name="VCT-RADIUS" val="10"/>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R6kQa4D35U6jv8nmRAF_t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YBvRthPS0U2pU2cbCvhi8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LtdJOYzagEaYPE470ToigQ"/>
</p:tagLst>
</file>

<file path=ppt/tags/tag38.xml><?xml version="1.0" encoding="utf-8"?>
<p:tagLst xmlns:a="http://schemas.openxmlformats.org/drawingml/2006/main" xmlns:r="http://schemas.openxmlformats.org/officeDocument/2006/relationships" xmlns:p="http://schemas.openxmlformats.org/presentationml/2006/main">
  <p:tag name="VCT-RADIUS" val="30"/>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SAjpTZITE2O2Lzk9eQ1b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gKeP_EHMuU6FpIt5.ZW03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l_6yDVZhjUKRzRz77yx.3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YOdgCuiM9E.bk7ElUoa0V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R6kQa4D35U6jv8nmRAF_t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YBvRthPS0U2pU2cbCvhi8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LtdJOYzagEaYPE470Toig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ZSAjpTZITE2O2Lzk9eQ1b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gKeP_EHMuU6FpIt5.ZW03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l_6yDVZhjUKRzRz77yx.3A"/>
</p:tagLst>
</file>

<file path=ppt/tags/tag39.xml><?xml version="1.0" encoding="utf-8"?>
<p:tagLst xmlns:a="http://schemas.openxmlformats.org/drawingml/2006/main" xmlns:r="http://schemas.openxmlformats.org/officeDocument/2006/relationships" xmlns:p="http://schemas.openxmlformats.org/presentationml/2006/main">
  <p:tag name="VCT-RADIUS" val="30"/>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gT9UqA8c1Ei0aIsOulZ2w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YOdgCuiM9E.bk7ElUoa0V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R6kQa4D35U6jv8nmRAF_t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YBvRthPS0U2pU2cbCvhi8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LtdJOYzagEaYPE470Toig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ZSAjpTZITE2O2Lzk9eQ1b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gKeP_EHMuU6FpIt5.ZW03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l_6yDVZhjUKRzRz77yx.3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gT9UqA8c1Ei0aIsOulZ2w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kp7j6wpgTUqSnk1UPl3Ckw"/>
</p:tagLst>
</file>

<file path=ppt/tags/tag4.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40.xml><?xml version="1.0" encoding="utf-8"?>
<p:tagLst xmlns:a="http://schemas.openxmlformats.org/drawingml/2006/main" xmlns:r="http://schemas.openxmlformats.org/officeDocument/2006/relationships" xmlns:p="http://schemas.openxmlformats.org/presentationml/2006/main">
  <p:tag name="VCT-RADIUS" val="30"/>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_t2JKla5dkCZbaGQCcEWj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kp7j6wpgTUqSnk1UPl3Ck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kp7j6wpgTUqSnk1UPl3Ck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h1SCtl.fGkuA3RHrQug.i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jhT02VtDPk6z2lQR5zshy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jz6EETJMUm6TQz5IIg9XA"/>
  <p:tag name="VCT-RADIUS" val="10"/>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h1SCtl.fGkuA3RHrQug.i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jz6EETJMUm6TQz5IIg9XA"/>
  <p:tag name="VCT-RADIUS" val="10"/>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x3G.9ObLYEG63SaJKPKRAA"/>
  <p:tag name="VCT-RADIUS" val="10"/>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_t2JKla5dkCZbaGQCcEWjA"/>
</p:tagLst>
</file>

<file path=ppt/tags/tag41.xml><?xml version="1.0" encoding="utf-8"?>
<p:tagLst xmlns:a="http://schemas.openxmlformats.org/drawingml/2006/main" xmlns:r="http://schemas.openxmlformats.org/officeDocument/2006/relationships" xmlns:p="http://schemas.openxmlformats.org/presentationml/2006/main">
  <p:tag name="VCT-RADIUS" val="30"/>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_t2JKla5dkCZbaGQCcEWj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_t2JKla5dkCZbaGQCcEWj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qDOr4_MURUisFl.5dupy5g"/>
  <p:tag name="VCT-RADIUS" val="10"/>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h1SCtl.fGkuA3RHrQug.i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jhT02VtDPk6z2lQR5zshy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jz6EETJMUm6TQz5IIg9XA"/>
  <p:tag name="VCT-RADIUS" val="10"/>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h1SCtl.fGkuA3RHrQug.i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YOdgCuiM9E.bk7ElUoa0V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kp7j6wpgTUqSnk1UPl3Ck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kp7j6wpgTUqSnk1UPl3Ckw"/>
</p:tagLst>
</file>

<file path=ppt/tags/tag42.xml><?xml version="1.0" encoding="utf-8"?>
<p:tagLst xmlns:a="http://schemas.openxmlformats.org/drawingml/2006/main" xmlns:r="http://schemas.openxmlformats.org/officeDocument/2006/relationships" xmlns:p="http://schemas.openxmlformats.org/presentationml/2006/main">
  <p:tag name="VCT-RADIUS" val="30"/>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jz6EETJMUm6TQz5IIg9XA"/>
  <p:tag name="VCT-RADIUS" val="10"/>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kp7j6wpgTUqSnk1UPl3Ck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YOdgCuiM9E.bk7ElUoa0V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_t2JKla5dkCZbaGQCcEWj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_t2JKla5dkCZbaGQCcEWj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HEyDoQOfBESMbtuVdNvgv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as84G6.Y6km0g1gPdmvSJ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kp7j6wpgTUqSnk1UPl3Ck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kp7j6wpgTUqSnk1UPl3Ck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kp7j6wpgTUqSnk1UPl3Ckw"/>
</p:tagLst>
</file>

<file path=ppt/tags/tag43.xml><?xml version="1.0" encoding="utf-8"?>
<p:tagLst xmlns:a="http://schemas.openxmlformats.org/drawingml/2006/main" xmlns:r="http://schemas.openxmlformats.org/officeDocument/2006/relationships" xmlns:p="http://schemas.openxmlformats.org/presentationml/2006/main">
  <p:tag name="VCT-RADIUS" val="30"/>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kp7j6wpgTUqSnk1UPl3Ck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as84G6.Y6km0g1gPdmvSJ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kp7j6wpgTUqSnk1UPl3Ck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kp7j6wpgTUqSnk1UPl3Ck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h1SCtl.fGkuA3RHrQug.i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jhT02VtDPk6z2lQR5zshy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h1SCtl.fGkuA3RHrQug.i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h1SCtl.fGkuA3RHrQug.i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jhT02VtDPk6z2lQR5zshy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h1SCtl.fGkuA3RHrQug.iQ"/>
</p:tagLst>
</file>

<file path=ppt/tags/tag44.xml><?xml version="1.0" encoding="utf-8"?>
<p:tagLst xmlns:a="http://schemas.openxmlformats.org/drawingml/2006/main" xmlns:r="http://schemas.openxmlformats.org/officeDocument/2006/relationships" xmlns:p="http://schemas.openxmlformats.org/presentationml/2006/main">
  <p:tag name="VCT-RADIUS" val="30"/>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jhT02VtDPk6z2lQR5zshy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h1SCtl.fGkuA3RHrQug.i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_t2JKla5dkCZbaGQCcEWj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_t2JKla5dkCZbaGQCcEWj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oEQNwR9InEC7ukxDajSmLw"/>
  <p:tag name="VCT-RADIUS" val="10"/>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YOdgCuiM9E.bk7ElUoa0V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gT9UqA8c1Ei0aIsOulZ2w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kp7j6wpgTUqSnk1UPl3Ck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c89IwCLuVUy8_4DLakwDp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c89IwCLuVUy8_4DLakwDpQ"/>
</p:tagLst>
</file>

<file path=ppt/tags/tag45.xml><?xml version="1.0" encoding="utf-8"?>
<p:tagLst xmlns:a="http://schemas.openxmlformats.org/drawingml/2006/main" xmlns:r="http://schemas.openxmlformats.org/officeDocument/2006/relationships" xmlns:p="http://schemas.openxmlformats.org/presentationml/2006/main">
  <p:tag name="VCT-RADIUS" val="30"/>
</p:tagLst>
</file>

<file path=ppt/tags/tag450.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4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VCT-RADIUS" val="10"/>
</p:tagLst>
</file>

<file path=ppt/tags/tag454.xml><?xml version="1.0" encoding="utf-8"?>
<p:tagLst xmlns:a="http://schemas.openxmlformats.org/drawingml/2006/main" xmlns:r="http://schemas.openxmlformats.org/officeDocument/2006/relationships" xmlns:p="http://schemas.openxmlformats.org/presentationml/2006/main">
  <p:tag name="VCT-RADIUS" val="10"/>
</p:tagLst>
</file>

<file path=ppt/tags/tag455.xml><?xml version="1.0" encoding="utf-8"?>
<p:tagLst xmlns:a="http://schemas.openxmlformats.org/drawingml/2006/main" xmlns:r="http://schemas.openxmlformats.org/officeDocument/2006/relationships" xmlns:p="http://schemas.openxmlformats.org/presentationml/2006/main">
  <p:tag name="VCT-RADIUS" val="10"/>
</p:tagLst>
</file>

<file path=ppt/tags/tag456.xml><?xml version="1.0" encoding="utf-8"?>
<p:tagLst xmlns:a="http://schemas.openxmlformats.org/drawingml/2006/main" xmlns:r="http://schemas.openxmlformats.org/officeDocument/2006/relationships" xmlns:p="http://schemas.openxmlformats.org/presentationml/2006/main">
  <p:tag name="VCT-RADIUS" val="10"/>
</p:tagLst>
</file>

<file path=ppt/tags/tag457.xml><?xml version="1.0" encoding="utf-8"?>
<p:tagLst xmlns:a="http://schemas.openxmlformats.org/drawingml/2006/main" xmlns:r="http://schemas.openxmlformats.org/officeDocument/2006/relationships" xmlns:p="http://schemas.openxmlformats.org/presentationml/2006/main">
  <p:tag name="VCT-RADIUS" val="10"/>
</p:tagLst>
</file>

<file path=ppt/tags/tag458.xml><?xml version="1.0" encoding="utf-8"?>
<p:tagLst xmlns:a="http://schemas.openxmlformats.org/drawingml/2006/main" xmlns:r="http://schemas.openxmlformats.org/officeDocument/2006/relationships" xmlns:p="http://schemas.openxmlformats.org/presentationml/2006/main">
  <p:tag name="VCT-RADIUS" val="10"/>
</p:tagLst>
</file>

<file path=ppt/tags/tag459.xml><?xml version="1.0" encoding="utf-8"?>
<p:tagLst xmlns:a="http://schemas.openxmlformats.org/drawingml/2006/main" xmlns:r="http://schemas.openxmlformats.org/officeDocument/2006/relationships" xmlns:p="http://schemas.openxmlformats.org/presentationml/2006/main">
  <p:tag name="VCT-RADIUS" val="10"/>
</p:tagLst>
</file>

<file path=ppt/tags/tag46.xml><?xml version="1.0" encoding="utf-8"?>
<p:tagLst xmlns:a="http://schemas.openxmlformats.org/drawingml/2006/main" xmlns:r="http://schemas.openxmlformats.org/officeDocument/2006/relationships" xmlns:p="http://schemas.openxmlformats.org/presentationml/2006/main">
  <p:tag name="VCT-RADIUS" val="30"/>
</p:tagLst>
</file>

<file path=ppt/tags/tag460.xml><?xml version="1.0" encoding="utf-8"?>
<p:tagLst xmlns:a="http://schemas.openxmlformats.org/drawingml/2006/main" xmlns:r="http://schemas.openxmlformats.org/officeDocument/2006/relationships" xmlns:p="http://schemas.openxmlformats.org/presentationml/2006/main">
  <p:tag name="VCT-RADIUS" val="10"/>
</p:tagLst>
</file>

<file path=ppt/tags/tag461.xml><?xml version="1.0" encoding="utf-8"?>
<p:tagLst xmlns:a="http://schemas.openxmlformats.org/drawingml/2006/main" xmlns:r="http://schemas.openxmlformats.org/officeDocument/2006/relationships" xmlns:p="http://schemas.openxmlformats.org/presentationml/2006/main">
  <p:tag name="VCT-RADIUS" val="10"/>
</p:tagLst>
</file>

<file path=ppt/tags/tag462.xml><?xml version="1.0" encoding="utf-8"?>
<p:tagLst xmlns:a="http://schemas.openxmlformats.org/drawingml/2006/main" xmlns:r="http://schemas.openxmlformats.org/officeDocument/2006/relationships" xmlns:p="http://schemas.openxmlformats.org/presentationml/2006/main">
  <p:tag name="VCT-RADIUS" val="10"/>
</p:tagLst>
</file>

<file path=ppt/tags/tag463.xml><?xml version="1.0" encoding="utf-8"?>
<p:tagLst xmlns:a="http://schemas.openxmlformats.org/drawingml/2006/main" xmlns:r="http://schemas.openxmlformats.org/officeDocument/2006/relationships" xmlns:p="http://schemas.openxmlformats.org/presentationml/2006/main">
  <p:tag name="VCT-RADIUS" val="10"/>
</p:tagLst>
</file>

<file path=ppt/tags/tag464.xml><?xml version="1.0" encoding="utf-8"?>
<p:tagLst xmlns:a="http://schemas.openxmlformats.org/drawingml/2006/main" xmlns:r="http://schemas.openxmlformats.org/officeDocument/2006/relationships" xmlns:p="http://schemas.openxmlformats.org/presentationml/2006/main">
  <p:tag name="VCT-RADIUS" val="10"/>
</p:tagLst>
</file>

<file path=ppt/tags/tag465.xml><?xml version="1.0" encoding="utf-8"?>
<p:tagLst xmlns:a="http://schemas.openxmlformats.org/drawingml/2006/main" xmlns:r="http://schemas.openxmlformats.org/officeDocument/2006/relationships" xmlns:p="http://schemas.openxmlformats.org/presentationml/2006/main">
  <p:tag name="VCT-RADIUS" val="10"/>
</p:tagLst>
</file>

<file path=ppt/tags/tag466.xml><?xml version="1.0" encoding="utf-8"?>
<p:tagLst xmlns:a="http://schemas.openxmlformats.org/drawingml/2006/main" xmlns:r="http://schemas.openxmlformats.org/officeDocument/2006/relationships" xmlns:p="http://schemas.openxmlformats.org/presentationml/2006/main">
  <p:tag name="VCT-RADIUS" val="10"/>
</p:tagLst>
</file>

<file path=ppt/tags/tag467.xml><?xml version="1.0" encoding="utf-8"?>
<p:tagLst xmlns:a="http://schemas.openxmlformats.org/drawingml/2006/main" xmlns:r="http://schemas.openxmlformats.org/officeDocument/2006/relationships" xmlns:p="http://schemas.openxmlformats.org/presentationml/2006/main">
  <p:tag name="VCT-RADIUS" val="10"/>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VCT-RADIUS" val="10"/>
</p:tagLst>
</file>

<file path=ppt/tags/tag47.xml><?xml version="1.0" encoding="utf-8"?>
<p:tagLst xmlns:a="http://schemas.openxmlformats.org/drawingml/2006/main" xmlns:r="http://schemas.openxmlformats.org/officeDocument/2006/relationships" xmlns:p="http://schemas.openxmlformats.org/presentationml/2006/main">
  <p:tag name="VCT-RADIUS" val="30"/>
</p:tagLst>
</file>

<file path=ppt/tags/tag470.xml><?xml version="1.0" encoding="utf-8"?>
<p:tagLst xmlns:a="http://schemas.openxmlformats.org/drawingml/2006/main" xmlns:r="http://schemas.openxmlformats.org/officeDocument/2006/relationships" xmlns:p="http://schemas.openxmlformats.org/presentationml/2006/main">
  <p:tag name="VCT-RADIUS" val="10"/>
</p:tagLst>
</file>

<file path=ppt/tags/tag471.xml><?xml version="1.0" encoding="utf-8"?>
<p:tagLst xmlns:a="http://schemas.openxmlformats.org/drawingml/2006/main" xmlns:r="http://schemas.openxmlformats.org/officeDocument/2006/relationships" xmlns:p="http://schemas.openxmlformats.org/presentationml/2006/main">
  <p:tag name="VCT-RADIUS" val="10"/>
</p:tagLst>
</file>

<file path=ppt/tags/tag472.xml><?xml version="1.0" encoding="utf-8"?>
<p:tagLst xmlns:a="http://schemas.openxmlformats.org/drawingml/2006/main" xmlns:r="http://schemas.openxmlformats.org/officeDocument/2006/relationships" xmlns:p="http://schemas.openxmlformats.org/presentationml/2006/main">
  <p:tag name="VCT-RADIUS" val="10"/>
</p:tagLst>
</file>

<file path=ppt/tags/tag4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VCT-RADIUS" val="30"/>
</p:tagLst>
</file>

<file path=ppt/tags/tag4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VCT-RADIUS" val="30"/>
</p:tagLst>
</file>

<file path=ppt/tags/tag4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50.xml><?xml version="1.0" encoding="utf-8"?>
<p:tagLst xmlns:a="http://schemas.openxmlformats.org/drawingml/2006/main" xmlns:r="http://schemas.openxmlformats.org/officeDocument/2006/relationships" xmlns:p="http://schemas.openxmlformats.org/presentationml/2006/main">
  <p:tag name="VCT-RADIUS" val="30"/>
</p:tagLst>
</file>

<file path=ppt/tags/tag5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VCT-RADIUS" val="30"/>
</p:tagLst>
</file>

<file path=ppt/tags/tag510.xml><?xml version="1.0" encoding="utf-8"?>
<p:tagLst xmlns:a="http://schemas.openxmlformats.org/drawingml/2006/main" xmlns:r="http://schemas.openxmlformats.org/officeDocument/2006/relationships" xmlns:p="http://schemas.openxmlformats.org/presentationml/2006/main">
  <p:tag name="VCTCREATESHAPEHANDLED" val="0"/>
  <p:tag name="VCT-ANGLE" val="45"/>
</p:tagLst>
</file>

<file path=ppt/tags/tag5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2.xml><?xml version="1.0" encoding="utf-8"?>
<p:tagLst xmlns:a="http://schemas.openxmlformats.org/drawingml/2006/main" xmlns:r="http://schemas.openxmlformats.org/officeDocument/2006/relationships" xmlns:p="http://schemas.openxmlformats.org/presentationml/2006/main">
  <p:tag name="VCTCREATESHAPEHANDLED" val="0"/>
  <p:tag name="VCT-ANGLE" val="45"/>
</p:tagLst>
</file>

<file path=ppt/tags/tag5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7.xml><?xml version="1.0" encoding="utf-8"?>
<p:tagLst xmlns:a="http://schemas.openxmlformats.org/drawingml/2006/main" xmlns:r="http://schemas.openxmlformats.org/officeDocument/2006/relationships" xmlns:p="http://schemas.openxmlformats.org/presentationml/2006/main">
  <p:tag name="VCT-RADIUS" val="10"/>
</p:tagLst>
</file>

<file path=ppt/tags/tag518.xml><?xml version="1.0" encoding="utf-8"?>
<p:tagLst xmlns:a="http://schemas.openxmlformats.org/drawingml/2006/main" xmlns:r="http://schemas.openxmlformats.org/officeDocument/2006/relationships" xmlns:p="http://schemas.openxmlformats.org/presentationml/2006/main">
  <p:tag name="VCT-RADIUS" val="10"/>
</p:tagLst>
</file>

<file path=ppt/tags/tag519.xml><?xml version="1.0" encoding="utf-8"?>
<p:tagLst xmlns:a="http://schemas.openxmlformats.org/drawingml/2006/main" xmlns:r="http://schemas.openxmlformats.org/officeDocument/2006/relationships" xmlns:p="http://schemas.openxmlformats.org/presentationml/2006/main">
  <p:tag name="VCT-RADIUS" val="10"/>
</p:tagLst>
</file>

<file path=ppt/tags/tag52.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520.xml><?xml version="1.0" encoding="utf-8"?>
<p:tagLst xmlns:a="http://schemas.openxmlformats.org/drawingml/2006/main" xmlns:r="http://schemas.openxmlformats.org/officeDocument/2006/relationships" xmlns:p="http://schemas.openxmlformats.org/presentationml/2006/main">
  <p:tag name="VCT-RADIUS" val="10"/>
</p:tagLst>
</file>

<file path=ppt/tags/tag521.xml><?xml version="1.0" encoding="utf-8"?>
<p:tagLst xmlns:a="http://schemas.openxmlformats.org/drawingml/2006/main" xmlns:r="http://schemas.openxmlformats.org/officeDocument/2006/relationships" xmlns:p="http://schemas.openxmlformats.org/presentationml/2006/main">
  <p:tag name="VCTCREATESHAPEHANDLED" val="0"/>
  <p:tag name="VCT-RADIUS" val="5"/>
</p:tagLst>
</file>

<file path=ppt/tags/tag5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5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2.xml><?xml version="1.0" encoding="utf-8"?>
<p:tagLst xmlns:a="http://schemas.openxmlformats.org/drawingml/2006/main" xmlns:r="http://schemas.openxmlformats.org/officeDocument/2006/relationships" xmlns:p="http://schemas.openxmlformats.org/presentationml/2006/main">
  <p:tag name="VCTCREATESHAPEHANDLED" val="0"/>
  <p:tag name="VCT-RADIUS" val="5"/>
</p:tagLst>
</file>

<file path=ppt/tags/tag5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5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2.xml><?xml version="1.0" encoding="utf-8"?>
<p:tagLst xmlns:a="http://schemas.openxmlformats.org/drawingml/2006/main" xmlns:r="http://schemas.openxmlformats.org/officeDocument/2006/relationships" xmlns:p="http://schemas.openxmlformats.org/presentationml/2006/main">
  <p:tag name="VCTCREATESHAPEHANDLED" val="0"/>
  <p:tag name="VCT-RADIUS" val="5"/>
</p:tagLst>
</file>

<file path=ppt/tags/tag5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4.xml><?xml version="1.0" encoding="utf-8"?>
<p:tagLst xmlns:a="http://schemas.openxmlformats.org/drawingml/2006/main" xmlns:r="http://schemas.openxmlformats.org/officeDocument/2006/relationships" xmlns:p="http://schemas.openxmlformats.org/presentationml/2006/main">
  <p:tag name="VCTCREATESHAPEHANDLED" val="0"/>
  <p:tag name="VCT-RADIUS" val="5"/>
</p:tagLst>
</file>

<file path=ppt/tags/tag5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TEMPLATE" val="Master 16-9_red.potx"/>
  <p:tag name="VCTMASTER" val="Fujitsu Master 16-9 red"/>
  <p:tag name="VCTORDER" val="1"/>
</p:tagLst>
</file>

<file path=ppt/tags/tag5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9.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56.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5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1.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5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3.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5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5.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5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5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5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5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60.xml><?xml version="1.0" encoding="utf-8"?>
<p:tagLst xmlns:a="http://schemas.openxmlformats.org/drawingml/2006/main" xmlns:r="http://schemas.openxmlformats.org/officeDocument/2006/relationships" xmlns:p="http://schemas.openxmlformats.org/presentationml/2006/main">
  <p:tag name="VCT-RADIUS" val="30"/>
</p:tagLst>
</file>

<file path=ppt/tags/tag6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xml><?xml version="1.0" encoding="utf-8"?>
<p:tagLst xmlns:a="http://schemas.openxmlformats.org/drawingml/2006/main" xmlns:r="http://schemas.openxmlformats.org/officeDocument/2006/relationships" xmlns:p="http://schemas.openxmlformats.org/presentationml/2006/main">
  <p:tag name="VCT-RADIUS" val="30"/>
</p:tagLst>
</file>

<file path=ppt/tags/tag6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xml><?xml version="1.0" encoding="utf-8"?>
<p:tagLst xmlns:a="http://schemas.openxmlformats.org/drawingml/2006/main" xmlns:r="http://schemas.openxmlformats.org/officeDocument/2006/relationships" xmlns:p="http://schemas.openxmlformats.org/presentationml/2006/main">
  <p:tag name="VCT-RADIUS" val="30"/>
</p:tagLst>
</file>

<file path=ppt/tags/tag63.xml><?xml version="1.0" encoding="utf-8"?>
<p:tagLst xmlns:a="http://schemas.openxmlformats.org/drawingml/2006/main" xmlns:r="http://schemas.openxmlformats.org/officeDocument/2006/relationships" xmlns:p="http://schemas.openxmlformats.org/presentationml/2006/main">
  <p:tag name="VCT-RADIUS" val="30"/>
</p:tagLst>
</file>

<file path=ppt/tags/tag64.xml><?xml version="1.0" encoding="utf-8"?>
<p:tagLst xmlns:a="http://schemas.openxmlformats.org/drawingml/2006/main" xmlns:r="http://schemas.openxmlformats.org/officeDocument/2006/relationships" xmlns:p="http://schemas.openxmlformats.org/presentationml/2006/main">
  <p:tag name="VCT-RADIUS" val="30"/>
</p:tagLst>
</file>

<file path=ppt/tags/tag65.xml><?xml version="1.0" encoding="utf-8"?>
<p:tagLst xmlns:a="http://schemas.openxmlformats.org/drawingml/2006/main" xmlns:r="http://schemas.openxmlformats.org/officeDocument/2006/relationships" xmlns:p="http://schemas.openxmlformats.org/presentationml/2006/main">
  <p:tag name="VCT-RADIUS" val="30"/>
</p:tagLst>
</file>

<file path=ppt/tags/tag66.xml><?xml version="1.0" encoding="utf-8"?>
<p:tagLst xmlns:a="http://schemas.openxmlformats.org/drawingml/2006/main" xmlns:r="http://schemas.openxmlformats.org/officeDocument/2006/relationships" xmlns:p="http://schemas.openxmlformats.org/presentationml/2006/main">
  <p:tag name="VCT-RADIUS" val="30"/>
</p:tagLst>
</file>

<file path=ppt/tags/tag67.xml><?xml version="1.0" encoding="utf-8"?>
<p:tagLst xmlns:a="http://schemas.openxmlformats.org/drawingml/2006/main" xmlns:r="http://schemas.openxmlformats.org/officeDocument/2006/relationships" xmlns:p="http://schemas.openxmlformats.org/presentationml/2006/main">
  <p:tag name="VCT-RADIUS" val="30"/>
</p:tagLst>
</file>

<file path=ppt/tags/tag68.xml><?xml version="1.0" encoding="utf-8"?>
<p:tagLst xmlns:a="http://schemas.openxmlformats.org/drawingml/2006/main" xmlns:r="http://schemas.openxmlformats.org/officeDocument/2006/relationships" xmlns:p="http://schemas.openxmlformats.org/presentationml/2006/main">
  <p:tag name="VCT-RADIUS" val="30"/>
</p:tagLst>
</file>

<file path=ppt/tags/tag69.xml><?xml version="1.0" encoding="utf-8"?>
<p:tagLst xmlns:a="http://schemas.openxmlformats.org/drawingml/2006/main" xmlns:r="http://schemas.openxmlformats.org/officeDocument/2006/relationships" xmlns:p="http://schemas.openxmlformats.org/presentationml/2006/main">
  <p:tag name="VCT-RADIUS" val="30"/>
</p:tagLst>
</file>

<file path=ppt/tags/tag7.xml><?xml version="1.0" encoding="utf-8"?>
<p:tagLst xmlns:a="http://schemas.openxmlformats.org/drawingml/2006/main" xmlns:r="http://schemas.openxmlformats.org/officeDocument/2006/relationships" xmlns:p="http://schemas.openxmlformats.org/presentationml/2006/main">
  <p:tag name="VCT-RADIUS" val="30"/>
</p:tagLst>
</file>

<file path=ppt/tags/tag70.xml><?xml version="1.0" encoding="utf-8"?>
<p:tagLst xmlns:a="http://schemas.openxmlformats.org/drawingml/2006/main" xmlns:r="http://schemas.openxmlformats.org/officeDocument/2006/relationships" xmlns:p="http://schemas.openxmlformats.org/presentationml/2006/main">
  <p:tag name="VCT-RADIUS" val="30"/>
</p:tagLst>
</file>

<file path=ppt/tags/tag71.xml><?xml version="1.0" encoding="utf-8"?>
<p:tagLst xmlns:a="http://schemas.openxmlformats.org/drawingml/2006/main" xmlns:r="http://schemas.openxmlformats.org/officeDocument/2006/relationships" xmlns:p="http://schemas.openxmlformats.org/presentationml/2006/main">
  <p:tag name="VCT-RADIUS" val="30"/>
</p:tagLst>
</file>

<file path=ppt/tags/tag72.xml><?xml version="1.0" encoding="utf-8"?>
<p:tagLst xmlns:a="http://schemas.openxmlformats.org/drawingml/2006/main" xmlns:r="http://schemas.openxmlformats.org/officeDocument/2006/relationships" xmlns:p="http://schemas.openxmlformats.org/presentationml/2006/main">
  <p:tag name="VCT-RADIUS" val="30"/>
</p:tagLst>
</file>

<file path=ppt/tags/tag73.xml><?xml version="1.0" encoding="utf-8"?>
<p:tagLst xmlns:a="http://schemas.openxmlformats.org/drawingml/2006/main" xmlns:r="http://schemas.openxmlformats.org/officeDocument/2006/relationships" xmlns:p="http://schemas.openxmlformats.org/presentationml/2006/main">
  <p:tag name="VCT-RADIUS" val="30"/>
</p:tagLst>
</file>

<file path=ppt/tags/tag74.xml><?xml version="1.0" encoding="utf-8"?>
<p:tagLst xmlns:a="http://schemas.openxmlformats.org/drawingml/2006/main" xmlns:r="http://schemas.openxmlformats.org/officeDocument/2006/relationships" xmlns:p="http://schemas.openxmlformats.org/presentationml/2006/main">
  <p:tag name="VCT-RADIUS" val="30"/>
</p:tagLst>
</file>

<file path=ppt/tags/tag75.xml><?xml version="1.0" encoding="utf-8"?>
<p:tagLst xmlns:a="http://schemas.openxmlformats.org/drawingml/2006/main" xmlns:r="http://schemas.openxmlformats.org/officeDocument/2006/relationships" xmlns:p="http://schemas.openxmlformats.org/presentationml/2006/main">
  <p:tag name="VCT-RADIUS" val="30"/>
</p:tagLst>
</file>

<file path=ppt/tags/tag76.xml><?xml version="1.0" encoding="utf-8"?>
<p:tagLst xmlns:a="http://schemas.openxmlformats.org/drawingml/2006/main" xmlns:r="http://schemas.openxmlformats.org/officeDocument/2006/relationships" xmlns:p="http://schemas.openxmlformats.org/presentationml/2006/main">
  <p:tag name="VCT-RADIUS" val="30"/>
</p:tagLst>
</file>

<file path=ppt/tags/tag77.xml><?xml version="1.0" encoding="utf-8"?>
<p:tagLst xmlns:a="http://schemas.openxmlformats.org/drawingml/2006/main" xmlns:r="http://schemas.openxmlformats.org/officeDocument/2006/relationships" xmlns:p="http://schemas.openxmlformats.org/presentationml/2006/main">
  <p:tag name="VCT-RADIUS" val="30"/>
</p:tagLst>
</file>

<file path=ppt/tags/tag78.xml><?xml version="1.0" encoding="utf-8"?>
<p:tagLst xmlns:a="http://schemas.openxmlformats.org/drawingml/2006/main" xmlns:r="http://schemas.openxmlformats.org/officeDocument/2006/relationships" xmlns:p="http://schemas.openxmlformats.org/presentationml/2006/main">
  <p:tag name="VCT-RADIUS" val="30"/>
</p:tagLst>
</file>

<file path=ppt/tags/tag79.xml><?xml version="1.0" encoding="utf-8"?>
<p:tagLst xmlns:a="http://schemas.openxmlformats.org/drawingml/2006/main" xmlns:r="http://schemas.openxmlformats.org/officeDocument/2006/relationships" xmlns:p="http://schemas.openxmlformats.org/presentationml/2006/main">
  <p:tag name="VCT-RADIUS" val="30"/>
</p:tagLst>
</file>

<file path=ppt/tags/tag8.xml><?xml version="1.0" encoding="utf-8"?>
<p:tagLst xmlns:a="http://schemas.openxmlformats.org/drawingml/2006/main" xmlns:r="http://schemas.openxmlformats.org/officeDocument/2006/relationships" xmlns:p="http://schemas.openxmlformats.org/presentationml/2006/main">
  <p:tag name="VCT-RADIUS" val="30"/>
</p:tagLst>
</file>

<file path=ppt/tags/tag80.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TEMPLATE" val="Master 16-9_red.potx"/>
  <p:tag name="VCTMASTER" val="Fujitsu Master 16-9 red"/>
  <p:tag name="VCTORDER" val="1"/>
</p:tagLst>
</file>

<file path=ppt/tags/tag81.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82.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83.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84.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85.xml><?xml version="1.0" encoding="utf-8"?>
<p:tagLst xmlns:a="http://schemas.openxmlformats.org/drawingml/2006/main" xmlns:r="http://schemas.openxmlformats.org/officeDocument/2006/relationships" xmlns:p="http://schemas.openxmlformats.org/presentationml/2006/main">
  <p:tag name="VCT-RADIUS" val="30"/>
</p:tagLst>
</file>

<file path=ppt/tags/tag86.xml><?xml version="1.0" encoding="utf-8"?>
<p:tagLst xmlns:a="http://schemas.openxmlformats.org/drawingml/2006/main" xmlns:r="http://schemas.openxmlformats.org/officeDocument/2006/relationships" xmlns:p="http://schemas.openxmlformats.org/presentationml/2006/main">
  <p:tag name="VCT-RADIUS" val="30"/>
</p:tagLst>
</file>

<file path=ppt/tags/tag87.xml><?xml version="1.0" encoding="utf-8"?>
<p:tagLst xmlns:a="http://schemas.openxmlformats.org/drawingml/2006/main" xmlns:r="http://schemas.openxmlformats.org/officeDocument/2006/relationships" xmlns:p="http://schemas.openxmlformats.org/presentationml/2006/main">
  <p:tag name="VCT-RADIUS" val="30"/>
</p:tagLst>
</file>

<file path=ppt/tags/tag88.xml><?xml version="1.0" encoding="utf-8"?>
<p:tagLst xmlns:a="http://schemas.openxmlformats.org/drawingml/2006/main" xmlns:r="http://schemas.openxmlformats.org/officeDocument/2006/relationships" xmlns:p="http://schemas.openxmlformats.org/presentationml/2006/main">
  <p:tag name="VCT-RADIUS" val="30"/>
</p:tagLst>
</file>

<file path=ppt/tags/tag89.xml><?xml version="1.0" encoding="utf-8"?>
<p:tagLst xmlns:a="http://schemas.openxmlformats.org/drawingml/2006/main" xmlns:r="http://schemas.openxmlformats.org/officeDocument/2006/relationships" xmlns:p="http://schemas.openxmlformats.org/presentationml/2006/main">
  <p:tag name="VCT-RADIUS" val="30"/>
</p:tagLst>
</file>

<file path=ppt/tags/tag9.xml><?xml version="1.0" encoding="utf-8"?>
<p:tagLst xmlns:a="http://schemas.openxmlformats.org/drawingml/2006/main" xmlns:r="http://schemas.openxmlformats.org/officeDocument/2006/relationships" xmlns:p="http://schemas.openxmlformats.org/presentationml/2006/main">
  <p:tag name="VCT-RADIUS" val="30"/>
</p:tagLst>
</file>

<file path=ppt/tags/tag90.xml><?xml version="1.0" encoding="utf-8"?>
<p:tagLst xmlns:a="http://schemas.openxmlformats.org/drawingml/2006/main" xmlns:r="http://schemas.openxmlformats.org/officeDocument/2006/relationships" xmlns:p="http://schemas.openxmlformats.org/presentationml/2006/main">
  <p:tag name="VCT-RADIUS" val="30"/>
</p:tagLst>
</file>

<file path=ppt/tags/tag91.xml><?xml version="1.0" encoding="utf-8"?>
<p:tagLst xmlns:a="http://schemas.openxmlformats.org/drawingml/2006/main" xmlns:r="http://schemas.openxmlformats.org/officeDocument/2006/relationships" xmlns:p="http://schemas.openxmlformats.org/presentationml/2006/main">
  <p:tag name="VCT-RADIUS" val="30"/>
</p:tagLst>
</file>

<file path=ppt/tags/tag92.xml><?xml version="1.0" encoding="utf-8"?>
<p:tagLst xmlns:a="http://schemas.openxmlformats.org/drawingml/2006/main" xmlns:r="http://schemas.openxmlformats.org/officeDocument/2006/relationships" xmlns:p="http://schemas.openxmlformats.org/presentationml/2006/main">
  <p:tag name="VCT-RADIUS" val="30"/>
</p:tagLst>
</file>

<file path=ppt/tags/tag93.xml><?xml version="1.0" encoding="utf-8"?>
<p:tagLst xmlns:a="http://schemas.openxmlformats.org/drawingml/2006/main" xmlns:r="http://schemas.openxmlformats.org/officeDocument/2006/relationships" xmlns:p="http://schemas.openxmlformats.org/presentationml/2006/main">
  <p:tag name="VCT-RADIUS" val="30"/>
</p:tagLst>
</file>

<file path=ppt/tags/tag94.xml><?xml version="1.0" encoding="utf-8"?>
<p:tagLst xmlns:a="http://schemas.openxmlformats.org/drawingml/2006/main" xmlns:r="http://schemas.openxmlformats.org/officeDocument/2006/relationships" xmlns:p="http://schemas.openxmlformats.org/presentationml/2006/main">
  <p:tag name="VCT-RADIUS" val="30"/>
</p:tagLst>
</file>

<file path=ppt/tags/tag95.xml><?xml version="1.0" encoding="utf-8"?>
<p:tagLst xmlns:a="http://schemas.openxmlformats.org/drawingml/2006/main" xmlns:r="http://schemas.openxmlformats.org/officeDocument/2006/relationships" xmlns:p="http://schemas.openxmlformats.org/presentationml/2006/main">
  <p:tag name="VCT-RADIUS" val="30"/>
</p:tagLst>
</file>

<file path=ppt/tags/tag96.xml><?xml version="1.0" encoding="utf-8"?>
<p:tagLst xmlns:a="http://schemas.openxmlformats.org/drawingml/2006/main" xmlns:r="http://schemas.openxmlformats.org/officeDocument/2006/relationships" xmlns:p="http://schemas.openxmlformats.org/presentationml/2006/main">
  <p:tag name="VCT-RADIUS" val="30"/>
</p:tagLst>
</file>

<file path=ppt/tags/tag97.xml><?xml version="1.0" encoding="utf-8"?>
<p:tagLst xmlns:a="http://schemas.openxmlformats.org/drawingml/2006/main" xmlns:r="http://schemas.openxmlformats.org/officeDocument/2006/relationships" xmlns:p="http://schemas.openxmlformats.org/presentationml/2006/main">
  <p:tag name="VCT-RADIUS" val="30"/>
</p:tagLst>
</file>

<file path=ppt/tags/tag98.xml><?xml version="1.0" encoding="utf-8"?>
<p:tagLst xmlns:a="http://schemas.openxmlformats.org/drawingml/2006/main" xmlns:r="http://schemas.openxmlformats.org/officeDocument/2006/relationships" xmlns:p="http://schemas.openxmlformats.org/presentationml/2006/main">
  <p:tag name="VCT-RADIUS" val="30"/>
</p:tagLst>
</file>

<file path=ppt/tags/tag99.xml><?xml version="1.0" encoding="utf-8"?>
<p:tagLst xmlns:a="http://schemas.openxmlformats.org/drawingml/2006/main" xmlns:r="http://schemas.openxmlformats.org/officeDocument/2006/relationships" xmlns:p="http://schemas.openxmlformats.org/presentationml/2006/main">
  <p:tag name="VCT-RADIUS" val="30"/>
</p:tagLst>
</file>

<file path=ppt/theme/theme1.xml><?xml version="1.0" encoding="utf-8"?>
<a:theme xmlns:a="http://schemas.openxmlformats.org/drawingml/2006/main" name="Master 16-9_red">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0.xml><?xml version="1.0" encoding="utf-8"?>
<a:theme xmlns:a="http://schemas.openxmlformats.org/drawingml/2006/main" name="6_Master 16-9_red">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1.xml><?xml version="1.0" encoding="utf-8"?>
<a:theme xmlns:a="http://schemas.openxmlformats.org/drawingml/2006/main" name="2_Master Inner Slide">
  <a:themeElements>
    <a:clrScheme name="Fujitsu corporate palette">
      <a:dk1>
        <a:srgbClr val="000000"/>
      </a:dk1>
      <a:lt1>
        <a:srgbClr val="FFFFFF"/>
      </a:lt1>
      <a:dk2>
        <a:srgbClr val="000000"/>
      </a:dk2>
      <a:lt2>
        <a:srgbClr val="B1B1AC"/>
      </a:lt2>
      <a:accent1>
        <a:srgbClr val="F8C6C5"/>
      </a:accent1>
      <a:accent2>
        <a:srgbClr val="B22B30"/>
      </a:accent2>
      <a:accent3>
        <a:srgbClr val="FFFFFF"/>
      </a:accent3>
      <a:accent4>
        <a:srgbClr val="000000"/>
      </a:accent4>
      <a:accent5>
        <a:srgbClr val="FBDFDF"/>
      </a:accent5>
      <a:accent6>
        <a:srgbClr val="A1262A"/>
      </a:accent6>
      <a:hlink>
        <a:srgbClr val="FFFFFF"/>
      </a:hlink>
      <a:folHlink>
        <a:srgbClr val="4B4595"/>
      </a:folHlink>
    </a:clrScheme>
    <a:fontScheme name="Off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 xmlns:thm15="http://schemas.microsoft.com/office/thememl/2012/main" name="Presentation1.pptx" id="{AE392BA7-1588-4BD9-AC37-AAC0AB7273E8}" vid="{F32FF949-5642-4C49-A55E-048B18AD359B}"/>
    </a:ext>
  </a:extLst>
</a:theme>
</file>

<file path=ppt/theme/theme12.xml><?xml version="1.0" encoding="utf-8"?>
<a:theme xmlns:a="http://schemas.openxmlformats.org/drawingml/2006/main" name="7_Master 16-9_red">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3.xml><?xml version="1.0" encoding="utf-8"?>
<a:theme xmlns:a="http://schemas.openxmlformats.org/drawingml/2006/main" name="Larissa-Design">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aster Inner Slide">
  <a:themeElements>
    <a:clrScheme name="Fujitsu corporate palette">
      <a:dk1>
        <a:srgbClr val="000000"/>
      </a:dk1>
      <a:lt1>
        <a:srgbClr val="FFFFFF"/>
      </a:lt1>
      <a:dk2>
        <a:srgbClr val="000000"/>
      </a:dk2>
      <a:lt2>
        <a:srgbClr val="B1B1AC"/>
      </a:lt2>
      <a:accent1>
        <a:srgbClr val="F8C6C5"/>
      </a:accent1>
      <a:accent2>
        <a:srgbClr val="B22B30"/>
      </a:accent2>
      <a:accent3>
        <a:srgbClr val="FFFFFF"/>
      </a:accent3>
      <a:accent4>
        <a:srgbClr val="000000"/>
      </a:accent4>
      <a:accent5>
        <a:srgbClr val="FBDFDF"/>
      </a:accent5>
      <a:accent6>
        <a:srgbClr val="A1262A"/>
      </a:accent6>
      <a:hlink>
        <a:srgbClr val="FFFFFF"/>
      </a:hlink>
      <a:folHlink>
        <a:srgbClr val="4B4595"/>
      </a:folHlink>
    </a:clrScheme>
    <a:fontScheme name="Off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 xmlns:thm15="http://schemas.microsoft.com/office/thememl/2012/main" name="Presentation1.pptx" id="{AE392BA7-1588-4BD9-AC37-AAC0AB7273E8}" vid="{F32FF949-5642-4C49-A55E-048B18AD359B}"/>
    </a:ext>
  </a:extLst>
</a:theme>
</file>

<file path=ppt/theme/theme3.xml><?xml version="1.0" encoding="utf-8"?>
<a:theme xmlns:a="http://schemas.openxmlformats.org/drawingml/2006/main" name="1_Master 16-9_red">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2_Master 16-9_red">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3_Master 16-9_red">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4_Master 16-9_red">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7.xml><?xml version="1.0" encoding="utf-8"?>
<a:theme xmlns:a="http://schemas.openxmlformats.org/drawingml/2006/main" name="5_Master 16-9_red">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8.xml><?xml version="1.0" encoding="utf-8"?>
<a:theme xmlns:a="http://schemas.openxmlformats.org/drawingml/2006/main" name="ppt_template_Fujitsu_(FTS)_Limited_EXTERNAL">
  <a:themeElements>
    <a:clrScheme name="Fujitsu 2011 Palette">
      <a:dk1>
        <a:srgbClr val="000000"/>
      </a:dk1>
      <a:lt1>
        <a:srgbClr val="FFFFFF"/>
      </a:lt1>
      <a:dk2>
        <a:srgbClr val="000000"/>
      </a:dk2>
      <a:lt2>
        <a:srgbClr val="B1B1AC"/>
      </a:lt2>
      <a:accent1>
        <a:srgbClr val="F8C6C5"/>
      </a:accent1>
      <a:accent2>
        <a:srgbClr val="A1262A"/>
      </a:accent2>
      <a:accent3>
        <a:srgbClr val="FFFFFF"/>
      </a:accent3>
      <a:accent4>
        <a:srgbClr val="000000"/>
      </a:accent4>
      <a:accent5>
        <a:srgbClr val="FBDFDF"/>
      </a:accent5>
      <a:accent6>
        <a:srgbClr val="A1262A"/>
      </a:accent6>
      <a:hlink>
        <a:srgbClr val="105D9C"/>
      </a:hlink>
      <a:folHlink>
        <a:srgbClr val="4B4595"/>
      </a:folHlink>
    </a:clrScheme>
    <a:fontScheme name="ppt_template_Fujitsu_Services_Limited_EXTERNAL">
      <a:majorFont>
        <a:latin typeface="Arial"/>
        <a:ea typeface="Arial Unicode MS"/>
        <a:cs typeface="Arial Unicode MS"/>
      </a:majorFont>
      <a:minorFont>
        <a:latin typeface="Arial"/>
        <a:ea typeface="Arial Unicode MS"/>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0">
          <a:gsLst>
            <a:gs pos="0">
              <a:srgbClr val="FFFFFF"/>
            </a:gs>
            <a:gs pos="100000">
              <a:srgbClr val="CACAC7"/>
            </a:gs>
          </a:gsLst>
          <a:lin ang="5400000" scaled="1"/>
        </a:gradFill>
        <a:ln w="9525" cap="flat" cmpd="sng" algn="ctr">
          <a:solidFill>
            <a:srgbClr val="57564F"/>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ctr"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Arial"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gradFill rotWithShape="0">
          <a:gsLst>
            <a:gs pos="0">
              <a:srgbClr val="FFFFFF"/>
            </a:gs>
            <a:gs pos="100000">
              <a:srgbClr val="CACAC7"/>
            </a:gs>
          </a:gsLst>
          <a:lin ang="5400000" scaled="1"/>
        </a:gradFill>
        <a:ln w="9525" cap="flat" cmpd="sng" algn="ctr">
          <a:solidFill>
            <a:srgbClr val="57564F"/>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ctr" latinLnBrk="0" hangingPunct="1">
          <a:lnSpc>
            <a:spcPct val="100000"/>
          </a:lnSpc>
          <a:spcBef>
            <a:spcPct val="0"/>
          </a:spcBef>
          <a:spcAft>
            <a:spcPct val="0"/>
          </a:spcAft>
          <a:buClrTx/>
          <a:buSzTx/>
          <a:buFontTx/>
          <a:buNone/>
          <a:tabLst/>
          <a:defRPr kumimoji="1" lang="ja-JP" altLang="en-US" sz="1200" b="0" i="0" u="none" strike="noStrike" cap="none" normalizeH="0" baseline="0" smtClean="0">
            <a:ln>
              <a:noFill/>
            </a:ln>
            <a:solidFill>
              <a:srgbClr val="000000"/>
            </a:solidFill>
            <a:effectLst/>
            <a:latin typeface="Arial" charset="0"/>
            <a:ea typeface="Arial Unicode MS" pitchFamily="34" charset="-128"/>
            <a:cs typeface="Arial Unicode MS" pitchFamily="34" charset="-128"/>
          </a:defRPr>
        </a:defPPr>
      </a:lstStyle>
    </a:lnDef>
  </a:objectDefaults>
  <a:extraClrSchemeLst>
    <a:extraClrScheme>
      <a:clrScheme name="ppt_template_Fujitsu_Services_Limited_EXTERNAL 1">
        <a:dk1>
          <a:srgbClr val="000000"/>
        </a:dk1>
        <a:lt1>
          <a:srgbClr val="FFFFFF"/>
        </a:lt1>
        <a:dk2>
          <a:srgbClr val="000000"/>
        </a:dk2>
        <a:lt2>
          <a:srgbClr val="B1B1AC"/>
        </a:lt2>
        <a:accent1>
          <a:srgbClr val="F8C6C5"/>
        </a:accent1>
        <a:accent2>
          <a:srgbClr val="B22B30"/>
        </a:accent2>
        <a:accent3>
          <a:srgbClr val="FFFFFF"/>
        </a:accent3>
        <a:accent4>
          <a:srgbClr val="000000"/>
        </a:accent4>
        <a:accent5>
          <a:srgbClr val="FBDFDF"/>
        </a:accent5>
        <a:accent6>
          <a:srgbClr val="A1262A"/>
        </a:accent6>
        <a:hlink>
          <a:srgbClr val="105D9C"/>
        </a:hlink>
        <a:folHlink>
          <a:srgbClr val="4B4595"/>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Presentation1" id="{DE468324-58A9-4E63-B9A4-67DB3E23A43C}" vid="{2906145A-B9A3-41FF-B126-56AD7F3F7EAB}"/>
    </a:ext>
  </a:extLst>
</a:theme>
</file>

<file path=ppt/theme/theme9.xml><?xml version="1.0" encoding="utf-8"?>
<a:theme xmlns:a="http://schemas.openxmlformats.org/drawingml/2006/main" name="1_Master Inner Slide">
  <a:themeElements>
    <a:clrScheme name="Fujitsu 2011 Palette">
      <a:dk1>
        <a:srgbClr val="000000"/>
      </a:dk1>
      <a:lt1>
        <a:srgbClr val="FFFFFF"/>
      </a:lt1>
      <a:dk2>
        <a:srgbClr val="000000"/>
      </a:dk2>
      <a:lt2>
        <a:srgbClr val="B1B1AC"/>
      </a:lt2>
      <a:accent1>
        <a:srgbClr val="F8C6C5"/>
      </a:accent1>
      <a:accent2>
        <a:srgbClr val="A1262A"/>
      </a:accent2>
      <a:accent3>
        <a:srgbClr val="FFFFFF"/>
      </a:accent3>
      <a:accent4>
        <a:srgbClr val="000000"/>
      </a:accent4>
      <a:accent5>
        <a:srgbClr val="FBDFDF"/>
      </a:accent5>
      <a:accent6>
        <a:srgbClr val="A1262A"/>
      </a:accent6>
      <a:hlink>
        <a:srgbClr val="105D9C"/>
      </a:hlink>
      <a:folHlink>
        <a:srgbClr val="4B4595"/>
      </a:folHlink>
    </a:clrScheme>
    <a:fontScheme name="Off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 xmlns:thm15="http://schemas.microsoft.com/office/thememl/2012/main" name="Presentation1" id="{DE468324-58A9-4E63-B9A4-67DB3E23A43C}" vid="{2FF939EA-258C-4FB2-A3BF-0D1ED4C9CD2B}"/>
    </a:ext>
  </a:extLst>
</a:theme>
</file>

<file path=docProps/app.xml><?xml version="1.0" encoding="utf-8"?>
<Properties xmlns="http://schemas.openxmlformats.org/officeDocument/2006/extended-properties" xmlns:vt="http://schemas.openxmlformats.org/officeDocument/2006/docPropsVTypes">
  <Template>Master 16-9_red.potx</Template>
  <TotalTime>0</TotalTime>
  <Words>2365</Words>
  <Application>Microsoft Office PowerPoint</Application>
  <PresentationFormat>On-screen Show (16:9)</PresentationFormat>
  <Paragraphs>474</Paragraphs>
  <Slides>20</Slides>
  <Notes>17</Notes>
  <HiddenSlides>0</HiddenSlides>
  <MMClips>0</MMClips>
  <ScaleCrop>false</ScaleCrop>
  <HeadingPairs>
    <vt:vector size="6" baseType="variant">
      <vt:variant>
        <vt:lpstr>Theme</vt:lpstr>
      </vt:variant>
      <vt:variant>
        <vt:i4>12</vt:i4>
      </vt:variant>
      <vt:variant>
        <vt:lpstr>Embedded OLE Servers</vt:lpstr>
      </vt:variant>
      <vt:variant>
        <vt:i4>1</vt:i4>
      </vt:variant>
      <vt:variant>
        <vt:lpstr>Slide Titles</vt:lpstr>
      </vt:variant>
      <vt:variant>
        <vt:i4>20</vt:i4>
      </vt:variant>
    </vt:vector>
  </HeadingPairs>
  <TitlesOfParts>
    <vt:vector size="33" baseType="lpstr">
      <vt:lpstr>Master 16-9_red</vt:lpstr>
      <vt:lpstr>Master Inner Slide</vt:lpstr>
      <vt:lpstr>1_Master 16-9_red</vt:lpstr>
      <vt:lpstr>2_Master 16-9_red</vt:lpstr>
      <vt:lpstr>3_Master 16-9_red</vt:lpstr>
      <vt:lpstr>4_Master 16-9_red</vt:lpstr>
      <vt:lpstr>5_Master 16-9_red</vt:lpstr>
      <vt:lpstr>ppt_template_Fujitsu_(FTS)_Limited_EXTERNAL</vt:lpstr>
      <vt:lpstr>1_Master Inner Slide</vt:lpstr>
      <vt:lpstr>6_Master 16-9_red</vt:lpstr>
      <vt:lpstr>2_Master Inner Slide</vt:lpstr>
      <vt:lpstr>7_Master 16-9_red</vt:lpstr>
      <vt:lpstr>think-cell Folie</vt:lpstr>
      <vt:lpstr>PowerPoint Presentation</vt:lpstr>
      <vt:lpstr>PowerPoint Presentation</vt:lpstr>
      <vt:lpstr>Серверное оборудование Fujitsu</vt:lpstr>
      <vt:lpstr>Семейство дисковых массивов ETERNUS</vt:lpstr>
      <vt:lpstr>Предложения от большинства поставщиков</vt:lpstr>
      <vt:lpstr>Результаты независимого тестирования производительности схд</vt:lpstr>
      <vt:lpstr>ETERNUS CS800 – универсальное решение для резервного копирования на диск</vt:lpstr>
      <vt:lpstr>Требования к защите данных могут быть различными</vt:lpstr>
      <vt:lpstr>ETERNUS CS800 – резервное копирование на диск</vt:lpstr>
      <vt:lpstr>Катастрофоустойчивые сценарии</vt:lpstr>
      <vt:lpstr>ETERNUS CS800 S6</vt:lpstr>
      <vt:lpstr>ETERNUS CS200 – интегрированное решение для резервного копирования</vt:lpstr>
      <vt:lpstr>Решения для защиты данных ETERNUS CS </vt:lpstr>
      <vt:lpstr>PowerPoint Presentation</vt:lpstr>
      <vt:lpstr>PowerPoint Presentation</vt:lpstr>
      <vt:lpstr>ETERNUS CS8000 – унифицированное решение для защиты данных</vt:lpstr>
      <vt:lpstr>ETERNUS CS8000  Горизонтальное масштабирование</vt:lpstr>
      <vt:lpstr>Различные варианты защиты данных</vt:lpstr>
      <vt:lpstr>Уникальная архитектура ETERNUS CS8000</vt:lpstr>
      <vt:lpstr>PowerPoint Presentation</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16:9 red</dc:title>
  <dc:creator>FUJITSU</dc:creator>
  <cp:lastModifiedBy>Yakovlev, Alexander</cp:lastModifiedBy>
  <cp:revision>267</cp:revision>
  <dcterms:created xsi:type="dcterms:W3CDTF">2010-10-12T11:25:58Z</dcterms:created>
  <dcterms:modified xsi:type="dcterms:W3CDTF">2018-04-06T05:30: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02052012-002</vt:lpwstr>
  </property>
</Properties>
</file>